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slides/slide93.xml" ContentType="application/vnd.openxmlformats-officedocument.presentationml.slide+xml"/>
  <Override PartName="/ppt/slides/slide95.xml" ContentType="application/vnd.openxmlformats-officedocument.presentationml.slide+xml"/>
  <Override PartName="/ppt/slides/slide94.xml" ContentType="application/vnd.openxmlformats-officedocument.presentationml.slide+xml"/>
  <Override PartName="/ppt/presentation.xml" ContentType="application/vnd.openxmlformats-officedocument.presentationml.presentation.main+xml"/>
  <Override PartName="/ppt/slides/slide92.xml" ContentType="application/vnd.openxmlformats-officedocument.presentationml.slide+xml"/>
  <Override PartName="/ppt/slides/slide32.xml" ContentType="application/vnd.openxmlformats-officedocument.presentationml.slide+xml"/>
  <Override PartName="/ppt/slides/slide31.xml" ContentType="application/vnd.openxmlformats-officedocument.presentationml.slide+xml"/>
  <Override PartName="/ppt/slides/slide30.xml" ContentType="application/vnd.openxmlformats-officedocument.presentationml.slide+xml"/>
  <Override PartName="/ppt/slides/slide29.xml" ContentType="application/vnd.openxmlformats-officedocument.presentationml.slide+xml"/>
  <Override PartName="/ppt/slides/slide28.xml" ContentType="application/vnd.openxmlformats-officedocument.presentationml.slide+xml"/>
  <Override PartName="/ppt/slides/slide27.xml" ContentType="application/vnd.openxmlformats-officedocument.presentationml.slide+xml"/>
  <Override PartName="/ppt/slides/slide26.xml" ContentType="application/vnd.openxmlformats-officedocument.presentationml.slide+xml"/>
  <Override PartName="/ppt/slides/slide2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43.xml" ContentType="application/vnd.openxmlformats-officedocument.presentationml.slide+xml"/>
  <Override PartName="/ppt/slides/slide42.xml" ContentType="application/vnd.openxmlformats-officedocument.presentationml.slide+xml"/>
  <Override PartName="/ppt/slides/slide41.xml" ContentType="application/vnd.openxmlformats-officedocument.presentationml.slide+xml"/>
  <Override PartName="/ppt/slides/slide40.xml" ContentType="application/vnd.openxmlformats-officedocument.presentationml.slide+xml"/>
  <Override PartName="/ppt/slides/slide39.xml" ContentType="application/vnd.openxmlformats-officedocument.presentationml.slide+xml"/>
  <Override PartName="/ppt/slides/slide38.xml" ContentType="application/vnd.openxmlformats-officedocument.presentationml.slide+xml"/>
  <Override PartName="/ppt/slides/slide37.xml" ContentType="application/vnd.openxmlformats-officedocument.presentationml.slide+xml"/>
  <Override PartName="/ppt/slides/slide36.xml" ContentType="application/vnd.openxmlformats-officedocument.presentationml.slide+xml"/>
  <Override PartName="/ppt/slides/slide23.xml" ContentType="application/vnd.openxmlformats-officedocument.presentationml.slide+xml"/>
  <Override PartName="/ppt/slides/slide22.xml" ContentType="application/vnd.openxmlformats-officedocument.presentationml.slide+xml"/>
  <Override PartName="/ppt/slides/slide21.xml" ContentType="application/vnd.openxmlformats-officedocument.presentationml.slide+xml"/>
  <Override PartName="/ppt/slides/slide9.xml" ContentType="application/vnd.openxmlformats-officedocument.presentationml.slide+xml"/>
  <Override PartName="/ppt/slides/slide8.xml" ContentType="application/vnd.openxmlformats-officedocument.presentationml.slide+xml"/>
  <Override PartName="/ppt/slides/slide7.xml" ContentType="application/vnd.openxmlformats-officedocument.presentationml.slide+xml"/>
  <Override PartName="/ppt/slides/slide6.xml" ContentType="application/vnd.openxmlformats-officedocument.presentationml.slide+xml"/>
  <Override PartName="/ppt/slides/slide5.xml" ContentType="application/vnd.openxmlformats-officedocument.presentationml.slide+xml"/>
  <Override PartName="/ppt/slides/slide4.xml" ContentType="application/vnd.openxmlformats-officedocument.presentationml.slide+xml"/>
  <Override PartName="/ppt/slides/slide3.xml" ContentType="application/vnd.openxmlformats-officedocument.presentationml.slide+xml"/>
  <Override PartName="/ppt/slides/slide2.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20.xml" ContentType="application/vnd.openxmlformats-officedocument.presentationml.slide+xml"/>
  <Override PartName="/ppt/slides/slide19.xml" ContentType="application/vnd.openxmlformats-officedocument.presentationml.slide+xml"/>
  <Override PartName="/ppt/slides/slide18.xml" ContentType="application/vnd.openxmlformats-officedocument.presentationml.slide+xml"/>
  <Override PartName="/ppt/slides/slide17.xml" ContentType="application/vnd.openxmlformats-officedocument.presentationml.slide+xml"/>
  <Override PartName="/ppt/slides/slide16.xml" ContentType="application/vnd.openxmlformats-officedocument.presentationml.slide+xml"/>
  <Override PartName="/ppt/slides/slide15.xml" ContentType="application/vnd.openxmlformats-officedocument.presentationml.slide+xml"/>
  <Override PartName="/ppt/slides/slide14.xml" ContentType="application/vnd.openxmlformats-officedocument.presentationml.slide+xml"/>
  <Override PartName="/ppt/slides/slide1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78.xml" ContentType="application/vnd.openxmlformats-officedocument.presentationml.slide+xml"/>
  <Override PartName="/ppt/slides/slide77.xml" ContentType="application/vnd.openxmlformats-officedocument.presentationml.slide+xml"/>
  <Override PartName="/ppt/slides/slide76.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66.xml" ContentType="application/vnd.openxmlformats-officedocument.presentationml.slide+xml"/>
  <Override PartName="/ppt/slides/slide65.xml" ContentType="application/vnd.openxmlformats-officedocument.presentationml.slide+xml"/>
  <Override PartName="/ppt/slides/slide64.xml" ContentType="application/vnd.openxmlformats-officedocument.presentationml.slide+xml"/>
  <Override PartName="/ppt/slides/slide54.xml" ContentType="application/vnd.openxmlformats-officedocument.presentationml.slide+xml"/>
  <Override PartName="/ppt/slides/slide53.xml" ContentType="application/vnd.openxmlformats-officedocument.presentationml.slide+xml"/>
  <Override PartName="/ppt/slides/slide52.xml" ContentType="application/vnd.openxmlformats-officedocument.presentationml.slide+xml"/>
  <Override PartName="/ppt/slides/slide51.xml" ContentType="application/vnd.openxmlformats-officedocument.presentationml.slide+xml"/>
  <Override PartName="/ppt/slides/slide50.xml" ContentType="application/vnd.openxmlformats-officedocument.presentationml.slide+xml"/>
  <Override PartName="/ppt/slides/slide49.xml" ContentType="application/vnd.openxmlformats-officedocument.presentationml.slide+xml"/>
  <Override PartName="/ppt/slides/slide48.xml" ContentType="application/vnd.openxmlformats-officedocument.presentationml.slide+xml"/>
  <Override PartName="/ppt/slides/slide47.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63.xml" ContentType="application/vnd.openxmlformats-officedocument.presentationml.slide+xml"/>
  <Override PartName="/ppt/slides/slide62.xml" ContentType="application/vnd.openxmlformats-officedocument.presentationml.slide+xml"/>
  <Override PartName="/ppt/slides/slide61.xml" ContentType="application/vnd.openxmlformats-officedocument.presentationml.slide+xml"/>
  <Override PartName="/ppt/slides/slide60.xml" ContentType="application/vnd.openxmlformats-officedocument.presentationml.slide+xml"/>
  <Override PartName="/ppt/slides/slide59.xml" ContentType="application/vnd.openxmlformats-officedocument.presentationml.slide+xml"/>
  <Override PartName="/ppt/slides/slide58.xml" ContentType="application/vnd.openxmlformats-officedocument.presentationml.slide+xml"/>
  <Override PartName="/ppt/slides/slide1.xml" ContentType="application/vnd.openxmlformats-officedocument.presentationml.slide+xml"/>
  <Override PartName="/ppt/slides/slide67.xml" ContentType="application/vnd.openxmlformats-officedocument.presentationml.slide+xml"/>
  <Override PartName="/ppt/slides/slide91.xml" ContentType="application/vnd.openxmlformats-officedocument.presentationml.slide+xml"/>
  <Override PartName="/ppt/slides/slide90.xml" ContentType="application/vnd.openxmlformats-officedocument.presentationml.slide+xml"/>
  <Override PartName="/ppt/notesSlides/notesSlide18.xml" ContentType="application/vnd.openxmlformats-officedocument.presentationml.notesSlide+xml"/>
  <Override PartName="/ppt/slideLayouts/slideLayout16.xml" ContentType="application/vnd.openxmlformats-officedocument.presentationml.slideLayout+xml"/>
  <Override PartName="/ppt/slideLayouts/slideLayout18.xml" ContentType="application/vnd.openxmlformats-officedocument.presentationml.slideLayout+xml"/>
  <Override PartName="/ppt/slideLayouts/slideLayout15.xml" ContentType="application/vnd.openxmlformats-officedocument.presentationml.slideLayout+xml"/>
  <Override PartName="/ppt/notesSlides/notesSlide17.xml" ContentType="application/vnd.openxmlformats-officedocument.presentationml.notesSlide+xml"/>
  <Override PartName="/ppt/slideLayouts/slideLayout17.xml" ContentType="application/vnd.openxmlformats-officedocument.presentationml.slideLayout+xml"/>
  <Override PartName="/ppt/slideLayouts/slideLayout14.xml" ContentType="application/vnd.openxmlformats-officedocument.presentationml.slideLayout+xml"/>
  <Override PartName="/ppt/slideLayouts/slideLayout19.xml" ContentType="application/vnd.openxmlformats-officedocument.presentationml.slideLayout+xml"/>
  <Override PartName="/ppt/notesSlides/notesSlide21.xml" ContentType="application/vnd.openxmlformats-officedocument.presentationml.notesSlide+xml"/>
  <Override PartName="/ppt/notesSlides/notesSlide20.xml" ContentType="application/vnd.openxmlformats-officedocument.presentationml.notesSlide+xml"/>
  <Override PartName="/ppt/slideLayouts/slideLayout13.xml" ContentType="application/vnd.openxmlformats-officedocument.presentationml.slideLayout+xml"/>
  <Override PartName="/ppt/notesSlides/notesSlide19.xml" ContentType="application/vnd.openxmlformats-officedocument.presentationml.notesSlide+xml"/>
  <Override PartName="/ppt/notesSlides/notesSlide16.xml" ContentType="application/vnd.openxmlformats-officedocument.presentationml.notesSlide+xml"/>
  <Override PartName="/ppt/notesSlides/notesSlide13.xml" ContentType="application/vnd.openxmlformats-officedocument.presentationml.notesSlide+xml"/>
  <Override PartName="/ppt/notesSlides/notesSlide12.xml" ContentType="application/vnd.openxmlformats-officedocument.presentationml.notesSlide+xml"/>
  <Override PartName="/ppt/notesSlides/notesSlide11.xml" ContentType="application/vnd.openxmlformats-officedocument.presentationml.notesSlide+xml"/>
  <Override PartName="/ppt/slideLayouts/slideLayout25.xml" ContentType="application/vnd.openxmlformats-officedocument.presentationml.slideLayout+xml"/>
  <Override PartName="/ppt/notesSlides/notesSlide14.xml" ContentType="application/vnd.openxmlformats-officedocument.presentationml.notesSlide+xml"/>
  <Override PartName="/ppt/slideLayouts/slideLayout24.xml" ContentType="application/vnd.openxmlformats-officedocument.presentationml.slideLayout+xml"/>
  <Override PartName="/ppt/notesSlides/notesSlide15.xml" ContentType="application/vnd.openxmlformats-officedocument.presentationml.notesSlid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0.xml" ContentType="application/vnd.openxmlformats-officedocument.presentationml.slideLayout+xml"/>
  <Override PartName="/ppt/slideLayouts/slideLayout26.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1.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notesSlides/notesSlide22.xml" ContentType="application/vnd.openxmlformats-officedocument.presentationml.notesSlide+xml"/>
  <Override PartName="/ppt/slideLayouts/slideLayout28.xml" ContentType="application/vnd.openxmlformats-officedocument.presentationml.slideLayout+xml"/>
  <Override PartName="/ppt/slideMasters/slideMaster3.xml" ContentType="application/vnd.openxmlformats-officedocument.presentationml.slideMaster+xml"/>
  <Override PartName="/ppt/slideMasters/slideMaster2.xml" ContentType="application/vnd.openxmlformats-officedocument.presentationml.slideMaster+xml"/>
  <Override PartName="/ppt/notesSlides/notesSlide8.xml" ContentType="application/vnd.openxmlformats-officedocument.presentationml.notesSlide+xml"/>
  <Override PartName="/ppt/slideLayouts/slideLayout27.xml" ContentType="application/vnd.openxmlformats-officedocument.presentationml.slideLayout+xml"/>
  <Override PartName="/ppt/slideMasters/slideMaster1.xml" ContentType="application/vnd.openxmlformats-officedocument.presentationml.slideMaster+xml"/>
  <Override PartName="/ppt/notesSlides/notesSlide7.xml" ContentType="application/vnd.openxmlformats-officedocument.presentationml.notesSlide+xml"/>
  <Override PartName="/ppt/notesSlides/notesSlide6.xml" ContentType="application/vnd.openxmlformats-officedocument.presentationml.notesSlide+xml"/>
  <Override PartName="/ppt/notesSlides/notesSlide5.xml" ContentType="application/vnd.openxmlformats-officedocument.presentationml.notesSlide+xml"/>
  <Override PartName="/ppt/notesSlides/notesSlide4.xml" ContentType="application/vnd.openxmlformats-officedocument.presentationml.notesSlide+xml"/>
  <Override PartName="/ppt/slideLayouts/slideLayout29.xml" ContentType="application/vnd.openxmlformats-officedocument.presentationml.slideLayout+xml"/>
  <Override PartName="/ppt/notesSlides/notesSlide10.xml" ContentType="application/vnd.openxmlformats-officedocument.presentationml.notesSlid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notesSlides/notesSlide1.xml" ContentType="application/vnd.openxmlformats-officedocument.presentationml.notesSlide+xml"/>
  <Override PartName="/ppt/notesSlides/notesSlide3.xml" ContentType="application/vnd.openxmlformats-officedocument.presentationml.notesSlide+xml"/>
  <Override PartName="/ppt/notesSlides/notesSlide9.xml" ContentType="application/vnd.openxmlformats-officedocument.presentationml.notesSlide+xml"/>
  <Override PartName="/ppt/notesSlides/notesSlide2.xml" ContentType="application/vnd.openxmlformats-officedocument.presentationml.notesSlide+xml"/>
  <Override PartName="/ppt/theme/theme3.xml" ContentType="application/vnd.openxmlformats-officedocument.theme+xml"/>
  <Override PartName="/ppt/theme/theme4.xml" ContentType="application/vnd.openxmlformats-officedocument.theme+xml"/>
  <Override PartName="/ppt/theme/theme2.xml" ContentType="application/vnd.openxmlformats-officedocument.theme+xml"/>
  <Override PartName="/ppt/commentAuthors.xml" ContentType="application/vnd.openxmlformats-officedocument.presentationml.commentAuthors+xml"/>
  <Override PartName="/ppt/theme/theme1.xml" ContentType="application/vnd.openxmlformats-officedocument.theme+xml"/>
  <Override PartName="/ppt/notesMasters/notesMaster1.xml" ContentType="application/vnd.openxmlformats-officedocument.presentationml.notesMaster+xml"/>
  <Override PartName="/ppt/comments/comment1.xml" ContentType="application/vnd.openxmlformats-officedocument.presentationml.comments+xml"/>
  <Override PartName="/ppt/comments/comment2.xml" ContentType="application/vnd.openxmlformats-officedocument.presentationml.comments+xml"/>
  <Override PartName="/ppt/comments/comment8.xml" ContentType="application/vnd.openxmlformats-officedocument.presentationml.comments+xml"/>
  <Override PartName="/ppt/comments/comment9.xml" ContentType="application/vnd.openxmlformats-officedocument.presentationml.comments+xml"/>
  <Override PartName="/ppt/comments/comment7.xml" ContentType="application/vnd.openxmlformats-officedocument.presentationml.comments+xml"/>
  <Override PartName="/ppt/comments/comment6.xml" ContentType="application/vnd.openxmlformats-officedocument.presentationml.comments+xml"/>
  <Override PartName="/ppt/comments/comment5.xml" ContentType="application/vnd.openxmlformats-officedocument.presentationml.comments+xml"/>
  <Override PartName="/ppt/comments/comment4.xml" ContentType="application/vnd.openxmlformats-officedocument.presentationml.comments+xml"/>
  <Override PartName="/ppt/comments/comment3.xml" ContentType="application/vnd.openxmlformats-officedocument.presentationml.comments+xml"/>
  <Override PartName="/ppt/presProps.xml" ContentType="application/vnd.openxmlformats-officedocument.presentationml.presProps+xml"/>
  <Override PartName="/ppt/tableStyles.xml" ContentType="application/vnd.openxmlformats-officedocument.presentationml.tableStyles+xml"/>
  <Override PartName="/ppt/viewProps.xml" ContentType="application/vnd.openxmlformats-officedocument.presentationml.viewProps+xml"/>
  <Override PartName="/ppt/tags/tag2.xml" ContentType="application/vnd.openxmlformats-officedocument.presentationml.tags+xml"/>
  <Override PartName="/ppt/tags/tag1.xml" ContentType="application/vnd.openxmlformats-officedocument.presentationml.tags+xml"/>
  <Override PartName="/customXml/itemProps3.xml" ContentType="application/vnd.openxmlformats-officedocument.customXmlProperties+xml"/>
  <Override PartName="/ppt/tags/tag4.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customXml/itemProps2.xml" ContentType="application/vnd.openxmlformats-officedocument.customXmlPropertie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customXml/itemProps1.xml" ContentType="application/vnd.openxmlformats-officedocument.customXmlProperties+xml"/>
  <Override PartName="/ppt/tags/tag3.xml" ContentType="application/vnd.openxmlformats-officedocument.presentationml.tags+xml"/>
  <Override PartName="/customXml/itemProps5.xml" ContentType="application/vnd.openxmlformats-officedocument.customXmlProperties+xml"/>
  <Override PartName="/customXml/itemProps4.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4" r:id="rId5"/>
    <p:sldMasterId id="2147483688" r:id="rId6"/>
  </p:sldMasterIdLst>
  <p:notesMasterIdLst>
    <p:notesMasterId r:id="rId102"/>
  </p:notesMasterIdLst>
  <p:sldIdLst>
    <p:sldId id="282" r:id="rId7"/>
    <p:sldId id="293" r:id="rId8"/>
    <p:sldId id="387" r:id="rId9"/>
    <p:sldId id="363" r:id="rId10"/>
    <p:sldId id="383" r:id="rId11"/>
    <p:sldId id="384" r:id="rId12"/>
    <p:sldId id="296" r:id="rId13"/>
    <p:sldId id="382" r:id="rId14"/>
    <p:sldId id="368" r:id="rId15"/>
    <p:sldId id="369" r:id="rId16"/>
    <p:sldId id="371" r:id="rId17"/>
    <p:sldId id="392" r:id="rId18"/>
    <p:sldId id="364" r:id="rId19"/>
    <p:sldId id="366" r:id="rId20"/>
    <p:sldId id="367" r:id="rId21"/>
    <p:sldId id="318" r:id="rId22"/>
    <p:sldId id="319" r:id="rId23"/>
    <p:sldId id="350" r:id="rId24"/>
    <p:sldId id="317" r:id="rId25"/>
    <p:sldId id="361" r:id="rId26"/>
    <p:sldId id="362" r:id="rId27"/>
    <p:sldId id="370" r:id="rId28"/>
    <p:sldId id="385" r:id="rId29"/>
    <p:sldId id="386" r:id="rId30"/>
    <p:sldId id="394" r:id="rId31"/>
    <p:sldId id="395" r:id="rId32"/>
    <p:sldId id="393" r:id="rId33"/>
    <p:sldId id="297" r:id="rId34"/>
    <p:sldId id="304" r:id="rId35"/>
    <p:sldId id="320" r:id="rId36"/>
    <p:sldId id="321" r:id="rId37"/>
    <p:sldId id="397" r:id="rId38"/>
    <p:sldId id="398" r:id="rId39"/>
    <p:sldId id="313" r:id="rId40"/>
    <p:sldId id="322" r:id="rId41"/>
    <p:sldId id="396" r:id="rId42"/>
    <p:sldId id="312" r:id="rId43"/>
    <p:sldId id="323" r:id="rId44"/>
    <p:sldId id="325" r:id="rId45"/>
    <p:sldId id="315" r:id="rId46"/>
    <p:sldId id="308" r:id="rId47"/>
    <p:sldId id="301" r:id="rId48"/>
    <p:sldId id="359" r:id="rId49"/>
    <p:sldId id="389" r:id="rId50"/>
    <p:sldId id="351" r:id="rId51"/>
    <p:sldId id="352" r:id="rId52"/>
    <p:sldId id="353" r:id="rId53"/>
    <p:sldId id="358" r:id="rId54"/>
    <p:sldId id="402" r:id="rId55"/>
    <p:sldId id="403" r:id="rId56"/>
    <p:sldId id="404" r:id="rId57"/>
    <p:sldId id="388" r:id="rId58"/>
    <p:sldId id="326" r:id="rId59"/>
    <p:sldId id="344" r:id="rId60"/>
    <p:sldId id="345" r:id="rId61"/>
    <p:sldId id="343" r:id="rId62"/>
    <p:sldId id="341" r:id="rId63"/>
    <p:sldId id="335" r:id="rId64"/>
    <p:sldId id="346" r:id="rId65"/>
    <p:sldId id="400" r:id="rId66"/>
    <p:sldId id="401" r:id="rId67"/>
    <p:sldId id="399" r:id="rId68"/>
    <p:sldId id="337" r:id="rId69"/>
    <p:sldId id="339" r:id="rId70"/>
    <p:sldId id="347" r:id="rId71"/>
    <p:sldId id="332" r:id="rId72"/>
    <p:sldId id="348" r:id="rId73"/>
    <p:sldId id="349" r:id="rId74"/>
    <p:sldId id="286" r:id="rId75"/>
    <p:sldId id="257" r:id="rId76"/>
    <p:sldId id="261" r:id="rId77"/>
    <p:sldId id="374" r:id="rId78"/>
    <p:sldId id="272" r:id="rId79"/>
    <p:sldId id="378" r:id="rId80"/>
    <p:sldId id="377" r:id="rId81"/>
    <p:sldId id="271" r:id="rId82"/>
    <p:sldId id="379" r:id="rId83"/>
    <p:sldId id="273" r:id="rId84"/>
    <p:sldId id="381" r:id="rId85"/>
    <p:sldId id="281" r:id="rId86"/>
    <p:sldId id="292" r:id="rId87"/>
    <p:sldId id="405" r:id="rId88"/>
    <p:sldId id="406" r:id="rId89"/>
    <p:sldId id="407" r:id="rId90"/>
    <p:sldId id="408" r:id="rId91"/>
    <p:sldId id="409" r:id="rId92"/>
    <p:sldId id="410" r:id="rId93"/>
    <p:sldId id="411" r:id="rId94"/>
    <p:sldId id="412" r:id="rId95"/>
    <p:sldId id="413" r:id="rId96"/>
    <p:sldId id="414" r:id="rId97"/>
    <p:sldId id="415" r:id="rId98"/>
    <p:sldId id="416" r:id="rId99"/>
    <p:sldId id="417" r:id="rId100"/>
    <p:sldId id="391" r:id="rId10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Nishant Thacker" initials="NT" lastIdx="9" clrIdx="0">
    <p:extLst>
      <p:ext uri="{19B8F6BF-5375-455C-9EA6-DF929625EA0E}">
        <p15:presenceInfo xmlns:p15="http://schemas.microsoft.com/office/powerpoint/2012/main" userId="S-1-5-21-2127521184-1604012920-1887927527-16970038" providerId="AD"/>
      </p:ext>
    </p:extLst>
  </p:cmAuthor>
  <p:cmAuthor id="2" name="Scott Knackstedt" initials="SK" lastIdx="1" clrIdx="1">
    <p:extLst>
      <p:ext uri="{19B8F6BF-5375-455C-9EA6-DF929625EA0E}">
        <p15:presenceInfo xmlns:p15="http://schemas.microsoft.com/office/powerpoint/2012/main" userId="Scott Knackstedt"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1E5FF"/>
    <a:srgbClr val="F4E4F8"/>
    <a:srgbClr val="B957D2"/>
    <a:srgbClr val="FFCC00"/>
    <a:srgbClr val="B48900"/>
    <a:srgbClr val="C9F3FF"/>
    <a:srgbClr val="E5F9FF"/>
    <a:srgbClr val="E1F9FF"/>
    <a:srgbClr val="000000"/>
    <a:srgbClr val="A5EEF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664" autoAdjust="0"/>
    <p:restoredTop sz="94672" autoAdjust="0"/>
  </p:normalViewPr>
  <p:slideViewPr>
    <p:cSldViewPr snapToGrid="0">
      <p:cViewPr varScale="1">
        <p:scale>
          <a:sx n="69" d="100"/>
          <a:sy n="69" d="100"/>
        </p:scale>
        <p:origin x="792" y="66"/>
      </p:cViewPr>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p:cViewPr varScale="1">
        <p:scale>
          <a:sx n="85" d="100"/>
          <a:sy n="85" d="100"/>
        </p:scale>
        <p:origin x="2316" y="108"/>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slide" Target="slides/slide57.xml"/><Relationship Id="rId68" Type="http://schemas.openxmlformats.org/officeDocument/2006/relationships/slide" Target="slides/slide62.xml"/><Relationship Id="rId84" Type="http://schemas.openxmlformats.org/officeDocument/2006/relationships/slide" Target="slides/slide78.xml"/><Relationship Id="rId89" Type="http://schemas.openxmlformats.org/officeDocument/2006/relationships/slide" Target="slides/slide83.xml"/><Relationship Id="rId16" Type="http://schemas.openxmlformats.org/officeDocument/2006/relationships/slide" Target="slides/slide10.xml"/><Relationship Id="rId107" Type="http://schemas.openxmlformats.org/officeDocument/2006/relationships/tableStyles" Target="tableStyles.xml"/><Relationship Id="rId11" Type="http://schemas.openxmlformats.org/officeDocument/2006/relationships/slide" Target="slides/slide5.xml"/><Relationship Id="rId32" Type="http://schemas.openxmlformats.org/officeDocument/2006/relationships/slide" Target="slides/slide26.xml"/><Relationship Id="rId37" Type="http://schemas.openxmlformats.org/officeDocument/2006/relationships/slide" Target="slides/slide31.xml"/><Relationship Id="rId53" Type="http://schemas.openxmlformats.org/officeDocument/2006/relationships/slide" Target="slides/slide47.xml"/><Relationship Id="rId58" Type="http://schemas.openxmlformats.org/officeDocument/2006/relationships/slide" Target="slides/slide52.xml"/><Relationship Id="rId74" Type="http://schemas.openxmlformats.org/officeDocument/2006/relationships/slide" Target="slides/slide68.xml"/><Relationship Id="rId79" Type="http://schemas.openxmlformats.org/officeDocument/2006/relationships/slide" Target="slides/slide73.xml"/><Relationship Id="rId102" Type="http://schemas.openxmlformats.org/officeDocument/2006/relationships/notesMaster" Target="notesMasters/notesMaster1.xml"/><Relationship Id="rId5" Type="http://schemas.openxmlformats.org/officeDocument/2006/relationships/slideMaster" Target="slideMasters/slideMaster2.xml"/><Relationship Id="rId90" Type="http://schemas.openxmlformats.org/officeDocument/2006/relationships/slide" Target="slides/slide84.xml"/><Relationship Id="rId95" Type="http://schemas.openxmlformats.org/officeDocument/2006/relationships/slide" Target="slides/slide89.xml"/><Relationship Id="rId22" Type="http://schemas.openxmlformats.org/officeDocument/2006/relationships/slide" Target="slides/slide16.xml"/><Relationship Id="rId27" Type="http://schemas.openxmlformats.org/officeDocument/2006/relationships/slide" Target="slides/slide21.xml"/><Relationship Id="rId43" Type="http://schemas.openxmlformats.org/officeDocument/2006/relationships/slide" Target="slides/slide37.xml"/><Relationship Id="rId48" Type="http://schemas.openxmlformats.org/officeDocument/2006/relationships/slide" Target="slides/slide42.xml"/><Relationship Id="rId64" Type="http://schemas.openxmlformats.org/officeDocument/2006/relationships/slide" Target="slides/slide58.xml"/><Relationship Id="rId69" Type="http://schemas.openxmlformats.org/officeDocument/2006/relationships/slide" Target="slides/slide63.xml"/><Relationship Id="rId80" Type="http://schemas.openxmlformats.org/officeDocument/2006/relationships/slide" Target="slides/slide74.xml"/><Relationship Id="rId85" Type="http://schemas.openxmlformats.org/officeDocument/2006/relationships/slide" Target="slides/slide79.xml"/><Relationship Id="rId12" Type="http://schemas.openxmlformats.org/officeDocument/2006/relationships/slide" Target="slides/slide6.xml"/><Relationship Id="rId17" Type="http://schemas.openxmlformats.org/officeDocument/2006/relationships/slide" Target="slides/slide11.xml"/><Relationship Id="rId33" Type="http://schemas.openxmlformats.org/officeDocument/2006/relationships/slide" Target="slides/slide27.xml"/><Relationship Id="rId38" Type="http://schemas.openxmlformats.org/officeDocument/2006/relationships/slide" Target="slides/slide32.xml"/><Relationship Id="rId59" Type="http://schemas.openxmlformats.org/officeDocument/2006/relationships/slide" Target="slides/slide53.xml"/><Relationship Id="rId103" Type="http://schemas.openxmlformats.org/officeDocument/2006/relationships/commentAuthors" Target="commentAuthors.xml"/><Relationship Id="rId108" Type="http://schemas.openxmlformats.org/officeDocument/2006/relationships/customXml" Target="../customXml/item4.xml"/><Relationship Id="rId54" Type="http://schemas.openxmlformats.org/officeDocument/2006/relationships/slide" Target="slides/slide48.xml"/><Relationship Id="rId70" Type="http://schemas.openxmlformats.org/officeDocument/2006/relationships/slide" Target="slides/slide64.xml"/><Relationship Id="rId75" Type="http://schemas.openxmlformats.org/officeDocument/2006/relationships/slide" Target="slides/slide69.xml"/><Relationship Id="rId91" Type="http://schemas.openxmlformats.org/officeDocument/2006/relationships/slide" Target="slides/slide85.xml"/><Relationship Id="rId96" Type="http://schemas.openxmlformats.org/officeDocument/2006/relationships/slide" Target="slides/slide90.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6" Type="http://schemas.openxmlformats.org/officeDocument/2006/relationships/theme" Target="theme/theme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slide" Target="slides/slide67.xml"/><Relationship Id="rId78" Type="http://schemas.openxmlformats.org/officeDocument/2006/relationships/slide" Target="slides/slide72.xml"/><Relationship Id="rId81" Type="http://schemas.openxmlformats.org/officeDocument/2006/relationships/slide" Target="slides/slide75.xml"/><Relationship Id="rId86" Type="http://schemas.openxmlformats.org/officeDocument/2006/relationships/slide" Target="slides/slide80.xml"/><Relationship Id="rId94" Type="http://schemas.openxmlformats.org/officeDocument/2006/relationships/slide" Target="slides/slide88.xml"/><Relationship Id="rId99" Type="http://schemas.openxmlformats.org/officeDocument/2006/relationships/slide" Target="slides/slide93.xml"/><Relationship Id="rId101" Type="http://schemas.openxmlformats.org/officeDocument/2006/relationships/slide" Target="slides/slide95.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109" Type="http://schemas.openxmlformats.org/officeDocument/2006/relationships/customXml" Target="../customXml/item5.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 Id="rId76" Type="http://schemas.openxmlformats.org/officeDocument/2006/relationships/slide" Target="slides/slide70.xml"/><Relationship Id="rId97" Type="http://schemas.openxmlformats.org/officeDocument/2006/relationships/slide" Target="slides/slide91.xml"/><Relationship Id="rId104" Type="http://schemas.openxmlformats.org/officeDocument/2006/relationships/presProps" Target="presProps.xml"/><Relationship Id="rId7" Type="http://schemas.openxmlformats.org/officeDocument/2006/relationships/slide" Target="slides/slide1.xml"/><Relationship Id="rId71" Type="http://schemas.openxmlformats.org/officeDocument/2006/relationships/slide" Target="slides/slide65.xml"/><Relationship Id="rId92" Type="http://schemas.openxmlformats.org/officeDocument/2006/relationships/slide" Target="slides/slide86.xml"/><Relationship Id="rId2" Type="http://schemas.openxmlformats.org/officeDocument/2006/relationships/customXml" Target="../customXml/item2.xml"/><Relationship Id="rId29" Type="http://schemas.openxmlformats.org/officeDocument/2006/relationships/slide" Target="slides/slide23.xml"/><Relationship Id="rId24" Type="http://schemas.openxmlformats.org/officeDocument/2006/relationships/slide" Target="slides/slide18.xml"/><Relationship Id="rId40" Type="http://schemas.openxmlformats.org/officeDocument/2006/relationships/slide" Target="slides/slide34.xml"/><Relationship Id="rId45" Type="http://schemas.openxmlformats.org/officeDocument/2006/relationships/slide" Target="slides/slide39.xml"/><Relationship Id="rId66" Type="http://schemas.openxmlformats.org/officeDocument/2006/relationships/slide" Target="slides/slide60.xml"/><Relationship Id="rId87" Type="http://schemas.openxmlformats.org/officeDocument/2006/relationships/slide" Target="slides/slide81.xml"/><Relationship Id="rId61" Type="http://schemas.openxmlformats.org/officeDocument/2006/relationships/slide" Target="slides/slide55.xml"/><Relationship Id="rId82" Type="http://schemas.openxmlformats.org/officeDocument/2006/relationships/slide" Target="slides/slide76.xml"/><Relationship Id="rId19" Type="http://schemas.openxmlformats.org/officeDocument/2006/relationships/slide" Target="slides/slide13.xml"/><Relationship Id="rId14" Type="http://schemas.openxmlformats.org/officeDocument/2006/relationships/slide" Target="slides/slide8.xml"/><Relationship Id="rId30" Type="http://schemas.openxmlformats.org/officeDocument/2006/relationships/slide" Target="slides/slide24.xml"/><Relationship Id="rId35" Type="http://schemas.openxmlformats.org/officeDocument/2006/relationships/slide" Target="slides/slide29.xml"/><Relationship Id="rId56" Type="http://schemas.openxmlformats.org/officeDocument/2006/relationships/slide" Target="slides/slide50.xml"/><Relationship Id="rId77" Type="http://schemas.openxmlformats.org/officeDocument/2006/relationships/slide" Target="slides/slide71.xml"/><Relationship Id="rId100" Type="http://schemas.openxmlformats.org/officeDocument/2006/relationships/slide" Target="slides/slide94.xml"/><Relationship Id="rId105" Type="http://schemas.openxmlformats.org/officeDocument/2006/relationships/viewProps" Target="viewProps.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slide" Target="slides/slide66.xml"/><Relationship Id="rId93" Type="http://schemas.openxmlformats.org/officeDocument/2006/relationships/slide" Target="slides/slide87.xml"/><Relationship Id="rId98" Type="http://schemas.openxmlformats.org/officeDocument/2006/relationships/slide" Target="slides/slide92.xml"/><Relationship Id="rId3" Type="http://schemas.openxmlformats.org/officeDocument/2006/relationships/customXml" Target="../customXml/item3.xml"/><Relationship Id="rId25" Type="http://schemas.openxmlformats.org/officeDocument/2006/relationships/slide" Target="slides/slide19.xml"/><Relationship Id="rId46" Type="http://schemas.openxmlformats.org/officeDocument/2006/relationships/slide" Target="slides/slide40.xml"/><Relationship Id="rId67" Type="http://schemas.openxmlformats.org/officeDocument/2006/relationships/slide" Target="slides/slide61.xml"/><Relationship Id="rId20" Type="http://schemas.openxmlformats.org/officeDocument/2006/relationships/slide" Target="slides/slide14.xml"/><Relationship Id="rId41" Type="http://schemas.openxmlformats.org/officeDocument/2006/relationships/slide" Target="slides/slide35.xml"/><Relationship Id="rId62" Type="http://schemas.openxmlformats.org/officeDocument/2006/relationships/slide" Target="slides/slide56.xml"/><Relationship Id="rId83" Type="http://schemas.openxmlformats.org/officeDocument/2006/relationships/slide" Target="slides/slide77.xml"/><Relationship Id="rId88" Type="http://schemas.openxmlformats.org/officeDocument/2006/relationships/slide" Target="slides/slide82.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17-01-05T19:41:21.172" idx="4">
    <p:pos x="10" y="10"/>
    <p:text>Replace the elephant icon with the Kafka icon on the left pane</p:text>
    <p:extLst>
      <p:ext uri="{C676402C-5697-4E1C-873F-D02D1690AC5C}">
        <p15:threadingInfo xmlns:p15="http://schemas.microsoft.com/office/powerpoint/2012/main" timeZoneBias="48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2" dt="2016-12-20T17:17:06.779" idx="1">
    <p:pos x="10" y="10"/>
    <p:text>To show volume of data, play around with cylinder sizes for the 'partitions', or consider some alternative</p:text>
    <p:extLst>
      <p:ext uri="{C676402C-5697-4E1C-873F-D02D1690AC5C}">
        <p15:threadingInfo xmlns:p15="http://schemas.microsoft.com/office/powerpoint/2012/main" timeZoneBias="480"/>
      </p:ext>
    </p:extLst>
  </p:cm>
</p:cmLst>
</file>

<file path=ppt/comments/comment3.xml><?xml version="1.0" encoding="utf-8"?>
<p:cmLst xmlns:a="http://schemas.openxmlformats.org/drawingml/2006/main" xmlns:r="http://schemas.openxmlformats.org/officeDocument/2006/relationships" xmlns:p="http://schemas.openxmlformats.org/presentationml/2006/main">
  <p:cm authorId="1" dt="2017-01-05T19:41:47.334" idx="5">
    <p:pos x="10" y="10"/>
    <p:text>Replace the elephant icon with the Kafka icon on the left pane</p:text>
    <p:extLst>
      <p:ext uri="{C676402C-5697-4E1C-873F-D02D1690AC5C}">
        <p15:threadingInfo xmlns:p15="http://schemas.microsoft.com/office/powerpoint/2012/main" timeZoneBias="480"/>
      </p:ext>
    </p:extLst>
  </p:cm>
</p:cmLst>
</file>

<file path=ppt/comments/comment4.xml><?xml version="1.0" encoding="utf-8"?>
<p:cmLst xmlns:a="http://schemas.openxmlformats.org/drawingml/2006/main" xmlns:r="http://schemas.openxmlformats.org/officeDocument/2006/relationships" xmlns:p="http://schemas.openxmlformats.org/presentationml/2006/main">
  <p:cm authorId="1" dt="2017-01-05T19:41:51.567" idx="6">
    <p:pos x="10" y="10"/>
    <p:text>Replace the elephant icon with the Kafka icon on the left pane</p:text>
    <p:extLst>
      <p:ext uri="{C676402C-5697-4E1C-873F-D02D1690AC5C}">
        <p15:threadingInfo xmlns:p15="http://schemas.microsoft.com/office/powerpoint/2012/main" timeZoneBias="480"/>
      </p:ext>
    </p:extLst>
  </p:cm>
</p:cmLst>
</file>

<file path=ppt/comments/comment5.xml><?xml version="1.0" encoding="utf-8"?>
<p:cmLst xmlns:a="http://schemas.openxmlformats.org/drawingml/2006/main" xmlns:r="http://schemas.openxmlformats.org/officeDocument/2006/relationships" xmlns:p="http://schemas.openxmlformats.org/presentationml/2006/main">
  <p:cm authorId="1" dt="2017-01-05T19:41:56.726" idx="7">
    <p:pos x="10" y="10"/>
    <p:text>Replace the elephant icon with the Kafka icon on the left pane</p:text>
    <p:extLst>
      <p:ext uri="{C676402C-5697-4E1C-873F-D02D1690AC5C}">
        <p15:threadingInfo xmlns:p15="http://schemas.microsoft.com/office/powerpoint/2012/main" timeZoneBias="480"/>
      </p:ext>
    </p:extLst>
  </p:cm>
</p:cmLst>
</file>

<file path=ppt/comments/comment6.xml><?xml version="1.0" encoding="utf-8"?>
<p:cmLst xmlns:a="http://schemas.openxmlformats.org/drawingml/2006/main" xmlns:r="http://schemas.openxmlformats.org/officeDocument/2006/relationships" xmlns:p="http://schemas.openxmlformats.org/presentationml/2006/main">
  <p:cm authorId="1" dt="2017-01-05T19:42:00.812" idx="8">
    <p:pos x="10" y="10"/>
    <p:text>Replace the elephant icon with the Kafka icon on the left pane</p:text>
    <p:extLst>
      <p:ext uri="{C676402C-5697-4E1C-873F-D02D1690AC5C}">
        <p15:threadingInfo xmlns:p15="http://schemas.microsoft.com/office/powerpoint/2012/main" timeZoneBias="480"/>
      </p:ext>
    </p:extLst>
  </p:cm>
</p:cmLst>
</file>

<file path=ppt/comments/comment7.xml><?xml version="1.0" encoding="utf-8"?>
<p:cmLst xmlns:a="http://schemas.openxmlformats.org/drawingml/2006/main" xmlns:r="http://schemas.openxmlformats.org/officeDocument/2006/relationships" xmlns:p="http://schemas.openxmlformats.org/presentationml/2006/main">
  <p:cm authorId="1" dt="2017-01-05T19:42:04.234" idx="9">
    <p:pos x="10" y="10"/>
    <p:text>Replace the elephant icon with the Kafka icon on the left pane</p:text>
    <p:extLst>
      <p:ext uri="{C676402C-5697-4E1C-873F-D02D1690AC5C}">
        <p15:threadingInfo xmlns:p15="http://schemas.microsoft.com/office/powerpoint/2012/main" timeZoneBias="480"/>
      </p:ext>
    </p:extLst>
  </p:cm>
</p:cmLst>
</file>

<file path=ppt/comments/comment8.xml><?xml version="1.0" encoding="utf-8"?>
<p:cmLst xmlns:a="http://schemas.openxmlformats.org/drawingml/2006/main" xmlns:r="http://schemas.openxmlformats.org/officeDocument/2006/relationships" xmlns:p="http://schemas.openxmlformats.org/presentationml/2006/main">
  <p:cm authorId="1" dt="2017-01-05T19:40:17.375" idx="2">
    <p:pos x="5938" y="3688"/>
    <p:text>Can align the table to center of slide</p:text>
    <p:extLst>
      <p:ext uri="{C676402C-5697-4E1C-873F-D02D1690AC5C}">
        <p15:threadingInfo xmlns:p15="http://schemas.microsoft.com/office/powerpoint/2012/main" timeZoneBias="480"/>
      </p:ext>
    </p:extLst>
  </p:cm>
</p:cmLst>
</file>

<file path=ppt/comments/comment9.xml><?xml version="1.0" encoding="utf-8"?>
<p:cmLst xmlns:a="http://schemas.openxmlformats.org/drawingml/2006/main" xmlns:r="http://schemas.openxmlformats.org/officeDocument/2006/relationships" xmlns:p="http://schemas.openxmlformats.org/presentationml/2006/main">
  <p:cm authorId="1" dt="2017-01-05T19:40:47.036" idx="3">
    <p:pos x="6461" y="3426"/>
    <p:text>Can align the table to center of slide</p:text>
    <p:extLst>
      <p:ext uri="{C676402C-5697-4E1C-873F-D02D1690AC5C}">
        <p15:threadingInfo xmlns:p15="http://schemas.microsoft.com/office/powerpoint/2012/main" timeZoneBias="48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E3B9CED-B877-4AA5-AAD6-478829F8DEA7}" type="datetimeFigureOut">
              <a:rPr lang="en-US" smtClean="0"/>
              <a:t>1/11/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8B1BB6A-F914-4B73-90ED-4E922066D54E}" type="slidenum">
              <a:rPr lang="en-US" smtClean="0"/>
              <a:t>‹#›</a:t>
            </a:fld>
            <a:endParaRPr lang="en-US"/>
          </a:p>
        </p:txBody>
      </p:sp>
    </p:spTree>
    <p:extLst>
      <p:ext uri="{BB962C8B-B14F-4D97-AF65-F5344CB8AC3E}">
        <p14:creationId xmlns:p14="http://schemas.microsoft.com/office/powerpoint/2010/main" val="174342903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storm.apache.org/documentation/Powered-By.html" TargetMode="External"/><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www.windowsazure.com/en-us/manage/services/hdinsight/using-mapreduce-with-hdinsight/"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hortonworks.com/blog/expressing-data-processing-in-apache-tez/"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www.larsgeorge.com/2010/01/hbase-architecture-101-write-ahead-log.html" TargetMode="External"/><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C5C565FA-3C99-4787-98A7-FCE46D2F55AF}" type="datetime1">
              <a:rPr lang="en-US" smtClean="0">
                <a:solidFill>
                  <a:prstClr val="black"/>
                </a:solidFill>
              </a:rPr>
              <a:pPr/>
              <a:t>1/11/20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3600417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Tech Ready 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A8FA4F2D-4EFF-4AD4-9494-DBEEEF16AFAB}" type="datetime1">
              <a:rPr lang="en-US" smtClean="0">
                <a:solidFill>
                  <a:prstClr val="black"/>
                </a:solidFill>
              </a:rPr>
              <a:pPr/>
              <a:t>1/11/2017</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1</a:t>
            </a:fld>
            <a:endParaRPr lang="en-US" dirty="0">
              <a:solidFill>
                <a:prstClr val="black"/>
              </a:solidFill>
            </a:endParaRPr>
          </a:p>
        </p:txBody>
      </p:sp>
    </p:spTree>
    <p:extLst>
      <p:ext uri="{BB962C8B-B14F-4D97-AF65-F5344CB8AC3E}">
        <p14:creationId xmlns:p14="http://schemas.microsoft.com/office/powerpoint/2010/main" val="89011250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D3A3F86D-4C8F-464B-A38B-16418B26E064}" type="datetime1">
              <a:rPr lang="en-US" smtClean="0">
                <a:solidFill>
                  <a:prstClr val="black"/>
                </a:solidFill>
              </a:rPr>
              <a:pPr/>
              <a:t>1/11/2017</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76</a:t>
            </a:fld>
            <a:endParaRPr lang="en-US" dirty="0">
              <a:solidFill>
                <a:prstClr val="black"/>
              </a:solidFill>
            </a:endParaRPr>
          </a:p>
        </p:txBody>
      </p:sp>
    </p:spTree>
    <p:extLst>
      <p:ext uri="{BB962C8B-B14F-4D97-AF65-F5344CB8AC3E}">
        <p14:creationId xmlns:p14="http://schemas.microsoft.com/office/powerpoint/2010/main" val="387579641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indent="0">
              <a:lnSpc>
                <a:spcPct val="100000"/>
              </a:lnSpc>
              <a:spcBef>
                <a:spcPts val="600"/>
              </a:spcBef>
              <a:buNone/>
            </a:pPr>
            <a:r>
              <a:rPr lang="en-US" sz="1800" kern="1200" dirty="0">
                <a:solidFill>
                  <a:schemeClr val="tx1"/>
                </a:solidFill>
                <a:latin typeface="Segoe UI Light" pitchFamily="34" charset="0"/>
                <a:ea typeface="+mn-ea"/>
                <a:cs typeface="+mn-cs"/>
              </a:rPr>
              <a:t>Provide Open source Apache Storm as a fully </a:t>
            </a:r>
            <a:r>
              <a:rPr lang="en-US" sz="1800" dirty="0">
                <a:latin typeface="Segoe UI Semibold" panose="020B0702040204020203" pitchFamily="34" charset="0"/>
                <a:cs typeface="Segoe UI Semibold" panose="020B0702040204020203" pitchFamily="34" charset="0"/>
              </a:rPr>
              <a:t>managed service</a:t>
            </a:r>
          </a:p>
          <a:p>
            <a:pPr marL="342900" lvl="1" indent="0">
              <a:lnSpc>
                <a:spcPct val="100000"/>
              </a:lnSpc>
              <a:spcBef>
                <a:spcPts val="100"/>
              </a:spcBef>
              <a:spcAft>
                <a:spcPts val="300"/>
              </a:spcAft>
              <a:buNone/>
            </a:pPr>
            <a:r>
              <a:rPr lang="en-US" sz="1400" dirty="0"/>
              <a:t>SLA of 99.9% up time </a:t>
            </a:r>
          </a:p>
          <a:p>
            <a:pPr lvl="0" indent="0">
              <a:lnSpc>
                <a:spcPct val="100000"/>
              </a:lnSpc>
              <a:spcBef>
                <a:spcPts val="600"/>
              </a:spcBef>
              <a:buNone/>
            </a:pPr>
            <a:r>
              <a:rPr lang="en-US" sz="1800" kern="1200" dirty="0">
                <a:solidFill>
                  <a:schemeClr val="tx1"/>
                </a:solidFill>
                <a:latin typeface="Segoe UI Light" pitchFamily="34" charset="0"/>
                <a:ea typeface="+mn-ea"/>
                <a:cs typeface="+mn-cs"/>
              </a:rPr>
              <a:t>Build analytics pipeline on industry leading </a:t>
            </a:r>
            <a:r>
              <a:rPr lang="en-US" sz="1800" dirty="0">
                <a:latin typeface="Segoe UI Semibold" panose="020B0702040204020203" pitchFamily="34" charset="0"/>
                <a:cs typeface="Segoe UI Semibold" panose="020B0702040204020203" pitchFamily="34" charset="0"/>
              </a:rPr>
              <a:t>open source platform</a:t>
            </a:r>
          </a:p>
          <a:p>
            <a:pPr marL="342900" lvl="1" indent="0">
              <a:lnSpc>
                <a:spcPct val="100000"/>
              </a:lnSpc>
              <a:spcBef>
                <a:spcPts val="100"/>
              </a:spcBef>
              <a:spcAft>
                <a:spcPts val="300"/>
              </a:spcAft>
              <a:buNone/>
            </a:pPr>
            <a:r>
              <a:rPr lang="en-US" sz="1400" dirty="0"/>
              <a:t>Examples of some of the companies running on Apache Storm: </a:t>
            </a:r>
            <a:r>
              <a:rPr lang="en-US" sz="1400" dirty="0">
                <a:hlinkClick r:id="rId3"/>
              </a:rPr>
              <a:t>https://storm.apache.org/documentation/Powered-By.html</a:t>
            </a:r>
            <a:r>
              <a:rPr lang="en-US" sz="1400" dirty="0"/>
              <a:t> </a:t>
            </a:r>
          </a:p>
          <a:p>
            <a:pPr lvl="0" indent="0">
              <a:lnSpc>
                <a:spcPct val="100000"/>
              </a:lnSpc>
              <a:spcBef>
                <a:spcPts val="600"/>
              </a:spcBef>
              <a:buNone/>
            </a:pPr>
            <a:r>
              <a:rPr lang="en-US" sz="1800" kern="1200" dirty="0">
                <a:solidFill>
                  <a:schemeClr val="tx1"/>
                </a:solidFill>
                <a:latin typeface="Segoe UI Light" pitchFamily="34" charset="0"/>
                <a:ea typeface="+mn-ea"/>
                <a:cs typeface="+mn-cs"/>
              </a:rPr>
              <a:t>Analyze millions of messages per second</a:t>
            </a:r>
          </a:p>
          <a:p>
            <a:pPr marL="342900" lvl="1" indent="0">
              <a:lnSpc>
                <a:spcPct val="100000"/>
              </a:lnSpc>
              <a:spcBef>
                <a:spcPts val="100"/>
              </a:spcBef>
              <a:spcAft>
                <a:spcPts val="300"/>
              </a:spcAft>
              <a:buNone/>
            </a:pPr>
            <a:r>
              <a:rPr lang="en-US" sz="1400" dirty="0" err="1"/>
              <a:t>HDInsight</a:t>
            </a:r>
            <a:r>
              <a:rPr lang="en-US" sz="1400" dirty="0"/>
              <a:t> team runs a lab test that processes </a:t>
            </a:r>
            <a:r>
              <a:rPr lang="en-US" sz="1400" dirty="0">
                <a:latin typeface="Segoe UI Semibold" panose="020B0702040204020203" pitchFamily="34" charset="0"/>
                <a:cs typeface="Segoe UI Semibold" panose="020B0702040204020203" pitchFamily="34" charset="0"/>
              </a:rPr>
              <a:t>1 million messages per second </a:t>
            </a:r>
            <a:r>
              <a:rPr lang="en-US" sz="1400" dirty="0"/>
              <a:t>ingested from </a:t>
            </a:r>
            <a:r>
              <a:rPr lang="en-US" sz="1400" dirty="0" err="1"/>
              <a:t>Eventhub</a:t>
            </a:r>
            <a:endParaRPr lang="en-US" sz="1400" dirty="0"/>
          </a:p>
          <a:p>
            <a:pPr lvl="0" indent="0">
              <a:lnSpc>
                <a:spcPct val="100000"/>
              </a:lnSpc>
              <a:spcBef>
                <a:spcPts val="600"/>
              </a:spcBef>
              <a:buNone/>
            </a:pPr>
            <a:r>
              <a:rPr lang="en-US" sz="1800" kern="1200" dirty="0">
                <a:solidFill>
                  <a:schemeClr val="tx1"/>
                </a:solidFill>
                <a:latin typeface="Segoe UI Light" pitchFamily="34" charset="0"/>
                <a:ea typeface="+mn-ea"/>
                <a:cs typeface="+mn-cs"/>
              </a:rPr>
              <a:t>Built in </a:t>
            </a:r>
            <a:r>
              <a:rPr lang="en-US" sz="1800" dirty="0">
                <a:latin typeface="Segoe UI Semibold" panose="020B0702040204020203" pitchFamily="34" charset="0"/>
                <a:cs typeface="Segoe UI Semibold" panose="020B0702040204020203" pitchFamily="34" charset="0"/>
              </a:rPr>
              <a:t>Scale-up &amp; Scale-down </a:t>
            </a:r>
            <a:r>
              <a:rPr lang="en-US" sz="1800" kern="1200" dirty="0">
                <a:solidFill>
                  <a:schemeClr val="tx1"/>
                </a:solidFill>
                <a:latin typeface="Segoe UI Light" pitchFamily="34" charset="0"/>
                <a:ea typeface="+mn-ea"/>
                <a:cs typeface="+mn-cs"/>
              </a:rPr>
              <a:t>features</a:t>
            </a:r>
          </a:p>
          <a:p>
            <a:pPr marL="342900" lvl="1" indent="0">
              <a:lnSpc>
                <a:spcPct val="100000"/>
              </a:lnSpc>
              <a:spcBef>
                <a:spcPts val="100"/>
              </a:spcBef>
              <a:spcAft>
                <a:spcPts val="300"/>
              </a:spcAft>
              <a:buNone/>
            </a:pPr>
            <a:r>
              <a:rPr lang="en-US" sz="1400" dirty="0"/>
              <a:t>Customers can scale up and scale down a running cluster; with no impact to a running topology</a:t>
            </a:r>
          </a:p>
          <a:p>
            <a:pPr lvl="0" indent="0">
              <a:lnSpc>
                <a:spcPct val="100000"/>
              </a:lnSpc>
              <a:spcBef>
                <a:spcPts val="600"/>
              </a:spcBef>
              <a:buNone/>
            </a:pPr>
            <a:r>
              <a:rPr lang="en-US" sz="1800" kern="1200" dirty="0">
                <a:solidFill>
                  <a:schemeClr val="tx1"/>
                </a:solidFill>
                <a:latin typeface="Segoe UI Light" pitchFamily="34" charset="0"/>
                <a:ea typeface="+mn-ea"/>
                <a:cs typeface="+mn-cs"/>
              </a:rPr>
              <a:t>Deep </a:t>
            </a:r>
            <a:r>
              <a:rPr lang="en-US" sz="1800" dirty="0">
                <a:latin typeface="Segoe UI Semibold" panose="020B0702040204020203" pitchFamily="34" charset="0"/>
                <a:cs typeface="Segoe UI Semibold" panose="020B0702040204020203" pitchFamily="34" charset="0"/>
              </a:rPr>
              <a:t>integration with Event hub</a:t>
            </a:r>
          </a:p>
          <a:p>
            <a:pPr lvl="0" indent="0">
              <a:lnSpc>
                <a:spcPct val="100000"/>
              </a:lnSpc>
              <a:spcBef>
                <a:spcPts val="600"/>
              </a:spcBef>
              <a:buNone/>
            </a:pPr>
            <a:r>
              <a:rPr lang="en-US" sz="1800" kern="1200" dirty="0">
                <a:solidFill>
                  <a:schemeClr val="tx1"/>
                </a:solidFill>
                <a:latin typeface="Segoe UI Light" pitchFamily="34" charset="0"/>
                <a:ea typeface="+mn-ea"/>
                <a:cs typeface="+mn-cs"/>
              </a:rPr>
              <a:t>Program your Storm Topology in Java or C#</a:t>
            </a:r>
          </a:p>
          <a:p>
            <a:pPr marL="342900" lvl="1" indent="0">
              <a:lnSpc>
                <a:spcPct val="100000"/>
              </a:lnSpc>
              <a:spcBef>
                <a:spcPts val="100"/>
              </a:spcBef>
              <a:spcAft>
                <a:spcPts val="300"/>
              </a:spcAft>
              <a:buNone/>
            </a:pPr>
            <a:r>
              <a:rPr lang="en-US" sz="1400" dirty="0"/>
              <a:t>Enabled a first class support for writing </a:t>
            </a:r>
            <a:r>
              <a:rPr lang="en-US" sz="1400" dirty="0">
                <a:latin typeface="Segoe UI Semibold" panose="020B0702040204020203" pitchFamily="34" charset="0"/>
                <a:cs typeface="Segoe UI Semibold" panose="020B0702040204020203" pitchFamily="34" charset="0"/>
              </a:rPr>
              <a:t>topologies in C#</a:t>
            </a:r>
          </a:p>
          <a:p>
            <a:pPr marL="342900" lvl="1" indent="0">
              <a:lnSpc>
                <a:spcPct val="100000"/>
              </a:lnSpc>
              <a:spcBef>
                <a:spcPts val="100"/>
              </a:spcBef>
              <a:spcAft>
                <a:spcPts val="300"/>
              </a:spcAft>
              <a:buNone/>
            </a:pPr>
            <a:r>
              <a:rPr lang="en-US" sz="1400" dirty="0"/>
              <a:t>We have taken ease of programming to the next level by enabling </a:t>
            </a:r>
            <a:r>
              <a:rPr lang="en-US" sz="1400" dirty="0">
                <a:latin typeface="Segoe UI Semibold" panose="020B0702040204020203" pitchFamily="34" charset="0"/>
                <a:cs typeface="Segoe UI Semibold" panose="020B0702040204020203" pitchFamily="34" charset="0"/>
              </a:rPr>
              <a:t>mixed mode topologies</a:t>
            </a:r>
            <a:r>
              <a:rPr lang="en-US" sz="1400" dirty="0"/>
              <a:t>, which means you can take an existing Spout written in Java but build the rest of the topology in </a:t>
            </a:r>
            <a:r>
              <a:rPr lang="en-US" sz="1400" dirty="0">
                <a:cs typeface="Segoe UI Semibold" panose="020B0702040204020203" pitchFamily="34" charset="0"/>
              </a:rPr>
              <a:t>C#</a:t>
            </a:r>
            <a:r>
              <a:rPr lang="en-US" sz="1400" dirty="0"/>
              <a:t>. </a:t>
            </a:r>
          </a:p>
          <a:p>
            <a:pPr marL="342900" lvl="1" indent="0">
              <a:lnSpc>
                <a:spcPct val="100000"/>
              </a:lnSpc>
              <a:spcBef>
                <a:spcPts val="100"/>
              </a:spcBef>
              <a:spcAft>
                <a:spcPts val="300"/>
              </a:spcAft>
              <a:buNone/>
            </a:pPr>
            <a:r>
              <a:rPr lang="en-US" sz="1400" dirty="0"/>
              <a:t>The Storm service also comes with the </a:t>
            </a:r>
            <a:r>
              <a:rPr lang="en-US" sz="1400" dirty="0">
                <a:latin typeface="Segoe UI Semibold" panose="020B0702040204020203" pitchFamily="34" charset="0"/>
                <a:cs typeface="Segoe UI Semibold" panose="020B0702040204020203" pitchFamily="34" charset="0"/>
              </a:rPr>
              <a:t>Trident</a:t>
            </a:r>
            <a:r>
              <a:rPr lang="en-US" sz="1400" dirty="0"/>
              <a:t> support.</a:t>
            </a:r>
          </a:p>
          <a:p>
            <a:pPr marL="342900" lvl="1" indent="0">
              <a:lnSpc>
                <a:spcPct val="100000"/>
              </a:lnSpc>
              <a:spcBef>
                <a:spcPts val="100"/>
              </a:spcBef>
              <a:spcAft>
                <a:spcPts val="300"/>
              </a:spcAft>
              <a:buNone/>
            </a:pPr>
            <a:r>
              <a:rPr lang="en-US" sz="1800" kern="1200" dirty="0">
                <a:solidFill>
                  <a:schemeClr val="tx1"/>
                </a:solidFill>
                <a:latin typeface="Segoe UI Light" pitchFamily="34" charset="0"/>
                <a:ea typeface="+mn-ea"/>
                <a:cs typeface="+mn-cs"/>
              </a:rPr>
              <a:t>Full integration with </a:t>
            </a:r>
            <a:r>
              <a:rPr lang="en-US" sz="1800" dirty="0">
                <a:latin typeface="Segoe UI Semibold" panose="020B0702040204020203" pitchFamily="34" charset="0"/>
                <a:cs typeface="Segoe UI Semibold" panose="020B0702040204020203" pitchFamily="34" charset="0"/>
              </a:rPr>
              <a:t>Visual Studio </a:t>
            </a:r>
            <a:r>
              <a:rPr lang="en-US" sz="1800" kern="1200" dirty="0">
                <a:solidFill>
                  <a:schemeClr val="tx1"/>
                </a:solidFill>
                <a:latin typeface="Segoe UI Light" pitchFamily="34" charset="0"/>
                <a:ea typeface="+mn-ea"/>
                <a:cs typeface="+mn-cs"/>
              </a:rPr>
              <a:t>(click through experience captured in attached email)</a:t>
            </a:r>
          </a:p>
          <a:p>
            <a:pPr lvl="0" indent="0">
              <a:lnSpc>
                <a:spcPct val="100000"/>
              </a:lnSpc>
              <a:spcBef>
                <a:spcPts val="600"/>
              </a:spcBef>
              <a:buNone/>
            </a:pPr>
            <a:r>
              <a:rPr lang="en-US" sz="1800" kern="1200" dirty="0">
                <a:solidFill>
                  <a:schemeClr val="tx1"/>
                </a:solidFill>
                <a:latin typeface="Segoe UI Light" pitchFamily="34" charset="0"/>
                <a:ea typeface="+mn-ea"/>
                <a:cs typeface="+mn-cs"/>
              </a:rPr>
              <a:t>Fully integrated Azure AUX experience (click through experience captured in attached email)</a:t>
            </a:r>
          </a:p>
          <a:p>
            <a:pPr lvl="0" indent="0">
              <a:lnSpc>
                <a:spcPct val="100000"/>
              </a:lnSpc>
              <a:spcBef>
                <a:spcPts val="600"/>
              </a:spcBef>
              <a:buNone/>
            </a:pPr>
            <a:r>
              <a:rPr lang="en-US" sz="1800" kern="1200" dirty="0">
                <a:solidFill>
                  <a:schemeClr val="tx1"/>
                </a:solidFill>
                <a:latin typeface="Segoe UI Light" pitchFamily="34" charset="0"/>
                <a:ea typeface="+mn-ea"/>
                <a:cs typeface="+mn-cs"/>
              </a:rPr>
              <a:t>Write your data into </a:t>
            </a:r>
            <a:r>
              <a:rPr lang="en-US" sz="1800" dirty="0">
                <a:latin typeface="Segoe UI Semibold" panose="020B0702040204020203" pitchFamily="34" charset="0"/>
                <a:cs typeface="Segoe UI Semibold" panose="020B0702040204020203" pitchFamily="34" charset="0"/>
              </a:rPr>
              <a:t>HBase, SQL Azure, </a:t>
            </a:r>
            <a:r>
              <a:rPr lang="en-US" sz="1800" dirty="0" err="1">
                <a:latin typeface="Segoe UI Semibold" panose="020B0702040204020203" pitchFamily="34" charset="0"/>
                <a:cs typeface="Segoe UI Semibold" panose="020B0702040204020203" pitchFamily="34" charset="0"/>
              </a:rPr>
              <a:t>DocumentDB</a:t>
            </a:r>
            <a:endParaRPr lang="en-US" sz="1800" dirty="0">
              <a:latin typeface="Segoe UI Semibold" panose="020B0702040204020203" pitchFamily="34" charset="0"/>
              <a:cs typeface="Segoe UI Semibold" panose="020B0702040204020203" pitchFamily="34" charset="0"/>
            </a:endParaRPr>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2CB54E4B-7F57-4513-890A-EAC8C18A9214}" type="datetime1">
              <a:rPr lang="en-US" smtClean="0">
                <a:solidFill>
                  <a:prstClr val="black"/>
                </a:solidFill>
              </a:rPr>
              <a:pPr/>
              <a:t>1/11/2017</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80</a:t>
            </a:fld>
            <a:endParaRPr lang="en-US" dirty="0">
              <a:solidFill>
                <a:prstClr val="black"/>
              </a:solidFill>
            </a:endParaRPr>
          </a:p>
        </p:txBody>
      </p:sp>
    </p:spTree>
    <p:extLst>
      <p:ext uri="{BB962C8B-B14F-4D97-AF65-F5344CB8AC3E}">
        <p14:creationId xmlns:p14="http://schemas.microsoft.com/office/powerpoint/2010/main" val="163247347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590F7684-CECC-4566-98F8-54DC205EBE94}" type="datetime1">
              <a:rPr lang="en-US" smtClean="0">
                <a:solidFill>
                  <a:prstClr val="black"/>
                </a:solidFill>
              </a:rPr>
              <a:pPr/>
              <a:t>1/11/2017</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81</a:t>
            </a:fld>
            <a:endParaRPr lang="en-US" dirty="0">
              <a:solidFill>
                <a:prstClr val="black"/>
              </a:solidFill>
            </a:endParaRPr>
          </a:p>
        </p:txBody>
      </p:sp>
    </p:spTree>
    <p:extLst>
      <p:ext uri="{BB962C8B-B14F-4D97-AF65-F5344CB8AC3E}">
        <p14:creationId xmlns:p14="http://schemas.microsoft.com/office/powerpoint/2010/main" val="14674277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900" kern="1200" dirty="0">
                <a:solidFill>
                  <a:schemeClr val="tx1"/>
                </a:solidFill>
                <a:latin typeface="Segoe UI" pitchFamily="34" charset="0"/>
                <a:ea typeface="+mn-ea"/>
                <a:cs typeface="+mn-cs"/>
              </a:rPr>
              <a:t>COMPLETES</a:t>
            </a:r>
            <a:r>
              <a:rPr lang="en-US" sz="900" kern="1200" baseline="0" dirty="0">
                <a:solidFill>
                  <a:schemeClr val="tx1"/>
                </a:solidFill>
                <a:latin typeface="Segoe UI" pitchFamily="34" charset="0"/>
                <a:ea typeface="+mn-ea"/>
                <a:cs typeface="+mn-cs"/>
              </a:rPr>
              <a:t> THE OPEN SOURCE STACK FOR STREAMING ON HDINSIGHT</a:t>
            </a:r>
          </a:p>
          <a:p>
            <a:endParaRPr lang="en-US" sz="900" b="0" kern="1200" baseline="0" dirty="0">
              <a:solidFill>
                <a:schemeClr val="tx1"/>
              </a:solidFill>
              <a:latin typeface="Segoe UI" pitchFamily="34" charset="0"/>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Working with </a:t>
            </a:r>
            <a:r>
              <a:rPr lang="en-US" sz="1200" b="1" kern="1200" dirty="0">
                <a:solidFill>
                  <a:schemeClr val="tx1"/>
                </a:solidFill>
                <a:effectLst/>
                <a:latin typeface="+mn-lt"/>
                <a:ea typeface="+mn-ea"/>
                <a:cs typeface="+mn-cs"/>
              </a:rPr>
              <a:t>Top automobile</a:t>
            </a:r>
            <a:r>
              <a:rPr lang="en-US" sz="1200" kern="1200" dirty="0">
                <a:solidFill>
                  <a:schemeClr val="tx1"/>
                </a:solidFill>
                <a:effectLst/>
                <a:latin typeface="+mn-lt"/>
                <a:ea typeface="+mn-ea"/>
                <a:cs typeface="+mn-cs"/>
              </a:rPr>
              <a:t> companies to enable </a:t>
            </a:r>
            <a:r>
              <a:rPr lang="en-US" sz="1200" kern="1200" dirty="0" err="1">
                <a:solidFill>
                  <a:schemeClr val="tx1"/>
                </a:solidFill>
                <a:effectLst/>
                <a:latin typeface="+mn-lt"/>
                <a:ea typeface="+mn-ea"/>
                <a:cs typeface="+mn-cs"/>
              </a:rPr>
              <a:t>IoT</a:t>
            </a:r>
            <a:r>
              <a:rPr lang="en-US" sz="1200" kern="1200" dirty="0">
                <a:solidFill>
                  <a:schemeClr val="tx1"/>
                </a:solidFill>
                <a:effectLst/>
                <a:latin typeface="+mn-lt"/>
                <a:ea typeface="+mn-ea"/>
                <a:cs typeface="+mn-cs"/>
              </a:rPr>
              <a:t> scenarios</a:t>
            </a:r>
          </a:p>
          <a:p>
            <a:endParaRPr lang="en-US" sz="900" b="0" kern="1200" dirty="0">
              <a:solidFill>
                <a:schemeClr val="tx1"/>
              </a:solidFill>
              <a:latin typeface="Segoe UI" pitchFamily="34" charset="0"/>
              <a:ea typeface="+mn-ea"/>
              <a:cs typeface="+mn-cs"/>
            </a:endParaRPr>
          </a:p>
          <a:p>
            <a:r>
              <a:rPr lang="en-US" sz="900" b="0" kern="1200" dirty="0">
                <a:solidFill>
                  <a:schemeClr val="tx1"/>
                </a:solidFill>
                <a:latin typeface="Segoe UI" pitchFamily="34" charset="0"/>
                <a:ea typeface="+mn-ea"/>
                <a:cs typeface="+mn-cs"/>
              </a:rPr>
              <a:t>Kafka</a:t>
            </a:r>
            <a:r>
              <a:rPr lang="en-US" sz="900" b="0" kern="1200" baseline="0" dirty="0">
                <a:solidFill>
                  <a:schemeClr val="tx1"/>
                </a:solidFill>
                <a:latin typeface="Segoe UI" pitchFamily="34" charset="0"/>
                <a:ea typeface="+mn-ea"/>
                <a:cs typeface="+mn-cs"/>
              </a:rPr>
              <a:t> vs </a:t>
            </a:r>
            <a:r>
              <a:rPr lang="en-US" sz="900" b="0" kern="1200" baseline="0" dirty="0" err="1">
                <a:solidFill>
                  <a:schemeClr val="tx1"/>
                </a:solidFill>
                <a:latin typeface="Segoe UI" pitchFamily="34" charset="0"/>
                <a:ea typeface="+mn-ea"/>
                <a:cs typeface="+mn-cs"/>
              </a:rPr>
              <a:t>EventHubs</a:t>
            </a:r>
            <a:endParaRPr lang="en-US" sz="900" b="0" kern="1200" baseline="0" dirty="0">
              <a:solidFill>
                <a:schemeClr val="tx1"/>
              </a:solidFill>
              <a:latin typeface="Segoe UI" pitchFamily="34" charset="0"/>
              <a:ea typeface="+mn-ea"/>
              <a:cs typeface="+mn-cs"/>
            </a:endParaRPr>
          </a:p>
          <a:p>
            <a:endParaRPr lang="en-US" sz="900" b="0" kern="1200" baseline="0" dirty="0">
              <a:solidFill>
                <a:schemeClr val="tx1"/>
              </a:solidFill>
              <a:latin typeface="Segoe UI" pitchFamily="34" charset="0"/>
              <a:ea typeface="+mn-ea"/>
              <a:cs typeface="+mn-cs"/>
            </a:endParaRPr>
          </a:p>
          <a:p>
            <a:r>
              <a:rPr lang="en-US" sz="900" b="0" kern="1200" baseline="0" dirty="0">
                <a:solidFill>
                  <a:schemeClr val="tx1"/>
                </a:solidFill>
                <a:latin typeface="Segoe UI" pitchFamily="34" charset="0"/>
                <a:ea typeface="+mn-ea"/>
                <a:cs typeface="+mn-cs"/>
              </a:rPr>
              <a:t>-- Open source support</a:t>
            </a:r>
          </a:p>
          <a:p>
            <a:r>
              <a:rPr lang="en-US" sz="900" b="0" kern="1200" baseline="0" dirty="0">
                <a:solidFill>
                  <a:schemeClr val="tx1"/>
                </a:solidFill>
                <a:latin typeface="Segoe UI" pitchFamily="34" charset="0"/>
                <a:ea typeface="+mn-ea"/>
                <a:cs typeface="+mn-cs"/>
              </a:rPr>
              <a:t>-- Highly </a:t>
            </a:r>
            <a:r>
              <a:rPr lang="en-US" sz="900" b="0" kern="1200" baseline="0" dirty="0" err="1">
                <a:solidFill>
                  <a:schemeClr val="tx1"/>
                </a:solidFill>
                <a:latin typeface="Segoe UI" pitchFamily="34" charset="0"/>
                <a:ea typeface="+mn-ea"/>
                <a:cs typeface="+mn-cs"/>
              </a:rPr>
              <a:t>achieveable</a:t>
            </a:r>
            <a:r>
              <a:rPr lang="en-US" sz="900" b="0" kern="1200" baseline="0" dirty="0">
                <a:solidFill>
                  <a:schemeClr val="tx1"/>
                </a:solidFill>
                <a:latin typeface="Segoe UI" pitchFamily="34" charset="0"/>
                <a:ea typeface="+mn-ea"/>
                <a:cs typeface="+mn-cs"/>
              </a:rPr>
              <a:t> throughput with a small number of nodes</a:t>
            </a:r>
          </a:p>
          <a:p>
            <a:endParaRPr lang="en-US" sz="900" b="0" kern="1200" dirty="0">
              <a:solidFill>
                <a:schemeClr val="tx1"/>
              </a:solidFill>
              <a:latin typeface="Segoe UI" pitchFamily="34" charset="0"/>
              <a:ea typeface="+mn-ea"/>
              <a:cs typeface="+mn-cs"/>
            </a:endParaRPr>
          </a:p>
        </p:txBody>
      </p:sp>
      <p:sp>
        <p:nvSpPr>
          <p:cNvPr id="8" name="Date Placeholder 7"/>
          <p:cNvSpPr>
            <a:spLocks noGrp="1"/>
          </p:cNvSpPr>
          <p:nvPr>
            <p:ph type="dt"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EE42C6D-4819-4BF2-A6ED-DBB6B89153C6}"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2017 10:0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9" name="Footer Placeholder 8"/>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b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10" name="Slide Number Placeholder 9"/>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3</a:t>
            </a:fld>
            <a:endParaRPr kumimoji="0" lang="en-US" sz="1800" b="0" i="0" u="none" strike="noStrike" kern="0" cap="none" spc="0" normalizeH="0" baseline="0" noProof="0" dirty="0">
              <a:ln>
                <a:noFill/>
              </a:ln>
              <a:solidFill>
                <a:sysClr val="windowText" lastClr="000000"/>
              </a:solidFill>
              <a:effectLst/>
              <a:uLnTx/>
              <a:uFillTx/>
            </a:endParaRPr>
          </a:p>
        </p:txBody>
      </p:sp>
      <p:sp>
        <p:nvSpPr>
          <p:cNvPr id="11" name="Header Placeholder 10"/>
          <p:cNvSpPr>
            <a:spLocks noGrp="1"/>
          </p:cNvSpPr>
          <p:nvPr>
            <p:ph type="hdr"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Tech Ready 15</a:t>
            </a:r>
          </a:p>
        </p:txBody>
      </p:sp>
    </p:spTree>
    <p:extLst>
      <p:ext uri="{BB962C8B-B14F-4D97-AF65-F5344CB8AC3E}">
        <p14:creationId xmlns:p14="http://schemas.microsoft.com/office/powerpoint/2010/main" val="371485270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dirty="0">
                <a:solidFill>
                  <a:schemeClr val="tx1"/>
                </a:solidFill>
                <a:effectLst/>
                <a:latin typeface="+mn-lt"/>
                <a:ea typeface="+mn-ea"/>
                <a:cs typeface="+mn-cs"/>
              </a:rPr>
              <a:t>Two major components: Zookeeper and broker nodes</a:t>
            </a:r>
          </a:p>
          <a:p>
            <a:pPr lvl="1"/>
            <a:r>
              <a:rPr lang="en-US" sz="1200" kern="1200" dirty="0">
                <a:solidFill>
                  <a:schemeClr val="tx1"/>
                </a:solidFill>
                <a:effectLst/>
                <a:latin typeface="+mn-lt"/>
                <a:ea typeface="+mn-ea"/>
                <a:cs typeface="+mn-cs"/>
              </a:rPr>
              <a:t>How does it get used? Producers</a:t>
            </a:r>
          </a:p>
          <a:p>
            <a:pPr lvl="2"/>
            <a:r>
              <a:rPr lang="en-US" sz="1200" kern="1200" dirty="0">
                <a:solidFill>
                  <a:schemeClr val="tx1"/>
                </a:solidFill>
                <a:effectLst/>
                <a:latin typeface="+mn-lt"/>
                <a:ea typeface="+mn-ea"/>
                <a:cs typeface="+mn-cs"/>
              </a:rPr>
              <a:t>Producers are sensors (mobile devices, etc.), which create events for it. Then they send it to the Kafka ecosystem</a:t>
            </a:r>
          </a:p>
          <a:p>
            <a:pPr lvl="2"/>
            <a:r>
              <a:rPr lang="en-US" sz="1200" kern="1200" dirty="0">
                <a:solidFill>
                  <a:schemeClr val="tx1"/>
                </a:solidFill>
                <a:effectLst/>
                <a:latin typeface="+mn-lt"/>
                <a:ea typeface="+mn-ea"/>
                <a:cs typeface="+mn-cs"/>
              </a:rPr>
              <a:t>Once they have a Kafka broker id, then it gets pushed in the Kafka cluster</a:t>
            </a:r>
          </a:p>
          <a:p>
            <a:pPr lvl="2"/>
            <a:r>
              <a:rPr lang="en-US" sz="1200" kern="1200" dirty="0">
                <a:solidFill>
                  <a:schemeClr val="tx1"/>
                </a:solidFill>
                <a:effectLst/>
                <a:latin typeface="+mn-lt"/>
                <a:ea typeface="+mn-ea"/>
                <a:cs typeface="+mn-cs"/>
              </a:rPr>
              <a:t>Kafka buffers all that data, then zookeeper manager</a:t>
            </a:r>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F2C14F7E-4936-4F32-BE37-1DAC1CEDFD1D}"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5</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80584097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ey</a:t>
            </a:r>
            <a:r>
              <a:rPr lang="en-US" baseline="0" dirty="0"/>
              <a:t> points to mention</a:t>
            </a:r>
          </a:p>
          <a:p>
            <a:endParaRPr lang="en-US" baseline="0" dirty="0"/>
          </a:p>
          <a:p>
            <a:r>
              <a:rPr lang="en-US" baseline="0" dirty="0"/>
              <a:t>TOPICS – Dish TV Subscriber analogy. Topic is a HBO + Channel subscription, Dish is producer, you are consumer</a:t>
            </a:r>
          </a:p>
          <a:p>
            <a:endParaRPr lang="en-US" baseline="0" dirty="0"/>
          </a:p>
          <a:p>
            <a:r>
              <a:rPr lang="en-US" baseline="0" dirty="0"/>
              <a:t>Kafka is replicated to provide data </a:t>
            </a:r>
            <a:r>
              <a:rPr lang="en-US" baseline="0" dirty="0" err="1"/>
              <a:t>reliablility</a:t>
            </a:r>
            <a:endParaRPr lang="en-US" baseline="0" dirty="0"/>
          </a:p>
          <a:p>
            <a:r>
              <a:rPr lang="en-US" baseline="0" dirty="0"/>
              <a:t>Kafka has leader follower for high </a:t>
            </a:r>
            <a:r>
              <a:rPr lang="en-US" baseline="0" dirty="0" err="1"/>
              <a:t>avaiabiility</a:t>
            </a:r>
            <a:endParaRPr lang="en-US" baseline="0" dirty="0"/>
          </a:p>
          <a:p>
            <a:endParaRPr lang="en-US" baseline="0" dirty="0"/>
          </a:p>
          <a:p>
            <a:r>
              <a:rPr lang="en-US" baseline="0" dirty="0"/>
              <a:t>Kafka is partitioned for parallel processing</a:t>
            </a:r>
          </a:p>
          <a:p>
            <a:endParaRPr lang="en-US" baseline="0" dirty="0"/>
          </a:p>
          <a:p>
            <a:r>
              <a:rPr lang="en-US" baseline="0" dirty="0"/>
              <a:t>Put all of these together, we have High throughput, low latency that scales out elegantly without performance hits.</a:t>
            </a:r>
          </a:p>
          <a:p>
            <a:endParaRPr lang="en-US" baseline="0" dirty="0"/>
          </a:p>
          <a:p>
            <a:r>
              <a:rPr lang="en-US" baseline="0" dirty="0"/>
              <a:t>Put this on HDI – you don</a:t>
            </a:r>
            <a:r>
              <a:rPr lang="uk-UA" baseline="0" dirty="0"/>
              <a:t>’</a:t>
            </a:r>
            <a:r>
              <a:rPr lang="en-US" baseline="0" dirty="0"/>
              <a:t>t have to worry about broker management, or Kafka service. We do it for you.</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F2C14F7E-4936-4F32-BE37-1DAC1CEDFD1D}"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6</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91856722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F2C14F7E-4936-4F32-BE37-1DAC1CEDFD1D}"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8</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0538434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 generally</a:t>
            </a:r>
            <a:r>
              <a:rPr lang="en-US" baseline="0" dirty="0"/>
              <a:t> don’t mention managed disks until cost reduction. </a:t>
            </a:r>
          </a:p>
          <a:p>
            <a:endParaRPr lang="en-US" baseline="0" dirty="0"/>
          </a:p>
          <a:p>
            <a:r>
              <a:rPr lang="en-US" baseline="0" dirty="0"/>
              <a:t>Once the customer is interested in Kafka, we learn about their architecture, then mention managed disks. </a:t>
            </a:r>
          </a:p>
          <a:p>
            <a:endParaRPr lang="en-US" baseline="0" dirty="0"/>
          </a:p>
          <a:p>
            <a:r>
              <a:rPr lang="en-US" baseline="0" dirty="0"/>
              <a:t>If they want to onboard pre-public preview, then we have to ensure that they are aware of the </a:t>
            </a:r>
            <a:r>
              <a:rPr lang="en-US" b="1" baseline="0" dirty="0"/>
              <a:t>assisted </a:t>
            </a:r>
            <a:r>
              <a:rPr lang="en-US" baseline="0" dirty="0"/>
              <a:t>migration that will take place</a:t>
            </a:r>
          </a:p>
          <a:p>
            <a:endParaRPr lang="en-US" baseline="0" dirty="0"/>
          </a:p>
          <a:p>
            <a:r>
              <a:rPr lang="en-US" baseline="0" dirty="0"/>
              <a:t>This migration has zero data loss, and zero downtime. Can share migration plan if needed.</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F2C14F7E-4936-4F32-BE37-1DAC1CEDFD1D}"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1</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470304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dirty="0">
                <a:solidFill>
                  <a:schemeClr val="tx1">
                    <a:lumMod val="95000"/>
                    <a:lumOff val="5000"/>
                  </a:schemeClr>
                </a:solidFill>
                <a:latin typeface="Segoe UI" panose="020B0502040204020203" pitchFamily="34" charset="0"/>
                <a:cs typeface="Times New Roman" panose="02020603050405020304" pitchFamily="18" charset="0"/>
              </a:rPr>
              <a:t>Providing</a:t>
            </a:r>
            <a:r>
              <a:rPr lang="en-US">
                <a:solidFill>
                  <a:schemeClr val="tx1">
                    <a:lumMod val="95000"/>
                    <a:lumOff val="5000"/>
                  </a:schemeClr>
                </a:solidFill>
                <a:latin typeface="Segoe UI" panose="020B0502040204020203" pitchFamily="34" charset="0"/>
                <a:cs typeface="Times New Roman" panose="02020603050405020304" pitchFamily="18" charset="0"/>
              </a:rPr>
              <a:t> </a:t>
            </a:r>
            <a:r>
              <a:rPr lang="en-US" dirty="0">
                <a:solidFill>
                  <a:schemeClr val="tx1">
                    <a:lumMod val="95000"/>
                    <a:lumOff val="5000"/>
                  </a:schemeClr>
                </a:solidFill>
                <a:latin typeface="Segoe UI" panose="020B0502040204020203" pitchFamily="34" charset="0"/>
                <a:cs typeface="Times New Roman" panose="02020603050405020304" pitchFamily="18" charset="0"/>
              </a:rPr>
              <a:t>managed Kafka, Storm, Spark, services enables you to use them as building blocks to architect a powerful streaming solution</a:t>
            </a:r>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F2C14F7E-4936-4F32-BE37-1DAC1CEDFD1D}"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7992385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Talk Track: </a:t>
            </a:r>
            <a:r>
              <a:rPr lang="en-US" sz="1000" kern="1200" dirty="0">
                <a:solidFill>
                  <a:schemeClr val="tx1"/>
                </a:solidFill>
                <a:effectLst/>
                <a:latin typeface="Segoe UI Light" pitchFamily="34" charset="0"/>
                <a:ea typeface="+mn-ea"/>
                <a:cs typeface="+mn-cs"/>
              </a:rPr>
              <a:t>Let’s go over the main concepts for MapReduce.</a:t>
            </a:r>
            <a:r>
              <a:rPr lang="en-US" sz="1000" kern="1200" baseline="0" dirty="0">
                <a:solidFill>
                  <a:schemeClr val="tx1"/>
                </a:solidFill>
                <a:effectLst/>
                <a:latin typeface="Segoe UI Light" pitchFamily="34" charset="0"/>
                <a:ea typeface="+mn-ea"/>
                <a:cs typeface="+mn-cs"/>
              </a:rPr>
              <a:t> </a:t>
            </a:r>
            <a:r>
              <a:rPr lang="en-US" sz="1000" kern="1200" dirty="0">
                <a:solidFill>
                  <a:schemeClr val="tx1"/>
                </a:solidFill>
                <a:effectLst/>
                <a:latin typeface="Segoe UI Light" pitchFamily="34" charset="0"/>
                <a:ea typeface="+mn-ea"/>
                <a:cs typeface="+mn-cs"/>
              </a:rPr>
              <a:t>Hadoop MapReduce is a programming and runtime framework for analyzing datasets stored in HDFS. It’s designed to let you write applications that rapidly process vast amounts of data in parallel on a large cluster of compute nodes. </a:t>
            </a:r>
          </a:p>
          <a:p>
            <a:endParaRPr lang="en-US" sz="1000" kern="1200" dirty="0">
              <a:solidFill>
                <a:schemeClr val="tx1"/>
              </a:solidFill>
              <a:effectLst/>
              <a:latin typeface="Segoe UI Light" pitchFamily="34" charset="0"/>
              <a:ea typeface="+mn-ea"/>
              <a:cs typeface="+mn-cs"/>
            </a:endParaRPr>
          </a:p>
          <a:p>
            <a:r>
              <a:rPr lang="en-US" sz="1000" kern="1200" dirty="0">
                <a:solidFill>
                  <a:schemeClr val="tx1"/>
                </a:solidFill>
                <a:effectLst/>
                <a:latin typeface="Segoe UI Light" pitchFamily="34" charset="0"/>
                <a:ea typeface="+mn-ea"/>
                <a:cs typeface="+mn-cs"/>
              </a:rPr>
              <a:t>MapReduce jobs are composed of user-supplied Map and Reduce functions. Map functions take a divide and conquer approach to processing data as fast as possible. Reduce functions combine and reduce cardinality. The MapReduce framework provides all the “glue” and coordinates the execution of the Map and Reduce jobs on the cluster.</a:t>
            </a:r>
          </a:p>
          <a:p>
            <a:endParaRPr lang="en-US" sz="1000" kern="1200" dirty="0">
              <a:solidFill>
                <a:schemeClr val="tx1"/>
              </a:solidFill>
              <a:effectLst/>
              <a:latin typeface="Segoe UI Light" pitchFamily="34" charset="0"/>
              <a:ea typeface="+mn-ea"/>
              <a:cs typeface="+mn-cs"/>
            </a:endParaRPr>
          </a:p>
          <a:p>
            <a:r>
              <a:rPr lang="en-US" sz="1000" kern="1200" dirty="0">
                <a:solidFill>
                  <a:schemeClr val="tx1"/>
                </a:solidFill>
                <a:effectLst/>
                <a:latin typeface="Segoe UI Light" pitchFamily="34" charset="0"/>
                <a:ea typeface="+mn-ea"/>
                <a:cs typeface="+mn-cs"/>
              </a:rPr>
              <a:t>Map functions take a large problem and divide it into sub-problems and perform the same function on all sub-problems.</a:t>
            </a:r>
            <a:r>
              <a:rPr lang="en-US" sz="1000" kern="1200" baseline="0" dirty="0">
                <a:solidFill>
                  <a:schemeClr val="tx1"/>
                </a:solidFill>
                <a:effectLst/>
                <a:latin typeface="Segoe UI Light" pitchFamily="34" charset="0"/>
                <a:ea typeface="+mn-ea"/>
                <a:cs typeface="+mn-cs"/>
              </a:rPr>
              <a:t> </a:t>
            </a:r>
            <a:r>
              <a:rPr lang="en-US" sz="1000" kern="1200" dirty="0">
                <a:solidFill>
                  <a:schemeClr val="tx1"/>
                </a:solidFill>
                <a:effectLst/>
                <a:latin typeface="Segoe UI Light" pitchFamily="34" charset="0"/>
                <a:ea typeface="+mn-ea"/>
                <a:cs typeface="+mn-cs"/>
              </a:rPr>
              <a:t>Reduce functions perform the Combine process, which takes the output from all sub-problems and creates a result set out of it. Often this output is in the form of a delimited text file that can be easily consumed by the speed and serving layers.</a:t>
            </a:r>
          </a:p>
          <a:p>
            <a:pPr marL="0" lvl="0" indent="0">
              <a:buFont typeface="Arial" panose="020B0604020202020204" pitchFamily="34" charset="0"/>
              <a:buNone/>
            </a:pPr>
            <a:endParaRPr lang="en-US" sz="1000" b="0" kern="1200" baseline="0" dirty="0">
              <a:solidFill>
                <a:schemeClr val="tx1"/>
              </a:solidFill>
              <a:effectLst/>
              <a:latin typeface="Segoe UI Light" pitchFamily="34" charset="0"/>
              <a:ea typeface="+mn-ea"/>
              <a:cs typeface="+mn-cs"/>
            </a:endParaRPr>
          </a:p>
          <a:p>
            <a:pPr marL="0" indent="0">
              <a:buFont typeface="Arial" panose="020B0604020202020204" pitchFamily="34" charset="0"/>
              <a:buNone/>
            </a:pPr>
            <a:r>
              <a:rPr lang="en-US" b="1" dirty="0"/>
              <a:t>Key Points:</a:t>
            </a:r>
            <a:r>
              <a:rPr lang="en-US" b="1" baseline="0" dirty="0"/>
              <a:t> </a:t>
            </a:r>
            <a:endParaRPr lang="en-US" sz="1000" b="0" kern="1200" baseline="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1000" b="0" kern="1200" baseline="0" dirty="0">
                <a:solidFill>
                  <a:schemeClr val="tx1"/>
                </a:solidFill>
                <a:effectLst/>
                <a:latin typeface="Segoe UI Light" pitchFamily="34" charset="0"/>
                <a:ea typeface="+mn-ea"/>
                <a:cs typeface="+mn-cs"/>
              </a:rPr>
              <a:t>Map: Subdivide tasks into smaller sub-tasks, and sends across various reducers</a:t>
            </a:r>
          </a:p>
          <a:p>
            <a:pPr marL="171450" indent="-171450">
              <a:buFont typeface="Arial" panose="020B0604020202020204" pitchFamily="34" charset="0"/>
              <a:buChar char="•"/>
            </a:pPr>
            <a:r>
              <a:rPr lang="en-US" sz="1000" b="0" kern="1200" baseline="0" dirty="0">
                <a:solidFill>
                  <a:schemeClr val="tx1"/>
                </a:solidFill>
                <a:effectLst/>
                <a:latin typeface="Segoe UI Light" pitchFamily="34" charset="0"/>
                <a:ea typeface="+mn-ea"/>
                <a:cs typeface="+mn-cs"/>
              </a:rPr>
              <a:t>Reduce: Combine the sub-tasks and reduce cardinality</a:t>
            </a:r>
          </a:p>
          <a:p>
            <a:pPr marL="171450" indent="-171450">
              <a:buFont typeface="Arial" panose="020B0604020202020204" pitchFamily="34" charset="0"/>
              <a:buChar char="•"/>
            </a:pPr>
            <a:endParaRPr lang="en-US" sz="1000" b="0" kern="1200" baseline="0" dirty="0">
              <a:solidFill>
                <a:schemeClr val="tx1"/>
              </a:solidFill>
              <a:effectLst/>
              <a:latin typeface="Segoe UI Light" pitchFamily="34" charset="0"/>
              <a:ea typeface="+mn-ea"/>
              <a:cs typeface="+mn-cs"/>
            </a:endParaRPr>
          </a:p>
          <a:p>
            <a:r>
              <a:rPr lang="en-US" sz="1000" b="1" kern="1200" dirty="0">
                <a:solidFill>
                  <a:schemeClr val="tx1"/>
                </a:solidFill>
                <a:effectLst/>
                <a:latin typeface="Segoe UI Light" pitchFamily="34" charset="0"/>
                <a:ea typeface="+mn-ea"/>
                <a:cs typeface="+mn-cs"/>
              </a:rPr>
              <a:t>References:</a:t>
            </a:r>
          </a:p>
          <a:p>
            <a:r>
              <a:rPr lang="en-US" sz="900" u="sng" kern="1200" dirty="0">
                <a:solidFill>
                  <a:schemeClr val="tx1"/>
                </a:solidFill>
                <a:effectLst/>
                <a:latin typeface="Segoe UI Light" pitchFamily="34" charset="0"/>
                <a:ea typeface="+mn-ea"/>
                <a:cs typeface="+mn-cs"/>
                <a:hlinkClick r:id="rId3"/>
              </a:rPr>
              <a:t>Using </a:t>
            </a:r>
            <a:r>
              <a:rPr lang="en-US" sz="900" u="sng" kern="1200" dirty="0" err="1">
                <a:solidFill>
                  <a:schemeClr val="tx1"/>
                </a:solidFill>
                <a:effectLst/>
                <a:latin typeface="Segoe UI Light" pitchFamily="34" charset="0"/>
                <a:ea typeface="+mn-ea"/>
                <a:cs typeface="+mn-cs"/>
                <a:hlinkClick r:id="rId3"/>
              </a:rPr>
              <a:t>MapReduce</a:t>
            </a:r>
            <a:r>
              <a:rPr lang="en-US" sz="900" u="sng" kern="1200" dirty="0">
                <a:solidFill>
                  <a:schemeClr val="tx1"/>
                </a:solidFill>
                <a:effectLst/>
                <a:latin typeface="Segoe UI Light" pitchFamily="34" charset="0"/>
                <a:ea typeface="+mn-ea"/>
                <a:cs typeface="+mn-cs"/>
                <a:hlinkClick r:id="rId3"/>
              </a:rPr>
              <a:t> with </a:t>
            </a:r>
            <a:r>
              <a:rPr lang="en-US" sz="900" u="sng" kern="1200" dirty="0" err="1">
                <a:solidFill>
                  <a:schemeClr val="tx1"/>
                </a:solidFill>
                <a:effectLst/>
                <a:latin typeface="Segoe UI Light" pitchFamily="34" charset="0"/>
                <a:ea typeface="+mn-ea"/>
                <a:cs typeface="+mn-cs"/>
                <a:hlinkClick r:id="rId3"/>
              </a:rPr>
              <a:t>HDInsight</a:t>
            </a:r>
            <a:r>
              <a:rPr lang="en-US" sz="900" b="0" kern="1200" dirty="0">
                <a:solidFill>
                  <a:schemeClr val="tx1"/>
                </a:solidFill>
                <a:effectLst/>
                <a:latin typeface="Segoe UI Light" pitchFamily="34" charset="0"/>
                <a:ea typeface="+mn-ea"/>
                <a:cs typeface="+mn-cs"/>
              </a:rPr>
              <a:t>: http://www.windowsazure.com/en-us/manage/services/hdinsight/using-mapreduce-with-hdinsight/</a:t>
            </a:r>
            <a:endParaRPr lang="de-DE" sz="900" b="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r>
              <a:rPr lang="en-US" dirty="0">
                <a:solidFill>
                  <a:prstClr val="black"/>
                </a:solidFill>
              </a:rPr>
              <a:t>Server &amp; Tools Business</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101739B5-FA55-41AD-8E04-E235281C006D}" type="datetime1">
              <a:rPr lang="en-US" smtClean="0">
                <a:solidFill>
                  <a:prstClr val="black"/>
                </a:solidFill>
              </a:rPr>
              <a:pPr/>
              <a:t>1/11/20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145617245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Use this slide with caution</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Kafka vs Azure Event Hubs Customers would use these technologies as complementary services. That being said, comparing these technologies is not an apples to apples comparison.</a:t>
            </a:r>
            <a:br>
              <a:rPr lang="en-US" sz="1200" b="0" i="0" kern="1200" dirty="0">
                <a:solidFill>
                  <a:schemeClr val="tx1"/>
                </a:solidFill>
                <a:effectLst/>
                <a:latin typeface="+mn-lt"/>
                <a:ea typeface="+mn-ea"/>
                <a:cs typeface="+mn-cs"/>
              </a:rPr>
            </a:b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 </a:t>
            </a:r>
            <a:r>
              <a:rPr lang="en-US" sz="1200" b="1" i="0" kern="1200" dirty="0">
                <a:solidFill>
                  <a:schemeClr val="tx1"/>
                </a:solidFill>
                <a:effectLst/>
                <a:latin typeface="+mn-lt"/>
                <a:ea typeface="+mn-ea"/>
                <a:cs typeface="+mn-cs"/>
              </a:rPr>
              <a:t>Performance</a:t>
            </a:r>
            <a:r>
              <a:rPr lang="en-US" sz="1200" b="0" i="0" kern="1200" dirty="0">
                <a:solidFill>
                  <a:schemeClr val="tx1"/>
                </a:solidFill>
                <a:effectLst/>
                <a:latin typeface="+mn-lt"/>
                <a:ea typeface="+mn-ea"/>
                <a:cs typeface="+mn-cs"/>
              </a:rPr>
              <a:t> </a:t>
            </a: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Kafka for </a:t>
            </a:r>
            <a:r>
              <a:rPr lang="en-US" sz="1200" b="0" i="0" kern="1200" dirty="0" err="1">
                <a:solidFill>
                  <a:schemeClr val="tx1"/>
                </a:solidFill>
                <a:effectLst/>
                <a:latin typeface="+mn-lt"/>
                <a:ea typeface="+mn-ea"/>
                <a:cs typeface="+mn-cs"/>
              </a:rPr>
              <a:t>HDinsight’s</a:t>
            </a:r>
            <a:r>
              <a:rPr lang="en-US" sz="1200" b="0" i="0" kern="1200" dirty="0">
                <a:solidFill>
                  <a:schemeClr val="tx1"/>
                </a:solidFill>
                <a:effectLst/>
                <a:latin typeface="+mn-lt"/>
                <a:ea typeface="+mn-ea"/>
                <a:cs typeface="+mn-cs"/>
              </a:rPr>
              <a:t> architecture is very simple and elegant allowing for scaling to million+ events/sec with small to large message sizes and a large throughput of the system (</a:t>
            </a:r>
            <a:r>
              <a:rPr lang="en-US" sz="1200" b="0" i="0" kern="1200" dirty="0" err="1">
                <a:solidFill>
                  <a:schemeClr val="tx1"/>
                </a:solidFill>
                <a:effectLst/>
                <a:latin typeface="+mn-lt"/>
                <a:ea typeface="+mn-ea"/>
                <a:cs typeface="+mn-cs"/>
              </a:rPr>
              <a:t>hunders</a:t>
            </a:r>
            <a:r>
              <a:rPr lang="en-US" sz="1200" b="0" i="0" kern="1200" dirty="0">
                <a:solidFill>
                  <a:schemeClr val="tx1"/>
                </a:solidFill>
                <a:effectLst/>
                <a:latin typeface="+mn-lt"/>
                <a:ea typeface="+mn-ea"/>
                <a:cs typeface="+mn-cs"/>
              </a:rPr>
              <a:t> of </a:t>
            </a:r>
            <a:r>
              <a:rPr lang="en-US" sz="1200" b="0" i="0" kern="1200" dirty="0" err="1">
                <a:solidFill>
                  <a:schemeClr val="tx1"/>
                </a:solidFill>
                <a:effectLst/>
                <a:latin typeface="+mn-lt"/>
                <a:ea typeface="+mn-ea"/>
                <a:cs typeface="+mn-cs"/>
              </a:rPr>
              <a:t>MBps</a:t>
            </a:r>
            <a:r>
              <a:rPr lang="en-US" sz="1200" b="0" i="0" kern="1200" dirty="0">
                <a:solidFill>
                  <a:schemeClr val="tx1"/>
                </a:solidFill>
                <a:effectLst/>
                <a:latin typeface="+mn-lt"/>
                <a:ea typeface="+mn-ea"/>
                <a:cs typeface="+mn-cs"/>
              </a:rPr>
              <a:t>). Azure Event Hubs on the other hand is a multi-tenant managed Azure service. Due to this multi-tenant nature, Azure Event Hubs throttles the users in some metrics. For ex. It can provide </a:t>
            </a:r>
            <a:r>
              <a:rPr lang="en-US" sz="1200" b="0" i="0" kern="1200" dirty="0" err="1">
                <a:solidFill>
                  <a:schemeClr val="tx1"/>
                </a:solidFill>
                <a:effectLst/>
                <a:latin typeface="+mn-lt"/>
                <a:ea typeface="+mn-ea"/>
                <a:cs typeface="+mn-cs"/>
              </a:rPr>
              <a:t>upto</a:t>
            </a:r>
            <a:r>
              <a:rPr lang="en-US" sz="1200" b="0" i="0" kern="1200" dirty="0">
                <a:solidFill>
                  <a:schemeClr val="tx1"/>
                </a:solidFill>
                <a:effectLst/>
                <a:latin typeface="+mn-lt"/>
                <a:ea typeface="+mn-ea"/>
                <a:cs typeface="+mn-cs"/>
              </a:rPr>
              <a:t> 1Mbps/ throughput unit, max 20 TUs. Another example of this is the message size limitation f 256 KB.</a:t>
            </a:r>
            <a:br>
              <a:rPr lang="en-US" sz="1200" b="0" i="0" kern="1200" dirty="0">
                <a:solidFill>
                  <a:schemeClr val="tx1"/>
                </a:solidFill>
                <a:effectLst/>
                <a:latin typeface="+mn-lt"/>
                <a:ea typeface="+mn-ea"/>
                <a:cs typeface="+mn-cs"/>
              </a:rPr>
            </a:b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 </a:t>
            </a:r>
            <a:r>
              <a:rPr lang="en-US" sz="1200" b="1" i="0" kern="1200" dirty="0">
                <a:solidFill>
                  <a:schemeClr val="tx1"/>
                </a:solidFill>
                <a:effectLst/>
                <a:latin typeface="+mn-lt"/>
                <a:ea typeface="+mn-ea"/>
                <a:cs typeface="+mn-cs"/>
              </a:rPr>
              <a:t>Developer ecosystem</a:t>
            </a:r>
            <a:r>
              <a:rPr lang="en-US" sz="1200" b="0" i="0" kern="1200" dirty="0">
                <a:solidFill>
                  <a:schemeClr val="tx1"/>
                </a:solidFill>
                <a:effectLst/>
                <a:latin typeface="+mn-lt"/>
                <a:ea typeface="+mn-ea"/>
                <a:cs typeface="+mn-cs"/>
              </a:rPr>
              <a:t> </a:t>
            </a: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Kafka for HDInsight is part of the extensive open source offering that is built on top of Azure for enabling Big Data Solutions. There already exists a rich developer ecosystem for these open source technologies. For ex. If a user has an issue using Kafka, they can quickly search on </a:t>
            </a:r>
            <a:r>
              <a:rPr lang="en-US" sz="1200" b="0" i="0" kern="1200" dirty="0" err="1">
                <a:solidFill>
                  <a:schemeClr val="tx1"/>
                </a:solidFill>
                <a:effectLst/>
                <a:latin typeface="+mn-lt"/>
                <a:ea typeface="+mn-ea"/>
                <a:cs typeface="+mn-cs"/>
              </a:rPr>
              <a:t>StackOverflow</a:t>
            </a:r>
            <a:r>
              <a:rPr lang="en-US" sz="1200" b="0" i="0" kern="1200" dirty="0">
                <a:solidFill>
                  <a:schemeClr val="tx1"/>
                </a:solidFill>
                <a:effectLst/>
                <a:latin typeface="+mn-lt"/>
                <a:ea typeface="+mn-ea"/>
                <a:cs typeface="+mn-cs"/>
              </a:rPr>
              <a:t> and get the answer in seconds. For </a:t>
            </a:r>
            <a:r>
              <a:rPr lang="en-US" sz="1200" b="0" i="0" kern="1200" dirty="0" err="1">
                <a:solidFill>
                  <a:schemeClr val="tx1"/>
                </a:solidFill>
                <a:effectLst/>
                <a:latin typeface="+mn-lt"/>
                <a:ea typeface="+mn-ea"/>
                <a:cs typeface="+mn-cs"/>
              </a:rPr>
              <a:t>EventHubs</a:t>
            </a:r>
            <a:r>
              <a:rPr lang="en-US" sz="1200" b="0" i="0" kern="1200" dirty="0">
                <a:solidFill>
                  <a:schemeClr val="tx1"/>
                </a:solidFill>
                <a:effectLst/>
                <a:latin typeface="+mn-lt"/>
                <a:ea typeface="+mn-ea"/>
                <a:cs typeface="+mn-cs"/>
              </a:rPr>
              <a:t>, Microsoft support needs to be contacted.</a:t>
            </a:r>
            <a:br>
              <a:rPr lang="en-US" sz="1200" b="0" i="0" kern="1200" dirty="0">
                <a:solidFill>
                  <a:schemeClr val="tx1"/>
                </a:solidFill>
                <a:effectLst/>
                <a:latin typeface="+mn-lt"/>
                <a:ea typeface="+mn-ea"/>
                <a:cs typeface="+mn-cs"/>
              </a:rPr>
            </a:b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 </a:t>
            </a:r>
            <a:r>
              <a:rPr lang="en-US" sz="1200" b="1" i="0" kern="1200" dirty="0">
                <a:solidFill>
                  <a:schemeClr val="tx1"/>
                </a:solidFill>
                <a:effectLst/>
                <a:latin typeface="+mn-lt"/>
                <a:ea typeface="+mn-ea"/>
                <a:cs typeface="+mn-cs"/>
              </a:rPr>
              <a:t>Ease of use </a:t>
            </a:r>
            <a:br>
              <a:rPr lang="en-US" sz="1200" b="1"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While Kafka exposes a very simple API, there is still cluster management involved. </a:t>
            </a:r>
            <a:r>
              <a:rPr lang="en-US" sz="1200" b="0" i="0" kern="1200" dirty="0" err="1">
                <a:solidFill>
                  <a:schemeClr val="tx1"/>
                </a:solidFill>
                <a:effectLst/>
                <a:latin typeface="+mn-lt"/>
                <a:ea typeface="+mn-ea"/>
                <a:cs typeface="+mn-cs"/>
              </a:rPr>
              <a:t>EventHubs</a:t>
            </a:r>
            <a:r>
              <a:rPr lang="en-US" sz="1200" b="0" i="0" kern="1200" dirty="0">
                <a:solidFill>
                  <a:schemeClr val="tx1"/>
                </a:solidFill>
                <a:effectLst/>
                <a:latin typeface="+mn-lt"/>
                <a:ea typeface="+mn-ea"/>
                <a:cs typeface="+mn-cs"/>
              </a:rPr>
              <a:t> on the other hand do not need a cluster to be managed which might be easier to get started. While the note about performance was made earlier, </a:t>
            </a:r>
            <a:r>
              <a:rPr lang="en-US" sz="1200" b="0" i="0" kern="1200" dirty="0" err="1">
                <a:solidFill>
                  <a:schemeClr val="tx1"/>
                </a:solidFill>
                <a:effectLst/>
                <a:latin typeface="+mn-lt"/>
                <a:ea typeface="+mn-ea"/>
                <a:cs typeface="+mn-cs"/>
              </a:rPr>
              <a:t>EventHubs</a:t>
            </a:r>
            <a:r>
              <a:rPr lang="en-US" sz="1200" b="0" i="0" kern="1200" dirty="0">
                <a:solidFill>
                  <a:schemeClr val="tx1"/>
                </a:solidFill>
                <a:effectLst/>
                <a:latin typeface="+mn-lt"/>
                <a:ea typeface="+mn-ea"/>
                <a:cs typeface="+mn-cs"/>
              </a:rPr>
              <a:t> can handle million events/second – to get started, this might not be a bad choice.</a:t>
            </a:r>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2233C8-27DA-4405-B9F6-B8ED03A6B0F6}"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rPr>
              <a:pPr marL="0" marR="0" lvl="0" indent="0" defTabSz="914400" eaLnBrk="1" fontAlgn="auto" latinLnBrk="0" hangingPunct="1">
                <a:lnSpc>
                  <a:spcPct val="100000"/>
                </a:lnSpc>
                <a:spcBef>
                  <a:spcPts val="0"/>
                </a:spcBef>
                <a:spcAft>
                  <a:spcPts val="0"/>
                </a:spcAft>
                <a:buClrTx/>
                <a:buSzTx/>
                <a:buFontTx/>
                <a:buNone/>
                <a:tabLst/>
                <a:defRPr/>
              </a:pPr>
              <a:t>93</a:t>
            </a:fld>
            <a:endParaRPr kumimoji="0" lang="en-US" sz="1800" b="0" i="0" u="none" strike="noStrike" kern="0" cap="none" spc="0" normalizeH="0" baseline="0" noProof="0">
              <a:ln>
                <a:noFill/>
              </a:ln>
              <a:solidFill>
                <a:sysClr val="windowText" lastClr="000000"/>
              </a:solidFill>
              <a:effectLst/>
              <a:uLnTx/>
              <a:uFillTx/>
              <a:latin typeface="Segoe UI" pitchFamily="34" charset="0"/>
            </a:endParaRPr>
          </a:p>
        </p:txBody>
      </p:sp>
    </p:spTree>
    <p:extLst>
      <p:ext uri="{BB962C8B-B14F-4D97-AF65-F5344CB8AC3E}">
        <p14:creationId xmlns:p14="http://schemas.microsoft.com/office/powerpoint/2010/main" val="377148801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rPr>
              <a:t>Microsoft Tech Summit FY17</a:t>
            </a: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2017 10:04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4</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62354095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088D5E3-B0C4-244E-905F-C9848084E0A1}" type="slidenum">
              <a:rPr lang="en-US" smtClean="0">
                <a:solidFill>
                  <a:prstClr val="black"/>
                </a:solidFill>
              </a:rPr>
              <a:pPr>
                <a:defRPr/>
              </a:pPr>
              <a:t>95</a:t>
            </a:fld>
            <a:endParaRPr lang="en-US">
              <a:solidFill>
                <a:prstClr val="black"/>
              </a:solidFill>
            </a:endParaRPr>
          </a:p>
        </p:txBody>
      </p:sp>
    </p:spTree>
    <p:extLst>
      <p:ext uri="{BB962C8B-B14F-4D97-AF65-F5344CB8AC3E}">
        <p14:creationId xmlns:p14="http://schemas.microsoft.com/office/powerpoint/2010/main" val="32723966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hortonworks.com/blog/expressing-data-processing-in-apache-tez/</a:t>
            </a:r>
            <a:endParaRPr lang="en-US" dirty="0"/>
          </a:p>
          <a:p>
            <a:endParaRPr lang="en-US" dirty="0"/>
          </a:p>
        </p:txBody>
      </p:sp>
      <p:sp>
        <p:nvSpPr>
          <p:cNvPr id="4" name="Slide Number Placeholder 3"/>
          <p:cNvSpPr>
            <a:spLocks noGrp="1"/>
          </p:cNvSpPr>
          <p:nvPr>
            <p:ph type="sldNum" sz="quarter" idx="10"/>
          </p:nvPr>
        </p:nvSpPr>
        <p:spPr/>
        <p:txBody>
          <a:bodyPr/>
          <a:lstStyle/>
          <a:p>
            <a:fld id="{58B1BB6A-F914-4B73-90ED-4E922066D54E}" type="slidenum">
              <a:rPr lang="en-US" smtClean="0"/>
              <a:t>18</a:t>
            </a:fld>
            <a:endParaRPr lang="en-US"/>
          </a:p>
        </p:txBody>
      </p:sp>
    </p:spTree>
    <p:extLst>
      <p:ext uri="{BB962C8B-B14F-4D97-AF65-F5344CB8AC3E}">
        <p14:creationId xmlns:p14="http://schemas.microsoft.com/office/powerpoint/2010/main" val="32247920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sz="900" kern="1200" dirty="0">
                <a:solidFill>
                  <a:schemeClr val="tx1"/>
                </a:solidFill>
                <a:effectLst/>
                <a:latin typeface="Segoe UI Light" pitchFamily="34" charset="0"/>
                <a:ea typeface="+mn-ea"/>
                <a:cs typeface="+mn-cs"/>
              </a:rPr>
              <a:t>This topic explores how you can get data into your Big Data solution. It describes several different but typical data ingestion techniques that are generally applicable to any Big Data solution. These techniques include ways to handle streaming data and for automating the ingestion process. While the focus is primarily on Microsoft Azure HDInsight, many of the techniques described here are equally relevant to solutions built on other Big Data frameworks and platforms.</a:t>
            </a:r>
          </a:p>
          <a:p>
            <a:pPr lvl="1"/>
            <a:r>
              <a:rPr lang="en-US" sz="900" kern="1200" dirty="0">
                <a:solidFill>
                  <a:schemeClr val="tx1"/>
                </a:solidFill>
                <a:effectLst/>
                <a:latin typeface="Segoe UI Light" pitchFamily="34" charset="0"/>
                <a:ea typeface="+mn-ea"/>
                <a:cs typeface="+mn-cs"/>
              </a:rPr>
              <a:t>The figure shows an overview of the techniques and technologies covered in this section of the guide.</a:t>
            </a:r>
          </a:p>
          <a:p>
            <a:endParaRPr lang="en-US" dirty="0"/>
          </a:p>
        </p:txBody>
      </p:sp>
      <p:sp>
        <p:nvSpPr>
          <p:cNvPr id="4" name="Footer Placeholder 3"/>
          <p:cNvSpPr>
            <a:spLocks noGrp="1"/>
          </p:cNvSpPr>
          <p:nvPr>
            <p:ph type="ftr" sz="quarter" idx="10"/>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40396B2-28DB-4FED-B8C9-9CF6C0335AB2}" type="datetime1">
              <a:rPr lang="en-US" smtClean="0">
                <a:solidFill>
                  <a:prstClr val="black"/>
                </a:solidFill>
              </a:rPr>
              <a:pPr/>
              <a:t>1/11/2017</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9</a:t>
            </a:fld>
            <a:endParaRPr lang="en-US" dirty="0">
              <a:solidFill>
                <a:prstClr val="black"/>
              </a:solidFill>
            </a:endParaRPr>
          </a:p>
        </p:txBody>
      </p:sp>
    </p:spTree>
    <p:extLst>
      <p:ext uri="{BB962C8B-B14F-4D97-AF65-F5344CB8AC3E}">
        <p14:creationId xmlns:p14="http://schemas.microsoft.com/office/powerpoint/2010/main" val="13287714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dirty="0"/>
              <a:t>Databases</a:t>
            </a:r>
            <a:r>
              <a:rPr lang="en-US" sz="1100" dirty="0"/>
              <a:t>: Namespaces that separate tables and other data units from naming confliction.</a:t>
            </a:r>
          </a:p>
          <a:p>
            <a:r>
              <a:rPr lang="en-US" sz="1100" b="1" dirty="0"/>
              <a:t>Tables</a:t>
            </a:r>
            <a:r>
              <a:rPr lang="en-US" sz="1100" dirty="0"/>
              <a:t>: Homogeneous units of data which have the same schema. </a:t>
            </a:r>
            <a:r>
              <a:rPr lang="en-US" sz="1100" b="1" dirty="0"/>
              <a:t>Partitions</a:t>
            </a:r>
            <a:r>
              <a:rPr lang="en-US" sz="1100" dirty="0"/>
              <a:t>: Each Table can have one or more partition Keys which determines how the data is stored. Partitions - apart from being storage units - also allow the user to efficiently identify the rows that satisfy a certain criteria. For example, a </a:t>
            </a:r>
            <a:r>
              <a:rPr lang="en-US" sz="1100" dirty="0" err="1"/>
              <a:t>date_partition</a:t>
            </a:r>
            <a:r>
              <a:rPr lang="en-US" sz="1100" dirty="0"/>
              <a:t> of type STRING and </a:t>
            </a:r>
            <a:r>
              <a:rPr lang="en-US" sz="1100" dirty="0" err="1"/>
              <a:t>country_partition</a:t>
            </a:r>
            <a:r>
              <a:rPr lang="en-US" sz="1100" dirty="0"/>
              <a:t> of type STRING. Each unique value of the partition keys defines a partition of the Table. For example all "US" data from "2009-12-23" is a partition of the </a:t>
            </a:r>
            <a:r>
              <a:rPr lang="en-US" sz="1100" dirty="0" err="1"/>
              <a:t>page_views</a:t>
            </a:r>
            <a:r>
              <a:rPr lang="en-US" sz="1100" dirty="0"/>
              <a:t> table. Therefore, if you run analysis on only the "US" data for 2009-12-23, you can run that query only on the relevant partition of the table thereby speeding up the analysis significantly. Note however, that just because a partition is named 2009-12-23 does not mean that it contains all or only data from that date; partitions are named after dates for convenience but it is the user's job to guarantee the relationship between partition name and data content!). Partition columns are virtual columns, they are not part of the data itself but are derived on load.</a:t>
            </a:r>
          </a:p>
          <a:p>
            <a:r>
              <a:rPr lang="en-US" sz="1100" b="1" dirty="0"/>
              <a:t>Buckets</a:t>
            </a:r>
            <a:r>
              <a:rPr lang="en-US" sz="1100" dirty="0"/>
              <a:t> (or </a:t>
            </a:r>
            <a:r>
              <a:rPr lang="en-US" sz="1100" b="1" dirty="0"/>
              <a:t>Clusters</a:t>
            </a:r>
            <a:r>
              <a:rPr lang="en-US" sz="1100" dirty="0"/>
              <a:t>): Data in each partition may in turn be divided into Buckets based on the value of a hash function of some column of the Table. For example the </a:t>
            </a:r>
            <a:r>
              <a:rPr lang="en-US" sz="1100" dirty="0" err="1"/>
              <a:t>page_views</a:t>
            </a:r>
            <a:r>
              <a:rPr lang="en-US" sz="1100" dirty="0"/>
              <a:t> table may be bucketed by </a:t>
            </a:r>
            <a:r>
              <a:rPr lang="en-US" sz="1100" dirty="0" err="1"/>
              <a:t>userid</a:t>
            </a:r>
            <a:r>
              <a:rPr lang="en-US" sz="1100" dirty="0"/>
              <a:t>, which is one of the columns, other than the partitions columns, of the </a:t>
            </a:r>
            <a:r>
              <a:rPr lang="en-US" sz="1100" dirty="0" err="1"/>
              <a:t>page_view</a:t>
            </a:r>
            <a:r>
              <a:rPr lang="en-US" sz="1100" dirty="0"/>
              <a:t> table. These can be used to efficiently sample the data.</a:t>
            </a:r>
          </a:p>
          <a:p>
            <a:r>
              <a:rPr lang="en-US" sz="1100" dirty="0"/>
              <a:t>Note that it is not necessary for tables to be partitioned or bucketed, but these abstractions allow the system to prune large quantities of data during query processing, resulting in faster query execution.</a:t>
            </a:r>
          </a:p>
          <a:p>
            <a:endParaRPr lang="en-US" dirty="0"/>
          </a:p>
        </p:txBody>
      </p:sp>
      <p:sp>
        <p:nvSpPr>
          <p:cNvPr id="4" name="Slide Number Placeholder 3"/>
          <p:cNvSpPr>
            <a:spLocks noGrp="1"/>
          </p:cNvSpPr>
          <p:nvPr>
            <p:ph type="sldNum" sz="quarter" idx="10"/>
          </p:nvPr>
        </p:nvSpPr>
        <p:spPr/>
        <p:txBody>
          <a:bodyPr/>
          <a:lstStyle/>
          <a:p>
            <a:fld id="{58B1BB6A-F914-4B73-90ED-4E922066D54E}" type="slidenum">
              <a:rPr lang="en-US" smtClean="0"/>
              <a:t>31</a:t>
            </a:fld>
            <a:endParaRPr lang="en-US"/>
          </a:p>
        </p:txBody>
      </p:sp>
    </p:spTree>
    <p:extLst>
      <p:ext uri="{BB962C8B-B14F-4D97-AF65-F5344CB8AC3E}">
        <p14:creationId xmlns:p14="http://schemas.microsoft.com/office/powerpoint/2010/main" val="13994915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ROP TABLE Orders;</a:t>
            </a:r>
          </a:p>
          <a:p>
            <a:endParaRPr lang="en-US" dirty="0"/>
          </a:p>
          <a:p>
            <a:r>
              <a:rPr lang="en-US" dirty="0"/>
              <a:t>CREATE TABLE Orders(id </a:t>
            </a:r>
            <a:r>
              <a:rPr lang="en-US" dirty="0" err="1"/>
              <a:t>int,orderid</a:t>
            </a:r>
            <a:r>
              <a:rPr lang="en-US" dirty="0"/>
              <a:t> </a:t>
            </a:r>
            <a:r>
              <a:rPr lang="en-US" dirty="0" err="1"/>
              <a:t>string,orderdate</a:t>
            </a:r>
            <a:r>
              <a:rPr lang="en-US" dirty="0"/>
              <a:t> </a:t>
            </a:r>
            <a:r>
              <a:rPr lang="en-US" dirty="0" err="1"/>
              <a:t>string,items</a:t>
            </a:r>
            <a:r>
              <a:rPr lang="en-US" dirty="0"/>
              <a:t> map&lt;</a:t>
            </a:r>
            <a:r>
              <a:rPr lang="en-US" dirty="0" err="1"/>
              <a:t>string,string</a:t>
            </a:r>
            <a:r>
              <a:rPr lang="en-US" dirty="0"/>
              <a:t>&gt;)</a:t>
            </a:r>
          </a:p>
          <a:p>
            <a:r>
              <a:rPr lang="en-US" dirty="0"/>
              <a:t>ROW FORMAT DELIMITED</a:t>
            </a:r>
          </a:p>
          <a:p>
            <a:r>
              <a:rPr lang="en-US" dirty="0"/>
              <a:t>FIELDS TERMINATED BY '|'</a:t>
            </a:r>
          </a:p>
          <a:p>
            <a:r>
              <a:rPr lang="en-US" dirty="0"/>
              <a:t>COLLECTION ITEMS TERMINATED BY ','</a:t>
            </a:r>
          </a:p>
          <a:p>
            <a:r>
              <a:rPr lang="en-US" dirty="0"/>
              <a:t>MAP KEYS TERMINATED by '#';</a:t>
            </a:r>
          </a:p>
          <a:p>
            <a:endParaRPr lang="en-US" dirty="0"/>
          </a:p>
          <a:p>
            <a:endParaRPr lang="en-US" dirty="0"/>
          </a:p>
        </p:txBody>
      </p:sp>
      <p:sp>
        <p:nvSpPr>
          <p:cNvPr id="4" name="Slide Number Placeholder 3"/>
          <p:cNvSpPr>
            <a:spLocks noGrp="1"/>
          </p:cNvSpPr>
          <p:nvPr>
            <p:ph type="sldNum" sz="quarter" idx="10"/>
          </p:nvPr>
        </p:nvSpPr>
        <p:spPr/>
        <p:txBody>
          <a:bodyPr/>
          <a:lstStyle/>
          <a:p>
            <a:fld id="{58B1BB6A-F914-4B73-90ED-4E922066D54E}" type="slidenum">
              <a:rPr lang="en-US" smtClean="0"/>
              <a:t>34</a:t>
            </a:fld>
            <a:endParaRPr lang="en-US"/>
          </a:p>
        </p:txBody>
      </p:sp>
    </p:spTree>
    <p:extLst>
      <p:ext uri="{BB962C8B-B14F-4D97-AF65-F5344CB8AC3E}">
        <p14:creationId xmlns:p14="http://schemas.microsoft.com/office/powerpoint/2010/main" val="41215534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OAD DATA LOCAL INPATH '/home/</a:t>
            </a:r>
            <a:r>
              <a:rPr lang="en-US" dirty="0" err="1"/>
              <a:t>snapssh</a:t>
            </a:r>
            <a:r>
              <a:rPr lang="en-US" dirty="0"/>
              <a:t>/dataset/</a:t>
            </a:r>
            <a:r>
              <a:rPr lang="en-US" dirty="0" err="1"/>
              <a:t>customers_orders_hive</a:t>
            </a:r>
            <a:r>
              <a:rPr lang="en-US" dirty="0"/>
              <a:t>' OVERWRITE INTO table Orders;</a:t>
            </a:r>
          </a:p>
          <a:p>
            <a:endParaRPr lang="en-US" dirty="0"/>
          </a:p>
          <a:p>
            <a:r>
              <a:rPr lang="en-US" dirty="0"/>
              <a:t>Note that all the data has been loaded into the year=2015 partition. Now the year can be used in queries for partition elimination as if it was a regular table column.</a:t>
            </a:r>
          </a:p>
        </p:txBody>
      </p:sp>
      <p:sp>
        <p:nvSpPr>
          <p:cNvPr id="4" name="Slide Number Placeholder 3"/>
          <p:cNvSpPr>
            <a:spLocks noGrp="1"/>
          </p:cNvSpPr>
          <p:nvPr>
            <p:ph type="sldNum" sz="quarter" idx="10"/>
          </p:nvPr>
        </p:nvSpPr>
        <p:spPr/>
        <p:txBody>
          <a:bodyPr/>
          <a:lstStyle/>
          <a:p>
            <a:fld id="{58B1BB6A-F914-4B73-90ED-4E922066D54E}" type="slidenum">
              <a:rPr lang="en-US" smtClean="0"/>
              <a:t>35</a:t>
            </a:fld>
            <a:endParaRPr lang="en-US"/>
          </a:p>
        </p:txBody>
      </p:sp>
    </p:spTree>
    <p:extLst>
      <p:ext uri="{BB962C8B-B14F-4D97-AF65-F5344CB8AC3E}">
        <p14:creationId xmlns:p14="http://schemas.microsoft.com/office/powerpoint/2010/main" val="23959222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3A019F3-8596-4028-9847-CBD3A185B07A}" type="slidenum">
              <a:rPr lang="en-US" smtClean="0">
                <a:solidFill>
                  <a:prstClr val="black"/>
                </a:solidFill>
              </a:rPr>
              <a:pPr/>
              <a:t>41</a:t>
            </a:fld>
            <a:endParaRPr lang="en-US">
              <a:solidFill>
                <a:prstClr val="black"/>
              </a:solidFill>
            </a:endParaRPr>
          </a:p>
        </p:txBody>
      </p:sp>
    </p:spTree>
    <p:extLst>
      <p:ext uri="{BB962C8B-B14F-4D97-AF65-F5344CB8AC3E}">
        <p14:creationId xmlns:p14="http://schemas.microsoft.com/office/powerpoint/2010/main" val="330551901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iagram</a:t>
            </a:r>
            <a:r>
              <a:rPr lang="en-US" baseline="0" dirty="0"/>
              <a:t> source</a:t>
            </a:r>
            <a:r>
              <a:rPr lang="en-US" dirty="0"/>
              <a:t>: </a:t>
            </a:r>
          </a:p>
          <a:p>
            <a:r>
              <a:rPr lang="en-US" dirty="0">
                <a:hlinkClick r:id="rId3"/>
              </a:rPr>
              <a:t>http://www.larsgeorge.com/2010/01/hbase-architecture-101-write-ahead-log.html</a:t>
            </a:r>
            <a:r>
              <a:rPr lang="en-US" dirty="0"/>
              <a:t> </a:t>
            </a:r>
          </a:p>
          <a:p>
            <a:endParaRPr lang="en-US" baseline="0" dirty="0"/>
          </a:p>
          <a:p>
            <a:endParaRPr lang="en-US" dirty="0"/>
          </a:p>
        </p:txBody>
      </p:sp>
      <p:sp>
        <p:nvSpPr>
          <p:cNvPr id="4" name="Footer Placeholder 3"/>
          <p:cNvSpPr>
            <a:spLocks noGrp="1"/>
          </p:cNvSpPr>
          <p:nvPr>
            <p:ph type="ftr" sz="quarter" idx="10"/>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7EC3234D-6EE1-40D4-82D4-0A5B803D660D}" type="datetime1">
              <a:rPr lang="en-US" smtClean="0">
                <a:solidFill>
                  <a:prstClr val="black"/>
                </a:solidFill>
              </a:rPr>
              <a:pPr/>
              <a:t>1/11/2017</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55</a:t>
            </a:fld>
            <a:endParaRPr lang="en-US" dirty="0">
              <a:solidFill>
                <a:prstClr val="black"/>
              </a:solidFill>
            </a:endParaRPr>
          </a:p>
        </p:txBody>
      </p:sp>
    </p:spTree>
    <p:extLst>
      <p:ext uri="{BB962C8B-B14F-4D97-AF65-F5344CB8AC3E}">
        <p14:creationId xmlns:p14="http://schemas.microsoft.com/office/powerpoint/2010/main" val="175040452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slideMaster" Target="../slideMasters/slideMaster2.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088" y="-1"/>
            <a:ext cx="12192000" cy="6858973"/>
          </a:xfrm>
          <a:prstGeom prst="rect">
            <a:avLst/>
          </a:prstGeom>
        </p:spPr>
      </p:pic>
      <p:pic>
        <p:nvPicPr>
          <p:cNvPr id="14" name="Picture 13" descr="DataInsights-iStock_000022453217Large.jpg"/>
          <p:cNvPicPr>
            <a:picLocks noChangeAspect="1"/>
          </p:cNvPicPr>
          <p:nvPr/>
        </p:nvPicPr>
        <p:blipFill rotWithShape="1">
          <a:blip r:embed="rId3" cstate="email">
            <a:alphaModFix/>
            <a:extLst>
              <a:ext uri="{28A0092B-C50C-407E-A947-70E740481C1C}">
                <a14:useLocalDpi xmlns:a14="http://schemas.microsoft.com/office/drawing/2010/main" val="0"/>
              </a:ext>
            </a:extLst>
          </a:blip>
          <a:srcRect/>
          <a:stretch/>
        </p:blipFill>
        <p:spPr>
          <a:xfrm>
            <a:off x="7998438" y="2302198"/>
            <a:ext cx="2757245" cy="2751705"/>
          </a:xfrm>
          <a:prstGeom prst="rect">
            <a:avLst/>
          </a:prstGeom>
        </p:spPr>
      </p:pic>
      <p:pic>
        <p:nvPicPr>
          <p:cNvPr id="11" name="Picture 9"/>
          <p:cNvPicPr>
            <a:picLocks noChangeAspect="1"/>
          </p:cNvPicPr>
          <p:nvPr/>
        </p:nvPicPr>
        <p:blipFill>
          <a:blip r:embed="rId4" cstate="email">
            <a:extLst>
              <a:ext uri="{28A0092B-C50C-407E-A947-70E740481C1C}">
                <a14:useLocalDpi xmlns:a14="http://schemas.microsoft.com/office/drawing/2010/main" val="0"/>
              </a:ext>
            </a:extLst>
          </a:blip>
          <a:srcRect l="19656" r="20331"/>
          <a:stretch>
            <a:fillRect/>
          </a:stretch>
        </p:blipFill>
        <p:spPr bwMode="auto">
          <a:xfrm>
            <a:off x="6573783" y="236590"/>
            <a:ext cx="5464145" cy="6437741"/>
          </a:xfrm>
          <a:prstGeom prst="rect">
            <a:avLst/>
          </a:prstGeom>
          <a:noFill/>
          <a:ln>
            <a:noFill/>
          </a:ln>
          <a:effectLst>
            <a:outerShdw blurRad="114300" dist="38100" dir="2700000" algn="tl" rotWithShape="0">
              <a:srgbClr val="000000">
                <a:alpha val="39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11"/>
          <p:cNvSpPr/>
          <p:nvPr/>
        </p:nvSpPr>
        <p:spPr bwMode="auto">
          <a:xfrm>
            <a:off x="0" y="1"/>
            <a:ext cx="6053737" cy="6869648"/>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anchor="ctr"/>
          <a:lstStyle/>
          <a:p>
            <a:pPr algn="ctr" defTabSz="914102">
              <a:defRPr/>
            </a:pPr>
            <a:endParaRPr lang="en-US" sz="1961" dirty="0">
              <a:gradFill>
                <a:gsLst>
                  <a:gs pos="0">
                    <a:srgbClr val="FFFFFF"/>
                  </a:gs>
                  <a:gs pos="100000">
                    <a:srgbClr val="FFFFFF"/>
                  </a:gs>
                </a:gsLst>
                <a:lin ang="5400000" scaled="0"/>
              </a:gradFill>
            </a:endParaRPr>
          </a:p>
        </p:txBody>
      </p:sp>
      <p:pic>
        <p:nvPicPr>
          <p:cNvPr id="15" name="Picture 8"/>
          <p:cNvPicPr>
            <a:picLocks noChangeAspect="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463776" y="470067"/>
            <a:ext cx="1304174" cy="286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itle 1"/>
          <p:cNvSpPr>
            <a:spLocks noGrp="1"/>
          </p:cNvSpPr>
          <p:nvPr>
            <p:ph type="ctrTitle"/>
          </p:nvPr>
        </p:nvSpPr>
        <p:spPr>
          <a:xfrm>
            <a:off x="269240" y="1428401"/>
            <a:ext cx="5487085" cy="897667"/>
          </a:xfrm>
        </p:spPr>
        <p:txBody>
          <a:bodyPr/>
          <a:lstStyle>
            <a:lvl1pPr>
              <a:defRPr sz="5098">
                <a:solidFill>
                  <a:schemeClr val="bg1"/>
                </a:solidFill>
              </a:defRPr>
            </a:lvl1pPr>
          </a:lstStyle>
          <a:p>
            <a:r>
              <a:rPr lang="en-US"/>
              <a:t>Click to edit Master title style</a:t>
            </a:r>
            <a:endParaRPr lang="en-US" dirty="0"/>
          </a:p>
        </p:txBody>
      </p:sp>
      <p:sp>
        <p:nvSpPr>
          <p:cNvPr id="17" name="Subtitle 2"/>
          <p:cNvSpPr>
            <a:spLocks noGrp="1"/>
          </p:cNvSpPr>
          <p:nvPr>
            <p:ph type="subTitle" idx="1"/>
          </p:nvPr>
        </p:nvSpPr>
        <p:spPr>
          <a:xfrm>
            <a:off x="269302" y="4353453"/>
            <a:ext cx="5487022" cy="1055663"/>
          </a:xfrm>
        </p:spPr>
        <p:txBody>
          <a:bodyPr/>
          <a:lstStyle>
            <a:lvl1pPr marL="0" indent="0" algn="l">
              <a:lnSpc>
                <a:spcPts val="2647"/>
              </a:lnSpc>
              <a:buNone/>
              <a:defRPr sz="2157">
                <a:solidFill>
                  <a:schemeClr val="bg1"/>
                </a:solidFill>
                <a:latin typeface="+mj-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408125587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Slide for Developer Code</a:t>
            </a:r>
          </a:p>
        </p:txBody>
      </p:sp>
      <p:sp>
        <p:nvSpPr>
          <p:cNvPr id="3" name="Rectangle 2"/>
          <p:cNvSpPr/>
          <p:nvPr/>
        </p:nvSpPr>
        <p:spPr bwMode="hidden">
          <a:xfrm>
            <a:off x="1" y="1155941"/>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454" y="1447803"/>
            <a:ext cx="11155093" cy="2089751"/>
          </a:xfrm>
        </p:spPr>
        <p:txBody>
          <a:bodyPr/>
          <a:lstStyle>
            <a:lvl1pPr marL="0" indent="0">
              <a:buNone/>
              <a:defRPr sz="3235">
                <a:gradFill>
                  <a:gsLst>
                    <a:gs pos="1250">
                      <a:srgbClr val="000000"/>
                    </a:gs>
                    <a:gs pos="100000">
                      <a:srgbClr val="000000"/>
                    </a:gs>
                  </a:gsLst>
                  <a:lin ang="5400000" scaled="0"/>
                </a:gradFill>
                <a:latin typeface="Consolas" pitchFamily="49" charset="0"/>
                <a:cs typeface="Consolas" pitchFamily="49" charset="0"/>
              </a:defRPr>
            </a:lvl1pPr>
            <a:lvl2pPr marL="339726"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9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6"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9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2"/>
          <p:cNvSpPr>
            <a:spLocks noGrp="1"/>
          </p:cNvSpPr>
          <p:nvPr>
            <p:ph type="sldNum" sz="quarter" idx="12"/>
          </p:nvPr>
        </p:nvSpPr>
        <p:spPr>
          <a:xfrm>
            <a:off x="11367165" y="6437742"/>
            <a:ext cx="555597" cy="133860"/>
          </a:xfrm>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05869205"/>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46064"/>
            <a:ext cx="10972800" cy="439736"/>
          </a:xfrm>
        </p:spPr>
        <p:txBody>
          <a:bodyPr/>
          <a:lstStyle/>
          <a:p>
            <a:r>
              <a:rPr lang="en-US"/>
              <a:t>Click to edit Master title style</a:t>
            </a:r>
          </a:p>
        </p:txBody>
      </p:sp>
      <p:sp>
        <p:nvSpPr>
          <p:cNvPr id="3" name="Content Placeholder 2"/>
          <p:cNvSpPr>
            <a:spLocks noGrp="1"/>
          </p:cNvSpPr>
          <p:nvPr>
            <p:ph idx="1"/>
          </p:nvPr>
        </p:nvSpPr>
        <p:spPr>
          <a:xfrm>
            <a:off x="609600" y="1502828"/>
            <a:ext cx="10972800" cy="2250695"/>
          </a:xfrm>
        </p:spPr>
        <p:txBody>
          <a:bodyPr/>
          <a:lstStyle>
            <a:lvl1pPr>
              <a:spcAft>
                <a:spcPts val="0"/>
              </a:spcAft>
              <a:defRPr/>
            </a:lvl1pPr>
            <a:lvl2pPr>
              <a:spcBef>
                <a:spcPts val="1100"/>
              </a:spcBef>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8"/>
          <p:cNvSpPr>
            <a:spLocks noGrp="1"/>
          </p:cNvSpPr>
          <p:nvPr>
            <p:ph type="body" sz="quarter" idx="13"/>
          </p:nvPr>
        </p:nvSpPr>
        <p:spPr>
          <a:xfrm>
            <a:off x="609600" y="627889"/>
            <a:ext cx="10972800" cy="312143"/>
          </a:xfrm>
        </p:spPr>
        <p:txBody>
          <a:bodyPr tIns="0"/>
          <a:lstStyle>
            <a:lvl1pPr>
              <a:spcAft>
                <a:spcPts val="0"/>
              </a:spcAft>
              <a:defRPr sz="1600">
                <a:solidFill>
                  <a:schemeClr val="bg1"/>
                </a:solidFill>
                <a:latin typeface="Segoe" pitchFamily="34" charset="0"/>
              </a:defRPr>
            </a:lvl1pPr>
          </a:lstStyle>
          <a:p>
            <a:pPr lvl="0"/>
            <a:r>
              <a:rPr lang="en-US"/>
              <a:t>Click to edit Master text styles</a:t>
            </a:r>
          </a:p>
        </p:txBody>
      </p:sp>
      <p:sp>
        <p:nvSpPr>
          <p:cNvPr id="5" name="Slide Number Placeholder 2"/>
          <p:cNvSpPr>
            <a:spLocks noGrp="1"/>
          </p:cNvSpPr>
          <p:nvPr>
            <p:ph type="sldNum" sz="quarter" idx="12"/>
          </p:nvPr>
        </p:nvSpPr>
        <p:spPr>
          <a:xfrm>
            <a:off x="11367165" y="6437742"/>
            <a:ext cx="555597" cy="133860"/>
          </a:xfrm>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180171495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1"/>
          </p:nvPr>
        </p:nvSpPr>
        <p:spPr>
          <a:xfrm>
            <a:off x="520835" y="1447803"/>
            <a:ext cx="5396366" cy="2622373"/>
          </a:xfrm>
        </p:spPr>
        <p:txBody>
          <a:bodyPr/>
          <a:lstStyle>
            <a:lvl1pPr marL="0" indent="0">
              <a:spcBef>
                <a:spcPts val="1200"/>
              </a:spcBef>
              <a:buNone/>
              <a:defRPr sz="4019">
                <a:gradFill>
                  <a:gsLst>
                    <a:gs pos="100000">
                      <a:schemeClr val="tx2"/>
                    </a:gs>
                    <a:gs pos="0">
                      <a:schemeClr val="tx2"/>
                    </a:gs>
                  </a:gsLst>
                  <a:lin ang="5400000" scaled="0"/>
                </a:gradFill>
                <a:latin typeface="+mj-lt"/>
              </a:defRPr>
            </a:lvl1pPr>
            <a:lvl2pPr marL="0" indent="0">
              <a:buNone/>
              <a:defRPr sz="1961"/>
            </a:lvl2pPr>
            <a:lvl3pPr marL="233364" indent="0">
              <a:buNone/>
              <a:defRPr sz="1961"/>
            </a:lvl3pPr>
            <a:lvl4pPr marL="457202" indent="0">
              <a:buNone/>
              <a:defRPr sz="1961"/>
            </a:lvl4pPr>
            <a:lvl5pPr marL="693741" indent="0">
              <a:buNone/>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2" y="1447803"/>
            <a:ext cx="5396366" cy="2622373"/>
          </a:xfrm>
        </p:spPr>
        <p:txBody>
          <a:bodyPr/>
          <a:lstStyle>
            <a:lvl1pPr marL="0" indent="0">
              <a:spcBef>
                <a:spcPts val="1200"/>
              </a:spcBef>
              <a:buNone/>
              <a:defRPr lang="en-US" sz="4019" kern="1200" spc="-70" baseline="0" dirty="0" smtClean="0">
                <a:gradFill>
                  <a:gsLst>
                    <a:gs pos="100000">
                      <a:schemeClr val="tx2"/>
                    </a:gs>
                    <a:gs pos="0">
                      <a:schemeClr val="tx2"/>
                    </a:gs>
                  </a:gsLst>
                  <a:lin ang="5400000" scaled="0"/>
                </a:gradFill>
                <a:latin typeface="+mj-lt"/>
                <a:ea typeface="+mn-ea"/>
                <a:cs typeface="+mn-cs"/>
              </a:defRPr>
            </a:lvl1pPr>
            <a:lvl2pPr marL="3175"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smtClean="0">
                <a:gradFill>
                  <a:gsLst>
                    <a:gs pos="1250">
                      <a:schemeClr val="tx1"/>
                    </a:gs>
                    <a:gs pos="100000">
                      <a:schemeClr val="tx1"/>
                    </a:gs>
                  </a:gsLst>
                  <a:lin ang="5400000" scaled="0"/>
                </a:gradFill>
                <a:latin typeface="+mn-lt"/>
                <a:ea typeface="+mn-ea"/>
                <a:cs typeface="+mn-cs"/>
              </a:defRPr>
            </a:lvl2pPr>
            <a:lvl3pPr marL="233364"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smtClean="0">
                <a:gradFill>
                  <a:gsLst>
                    <a:gs pos="1250">
                      <a:schemeClr val="tx1"/>
                    </a:gs>
                    <a:gs pos="100000">
                      <a:schemeClr val="tx1"/>
                    </a:gs>
                  </a:gsLst>
                  <a:lin ang="5400000" scaled="0"/>
                </a:gradFill>
                <a:latin typeface="+mn-lt"/>
                <a:ea typeface="+mn-ea"/>
                <a:cs typeface="+mn-cs"/>
              </a:defRPr>
            </a:lvl3pPr>
            <a:lvl4pPr marL="460377"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smtClean="0">
                <a:gradFill>
                  <a:gsLst>
                    <a:gs pos="1250">
                      <a:schemeClr val="tx1"/>
                    </a:gs>
                    <a:gs pos="100000">
                      <a:schemeClr val="tx1"/>
                    </a:gs>
                  </a:gsLst>
                  <a:lin ang="5400000" scaled="0"/>
                </a:gradFill>
                <a:latin typeface="+mn-lt"/>
                <a:ea typeface="+mn-ea"/>
                <a:cs typeface="+mn-cs"/>
              </a:defRPr>
            </a:lvl4pPr>
            <a:lvl5pPr marL="6873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a:gradFill>
                  <a:gsLst>
                    <a:gs pos="1250">
                      <a:schemeClr val="tx1"/>
                    </a:gs>
                    <a:gs pos="100000">
                      <a:schemeClr val="tx1"/>
                    </a:gs>
                  </a:gsLst>
                  <a:lin ang="5400000" scaled="0"/>
                </a:gradFill>
                <a:latin typeface="+mn-lt"/>
                <a:ea typeface="+mn-ea"/>
                <a:cs typeface="+mn-cs"/>
              </a:defRPr>
            </a:lvl5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5" name="TextBox 7"/>
          <p:cNvSpPr txBox="1"/>
          <p:nvPr/>
        </p:nvSpPr>
        <p:spPr>
          <a:xfrm>
            <a:off x="4161400" y="6593488"/>
            <a:ext cx="3869200" cy="16597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78" spc="150"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628966920"/>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088" y="-1"/>
            <a:ext cx="12192000" cy="6858973"/>
          </a:xfrm>
          <a:prstGeom prst="rect">
            <a:avLst/>
          </a:prstGeom>
        </p:spPr>
      </p:pic>
      <p:pic>
        <p:nvPicPr>
          <p:cNvPr id="14" name="Picture 13" descr="DataInsights-iStock_000022453217Large.jpg"/>
          <p:cNvPicPr>
            <a:picLocks noChangeAspect="1"/>
          </p:cNvPicPr>
          <p:nvPr/>
        </p:nvPicPr>
        <p:blipFill rotWithShape="1">
          <a:blip r:embed="rId3" cstate="email">
            <a:alphaModFix/>
            <a:extLst>
              <a:ext uri="{28A0092B-C50C-407E-A947-70E740481C1C}">
                <a14:useLocalDpi xmlns:a14="http://schemas.microsoft.com/office/drawing/2010/main" val="0"/>
              </a:ext>
            </a:extLst>
          </a:blip>
          <a:srcRect/>
          <a:stretch/>
        </p:blipFill>
        <p:spPr>
          <a:xfrm>
            <a:off x="7998438" y="2302198"/>
            <a:ext cx="2757245" cy="2751705"/>
          </a:xfrm>
          <a:prstGeom prst="rect">
            <a:avLst/>
          </a:prstGeom>
        </p:spPr>
      </p:pic>
      <p:pic>
        <p:nvPicPr>
          <p:cNvPr id="11" name="Picture 9"/>
          <p:cNvPicPr>
            <a:picLocks noChangeAspect="1"/>
          </p:cNvPicPr>
          <p:nvPr/>
        </p:nvPicPr>
        <p:blipFill>
          <a:blip r:embed="rId4" cstate="email">
            <a:extLst>
              <a:ext uri="{28A0092B-C50C-407E-A947-70E740481C1C}">
                <a14:useLocalDpi xmlns:a14="http://schemas.microsoft.com/office/drawing/2010/main" val="0"/>
              </a:ext>
            </a:extLst>
          </a:blip>
          <a:srcRect l="19656" r="20331"/>
          <a:stretch>
            <a:fillRect/>
          </a:stretch>
        </p:blipFill>
        <p:spPr bwMode="auto">
          <a:xfrm>
            <a:off x="6573783" y="236590"/>
            <a:ext cx="5464145" cy="6437741"/>
          </a:xfrm>
          <a:prstGeom prst="rect">
            <a:avLst/>
          </a:prstGeom>
          <a:noFill/>
          <a:ln>
            <a:noFill/>
          </a:ln>
          <a:effectLst>
            <a:outerShdw blurRad="114300" dist="38100" dir="2700000" algn="tl" rotWithShape="0">
              <a:srgbClr val="000000">
                <a:alpha val="39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11"/>
          <p:cNvSpPr/>
          <p:nvPr/>
        </p:nvSpPr>
        <p:spPr bwMode="auto">
          <a:xfrm>
            <a:off x="0" y="1"/>
            <a:ext cx="6053737" cy="6869648"/>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anchor="ctr"/>
          <a:lstStyle/>
          <a:p>
            <a:pPr algn="ctr" defTabSz="914102">
              <a:defRPr/>
            </a:pPr>
            <a:endParaRPr lang="en-US" sz="1961" dirty="0">
              <a:gradFill>
                <a:gsLst>
                  <a:gs pos="0">
                    <a:srgbClr val="FFFFFF"/>
                  </a:gs>
                  <a:gs pos="100000">
                    <a:srgbClr val="FFFFFF"/>
                  </a:gs>
                </a:gsLst>
                <a:lin ang="5400000" scaled="0"/>
              </a:gradFill>
            </a:endParaRPr>
          </a:p>
        </p:txBody>
      </p:sp>
      <p:pic>
        <p:nvPicPr>
          <p:cNvPr id="15" name="Picture 8"/>
          <p:cNvPicPr>
            <a:picLocks noChangeAspect="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463776" y="470067"/>
            <a:ext cx="1304174" cy="286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itle 1"/>
          <p:cNvSpPr>
            <a:spLocks noGrp="1"/>
          </p:cNvSpPr>
          <p:nvPr>
            <p:ph type="ctrTitle"/>
          </p:nvPr>
        </p:nvSpPr>
        <p:spPr>
          <a:xfrm>
            <a:off x="269240" y="1428401"/>
            <a:ext cx="5487085" cy="897667"/>
          </a:xfrm>
        </p:spPr>
        <p:txBody>
          <a:bodyPr/>
          <a:lstStyle>
            <a:lvl1pPr>
              <a:defRPr sz="5098">
                <a:solidFill>
                  <a:schemeClr val="bg1"/>
                </a:solidFill>
              </a:defRPr>
            </a:lvl1pPr>
          </a:lstStyle>
          <a:p>
            <a:r>
              <a:rPr lang="en-US"/>
              <a:t>Click to edit Master title style</a:t>
            </a:r>
            <a:endParaRPr lang="en-US" dirty="0"/>
          </a:p>
        </p:txBody>
      </p:sp>
      <p:sp>
        <p:nvSpPr>
          <p:cNvPr id="17" name="Subtitle 2"/>
          <p:cNvSpPr>
            <a:spLocks noGrp="1"/>
          </p:cNvSpPr>
          <p:nvPr>
            <p:ph type="subTitle" idx="1"/>
          </p:nvPr>
        </p:nvSpPr>
        <p:spPr>
          <a:xfrm>
            <a:off x="269302" y="4353453"/>
            <a:ext cx="5487022" cy="1055663"/>
          </a:xfrm>
        </p:spPr>
        <p:txBody>
          <a:bodyPr/>
          <a:lstStyle>
            <a:lvl1pPr marL="0" indent="0" algn="l">
              <a:lnSpc>
                <a:spcPts val="2647"/>
              </a:lnSpc>
              <a:buNone/>
              <a:defRPr sz="2157">
                <a:solidFill>
                  <a:schemeClr val="bg1"/>
                </a:solidFill>
                <a:latin typeface="+mj-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28480188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5_BLANK">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srcRect l="120"/>
          <a:stretch/>
        </p:blipFill>
        <p:spPr>
          <a:xfrm>
            <a:off x="-1" y="-312"/>
            <a:ext cx="12206629" cy="6858623"/>
          </a:xfrm>
          <a:prstGeom prst="rect">
            <a:avLst/>
          </a:prstGeom>
        </p:spPr>
      </p:pic>
    </p:spTree>
    <p:extLst>
      <p:ext uri="{BB962C8B-B14F-4D97-AF65-F5344CB8AC3E}">
        <p14:creationId xmlns:p14="http://schemas.microsoft.com/office/powerpoint/2010/main" val="746940644"/>
      </p:ext>
    </p:extLst>
  </p:cSld>
  <p:clrMapOvr>
    <a:masterClrMapping/>
  </p:clrMapOvr>
  <p:transition spd="med">
    <p:wipe dir="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63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0" y="1279455"/>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a:t>Click to edit Master title style</a:t>
            </a:r>
            <a:endParaRPr lang="en-US" dirty="0"/>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endParaRPr/>
          </a:p>
        </p:txBody>
      </p:sp>
      <p:sp>
        <p:nvSpPr>
          <p:cNvPr id="5" name="Slide Number Placeholder 3"/>
          <p:cNvSpPr>
            <a:spLocks noGrp="1"/>
          </p:cNvSpPr>
          <p:nvPr>
            <p:ph type="sldNum" sz="quarter" idx="15"/>
          </p:nvPr>
        </p:nvSpPr>
        <p:spPr/>
        <p:txBody>
          <a:bodyPr/>
          <a:lstStyle>
            <a:lvl1pPr defTabSz="913505"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spTree>
    <p:extLst>
      <p:ext uri="{BB962C8B-B14F-4D97-AF65-F5344CB8AC3E}">
        <p14:creationId xmlns:p14="http://schemas.microsoft.com/office/powerpoint/2010/main" val="995423208"/>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endParaRPr/>
          </a:p>
        </p:txBody>
      </p:sp>
      <p:sp>
        <p:nvSpPr>
          <p:cNvPr id="3" name="Slide Number Placeholder 2"/>
          <p:cNvSpPr>
            <a:spLocks noGrp="1"/>
          </p:cNvSpPr>
          <p:nvPr>
            <p:ph type="sldNum" sz="quarter" idx="11"/>
          </p:nvPr>
        </p:nvSpPr>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191641356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a:t>Click to edit Master title style</a:t>
            </a:r>
            <a:endParaRPr lang="en-US" dirty="0"/>
          </a:p>
        </p:txBody>
      </p:sp>
      <p:sp>
        <p:nvSpPr>
          <p:cNvPr id="4" name="Slide Number Placeholder 2"/>
          <p:cNvSpPr>
            <a:spLocks noGrp="1"/>
          </p:cNvSpPr>
          <p:nvPr>
            <p:ph type="sldNum" sz="quarter" idx="11"/>
          </p:nvPr>
        </p:nvSpPr>
        <p:spPr>
          <a:xfrm>
            <a:off x="11367165" y="6437742"/>
            <a:ext cx="555597" cy="133860"/>
          </a:xfrm>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28502" t="40628" r="27716" b="39461"/>
          <a:stretch/>
        </p:blipFill>
        <p:spPr>
          <a:xfrm>
            <a:off x="523142" y="6434664"/>
            <a:ext cx="935823" cy="239431"/>
          </a:xfrm>
          <a:prstGeom prst="rect">
            <a:avLst/>
          </a:prstGeom>
        </p:spPr>
      </p:pic>
    </p:spTree>
    <p:extLst>
      <p:ext uri="{BB962C8B-B14F-4D97-AF65-F5344CB8AC3E}">
        <p14:creationId xmlns:p14="http://schemas.microsoft.com/office/powerpoint/2010/main" val="26593828"/>
      </p:ext>
    </p:extLst>
  </p:cSld>
  <p:clrMapOvr>
    <a:masterClrMapping/>
  </p:clrMapOvr>
  <p:transition spd="med">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a:t>Click to edit Master title style</a:t>
            </a:r>
            <a:endParaRPr lang="en-US" dirty="0"/>
          </a:p>
        </p:txBody>
      </p:sp>
      <p:sp>
        <p:nvSpPr>
          <p:cNvPr id="4" name="Slide Number Placeholder 2"/>
          <p:cNvSpPr>
            <a:spLocks noGrp="1"/>
          </p:cNvSpPr>
          <p:nvPr>
            <p:ph type="sldNum" sz="quarter" idx="11"/>
          </p:nvPr>
        </p:nvSpPr>
        <p:spPr>
          <a:xfrm>
            <a:off x="11367165" y="6437742"/>
            <a:ext cx="555597" cy="133860"/>
          </a:xfrm>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1167837103"/>
      </p:ext>
    </p:extLst>
  </p:cSld>
  <p:clrMapOvr>
    <a:masterClrMapping/>
  </p:clrMapOvr>
  <p:transition spd="med">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4_BLANK">
    <p:spTree>
      <p:nvGrpSpPr>
        <p:cNvPr id="1" name=""/>
        <p:cNvGrpSpPr/>
        <p:nvPr/>
      </p:nvGrpSpPr>
      <p:grpSpPr>
        <a:xfrm>
          <a:off x="0" y="0"/>
          <a:ext cx="0" cy="0"/>
          <a:chOff x="0" y="0"/>
          <a:chExt cx="0" cy="0"/>
        </a:xfrm>
      </p:grpSpPr>
      <p:sp>
        <p:nvSpPr>
          <p:cNvPr id="3" name="Rectangle 2"/>
          <p:cNvSpPr/>
          <p:nvPr/>
        </p:nvSpPr>
        <p:spPr bwMode="auto">
          <a:xfrm rot="16200000">
            <a:off x="4436204" y="-897799"/>
            <a:ext cx="3319595" cy="12192002"/>
          </a:xfrm>
          <a:prstGeom prst="rect">
            <a:avLst/>
          </a:prstGeom>
          <a:gradFill flip="none" rotWithShape="1">
            <a:gsLst>
              <a:gs pos="75000">
                <a:srgbClr val="003963">
                  <a:alpha val="0"/>
                </a:srgbClr>
              </a:gs>
              <a:gs pos="0">
                <a:srgbClr val="002B4A"/>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anchor="ctr"/>
          <a:lstStyle/>
          <a:p>
            <a:pPr algn="ctr" defTabSz="914102">
              <a:defRPr/>
            </a:pPr>
            <a:endParaRPr lang="en-US" sz="1961" dirty="0">
              <a:gradFill>
                <a:gsLst>
                  <a:gs pos="0">
                    <a:srgbClr val="FFFFFF"/>
                  </a:gs>
                  <a:gs pos="100000">
                    <a:srgbClr val="FFFFFF"/>
                  </a:gs>
                </a:gsLst>
                <a:lin ang="5400000" scaled="0"/>
              </a:gradFill>
            </a:endParaRPr>
          </a:p>
        </p:txBody>
      </p:sp>
      <p:pic>
        <p:nvPicPr>
          <p:cNvPr id="4" name="Picture 3"/>
          <p:cNvPicPr>
            <a:picLocks noChangeAspect="1"/>
          </p:cNvPicPr>
          <p:nvPr userDrawn="1"/>
        </p:nvPicPr>
        <p:blipFill>
          <a:blip r:embed="rId2"/>
          <a:stretch>
            <a:fillRect/>
          </a:stretch>
        </p:blipFill>
        <p:spPr>
          <a:xfrm>
            <a:off x="0" y="0"/>
            <a:ext cx="12213788" cy="6858623"/>
          </a:xfrm>
          <a:prstGeom prst="rect">
            <a:avLst/>
          </a:prstGeom>
        </p:spPr>
      </p:pic>
    </p:spTree>
    <p:extLst>
      <p:ext uri="{BB962C8B-B14F-4D97-AF65-F5344CB8AC3E}">
        <p14:creationId xmlns:p14="http://schemas.microsoft.com/office/powerpoint/2010/main" val="3695950742"/>
      </p:ext>
    </p:extLst>
  </p:cSld>
  <p:clrMapOvr>
    <a:masterClrMapping/>
  </p:clrMapOvr>
  <p:transition spd="med">
    <p:wipe dir="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5_BLANK">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srcRect l="120"/>
          <a:stretch/>
        </p:blipFill>
        <p:spPr>
          <a:xfrm>
            <a:off x="-1" y="-312"/>
            <a:ext cx="12206629" cy="6858623"/>
          </a:xfrm>
          <a:prstGeom prst="rect">
            <a:avLst/>
          </a:prstGeom>
        </p:spPr>
      </p:pic>
    </p:spTree>
    <p:extLst>
      <p:ext uri="{BB962C8B-B14F-4D97-AF65-F5344CB8AC3E}">
        <p14:creationId xmlns:p14="http://schemas.microsoft.com/office/powerpoint/2010/main" val="4221007830"/>
      </p:ext>
    </p:extLst>
  </p:cSld>
  <p:clrMapOvr>
    <a:masterClrMapping/>
  </p:clrMapOvr>
  <p:transition spd="med">
    <p:wipe dir="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Blank Accent Color 1">
    <p:bg>
      <p:bgPr>
        <a:solidFill>
          <a:srgbClr val="DA3C1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7225330"/>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6922" y="1284251"/>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2"/>
          <p:cNvSpPr>
            <a:spLocks noGrp="1"/>
          </p:cNvSpPr>
          <p:nvPr>
            <p:ph type="sldNum" sz="quarter" idx="12"/>
          </p:nvPr>
        </p:nvSpPr>
        <p:spPr>
          <a:xfrm>
            <a:off x="11367165" y="6437742"/>
            <a:ext cx="555597" cy="133860"/>
          </a:xfrm>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349800019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298771"/>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Slide Number Placeholder 2"/>
          <p:cNvSpPr>
            <a:spLocks noGrp="1"/>
          </p:cNvSpPr>
          <p:nvPr>
            <p:ph type="sldNum" sz="quarter" idx="12"/>
          </p:nvPr>
        </p:nvSpPr>
        <p:spPr>
          <a:xfrm>
            <a:off x="11367165" y="6437742"/>
            <a:ext cx="555597" cy="133860"/>
          </a:xfrm>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1817104044"/>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Slide for Developer Code</a:t>
            </a:r>
          </a:p>
        </p:txBody>
      </p:sp>
      <p:sp>
        <p:nvSpPr>
          <p:cNvPr id="3" name="Rectangle 2"/>
          <p:cNvSpPr/>
          <p:nvPr/>
        </p:nvSpPr>
        <p:spPr bwMode="hidden">
          <a:xfrm>
            <a:off x="1" y="1155941"/>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454" y="1447803"/>
            <a:ext cx="11155093" cy="2089751"/>
          </a:xfrm>
        </p:spPr>
        <p:txBody>
          <a:bodyPr/>
          <a:lstStyle>
            <a:lvl1pPr marL="0" indent="0">
              <a:buNone/>
              <a:defRPr sz="3235">
                <a:gradFill>
                  <a:gsLst>
                    <a:gs pos="1250">
                      <a:srgbClr val="000000"/>
                    </a:gs>
                    <a:gs pos="100000">
                      <a:srgbClr val="000000"/>
                    </a:gs>
                  </a:gsLst>
                  <a:lin ang="5400000" scaled="0"/>
                </a:gradFill>
                <a:latin typeface="Consolas" pitchFamily="49" charset="0"/>
                <a:cs typeface="Consolas" pitchFamily="49" charset="0"/>
              </a:defRPr>
            </a:lvl1pPr>
            <a:lvl2pPr marL="339726"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9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6"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9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2"/>
          <p:cNvSpPr>
            <a:spLocks noGrp="1"/>
          </p:cNvSpPr>
          <p:nvPr>
            <p:ph type="sldNum" sz="quarter" idx="12"/>
          </p:nvPr>
        </p:nvSpPr>
        <p:spPr>
          <a:xfrm>
            <a:off x="11367165" y="6437742"/>
            <a:ext cx="555597" cy="133860"/>
          </a:xfrm>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1815409502"/>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46064"/>
            <a:ext cx="10972800" cy="439736"/>
          </a:xfrm>
        </p:spPr>
        <p:txBody>
          <a:bodyPr/>
          <a:lstStyle/>
          <a:p>
            <a:r>
              <a:rPr lang="en-US"/>
              <a:t>Click to edit Master title style</a:t>
            </a:r>
          </a:p>
        </p:txBody>
      </p:sp>
      <p:sp>
        <p:nvSpPr>
          <p:cNvPr id="3" name="Content Placeholder 2"/>
          <p:cNvSpPr>
            <a:spLocks noGrp="1"/>
          </p:cNvSpPr>
          <p:nvPr>
            <p:ph idx="1"/>
          </p:nvPr>
        </p:nvSpPr>
        <p:spPr>
          <a:xfrm>
            <a:off x="609600" y="1502828"/>
            <a:ext cx="10972800" cy="2250695"/>
          </a:xfrm>
        </p:spPr>
        <p:txBody>
          <a:bodyPr/>
          <a:lstStyle>
            <a:lvl1pPr>
              <a:spcAft>
                <a:spcPts val="0"/>
              </a:spcAft>
              <a:defRPr/>
            </a:lvl1pPr>
            <a:lvl2pPr>
              <a:spcBef>
                <a:spcPts val="1100"/>
              </a:spcBef>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8"/>
          <p:cNvSpPr>
            <a:spLocks noGrp="1"/>
          </p:cNvSpPr>
          <p:nvPr>
            <p:ph type="body" sz="quarter" idx="13"/>
          </p:nvPr>
        </p:nvSpPr>
        <p:spPr>
          <a:xfrm>
            <a:off x="609600" y="627889"/>
            <a:ext cx="10972800" cy="312143"/>
          </a:xfrm>
        </p:spPr>
        <p:txBody>
          <a:bodyPr tIns="0"/>
          <a:lstStyle>
            <a:lvl1pPr>
              <a:spcAft>
                <a:spcPts val="0"/>
              </a:spcAft>
              <a:defRPr sz="1600">
                <a:solidFill>
                  <a:schemeClr val="bg1"/>
                </a:solidFill>
                <a:latin typeface="Segoe" pitchFamily="34" charset="0"/>
              </a:defRPr>
            </a:lvl1pPr>
          </a:lstStyle>
          <a:p>
            <a:pPr lvl="0"/>
            <a:r>
              <a:rPr lang="en-US"/>
              <a:t>Click to edit Master text styles</a:t>
            </a:r>
          </a:p>
        </p:txBody>
      </p:sp>
      <p:sp>
        <p:nvSpPr>
          <p:cNvPr id="5" name="Slide Number Placeholder 2"/>
          <p:cNvSpPr>
            <a:spLocks noGrp="1"/>
          </p:cNvSpPr>
          <p:nvPr>
            <p:ph type="sldNum" sz="quarter" idx="12"/>
          </p:nvPr>
        </p:nvSpPr>
        <p:spPr>
          <a:xfrm>
            <a:off x="11367165" y="6437742"/>
            <a:ext cx="555597" cy="133860"/>
          </a:xfrm>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106846484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1"/>
          </p:nvPr>
        </p:nvSpPr>
        <p:spPr>
          <a:xfrm>
            <a:off x="520835" y="1447803"/>
            <a:ext cx="5396366" cy="2622373"/>
          </a:xfrm>
        </p:spPr>
        <p:txBody>
          <a:bodyPr/>
          <a:lstStyle>
            <a:lvl1pPr marL="0" indent="0">
              <a:spcBef>
                <a:spcPts val="1200"/>
              </a:spcBef>
              <a:buNone/>
              <a:defRPr sz="4019">
                <a:gradFill>
                  <a:gsLst>
                    <a:gs pos="100000">
                      <a:schemeClr val="tx2"/>
                    </a:gs>
                    <a:gs pos="0">
                      <a:schemeClr val="tx2"/>
                    </a:gs>
                  </a:gsLst>
                  <a:lin ang="5400000" scaled="0"/>
                </a:gradFill>
                <a:latin typeface="+mj-lt"/>
              </a:defRPr>
            </a:lvl1pPr>
            <a:lvl2pPr marL="0" indent="0">
              <a:buNone/>
              <a:defRPr sz="1961"/>
            </a:lvl2pPr>
            <a:lvl3pPr marL="233364" indent="0">
              <a:buNone/>
              <a:defRPr sz="1961"/>
            </a:lvl3pPr>
            <a:lvl4pPr marL="457202" indent="0">
              <a:buNone/>
              <a:defRPr sz="1961"/>
            </a:lvl4pPr>
            <a:lvl5pPr marL="693741" indent="0">
              <a:buNone/>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2" y="1447803"/>
            <a:ext cx="5396366" cy="2622373"/>
          </a:xfrm>
        </p:spPr>
        <p:txBody>
          <a:bodyPr/>
          <a:lstStyle>
            <a:lvl1pPr marL="0" indent="0">
              <a:spcBef>
                <a:spcPts val="1200"/>
              </a:spcBef>
              <a:buNone/>
              <a:defRPr lang="en-US" sz="4019" kern="1200" spc="-70" baseline="0" dirty="0" smtClean="0">
                <a:gradFill>
                  <a:gsLst>
                    <a:gs pos="100000">
                      <a:schemeClr val="tx2"/>
                    </a:gs>
                    <a:gs pos="0">
                      <a:schemeClr val="tx2"/>
                    </a:gs>
                  </a:gsLst>
                  <a:lin ang="5400000" scaled="0"/>
                </a:gradFill>
                <a:latin typeface="+mj-lt"/>
                <a:ea typeface="+mn-ea"/>
                <a:cs typeface="+mn-cs"/>
              </a:defRPr>
            </a:lvl1pPr>
            <a:lvl2pPr marL="3175"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smtClean="0">
                <a:gradFill>
                  <a:gsLst>
                    <a:gs pos="1250">
                      <a:schemeClr val="tx1"/>
                    </a:gs>
                    <a:gs pos="100000">
                      <a:schemeClr val="tx1"/>
                    </a:gs>
                  </a:gsLst>
                  <a:lin ang="5400000" scaled="0"/>
                </a:gradFill>
                <a:latin typeface="+mn-lt"/>
                <a:ea typeface="+mn-ea"/>
                <a:cs typeface="+mn-cs"/>
              </a:defRPr>
            </a:lvl2pPr>
            <a:lvl3pPr marL="233364"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smtClean="0">
                <a:gradFill>
                  <a:gsLst>
                    <a:gs pos="1250">
                      <a:schemeClr val="tx1"/>
                    </a:gs>
                    <a:gs pos="100000">
                      <a:schemeClr val="tx1"/>
                    </a:gs>
                  </a:gsLst>
                  <a:lin ang="5400000" scaled="0"/>
                </a:gradFill>
                <a:latin typeface="+mn-lt"/>
                <a:ea typeface="+mn-ea"/>
                <a:cs typeface="+mn-cs"/>
              </a:defRPr>
            </a:lvl3pPr>
            <a:lvl4pPr marL="460377"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smtClean="0">
                <a:gradFill>
                  <a:gsLst>
                    <a:gs pos="1250">
                      <a:schemeClr val="tx1"/>
                    </a:gs>
                    <a:gs pos="100000">
                      <a:schemeClr val="tx1"/>
                    </a:gs>
                  </a:gsLst>
                  <a:lin ang="5400000" scaled="0"/>
                </a:gradFill>
                <a:latin typeface="+mn-lt"/>
                <a:ea typeface="+mn-ea"/>
                <a:cs typeface="+mn-cs"/>
              </a:defRPr>
            </a:lvl4pPr>
            <a:lvl5pPr marL="6873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a:gradFill>
                  <a:gsLst>
                    <a:gs pos="1250">
                      <a:schemeClr val="tx1"/>
                    </a:gs>
                    <a:gs pos="100000">
                      <a:schemeClr val="tx1"/>
                    </a:gs>
                  </a:gsLst>
                  <a:lin ang="5400000" scaled="0"/>
                </a:gradFill>
                <a:latin typeface="+mn-lt"/>
                <a:ea typeface="+mn-ea"/>
                <a:cs typeface="+mn-cs"/>
              </a:defRPr>
            </a:lvl5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5" name="TextBox 7"/>
          <p:cNvSpPr txBox="1"/>
          <p:nvPr/>
        </p:nvSpPr>
        <p:spPr>
          <a:xfrm>
            <a:off x="4161400" y="6593488"/>
            <a:ext cx="3869200" cy="16597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78" spc="150"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94681278"/>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5_BLANK">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srcRect l="120"/>
          <a:stretch/>
        </p:blipFill>
        <p:spPr>
          <a:xfrm>
            <a:off x="-1" y="-312"/>
            <a:ext cx="12206629" cy="6858623"/>
          </a:xfrm>
          <a:prstGeom prst="rect">
            <a:avLst/>
          </a:prstGeom>
        </p:spPr>
      </p:pic>
    </p:spTree>
    <p:extLst>
      <p:ext uri="{BB962C8B-B14F-4D97-AF65-F5344CB8AC3E}">
        <p14:creationId xmlns:p14="http://schemas.microsoft.com/office/powerpoint/2010/main" val="856013921"/>
      </p:ext>
    </p:extLst>
  </p:cSld>
  <p:clrMapOvr>
    <a:masterClrMapping/>
  </p:clrMapOvr>
  <p:transition spd="med">
    <p:wipe dir="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a:t>Click to edit Master title style</a:t>
            </a:r>
            <a:endParaRPr lang="en-US" dirty="0"/>
          </a:p>
        </p:txBody>
      </p:sp>
    </p:spTree>
    <p:extLst>
      <p:ext uri="{BB962C8B-B14F-4D97-AF65-F5344CB8AC3E}">
        <p14:creationId xmlns:p14="http://schemas.microsoft.com/office/powerpoint/2010/main" val="4228277174"/>
      </p:ext>
    </p:extLst>
  </p:cSld>
  <p:clrMapOvr>
    <a:masterClrMapping/>
  </p:clrMapOvr>
  <p:transition spd="med">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298771"/>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3100188"/>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1"/>
          </p:nvPr>
        </p:nvSpPr>
        <p:spPr>
          <a:xfrm>
            <a:off x="520835" y="1447803"/>
            <a:ext cx="5396366" cy="2622373"/>
          </a:xfrm>
        </p:spPr>
        <p:txBody>
          <a:bodyPr/>
          <a:lstStyle>
            <a:lvl1pPr marL="0" indent="0">
              <a:spcBef>
                <a:spcPts val="1200"/>
              </a:spcBef>
              <a:buNone/>
              <a:defRPr sz="4019">
                <a:gradFill>
                  <a:gsLst>
                    <a:gs pos="100000">
                      <a:schemeClr val="tx2"/>
                    </a:gs>
                    <a:gs pos="0">
                      <a:schemeClr val="tx2"/>
                    </a:gs>
                  </a:gsLst>
                  <a:lin ang="5400000" scaled="0"/>
                </a:gradFill>
                <a:latin typeface="+mj-lt"/>
              </a:defRPr>
            </a:lvl1pPr>
            <a:lvl2pPr marL="0" indent="0">
              <a:buNone/>
              <a:defRPr sz="1961"/>
            </a:lvl2pPr>
            <a:lvl3pPr marL="233364" indent="0">
              <a:buNone/>
              <a:defRPr sz="1961"/>
            </a:lvl3pPr>
            <a:lvl4pPr marL="457202" indent="0">
              <a:buNone/>
              <a:defRPr sz="1961"/>
            </a:lvl4pPr>
            <a:lvl5pPr marL="693741" indent="0">
              <a:buNone/>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2" y="1447803"/>
            <a:ext cx="5396366" cy="2622373"/>
          </a:xfrm>
        </p:spPr>
        <p:txBody>
          <a:bodyPr/>
          <a:lstStyle>
            <a:lvl1pPr marL="0" indent="0">
              <a:spcBef>
                <a:spcPts val="1200"/>
              </a:spcBef>
              <a:buNone/>
              <a:defRPr lang="en-US" sz="4019" kern="1200" spc="-70" baseline="0" dirty="0" smtClean="0">
                <a:gradFill>
                  <a:gsLst>
                    <a:gs pos="100000">
                      <a:schemeClr val="tx2"/>
                    </a:gs>
                    <a:gs pos="0">
                      <a:schemeClr val="tx2"/>
                    </a:gs>
                  </a:gsLst>
                  <a:lin ang="5400000" scaled="0"/>
                </a:gradFill>
                <a:latin typeface="+mj-lt"/>
                <a:ea typeface="+mn-ea"/>
                <a:cs typeface="+mn-cs"/>
              </a:defRPr>
            </a:lvl1pPr>
            <a:lvl2pPr marL="3175"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smtClean="0">
                <a:gradFill>
                  <a:gsLst>
                    <a:gs pos="1250">
                      <a:schemeClr val="tx1"/>
                    </a:gs>
                    <a:gs pos="100000">
                      <a:schemeClr val="tx1"/>
                    </a:gs>
                  </a:gsLst>
                  <a:lin ang="5400000" scaled="0"/>
                </a:gradFill>
                <a:latin typeface="+mn-lt"/>
                <a:ea typeface="+mn-ea"/>
                <a:cs typeface="+mn-cs"/>
              </a:defRPr>
            </a:lvl2pPr>
            <a:lvl3pPr marL="233364"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smtClean="0">
                <a:gradFill>
                  <a:gsLst>
                    <a:gs pos="1250">
                      <a:schemeClr val="tx1"/>
                    </a:gs>
                    <a:gs pos="100000">
                      <a:schemeClr val="tx1"/>
                    </a:gs>
                  </a:gsLst>
                  <a:lin ang="5400000" scaled="0"/>
                </a:gradFill>
                <a:latin typeface="+mn-lt"/>
                <a:ea typeface="+mn-ea"/>
                <a:cs typeface="+mn-cs"/>
              </a:defRPr>
            </a:lvl3pPr>
            <a:lvl4pPr marL="460377"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smtClean="0">
                <a:gradFill>
                  <a:gsLst>
                    <a:gs pos="1250">
                      <a:schemeClr val="tx1"/>
                    </a:gs>
                    <a:gs pos="100000">
                      <a:schemeClr val="tx1"/>
                    </a:gs>
                  </a:gsLst>
                  <a:lin ang="5400000" scaled="0"/>
                </a:gradFill>
                <a:latin typeface="+mn-lt"/>
                <a:ea typeface="+mn-ea"/>
                <a:cs typeface="+mn-cs"/>
              </a:defRPr>
            </a:lvl4pPr>
            <a:lvl5pPr marL="6873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a:gradFill>
                  <a:gsLst>
                    <a:gs pos="1250">
                      <a:schemeClr val="tx1"/>
                    </a:gs>
                    <a:gs pos="100000">
                      <a:schemeClr val="tx1"/>
                    </a:gs>
                  </a:gsLst>
                  <a:lin ang="5400000" scaled="0"/>
                </a:gradFill>
                <a:latin typeface="+mn-lt"/>
                <a:ea typeface="+mn-ea"/>
                <a:cs typeface="+mn-cs"/>
              </a:defRPr>
            </a:lvl5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5" name="TextBox 7"/>
          <p:cNvSpPr txBox="1"/>
          <p:nvPr/>
        </p:nvSpPr>
        <p:spPr>
          <a:xfrm>
            <a:off x="4161400" y="6593488"/>
            <a:ext cx="3869200" cy="16597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78" spc="150"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52699007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63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0" y="1279455"/>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a:t>Click to edit Master title style</a:t>
            </a:r>
            <a:endParaRPr lang="en-US" dirty="0"/>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endParaRPr/>
          </a:p>
        </p:txBody>
      </p:sp>
      <p:sp>
        <p:nvSpPr>
          <p:cNvPr id="5" name="Slide Number Placeholder 3"/>
          <p:cNvSpPr>
            <a:spLocks noGrp="1"/>
          </p:cNvSpPr>
          <p:nvPr>
            <p:ph type="sldNum" sz="quarter" idx="15"/>
          </p:nvPr>
        </p:nvSpPr>
        <p:spPr/>
        <p:txBody>
          <a:bodyPr/>
          <a:lstStyle>
            <a:lvl1pPr defTabSz="913505"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spTree>
    <p:extLst>
      <p:ext uri="{BB962C8B-B14F-4D97-AF65-F5344CB8AC3E}">
        <p14:creationId xmlns:p14="http://schemas.microsoft.com/office/powerpoint/2010/main" val="2383414963"/>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Slide for Developer Code</a:t>
            </a:r>
          </a:p>
        </p:txBody>
      </p:sp>
      <p:sp>
        <p:nvSpPr>
          <p:cNvPr id="3" name="Rectangle 2"/>
          <p:cNvSpPr/>
          <p:nvPr/>
        </p:nvSpPr>
        <p:spPr bwMode="hidden">
          <a:xfrm>
            <a:off x="1" y="1155941"/>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454" y="1447803"/>
            <a:ext cx="11155093" cy="2089751"/>
          </a:xfrm>
        </p:spPr>
        <p:txBody>
          <a:bodyPr/>
          <a:lstStyle>
            <a:lvl1pPr marL="0" indent="0">
              <a:buNone/>
              <a:defRPr sz="3235">
                <a:gradFill>
                  <a:gsLst>
                    <a:gs pos="1250">
                      <a:srgbClr val="000000"/>
                    </a:gs>
                    <a:gs pos="100000">
                      <a:srgbClr val="000000"/>
                    </a:gs>
                  </a:gsLst>
                  <a:lin ang="5400000" scaled="0"/>
                </a:gradFill>
                <a:latin typeface="Consolas" pitchFamily="49" charset="0"/>
                <a:cs typeface="Consolas" pitchFamily="49" charset="0"/>
              </a:defRPr>
            </a:lvl1pPr>
            <a:lvl2pPr marL="339726"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9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6"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9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9700669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5" name="Rectangle 4"/>
          <p:cNvSpPr/>
          <p:nvPr userDrawn="1"/>
        </p:nvSpPr>
        <p:spPr bwMode="auto">
          <a:xfrm>
            <a:off x="1" y="487"/>
            <a:ext cx="5220356" cy="68570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endParaRPr lang="en-US" sz="5294" dirty="0">
              <a:solidFill>
                <a:srgbClr val="FFFFFF"/>
              </a:solidFill>
              <a:latin typeface="Segoe UI Light"/>
              <a:ea typeface="Segoe UI" pitchFamily="34" charset="0"/>
              <a:cs typeface="Segoe UI" pitchFamily="34" charset="0"/>
            </a:endParaRPr>
          </a:p>
          <a:p>
            <a:pPr defTabSz="914102" fontAlgn="base">
              <a:lnSpc>
                <a:spcPct val="90000"/>
              </a:lnSpc>
              <a:spcBef>
                <a:spcPct val="0"/>
              </a:spcBef>
              <a:spcAft>
                <a:spcPct val="0"/>
              </a:spcAft>
            </a:pPr>
            <a:endParaRPr lang="en-US" sz="5294" dirty="0">
              <a:solidFill>
                <a:srgbClr val="FFFFFF"/>
              </a:solidFill>
              <a:latin typeface="Segoe UI Light"/>
              <a:ea typeface="Segoe UI" pitchFamily="34" charset="0"/>
              <a:cs typeface="Segoe UI" pitchFamily="34" charset="0"/>
            </a:endParaRPr>
          </a:p>
        </p:txBody>
      </p:sp>
      <p:sp>
        <p:nvSpPr>
          <p:cNvPr id="6" name="Rectangle 5"/>
          <p:cNvSpPr/>
          <p:nvPr userDrawn="1"/>
        </p:nvSpPr>
        <p:spPr bwMode="auto">
          <a:xfrm>
            <a:off x="1" y="6319659"/>
            <a:ext cx="5220356" cy="537855"/>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endParaRPr lang="en-US" sz="2353" kern="0" dirty="0">
              <a:ln>
                <a:solidFill>
                  <a:srgbClr val="FFFFFF">
                    <a:alpha val="0"/>
                  </a:srgbClr>
                </a:solidFill>
              </a:ln>
              <a:solidFill>
                <a:srgbClr val="FFFFFF"/>
              </a:solidFill>
              <a:latin typeface="Segoe UI Semibold" panose="020B0702040204020203" pitchFamily="34" charset="0"/>
              <a:ea typeface="MS PGothic" charset="0"/>
              <a:cs typeface="Segoe UI Semibold" panose="020B0702040204020203" pitchFamily="34" charset="0"/>
            </a:endParaRPr>
          </a:p>
        </p:txBody>
      </p:sp>
      <p:sp>
        <p:nvSpPr>
          <p:cNvPr id="10" name="Title 9"/>
          <p:cNvSpPr>
            <a:spLocks noGrp="1"/>
          </p:cNvSpPr>
          <p:nvPr>
            <p:ph type="title"/>
          </p:nvPr>
        </p:nvSpPr>
        <p:spPr>
          <a:xfrm>
            <a:off x="2" y="1161056"/>
            <a:ext cx="5220355" cy="2039344"/>
          </a:xfrm>
        </p:spPr>
        <p:txBody>
          <a:bodyPr lIns="265176"/>
          <a:lstStyle>
            <a:lvl1pPr>
              <a:defRPr>
                <a:solidFill>
                  <a:schemeClr val="bg1"/>
                </a:solidFill>
              </a:defRPr>
            </a:lvl1pPr>
          </a:lstStyle>
          <a:p>
            <a:r>
              <a:rPr lang="en-US" dirty="0"/>
              <a:t>Click to edit Master title style</a:t>
            </a:r>
          </a:p>
        </p:txBody>
      </p:sp>
      <p:sp>
        <p:nvSpPr>
          <p:cNvPr id="4" name="Text Placeholder 3"/>
          <p:cNvSpPr>
            <a:spLocks noGrp="1"/>
          </p:cNvSpPr>
          <p:nvPr>
            <p:ph type="body" sz="quarter" idx="11"/>
          </p:nvPr>
        </p:nvSpPr>
        <p:spPr>
          <a:xfrm>
            <a:off x="5220357" y="1283301"/>
            <a:ext cx="6553001" cy="2033314"/>
          </a:xfrm>
        </p:spPr>
        <p:txBody>
          <a:bodyPr/>
          <a:lstStyle>
            <a:lvl1pPr marL="336145" indent="-336145">
              <a:buFontTx/>
              <a:buBlip>
                <a:blip r:embed="rId2"/>
              </a:buBlip>
              <a:defRPr sz="3200">
                <a:solidFill>
                  <a:schemeClr val="accent1"/>
                </a:solidFill>
              </a:defRPr>
            </a:lvl1pPr>
            <a:lvl2pPr marL="344488" indent="-236538">
              <a:buFontTx/>
              <a:buBlip>
                <a:blip r:embed="rId2"/>
              </a:buBlip>
              <a:defRPr sz="2400"/>
            </a:lvl2pPr>
            <a:lvl3pPr marL="784338" indent="-224097">
              <a:buFontTx/>
              <a:buBlip>
                <a:blip r:embed="rId2"/>
              </a:buBlip>
              <a:defRPr sz="2000"/>
            </a:lvl3pPr>
            <a:lvl4pPr marL="1008435" indent="-224097">
              <a:buFontTx/>
              <a:buBlip>
                <a:blip r:embed="rId2"/>
              </a:buBlip>
              <a:defRPr sz="1800"/>
            </a:lvl4pPr>
            <a:lvl5pPr marL="1232531" indent="-224097">
              <a:buFontTx/>
              <a:buBlip>
                <a:blip r:embed="rId2"/>
              </a:buBlip>
              <a:defRPr sz="1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598331" y="4483214"/>
            <a:ext cx="3676411" cy="1682527"/>
          </a:xfrm>
          <a:prstGeom prst="rect">
            <a:avLst/>
          </a:prstGeom>
        </p:spPr>
      </p:pic>
      <p:sp>
        <p:nvSpPr>
          <p:cNvPr id="9" name="Rectangle 8"/>
          <p:cNvSpPr>
            <a:spLocks/>
          </p:cNvSpPr>
          <p:nvPr userDrawn="1"/>
        </p:nvSpPr>
        <p:spPr bwMode="auto">
          <a:xfrm flipH="1">
            <a:off x="1458686" y="4249057"/>
            <a:ext cx="3761671" cy="2033439"/>
          </a:xfrm>
          <a:prstGeom prst="rect">
            <a:avLst/>
          </a:prstGeom>
          <a:solidFill>
            <a:schemeClr val="accent1">
              <a:alpha val="75000"/>
            </a:schemeClr>
          </a:solidFill>
          <a:ln>
            <a:noFill/>
          </a:ln>
          <a:extLst/>
        </p:spPr>
        <p:txBody>
          <a:bodyPr vert="horz" wrap="square" lIns="91427" tIns="45713" rIns="91427" bIns="45713" numCol="1" anchor="t" anchorCtr="0" compatLnSpc="1">
            <a:prstTxWarp prst="textNoShape">
              <a:avLst/>
            </a:prstTxWarp>
            <a:noAutofit/>
          </a:bodyPr>
          <a:lstStyle/>
          <a:p>
            <a:pPr defTabSz="914225">
              <a:defRPr/>
            </a:pPr>
            <a:endParaRPr lang="en-US" sz="2400" kern="0" dirty="0">
              <a:solidFill>
                <a:sysClr val="windowText" lastClr="000000"/>
              </a:solidFill>
            </a:endParaRPr>
          </a:p>
        </p:txBody>
      </p:sp>
    </p:spTree>
    <p:extLst>
      <p:ext uri="{BB962C8B-B14F-4D97-AF65-F5344CB8AC3E}">
        <p14:creationId xmlns:p14="http://schemas.microsoft.com/office/powerpoint/2010/main" val="2467452437"/>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094385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8588170"/>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endParaRPr/>
          </a:p>
        </p:txBody>
      </p:sp>
      <p:sp>
        <p:nvSpPr>
          <p:cNvPr id="3" name="Slide Number Placeholder 2"/>
          <p:cNvSpPr>
            <a:spLocks noGrp="1"/>
          </p:cNvSpPr>
          <p:nvPr>
            <p:ph type="sldNum" sz="quarter" idx="11"/>
          </p:nvPr>
        </p:nvSpPr>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1132708030"/>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a:t>Click to edit Master title style</a:t>
            </a:r>
            <a:endParaRPr lang="en-US" dirty="0"/>
          </a:p>
        </p:txBody>
      </p:sp>
      <p:sp>
        <p:nvSpPr>
          <p:cNvPr id="4" name="Slide Number Placeholder 2"/>
          <p:cNvSpPr>
            <a:spLocks noGrp="1"/>
          </p:cNvSpPr>
          <p:nvPr>
            <p:ph type="sldNum" sz="quarter" idx="11"/>
          </p:nvPr>
        </p:nvSpPr>
        <p:spPr>
          <a:xfrm>
            <a:off x="11367165" y="6437742"/>
            <a:ext cx="555597" cy="133860"/>
          </a:xfrm>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28502" t="40628" r="27716" b="39461"/>
          <a:stretch/>
        </p:blipFill>
        <p:spPr>
          <a:xfrm>
            <a:off x="523142" y="6434664"/>
            <a:ext cx="935823" cy="239431"/>
          </a:xfrm>
          <a:prstGeom prst="rect">
            <a:avLst/>
          </a:prstGeom>
        </p:spPr>
      </p:pic>
    </p:spTree>
    <p:extLst>
      <p:ext uri="{BB962C8B-B14F-4D97-AF65-F5344CB8AC3E}">
        <p14:creationId xmlns:p14="http://schemas.microsoft.com/office/powerpoint/2010/main" val="363036237"/>
      </p:ext>
    </p:extLst>
  </p:cSld>
  <p:clrMapOvr>
    <a:masterClrMapping/>
  </p:clrMapOvr>
  <p:transition spd="med">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a:t>Click to edit Master title style</a:t>
            </a:r>
            <a:endParaRPr lang="en-US" dirty="0"/>
          </a:p>
        </p:txBody>
      </p:sp>
      <p:sp>
        <p:nvSpPr>
          <p:cNvPr id="4" name="Slide Number Placeholder 2"/>
          <p:cNvSpPr>
            <a:spLocks noGrp="1"/>
          </p:cNvSpPr>
          <p:nvPr>
            <p:ph type="sldNum" sz="quarter" idx="11"/>
          </p:nvPr>
        </p:nvSpPr>
        <p:spPr>
          <a:xfrm>
            <a:off x="11367165" y="6437742"/>
            <a:ext cx="555597" cy="133860"/>
          </a:xfrm>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3739531354"/>
      </p:ext>
    </p:extLst>
  </p:cSld>
  <p:clrMapOvr>
    <a:masterClrMapping/>
  </p:clrMapOvr>
  <p:transition spd="med">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cSld name="4_BLANK">
    <p:spTree>
      <p:nvGrpSpPr>
        <p:cNvPr id="1" name=""/>
        <p:cNvGrpSpPr/>
        <p:nvPr/>
      </p:nvGrpSpPr>
      <p:grpSpPr>
        <a:xfrm>
          <a:off x="0" y="0"/>
          <a:ext cx="0" cy="0"/>
          <a:chOff x="0" y="0"/>
          <a:chExt cx="0" cy="0"/>
        </a:xfrm>
      </p:grpSpPr>
      <p:sp>
        <p:nvSpPr>
          <p:cNvPr id="3" name="Rectangle 2"/>
          <p:cNvSpPr/>
          <p:nvPr/>
        </p:nvSpPr>
        <p:spPr bwMode="auto">
          <a:xfrm rot="16200000">
            <a:off x="4436204" y="-897799"/>
            <a:ext cx="3319595" cy="12192002"/>
          </a:xfrm>
          <a:prstGeom prst="rect">
            <a:avLst/>
          </a:prstGeom>
          <a:gradFill flip="none" rotWithShape="1">
            <a:gsLst>
              <a:gs pos="75000">
                <a:srgbClr val="003963">
                  <a:alpha val="0"/>
                </a:srgbClr>
              </a:gs>
              <a:gs pos="0">
                <a:srgbClr val="002B4A"/>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anchor="ctr"/>
          <a:lstStyle/>
          <a:p>
            <a:pPr algn="ctr" defTabSz="914102">
              <a:defRPr/>
            </a:pPr>
            <a:endParaRPr lang="en-US" sz="1961" dirty="0">
              <a:gradFill>
                <a:gsLst>
                  <a:gs pos="0">
                    <a:srgbClr val="FFFFFF"/>
                  </a:gs>
                  <a:gs pos="100000">
                    <a:srgbClr val="FFFFFF"/>
                  </a:gs>
                </a:gsLst>
                <a:lin ang="5400000" scaled="0"/>
              </a:gradFill>
            </a:endParaRPr>
          </a:p>
        </p:txBody>
      </p:sp>
      <p:pic>
        <p:nvPicPr>
          <p:cNvPr id="4" name="Picture 3"/>
          <p:cNvPicPr>
            <a:picLocks noChangeAspect="1"/>
          </p:cNvPicPr>
          <p:nvPr userDrawn="1"/>
        </p:nvPicPr>
        <p:blipFill>
          <a:blip r:embed="rId2"/>
          <a:stretch>
            <a:fillRect/>
          </a:stretch>
        </p:blipFill>
        <p:spPr>
          <a:xfrm>
            <a:off x="0" y="0"/>
            <a:ext cx="12213788" cy="6858623"/>
          </a:xfrm>
          <a:prstGeom prst="rect">
            <a:avLst/>
          </a:prstGeom>
        </p:spPr>
      </p:pic>
    </p:spTree>
    <p:extLst>
      <p:ext uri="{BB962C8B-B14F-4D97-AF65-F5344CB8AC3E}">
        <p14:creationId xmlns:p14="http://schemas.microsoft.com/office/powerpoint/2010/main" val="2044518282"/>
      </p:ext>
    </p:extLst>
  </p:cSld>
  <p:clrMapOvr>
    <a:masterClrMapping/>
  </p:clrMapOvr>
  <p:transition spd="med">
    <p:wipe dir="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cSld name="Blank Accent Color 1">
    <p:bg>
      <p:bgPr>
        <a:solidFill>
          <a:srgbClr val="DA3C1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175453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6922" y="1284251"/>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2"/>
          <p:cNvSpPr>
            <a:spLocks noGrp="1"/>
          </p:cNvSpPr>
          <p:nvPr>
            <p:ph type="sldNum" sz="quarter" idx="12"/>
          </p:nvPr>
        </p:nvSpPr>
        <p:spPr>
          <a:xfrm>
            <a:off x="11367165" y="6437742"/>
            <a:ext cx="555597" cy="133860"/>
          </a:xfrm>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3327138255"/>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image" Target="../media/image1.emf"/><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oleObject" Target="../embeddings/oleObject2.bin"/><Relationship Id="rId2" Type="http://schemas.openxmlformats.org/officeDocument/2006/relationships/slideLayout" Target="../slideLayouts/slideLayout14.xml"/><Relationship Id="rId16" Type="http://schemas.openxmlformats.org/officeDocument/2006/relationships/tags" Target="../tags/tag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vmlDrawing" Target="../drawings/vmlDrawing2.vml"/><Relationship Id="rId10" Type="http://schemas.openxmlformats.org/officeDocument/2006/relationships/slideLayout" Target="../slideLayouts/slideLayout22.xml"/><Relationship Id="rId19" Type="http://schemas.openxmlformats.org/officeDocument/2006/relationships/image" Target="../media/image2.png"/><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image" Target="../media/image1.emf"/><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oleObject" Target="../embeddings/oleObject3.bin"/><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tags" Target="../tags/tag3.xml"/><Relationship Id="rId5" Type="http://schemas.openxmlformats.org/officeDocument/2006/relationships/slideLayout" Target="../slideLayouts/slideLayout30.xml"/><Relationship Id="rId10" Type="http://schemas.openxmlformats.org/officeDocument/2006/relationships/vmlDrawing" Target="../drawings/vmlDrawing3.vml"/><Relationship Id="rId4" Type="http://schemas.openxmlformats.org/officeDocument/2006/relationships/slideLayout" Target="../slideLayouts/slideLayout29.xml"/><Relationship Id="rId9" Type="http://schemas.openxmlformats.org/officeDocument/2006/relationships/theme" Target="../theme/theme3.xml"/><Relationship Id="rId14" Type="http://schemas.openxmlformats.org/officeDocument/2006/relationships/image" Target="../media/image10.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5"/>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222" name="think-cell Slide" r:id="rId16" imgW="377" imgH="377" progId="TCLayout.ActiveDocument.1">
                  <p:embed/>
                </p:oleObj>
              </mc:Choice>
              <mc:Fallback>
                <p:oleObj name="think-cell Slide" r:id="rId16" imgW="377" imgH="377" progId="TCLayout.ActiveDocument.1">
                  <p:embed/>
                  <p:pic>
                    <p:nvPicPr>
                      <p:cNvPr id="0" name=""/>
                      <p:cNvPicPr/>
                      <p:nvPr/>
                    </p:nvPicPr>
                    <p:blipFill>
                      <a:blip r:embed="rId17"/>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2051" name="Text Placeholder 3"/>
          <p:cNvSpPr>
            <a:spLocks noGrp="1"/>
          </p:cNvSpPr>
          <p:nvPr>
            <p:ph type="body" idx="1"/>
          </p:nvPr>
        </p:nvSpPr>
        <p:spPr bwMode="auto">
          <a:xfrm>
            <a:off x="269239" y="1279455"/>
            <a:ext cx="11653523" cy="2051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2" y="6437742"/>
            <a:ext cx="3859607" cy="133860"/>
          </a:xfrm>
          <a:prstGeom prst="rect">
            <a:avLst/>
          </a:prstGeom>
        </p:spPr>
        <p:txBody>
          <a:bodyPr vert="horz" lIns="0" tIns="0" rIns="91440" bIns="0" rtlCol="0" anchor="ctr"/>
          <a:lstStyle>
            <a:lvl1pPr marL="0" algn="l" defTabSz="914367" rtl="0" eaLnBrk="1" fontAlgn="auto" latinLnBrk="0" hangingPunct="1">
              <a:spcBef>
                <a:spcPts val="0"/>
              </a:spcBef>
              <a:spcAft>
                <a:spcPts val="0"/>
              </a:spcAft>
              <a:defRPr lang="en-US" sz="882" kern="1200" dirty="0" smtClean="0">
                <a:solidFill>
                  <a:srgbClr val="505050"/>
                </a:solidFill>
                <a:latin typeface="+mn-lt"/>
                <a:ea typeface="+mn-ea"/>
                <a:cs typeface="+mn-cs"/>
              </a:defRPr>
            </a:lvl1pPr>
          </a:lstStyle>
          <a:p>
            <a:pPr>
              <a:defRPr/>
            </a:pPr>
            <a:endParaRPr/>
          </a:p>
        </p:txBody>
      </p:sp>
      <p:sp>
        <p:nvSpPr>
          <p:cNvPr id="5" name="Slide Number Placeholder 4"/>
          <p:cNvSpPr>
            <a:spLocks noGrp="1"/>
          </p:cNvSpPr>
          <p:nvPr>
            <p:ph type="sldNum" sz="quarter" idx="4"/>
          </p:nvPr>
        </p:nvSpPr>
        <p:spPr>
          <a:xfrm>
            <a:off x="11367165" y="6437742"/>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dirty="0"/>
          </a:p>
        </p:txBody>
      </p:sp>
      <p:pic>
        <p:nvPicPr>
          <p:cNvPr id="6" name="Picture 5"/>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165443173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1" r:id="rId10"/>
    <p:sldLayoutId id="2147483672" r:id="rId11"/>
    <p:sldLayoutId id="2147483673" r:id="rId12"/>
  </p:sldLayoutIdLst>
  <p:transition>
    <p:fade/>
  </p:transition>
  <p:hf hdr="0" ftr="0" dt="0"/>
  <p:txStyles>
    <p:titleStyle>
      <a:lvl1pPr algn="l" defTabSz="913505" rtl="0" eaLnBrk="1" fontAlgn="base" hangingPunct="1">
        <a:lnSpc>
          <a:spcPct val="90000"/>
        </a:lnSpc>
        <a:spcBef>
          <a:spcPct val="0"/>
        </a:spcBef>
        <a:spcAft>
          <a:spcPct val="0"/>
        </a:spcAft>
        <a:defRPr lang="en-US" sz="5294" kern="1200" spc="-100" dirty="0">
          <a:ln w="3175">
            <a:noFill/>
          </a:ln>
          <a:solidFill>
            <a:schemeClr val="tx2"/>
          </a:solidFill>
          <a:latin typeface="+mj-lt"/>
          <a:ea typeface="ＭＳ Ｐゴシック" charset="0"/>
          <a:cs typeface="Segoe UI" pitchFamily="34" charset="0"/>
        </a:defRPr>
      </a:lvl1pPr>
      <a:lvl2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9pPr>
    </p:titleStyle>
    <p:bodyStyle>
      <a:lvl1pPr marL="336145" indent="-336145" algn="l" defTabSz="913505" rtl="0" eaLnBrk="1" fontAlgn="base" hangingPunct="1">
        <a:lnSpc>
          <a:spcPct val="90000"/>
        </a:lnSpc>
        <a:spcBef>
          <a:spcPct val="20000"/>
        </a:spcBef>
        <a:spcAft>
          <a:spcPct val="0"/>
        </a:spcAft>
        <a:buSzPct val="90000"/>
        <a:buFont typeface="Arial" charset="0"/>
        <a:buChar char="•"/>
        <a:defRPr sz="3921"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93">
          <p15:clr>
            <a:srgbClr val="C35EA4"/>
          </p15:clr>
        </p15:guide>
        <p15:guide id="2" pos="7565">
          <p15:clr>
            <a:srgbClr val="C35EA4"/>
          </p15:clr>
        </p15:guide>
        <p15:guide id="3" orient="horz" pos="302">
          <p15:clr>
            <a:srgbClr val="C35EA4"/>
          </p15:clr>
        </p15:guide>
        <p15:guide id="4" orient="horz" pos="815">
          <p15:clr>
            <a:srgbClr val="C35EA4"/>
          </p15:clr>
        </p15:guide>
        <p15:guide id="5" orient="horz" pos="4075">
          <p15:clr>
            <a:srgbClr val="C35EA4"/>
          </p15:clr>
        </p15:guide>
        <p15:guide id="6" orient="horz" pos="763">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6"/>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246" name="think-cell Slide" r:id="rId17" imgW="377" imgH="377" progId="TCLayout.ActiveDocument.1">
                  <p:embed/>
                </p:oleObj>
              </mc:Choice>
              <mc:Fallback>
                <p:oleObj name="think-cell Slide" r:id="rId17" imgW="377" imgH="377" progId="TCLayout.ActiveDocument.1">
                  <p:embed/>
                  <p:pic>
                    <p:nvPicPr>
                      <p:cNvPr id="0" name=""/>
                      <p:cNvPicPr/>
                      <p:nvPr/>
                    </p:nvPicPr>
                    <p:blipFill>
                      <a:blip r:embed="rId18"/>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2051" name="Text Placeholder 3"/>
          <p:cNvSpPr>
            <a:spLocks noGrp="1"/>
          </p:cNvSpPr>
          <p:nvPr>
            <p:ph type="body" idx="1"/>
          </p:nvPr>
        </p:nvSpPr>
        <p:spPr bwMode="auto">
          <a:xfrm>
            <a:off x="269239" y="1279455"/>
            <a:ext cx="11653523" cy="2051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2" y="6437742"/>
            <a:ext cx="3859607" cy="133860"/>
          </a:xfrm>
          <a:prstGeom prst="rect">
            <a:avLst/>
          </a:prstGeom>
        </p:spPr>
        <p:txBody>
          <a:bodyPr vert="horz" lIns="0" tIns="0" rIns="91440" bIns="0" rtlCol="0" anchor="ctr"/>
          <a:lstStyle>
            <a:lvl1pPr marL="0" algn="l" defTabSz="914367" rtl="0" eaLnBrk="1" fontAlgn="auto" latinLnBrk="0" hangingPunct="1">
              <a:spcBef>
                <a:spcPts val="0"/>
              </a:spcBef>
              <a:spcAft>
                <a:spcPts val="0"/>
              </a:spcAft>
              <a:defRPr lang="en-US" sz="882" kern="1200" dirty="0" smtClean="0">
                <a:solidFill>
                  <a:srgbClr val="505050"/>
                </a:solidFill>
                <a:latin typeface="+mn-lt"/>
                <a:ea typeface="+mn-ea"/>
                <a:cs typeface="+mn-cs"/>
              </a:defRPr>
            </a:lvl1pPr>
          </a:lstStyle>
          <a:p>
            <a:pPr>
              <a:defRPr/>
            </a:pPr>
            <a:endParaRPr/>
          </a:p>
        </p:txBody>
      </p:sp>
      <p:sp>
        <p:nvSpPr>
          <p:cNvPr id="5" name="Slide Number Placeholder 4"/>
          <p:cNvSpPr>
            <a:spLocks noGrp="1"/>
          </p:cNvSpPr>
          <p:nvPr>
            <p:ph type="sldNum" sz="quarter" idx="4"/>
          </p:nvPr>
        </p:nvSpPr>
        <p:spPr>
          <a:xfrm>
            <a:off x="11367165" y="6437742"/>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dirty="0"/>
          </a:p>
        </p:txBody>
      </p:sp>
      <p:pic>
        <p:nvPicPr>
          <p:cNvPr id="6" name="Picture 5"/>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1259621977"/>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 id="2147483687" r:id="rId13"/>
  </p:sldLayoutIdLst>
  <p:transition>
    <p:fade/>
  </p:transition>
  <p:hf hdr="0" ftr="0" dt="0"/>
  <p:txStyles>
    <p:titleStyle>
      <a:lvl1pPr algn="l" defTabSz="913505" rtl="0" eaLnBrk="1" fontAlgn="base" hangingPunct="1">
        <a:lnSpc>
          <a:spcPct val="90000"/>
        </a:lnSpc>
        <a:spcBef>
          <a:spcPct val="0"/>
        </a:spcBef>
        <a:spcAft>
          <a:spcPct val="0"/>
        </a:spcAft>
        <a:defRPr lang="en-US" sz="5294" kern="1200" spc="-100" dirty="0">
          <a:ln w="3175">
            <a:noFill/>
          </a:ln>
          <a:solidFill>
            <a:schemeClr val="tx2"/>
          </a:solidFill>
          <a:latin typeface="+mj-lt"/>
          <a:ea typeface="ＭＳ Ｐゴシック" charset="0"/>
          <a:cs typeface="Segoe UI" pitchFamily="34" charset="0"/>
        </a:defRPr>
      </a:lvl1pPr>
      <a:lvl2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9pPr>
    </p:titleStyle>
    <p:bodyStyle>
      <a:lvl1pPr marL="336145" indent="-336145" algn="l" defTabSz="913505" rtl="0" eaLnBrk="1" fontAlgn="base" hangingPunct="1">
        <a:lnSpc>
          <a:spcPct val="90000"/>
        </a:lnSpc>
        <a:spcBef>
          <a:spcPct val="20000"/>
        </a:spcBef>
        <a:spcAft>
          <a:spcPct val="0"/>
        </a:spcAft>
        <a:buSzPct val="90000"/>
        <a:buFont typeface="Arial" charset="0"/>
        <a:buChar char="•"/>
        <a:defRPr sz="3921"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93">
          <p15:clr>
            <a:srgbClr val="C35EA4"/>
          </p15:clr>
        </p15:guide>
        <p15:guide id="2" pos="7565">
          <p15:clr>
            <a:srgbClr val="C35EA4"/>
          </p15:clr>
        </p15:guide>
        <p15:guide id="3" orient="horz" pos="302">
          <p15:clr>
            <a:srgbClr val="C35EA4"/>
          </p15:clr>
        </p15:guide>
        <p15:guide id="4" orient="horz" pos="815">
          <p15:clr>
            <a:srgbClr val="C35EA4"/>
          </p15:clr>
        </p15:guide>
        <p15:guide id="5" orient="horz" pos="4075">
          <p15:clr>
            <a:srgbClr val="C35EA4"/>
          </p15:clr>
        </p15:guide>
        <p15:guide id="6" orient="horz" pos="763">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1"/>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3796" name="think-cell Slide" r:id="rId12" imgW="377" imgH="377" progId="TCLayout.ActiveDocument.1">
                  <p:embed/>
                </p:oleObj>
              </mc:Choice>
              <mc:Fallback>
                <p:oleObj name="think-cell Slide" r:id="rId12" imgW="377" imgH="377" progId="TCLayout.ActiveDocument.1">
                  <p:embed/>
                  <p:pic>
                    <p:nvPicPr>
                      <p:cNvPr id="4" name="Object 3" hidden="1"/>
                      <p:cNvPicPr/>
                      <p:nvPr/>
                    </p:nvPicPr>
                    <p:blipFill>
                      <a:blip r:embed="rId13"/>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2051" name="Text Placeholder 3"/>
          <p:cNvSpPr>
            <a:spLocks noGrp="1"/>
          </p:cNvSpPr>
          <p:nvPr>
            <p:ph type="body" idx="1"/>
          </p:nvPr>
        </p:nvSpPr>
        <p:spPr bwMode="auto">
          <a:xfrm>
            <a:off x="269239" y="1279455"/>
            <a:ext cx="11653523" cy="2051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82880" tIns="146304" rIns="182880" bIns="146304"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460575"/>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Lst>
  <p:transition>
    <p:fade/>
  </p:transition>
  <p:hf hdr="0" ftr="0" dt="0"/>
  <p:txStyles>
    <p:titleStyle>
      <a:lvl1pPr algn="l" defTabSz="913505" rtl="0" eaLnBrk="1" fontAlgn="base" hangingPunct="1">
        <a:lnSpc>
          <a:spcPct val="90000"/>
        </a:lnSpc>
        <a:spcBef>
          <a:spcPct val="0"/>
        </a:spcBef>
        <a:spcAft>
          <a:spcPct val="0"/>
        </a:spcAft>
        <a:defRPr lang="en-US" sz="5294" kern="1200" spc="-100" dirty="0">
          <a:ln w="3175">
            <a:noFill/>
          </a:ln>
          <a:solidFill>
            <a:schemeClr val="tx2"/>
          </a:solidFill>
          <a:latin typeface="+mj-lt"/>
          <a:ea typeface="ＭＳ Ｐゴシック" charset="0"/>
          <a:cs typeface="Segoe UI" pitchFamily="34" charset="0"/>
        </a:defRPr>
      </a:lvl1pPr>
      <a:lvl2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9pPr>
    </p:titleStyle>
    <p:bodyStyle>
      <a:lvl1pPr marL="336145" indent="-336145" algn="l" defTabSz="913505" rtl="0" eaLnBrk="1" fontAlgn="base" hangingPunct="1">
        <a:lnSpc>
          <a:spcPct val="90000"/>
        </a:lnSpc>
        <a:spcBef>
          <a:spcPct val="20000"/>
        </a:spcBef>
        <a:spcAft>
          <a:spcPct val="0"/>
        </a:spcAft>
        <a:buSzPct val="90000"/>
        <a:buFont typeface="Arial" charset="0"/>
        <a:buChar char="•"/>
        <a:defRPr sz="3921" kern="1200">
          <a:solidFill>
            <a:schemeClr val="tx2"/>
          </a:solidFill>
          <a:latin typeface="+mj-lt"/>
          <a:ea typeface="ＭＳ Ｐゴシック" charset="0"/>
          <a:cs typeface="ＭＳ Ｐゴシック" charset="0"/>
        </a:defRPr>
      </a:lvl1pPr>
      <a:lvl2pPr marL="573088" indent="-238125" algn="l" defTabSz="913505" rtl="0" eaLnBrk="1" fontAlgn="base" hangingPunct="1">
        <a:lnSpc>
          <a:spcPct val="90000"/>
        </a:lnSpc>
        <a:spcBef>
          <a:spcPct val="20000"/>
        </a:spcBef>
        <a:spcAft>
          <a:spcPct val="0"/>
        </a:spcAft>
        <a:buSzPct val="100000"/>
        <a:buFontTx/>
        <a:buBlip>
          <a:blip r:embed="rId14"/>
        </a:buBlip>
        <a:defRPr sz="2353" kern="1200">
          <a:solidFill>
            <a:schemeClr val="tx2"/>
          </a:solidFill>
          <a:latin typeface="+mn-lt"/>
          <a:ea typeface="ＭＳ Ｐゴシック" charset="0"/>
          <a:cs typeface="+mn-cs"/>
        </a:defRPr>
      </a:lvl2pPr>
      <a:lvl3pPr marL="801688" indent="-241300" algn="l" defTabSz="913505" rtl="0" eaLnBrk="1" fontAlgn="base" hangingPunct="1">
        <a:lnSpc>
          <a:spcPct val="90000"/>
        </a:lnSpc>
        <a:spcBef>
          <a:spcPct val="20000"/>
        </a:spcBef>
        <a:spcAft>
          <a:spcPct val="0"/>
        </a:spcAft>
        <a:buSzPct val="100000"/>
        <a:buFontTx/>
        <a:buBlip>
          <a:blip r:embed="rId14"/>
        </a:buBlip>
        <a:defRPr sz="1961" kern="1200">
          <a:solidFill>
            <a:schemeClr val="tx2"/>
          </a:solidFill>
          <a:latin typeface="+mn-lt"/>
          <a:ea typeface="ＭＳ Ｐゴシック" charset="0"/>
          <a:cs typeface="+mn-cs"/>
        </a:defRPr>
      </a:lvl3pPr>
      <a:lvl4pPr marL="1030288" indent="-246063" algn="l" defTabSz="913505" rtl="0" eaLnBrk="1" fontAlgn="base" hangingPunct="1">
        <a:lnSpc>
          <a:spcPct val="90000"/>
        </a:lnSpc>
        <a:spcBef>
          <a:spcPct val="20000"/>
        </a:spcBef>
        <a:spcAft>
          <a:spcPct val="0"/>
        </a:spcAft>
        <a:buSzPct val="100000"/>
        <a:buFontTx/>
        <a:buBlip>
          <a:blip r:embed="rId14"/>
        </a:buBlip>
        <a:defRPr kern="1200">
          <a:solidFill>
            <a:schemeClr val="tx2"/>
          </a:solidFill>
          <a:latin typeface="+mn-lt"/>
          <a:ea typeface="ＭＳ Ｐゴシック" charset="0"/>
          <a:cs typeface="+mn-cs"/>
        </a:defRPr>
      </a:lvl4pPr>
      <a:lvl5pPr marL="1258888" indent="-250825" algn="l" defTabSz="913505" rtl="0" eaLnBrk="1" fontAlgn="base" hangingPunct="1">
        <a:lnSpc>
          <a:spcPct val="90000"/>
        </a:lnSpc>
        <a:spcBef>
          <a:spcPct val="20000"/>
        </a:spcBef>
        <a:spcAft>
          <a:spcPct val="0"/>
        </a:spcAft>
        <a:buSzPct val="100000"/>
        <a:buFontTx/>
        <a:buBlip>
          <a:blip r:embed="rId14"/>
        </a:buBlip>
        <a:defRPr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93">
          <p15:clr>
            <a:srgbClr val="C35EA4"/>
          </p15:clr>
        </p15:guide>
        <p15:guide id="2" pos="7565">
          <p15:clr>
            <a:srgbClr val="C35EA4"/>
          </p15:clr>
        </p15:guide>
        <p15:guide id="3" orient="horz" pos="302">
          <p15:clr>
            <a:srgbClr val="C35EA4"/>
          </p15:clr>
        </p15:guide>
        <p15:guide id="4" orient="horz" pos="815">
          <p15:clr>
            <a:srgbClr val="C35EA4"/>
          </p15:clr>
        </p15:guide>
        <p15:guide id="5" orient="horz" pos="4075">
          <p15:clr>
            <a:srgbClr val="C35EA4"/>
          </p15:clr>
        </p15:guide>
        <p15:guide id="6" orient="horz" pos="763">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hyperlink" Target="http://wiki/apache.org/Hadoop/PoweredByYarn" TargetMode="Externa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5.xml"/><Relationship Id="rId5" Type="http://schemas.openxmlformats.org/officeDocument/2006/relationships/image" Target="../media/image20.png"/><Relationship Id="rId4" Type="http://schemas.openxmlformats.org/officeDocument/2006/relationships/image" Target="../media/image19.png"/></Relationships>
</file>

<file path=ppt/slides/_rels/slide1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image" Target="../media/image22.png"/><Relationship Id="rId1" Type="http://schemas.openxmlformats.org/officeDocument/2006/relationships/slideLayout" Target="../slideLayouts/slideLayout5.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21.xml.rels><?xml version="1.0" encoding="UTF-8" standalone="yes"?>
<Relationships xmlns="http://schemas.openxmlformats.org/package/2006/relationships"><Relationship Id="rId8" Type="http://schemas.openxmlformats.org/officeDocument/2006/relationships/tags" Target="../tags/tag11.xml"/><Relationship Id="rId3" Type="http://schemas.openxmlformats.org/officeDocument/2006/relationships/tags" Target="../tags/tag6.xml"/><Relationship Id="rId7" Type="http://schemas.openxmlformats.org/officeDocument/2006/relationships/tags" Target="../tags/tag10.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tags" Target="../tags/tag9.xml"/><Relationship Id="rId11" Type="http://schemas.openxmlformats.org/officeDocument/2006/relationships/image" Target="../media/image30.png"/><Relationship Id="rId5" Type="http://schemas.openxmlformats.org/officeDocument/2006/relationships/tags" Target="../tags/tag8.xml"/><Relationship Id="rId10" Type="http://schemas.openxmlformats.org/officeDocument/2006/relationships/image" Target="../media/image29.png"/><Relationship Id="rId4" Type="http://schemas.openxmlformats.org/officeDocument/2006/relationships/tags" Target="../tags/tag7.xml"/><Relationship Id="rId9"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1.png"/><Relationship Id="rId1" Type="http://schemas.openxmlformats.org/officeDocument/2006/relationships/slideLayout" Target="../slideLayouts/slideLayout5.xml"/><Relationship Id="rId4" Type="http://schemas.openxmlformats.org/officeDocument/2006/relationships/image" Target="../media/image32.png"/></Relationships>
</file>

<file path=ppt/slides/_rels/slide2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7.xml"/><Relationship Id="rId1" Type="http://schemas.openxmlformats.org/officeDocument/2006/relationships/slideLayout" Target="../slideLayouts/slideLayout6.xml"/><Relationship Id="rId4" Type="http://schemas.openxmlformats.org/officeDocument/2006/relationships/image" Target="../media/image38.png"/></Relationships>
</file>

<file path=ppt/slides/_rels/slide3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3" Type="http://schemas.openxmlformats.org/officeDocument/2006/relationships/hyperlink" Target="https://azure.microsoft.com/en-us/documentation/articles/hdinsight-hadoop-use-hive-beeline/" TargetMode="External"/><Relationship Id="rId7" Type="http://schemas.openxmlformats.org/officeDocument/2006/relationships/hyperlink" Target="Windows%20PowerShell" TargetMode="External"/><Relationship Id="rId2" Type="http://schemas.openxmlformats.org/officeDocument/2006/relationships/hyperlink" Target="https://azure.microsoft.com/en-us/documentation/articles/hdinsight-hadoop-use-hive-ambari-view/" TargetMode="External"/><Relationship Id="rId1" Type="http://schemas.openxmlformats.org/officeDocument/2006/relationships/slideLayout" Target="../slideLayouts/slideLayout6.xml"/><Relationship Id="rId6" Type="http://schemas.openxmlformats.org/officeDocument/2006/relationships/hyperlink" Target="https://azure.microsoft.com/en-us/documentation/articles/hdinsight-hadoop-use-hive-visual-studio/" TargetMode="External"/><Relationship Id="rId5" Type="http://schemas.openxmlformats.org/officeDocument/2006/relationships/hyperlink" Target="https://azure.microsoft.com/en-us/documentation/articles/hdinsight-hadoop-use-hive-curl/" TargetMode="External"/><Relationship Id="rId4" Type="http://schemas.openxmlformats.org/officeDocument/2006/relationships/hyperlink" Target="https://azure.microsoft.com/en-us/documentation/articles/hdinsight-hadoop-use-hive-ssh/" TargetMode="Externa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3.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5.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9.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5.xml"/></Relationships>
</file>

<file path=ppt/slides/_rels/slide51.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5.xml"/></Relationships>
</file>

<file path=ppt/slides/_rels/slide5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5.xml"/></Relationships>
</file>

<file path=ppt/slides/_rels/slide5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2.xml"/><Relationship Id="rId1" Type="http://schemas.openxmlformats.org/officeDocument/2006/relationships/vmlDrawing" Target="../drawings/vmlDrawing4.vml"/><Relationship Id="rId6" Type="http://schemas.openxmlformats.org/officeDocument/2006/relationships/image" Target="../media/image49.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9.xml"/><Relationship Id="rId1" Type="http://schemas.openxmlformats.org/officeDocument/2006/relationships/slideLayout" Target="../slideLayouts/slideLayout5.xml"/><Relationship Id="rId5" Type="http://schemas.openxmlformats.org/officeDocument/2006/relationships/image" Target="../media/image51.png"/><Relationship Id="rId4" Type="http://schemas.microsoft.com/office/2007/relationships/hdphoto" Target="../media/hdphoto2.wdp"/></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5.xml"/><Relationship Id="rId4" Type="http://schemas.openxmlformats.org/officeDocument/2006/relationships/image" Target="../media/image49.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0.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5.xml"/></Relationships>
</file>

<file path=ppt/slides/_rels/slide61.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5.xml"/></Relationships>
</file>

<file path=ppt/slides/_rels/slide62.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5.xml"/></Relationships>
</file>

<file path=ppt/slides/_rels/slide63.xml.rels><?xml version="1.0" encoding="UTF-8" standalone="yes"?>
<Relationships xmlns="http://schemas.openxmlformats.org/package/2006/relationships"><Relationship Id="rId2" Type="http://schemas.openxmlformats.org/officeDocument/2006/relationships/image" Target="../media/image57.wmf"/><Relationship Id="rId1" Type="http://schemas.openxmlformats.org/officeDocument/2006/relationships/slideLayout" Target="../slideLayouts/slideLayout5.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6.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3.xml"/><Relationship Id="rId1" Type="http://schemas.openxmlformats.org/officeDocument/2006/relationships/vmlDrawing" Target="../drawings/vmlDrawing5.vml"/><Relationship Id="rId6" Type="http://schemas.openxmlformats.org/officeDocument/2006/relationships/image" Target="../media/image58.png"/><Relationship Id="rId5" Type="http://schemas.openxmlformats.org/officeDocument/2006/relationships/image" Target="../media/image1.emf"/><Relationship Id="rId4" Type="http://schemas.openxmlformats.org/officeDocument/2006/relationships/oleObject" Target="../embeddings/oleObject5.bin"/></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8.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5.xml"/></Relationships>
</file>

<file path=ppt/slides/_rels/slide6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70.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5.xml"/><Relationship Id="rId4" Type="http://schemas.openxmlformats.org/officeDocument/2006/relationships/image" Target="../media/image62.png"/></Relationships>
</file>

<file path=ppt/slides/_rels/slide71.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0.xml"/><Relationship Id="rId1" Type="http://schemas.openxmlformats.org/officeDocument/2006/relationships/slideLayout" Target="../slideLayouts/slideLayout5.xml"/><Relationship Id="rId6" Type="http://schemas.openxmlformats.org/officeDocument/2006/relationships/image" Target="../media/image65.png"/><Relationship Id="rId5" Type="http://schemas.microsoft.com/office/2007/relationships/hdphoto" Target="../media/hdphoto3.wdp"/><Relationship Id="rId4" Type="http://schemas.openxmlformats.org/officeDocument/2006/relationships/image" Target="../media/image64.png"/></Relationships>
</file>

<file path=ppt/slides/_rels/slide72.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5.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5.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4.xml"/><Relationship Id="rId1" Type="http://schemas.openxmlformats.org/officeDocument/2006/relationships/vmlDrawing" Target="../drawings/vmlDrawing6.vml"/><Relationship Id="rId6" Type="http://schemas.openxmlformats.org/officeDocument/2006/relationships/hyperlink" Target="http://storm.apache.org/javadoc/apidocs/backtype/storm/topology/IRichBolt.html" TargetMode="External"/><Relationship Id="rId5" Type="http://schemas.openxmlformats.org/officeDocument/2006/relationships/image" Target="../media/image1.emf"/><Relationship Id="rId4" Type="http://schemas.openxmlformats.org/officeDocument/2006/relationships/oleObject" Target="../embeddings/oleObject6.bin"/></Relationships>
</file>

<file path=ppt/slides/_rels/slide76.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11.xml"/></Relationships>
</file>

<file path=ppt/slides/_rels/slide77.xml.rels><?xml version="1.0" encoding="UTF-8" standalone="yes"?>
<Relationships xmlns="http://schemas.openxmlformats.org/package/2006/relationships"><Relationship Id="rId3" Type="http://schemas.openxmlformats.org/officeDocument/2006/relationships/hyperlink" Target="https://github.com/nathanmarz/storm-kestrel" TargetMode="External"/><Relationship Id="rId2" Type="http://schemas.openxmlformats.org/officeDocument/2006/relationships/hyperlink" Target="https://github.com/apache/storm/tree/master/external/storm-kafka" TargetMode="External"/><Relationship Id="rId1" Type="http://schemas.openxmlformats.org/officeDocument/2006/relationships/slideLayout" Target="../slideLayouts/slideLayout5.xml"/></Relationships>
</file>

<file path=ppt/slides/_rels/slide78.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6.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81.xml.rels><?xml version="1.0" encoding="UTF-8" standalone="yes"?>
<Relationships xmlns="http://schemas.openxmlformats.org/package/2006/relationships"><Relationship Id="rId3" Type="http://schemas.openxmlformats.org/officeDocument/2006/relationships/image" Target="../media/image45.jpg"/><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82.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26.xml"/></Relationships>
</file>

<file path=ppt/slides/_rels/slide83.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4.xml"/><Relationship Id="rId1" Type="http://schemas.openxmlformats.org/officeDocument/2006/relationships/slideLayout" Target="../slideLayouts/slideLayout27.xml"/><Relationship Id="rId5" Type="http://schemas.openxmlformats.org/officeDocument/2006/relationships/image" Target="../media/image70.png"/><Relationship Id="rId4" Type="http://schemas.openxmlformats.org/officeDocument/2006/relationships/image" Target="../media/image69.png"/></Relationships>
</file>

<file path=ppt/slides/_rels/slide84.xml.rels><?xml version="1.0" encoding="UTF-8" standalone="yes"?>
<Relationships xmlns="http://schemas.openxmlformats.org/package/2006/relationships"><Relationship Id="rId2" Type="http://schemas.openxmlformats.org/officeDocument/2006/relationships/comments" Target="../comments/comment1.xml"/><Relationship Id="rId1" Type="http://schemas.openxmlformats.org/officeDocument/2006/relationships/slideLayout" Target="../slideLayouts/slideLayout31.xml"/></Relationships>
</file>

<file path=ppt/slides/_rels/slide8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5.xml"/><Relationship Id="rId1" Type="http://schemas.openxmlformats.org/officeDocument/2006/relationships/slideLayout" Target="../slideLayouts/slideLayout27.xml"/></Relationships>
</file>

<file path=ppt/slides/_rels/slide8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6.xml"/><Relationship Id="rId1" Type="http://schemas.openxmlformats.org/officeDocument/2006/relationships/slideLayout" Target="../slideLayouts/slideLayout27.xml"/><Relationship Id="rId4" Type="http://schemas.openxmlformats.org/officeDocument/2006/relationships/comments" Target="../comments/comment2.xml"/></Relationships>
</file>

<file path=ppt/slides/_rels/slide87.xml.rels><?xml version="1.0" encoding="UTF-8" standalone="yes"?>
<Relationships xmlns="http://schemas.openxmlformats.org/package/2006/relationships"><Relationship Id="rId2" Type="http://schemas.openxmlformats.org/officeDocument/2006/relationships/comments" Target="../comments/comment3.xml"/><Relationship Id="rId1" Type="http://schemas.openxmlformats.org/officeDocument/2006/relationships/slideLayout" Target="../slideLayouts/slideLayout31.xml"/></Relationships>
</file>

<file path=ppt/slides/_rels/slide88.xml.rels><?xml version="1.0" encoding="UTF-8" standalone="yes"?>
<Relationships xmlns="http://schemas.openxmlformats.org/package/2006/relationships"><Relationship Id="rId3" Type="http://schemas.openxmlformats.org/officeDocument/2006/relationships/comments" Target="../comments/comment4.xml"/><Relationship Id="rId2" Type="http://schemas.openxmlformats.org/officeDocument/2006/relationships/notesSlide" Target="../notesSlides/notesSlide17.xml"/><Relationship Id="rId1" Type="http://schemas.openxmlformats.org/officeDocument/2006/relationships/slideLayout" Target="../slideLayouts/slideLayout31.xml"/></Relationships>
</file>

<file path=ppt/slides/_rels/slide89.xml.rels><?xml version="1.0" encoding="UTF-8" standalone="yes"?>
<Relationships xmlns="http://schemas.openxmlformats.org/package/2006/relationships"><Relationship Id="rId3" Type="http://schemas.openxmlformats.org/officeDocument/2006/relationships/comments" Target="../comments/comment5.xml"/><Relationship Id="rId2" Type="http://schemas.openxmlformats.org/officeDocument/2006/relationships/hyperlink" Target="https://aws.amazon.com/emr/http:/www.zdnet.com/article/microsoft-hdinsight-gets-spark-2-0-faster-hive-and-better-security/" TargetMode="External"/><Relationship Id="rId1" Type="http://schemas.openxmlformats.org/officeDocument/2006/relationships/slideLayout" Target="../slideLayouts/slideLayout31.xml"/></Relationships>
</file>

<file path=ppt/slides/_rels/slide9.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5.xml"/></Relationships>
</file>

<file path=ppt/slides/_rels/slide90.xml.rels><?xml version="1.0" encoding="UTF-8" standalone="yes"?>
<Relationships xmlns="http://schemas.openxmlformats.org/package/2006/relationships"><Relationship Id="rId2" Type="http://schemas.openxmlformats.org/officeDocument/2006/relationships/comments" Target="../comments/comment6.xml"/><Relationship Id="rId1" Type="http://schemas.openxmlformats.org/officeDocument/2006/relationships/slideLayout" Target="../slideLayouts/slideLayout31.xml"/></Relationships>
</file>

<file path=ppt/slides/_rels/slide91.xml.rels><?xml version="1.0" encoding="UTF-8" standalone="yes"?>
<Relationships xmlns="http://schemas.openxmlformats.org/package/2006/relationships"><Relationship Id="rId3" Type="http://schemas.openxmlformats.org/officeDocument/2006/relationships/comments" Target="../comments/comment7.xml"/><Relationship Id="rId2" Type="http://schemas.openxmlformats.org/officeDocument/2006/relationships/notesSlide" Target="../notesSlides/notesSlide18.xml"/><Relationship Id="rId1" Type="http://schemas.openxmlformats.org/officeDocument/2006/relationships/slideLayout" Target="../slideLayouts/slideLayout31.xml"/></Relationships>
</file>

<file path=ppt/slides/_rels/slide92.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9.xml"/><Relationship Id="rId1" Type="http://schemas.openxmlformats.org/officeDocument/2006/relationships/slideLayout" Target="../slideLayouts/slideLayout27.xml"/><Relationship Id="rId5" Type="http://schemas.openxmlformats.org/officeDocument/2006/relationships/image" Target="../media/image73.png"/><Relationship Id="rId4" Type="http://schemas.openxmlformats.org/officeDocument/2006/relationships/image" Target="../media/image72.png"/></Relationships>
</file>

<file path=ppt/slides/_rels/slide93.xml.rels><?xml version="1.0" encoding="UTF-8" standalone="yes"?>
<Relationships xmlns="http://schemas.openxmlformats.org/package/2006/relationships"><Relationship Id="rId3" Type="http://schemas.openxmlformats.org/officeDocument/2006/relationships/comments" Target="../comments/comment8.xml"/><Relationship Id="rId2" Type="http://schemas.openxmlformats.org/officeDocument/2006/relationships/notesSlide" Target="../notesSlides/notesSlide20.xml"/><Relationship Id="rId1" Type="http://schemas.openxmlformats.org/officeDocument/2006/relationships/slideLayout" Target="../slideLayouts/slideLayout27.xml"/></Relationships>
</file>

<file path=ppt/slides/_rels/slide94.xml.rels><?xml version="1.0" encoding="UTF-8" standalone="yes"?>
<Relationships xmlns="http://schemas.openxmlformats.org/package/2006/relationships"><Relationship Id="rId3" Type="http://schemas.openxmlformats.org/officeDocument/2006/relationships/comments" Target="../comments/comment9.xml"/><Relationship Id="rId2" Type="http://schemas.openxmlformats.org/officeDocument/2006/relationships/notesSlide" Target="../notesSlides/notesSlide21.xml"/><Relationship Id="rId1" Type="http://schemas.openxmlformats.org/officeDocument/2006/relationships/slideLayout" Target="../slideLayouts/slideLayout27.xml"/></Relationships>
</file>

<file path=ppt/slides/_rels/slide95.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865" y="1138403"/>
            <a:ext cx="8884550" cy="4581196"/>
          </a:xfrm>
          <a:solidFill>
            <a:schemeClr val="accent3">
              <a:alpha val="78000"/>
            </a:schemeClr>
          </a:solidFill>
          <a:ln>
            <a:solidFill>
              <a:schemeClr val="accent3"/>
            </a:solidFill>
          </a:ln>
        </p:spPr>
        <p:txBody>
          <a:bodyPr vert="horz" wrap="square" lIns="268889" tIns="268889" rIns="146284" bIns="91427" rtlCol="0" anchor="t">
            <a:noAutofit/>
          </a:bodyPr>
          <a:lstStyle/>
          <a:p>
            <a:r>
              <a:rPr lang="en-US" sz="4312" dirty="0">
                <a:solidFill>
                  <a:schemeClr val="bg1"/>
                </a:solidFill>
              </a:rPr>
              <a:t>Hadoop on HDInsight</a:t>
            </a:r>
            <a:br>
              <a:rPr lang="en-US" sz="4312" dirty="0">
                <a:solidFill>
                  <a:schemeClr val="bg1"/>
                </a:solidFill>
              </a:rPr>
            </a:br>
            <a:r>
              <a:rPr lang="en-US" sz="2800" i="1" dirty="0">
                <a:solidFill>
                  <a:schemeClr val="bg1"/>
                </a:solidFill>
              </a:rPr>
              <a:t>Technical Overview</a:t>
            </a:r>
            <a:r>
              <a:rPr lang="en-US" sz="4312" dirty="0">
                <a:solidFill>
                  <a:schemeClr val="bg1"/>
                </a:solidFill>
              </a:rPr>
              <a:t/>
            </a:r>
            <a:br>
              <a:rPr lang="en-US" sz="4312" dirty="0">
                <a:solidFill>
                  <a:schemeClr val="bg1"/>
                </a:solidFill>
              </a:rPr>
            </a:br>
            <a:r>
              <a:rPr lang="en-US" sz="4312" dirty="0">
                <a:solidFill>
                  <a:schemeClr val="bg1"/>
                </a:solidFill>
              </a:rPr>
              <a:t/>
            </a:r>
            <a:br>
              <a:rPr lang="en-US" sz="4312" dirty="0">
                <a:solidFill>
                  <a:schemeClr val="bg1"/>
                </a:solidFill>
              </a:rPr>
            </a:br>
            <a:r>
              <a:rPr lang="en-US" sz="4312" dirty="0">
                <a:solidFill>
                  <a:schemeClr val="bg1"/>
                </a:solidFill>
              </a:rPr>
              <a:t/>
            </a:r>
            <a:br>
              <a:rPr lang="en-US" sz="4312" dirty="0">
                <a:solidFill>
                  <a:schemeClr val="bg1"/>
                </a:solidFill>
              </a:rPr>
            </a:br>
            <a:r>
              <a:rPr lang="en-US" sz="2745" dirty="0">
                <a:solidFill>
                  <a:schemeClr val="bg1"/>
                </a:solidFill>
              </a:rPr>
              <a:t>Nishant Thacker</a:t>
            </a:r>
            <a:br>
              <a:rPr lang="en-US" sz="2745" dirty="0">
                <a:solidFill>
                  <a:schemeClr val="bg1"/>
                </a:solidFill>
              </a:rPr>
            </a:br>
            <a:r>
              <a:rPr lang="en-US" sz="2745" dirty="0">
                <a:solidFill>
                  <a:schemeClr val="bg1"/>
                </a:solidFill>
              </a:rPr>
              <a:t>Technical Product Manager</a:t>
            </a:r>
            <a:br>
              <a:rPr lang="en-US" sz="2745" dirty="0">
                <a:solidFill>
                  <a:schemeClr val="bg1"/>
                </a:solidFill>
              </a:rPr>
            </a:br>
            <a:r>
              <a:rPr lang="en-US" sz="2745" dirty="0">
                <a:solidFill>
                  <a:schemeClr val="bg1"/>
                </a:solidFill>
              </a:rPr>
              <a:t>Microsoft</a:t>
            </a:r>
            <a:r>
              <a:rPr lang="en-US" sz="2745" dirty="0">
                <a:solidFill>
                  <a:schemeClr val="bg1"/>
                </a:solidFill>
                <a:latin typeface="+mn-lt"/>
              </a:rPr>
              <a:t/>
            </a:r>
            <a:br>
              <a:rPr lang="en-US" sz="2745" dirty="0">
                <a:solidFill>
                  <a:schemeClr val="bg1"/>
                </a:solidFill>
                <a:latin typeface="+mn-lt"/>
              </a:rPr>
            </a:br>
            <a:endParaRPr lang="en-US" sz="4312" dirty="0">
              <a:solidFill>
                <a:schemeClr val="bg1"/>
              </a:solidFill>
              <a:latin typeface="+mn-lt"/>
            </a:endParaRPr>
          </a:p>
        </p:txBody>
      </p:sp>
    </p:spTree>
    <p:extLst>
      <p:ext uri="{BB962C8B-B14F-4D97-AF65-F5344CB8AC3E}">
        <p14:creationId xmlns:p14="http://schemas.microsoft.com/office/powerpoint/2010/main" val="110873896"/>
      </p:ext>
    </p:extLst>
  </p:cSld>
  <p:clrMapOvr>
    <a:masterClrMapping/>
  </p:clrMapOvr>
  <p:transition spd="med">
    <p:wipe dir="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DFS: Reading and Writing Data</a:t>
            </a:r>
          </a:p>
        </p:txBody>
      </p:sp>
      <p:sp>
        <p:nvSpPr>
          <p:cNvPr id="3" name="Slide Number Placeholder 2"/>
          <p:cNvSpPr>
            <a:spLocks noGrp="1"/>
          </p:cNvSpPr>
          <p:nvPr>
            <p:ph type="sldNum" sz="quarter" idx="11"/>
          </p:nvPr>
        </p:nvSpPr>
        <p:spPr/>
        <p:txBody>
          <a:bodyPr/>
          <a:lstStyle/>
          <a:p>
            <a:pPr>
              <a:defRPr/>
            </a:pPr>
            <a:fld id="{F8A0AC42-AA1D-4944-8D96-660DE70C7E1B}" type="slidenum">
              <a:rPr lang="en-US" sz="1200" smtClean="0"/>
              <a:pPr>
                <a:defRPr/>
              </a:pPr>
              <a:t>10</a:t>
            </a:fld>
            <a:endParaRPr lang="en-US" sz="1200" dirty="0"/>
          </a:p>
        </p:txBody>
      </p:sp>
      <p:grpSp>
        <p:nvGrpSpPr>
          <p:cNvPr id="15" name="Group 14"/>
          <p:cNvGrpSpPr/>
          <p:nvPr/>
        </p:nvGrpSpPr>
        <p:grpSpPr>
          <a:xfrm>
            <a:off x="1368232" y="1806442"/>
            <a:ext cx="9547418" cy="4375283"/>
            <a:chOff x="349057" y="1320667"/>
            <a:chExt cx="11473278" cy="5203396"/>
          </a:xfrm>
        </p:grpSpPr>
        <p:grpSp>
          <p:nvGrpSpPr>
            <p:cNvPr id="10" name="Group 9"/>
            <p:cNvGrpSpPr/>
            <p:nvPr/>
          </p:nvGrpSpPr>
          <p:grpSpPr>
            <a:xfrm>
              <a:off x="4392322" y="1364667"/>
              <a:ext cx="3399504" cy="1726551"/>
              <a:chOff x="4688297" y="1644446"/>
              <a:chExt cx="3399504" cy="1726551"/>
            </a:xfrm>
          </p:grpSpPr>
          <p:sp>
            <p:nvSpPr>
              <p:cNvPr id="4" name="Rectangle 3"/>
              <p:cNvSpPr/>
              <p:nvPr/>
            </p:nvSpPr>
            <p:spPr bwMode="auto">
              <a:xfrm>
                <a:off x="4688297" y="1644446"/>
                <a:ext cx="3399504" cy="172655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b="1" dirty="0">
                  <a:solidFill>
                    <a:schemeClr val="bg1"/>
                  </a:solidFill>
                  <a:latin typeface="+mj-lt"/>
                  <a:ea typeface="Segoe UI" pitchFamily="34" charset="0"/>
                  <a:cs typeface="Segoe UI" pitchFamily="34" charset="0"/>
                </a:endParaRPr>
              </a:p>
            </p:txBody>
          </p:sp>
          <p:sp>
            <p:nvSpPr>
              <p:cNvPr id="5" name="TextBox 4"/>
              <p:cNvSpPr txBox="1"/>
              <p:nvPr/>
            </p:nvSpPr>
            <p:spPr>
              <a:xfrm>
                <a:off x="5659692" y="1644446"/>
                <a:ext cx="1718187" cy="516194"/>
              </a:xfrm>
              <a:prstGeom prst="rect">
                <a:avLst/>
              </a:prstGeom>
              <a:noFill/>
            </p:spPr>
            <p:txBody>
              <a:bodyPr wrap="none" lIns="182880" tIns="146304" rIns="182880" bIns="146304" rtlCol="0">
                <a:noAutofit/>
              </a:bodyPr>
              <a:lstStyle/>
              <a:p>
                <a:pPr>
                  <a:lnSpc>
                    <a:spcPct val="90000"/>
                  </a:lnSpc>
                  <a:spcAft>
                    <a:spcPts val="600"/>
                  </a:spcAft>
                </a:pPr>
                <a:r>
                  <a:rPr lang="en-US" sz="1600" dirty="0">
                    <a:solidFill>
                      <a:schemeClr val="bg1"/>
                    </a:solidFill>
                  </a:rPr>
                  <a:t>Name Node</a:t>
                </a:r>
              </a:p>
            </p:txBody>
          </p:sp>
          <p:sp>
            <p:nvSpPr>
              <p:cNvPr id="6" name="Rounded Rectangle 5"/>
              <p:cNvSpPr/>
              <p:nvPr/>
            </p:nvSpPr>
            <p:spPr bwMode="auto">
              <a:xfrm>
                <a:off x="4895230" y="2354790"/>
                <a:ext cx="1380207" cy="560438"/>
              </a:xfrm>
              <a:prstGeom prst="round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b="1" dirty="0">
                  <a:solidFill>
                    <a:schemeClr val="bg1"/>
                  </a:solidFill>
                  <a:latin typeface="+mj-lt"/>
                  <a:ea typeface="Segoe UI" pitchFamily="34" charset="0"/>
                  <a:cs typeface="Segoe UI" pitchFamily="34" charset="0"/>
                </a:endParaRPr>
              </a:p>
            </p:txBody>
          </p:sp>
          <p:sp>
            <p:nvSpPr>
              <p:cNvPr id="7" name="Rounded Rectangle 6"/>
              <p:cNvSpPr/>
              <p:nvPr/>
            </p:nvSpPr>
            <p:spPr bwMode="auto">
              <a:xfrm>
                <a:off x="6485603" y="2354790"/>
                <a:ext cx="1231490" cy="560438"/>
              </a:xfrm>
              <a:prstGeom prst="round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b="1" dirty="0">
                  <a:solidFill>
                    <a:schemeClr val="bg1"/>
                  </a:solidFill>
                  <a:latin typeface="+mj-lt"/>
                  <a:ea typeface="Segoe UI" pitchFamily="34" charset="0"/>
                  <a:cs typeface="Segoe UI" pitchFamily="34" charset="0"/>
                </a:endParaRPr>
              </a:p>
            </p:txBody>
          </p:sp>
          <p:sp>
            <p:nvSpPr>
              <p:cNvPr id="8" name="TextBox 7"/>
              <p:cNvSpPr txBox="1"/>
              <p:nvPr/>
            </p:nvSpPr>
            <p:spPr>
              <a:xfrm>
                <a:off x="4752350" y="2261074"/>
                <a:ext cx="1636304" cy="844076"/>
              </a:xfrm>
              <a:prstGeom prst="rect">
                <a:avLst/>
              </a:prstGeom>
              <a:noFill/>
            </p:spPr>
            <p:txBody>
              <a:bodyPr wrap="square" lIns="182880" tIns="146304" rIns="182880" bIns="146304" rtlCol="0">
                <a:noAutofit/>
              </a:bodyPr>
              <a:lstStyle/>
              <a:p>
                <a:pPr algn="ctr">
                  <a:lnSpc>
                    <a:spcPct val="90000"/>
                  </a:lnSpc>
                  <a:spcAft>
                    <a:spcPts val="600"/>
                  </a:spcAft>
                </a:pPr>
                <a:r>
                  <a:rPr lang="en-US" sz="1400" dirty="0">
                    <a:solidFill>
                      <a:schemeClr val="bg1"/>
                    </a:solidFill>
                  </a:rPr>
                  <a:t>Name Space</a:t>
                </a:r>
                <a:br>
                  <a:rPr lang="en-US" sz="1400" dirty="0">
                    <a:solidFill>
                      <a:schemeClr val="bg1"/>
                    </a:solidFill>
                  </a:rPr>
                </a:br>
                <a:r>
                  <a:rPr lang="en-US" sz="1400" dirty="0">
                    <a:solidFill>
                      <a:schemeClr val="bg1"/>
                    </a:solidFill>
                  </a:rPr>
                  <a:t>State</a:t>
                </a:r>
              </a:p>
            </p:txBody>
          </p:sp>
          <p:sp>
            <p:nvSpPr>
              <p:cNvPr id="9" name="TextBox 8"/>
              <p:cNvSpPr txBox="1"/>
              <p:nvPr/>
            </p:nvSpPr>
            <p:spPr>
              <a:xfrm>
                <a:off x="6531534" y="2250435"/>
                <a:ext cx="1229341" cy="844076"/>
              </a:xfrm>
              <a:prstGeom prst="rect">
                <a:avLst/>
              </a:prstGeom>
              <a:noFill/>
            </p:spPr>
            <p:txBody>
              <a:bodyPr wrap="square" lIns="182880" tIns="146304" rIns="182880" bIns="146304" rtlCol="0">
                <a:noAutofit/>
              </a:bodyPr>
              <a:lstStyle/>
              <a:p>
                <a:pPr algn="ctr">
                  <a:lnSpc>
                    <a:spcPct val="90000"/>
                  </a:lnSpc>
                  <a:spcAft>
                    <a:spcPts val="600"/>
                  </a:spcAft>
                </a:pPr>
                <a:r>
                  <a:rPr lang="en-US" sz="1400" dirty="0">
                    <a:solidFill>
                      <a:schemeClr val="bg1"/>
                    </a:solidFill>
                  </a:rPr>
                  <a:t>Block Map</a:t>
                </a:r>
              </a:p>
            </p:txBody>
          </p:sp>
        </p:grpSp>
        <p:sp>
          <p:nvSpPr>
            <p:cNvPr id="11" name="Rounded Rectangle 10"/>
            <p:cNvSpPr/>
            <p:nvPr/>
          </p:nvSpPr>
          <p:spPr bwMode="auto">
            <a:xfrm>
              <a:off x="349057" y="4237629"/>
              <a:ext cx="2449773" cy="1644555"/>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b="1" dirty="0">
                <a:solidFill>
                  <a:schemeClr val="bg1"/>
                </a:solidFill>
                <a:latin typeface="+mj-lt"/>
                <a:ea typeface="Segoe UI" pitchFamily="34" charset="0"/>
                <a:cs typeface="Segoe UI" pitchFamily="34" charset="0"/>
              </a:endParaRPr>
            </a:p>
          </p:txBody>
        </p:sp>
        <p:sp>
          <p:nvSpPr>
            <p:cNvPr id="12" name="Rounded Rectangle 11"/>
            <p:cNvSpPr/>
            <p:nvPr/>
          </p:nvSpPr>
          <p:spPr bwMode="auto">
            <a:xfrm>
              <a:off x="6489233" y="4237629"/>
              <a:ext cx="2449773" cy="1644555"/>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b="1" dirty="0">
                <a:solidFill>
                  <a:schemeClr val="bg1"/>
                </a:solidFill>
                <a:latin typeface="+mj-lt"/>
                <a:ea typeface="Segoe UI" pitchFamily="34" charset="0"/>
                <a:cs typeface="Segoe UI" pitchFamily="34" charset="0"/>
              </a:endParaRPr>
            </a:p>
          </p:txBody>
        </p:sp>
        <p:sp>
          <p:nvSpPr>
            <p:cNvPr id="13" name="Rounded Rectangle 12"/>
            <p:cNvSpPr/>
            <p:nvPr/>
          </p:nvSpPr>
          <p:spPr bwMode="auto">
            <a:xfrm>
              <a:off x="9372562" y="4237629"/>
              <a:ext cx="2449773" cy="1644555"/>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b="1" dirty="0">
                <a:solidFill>
                  <a:schemeClr val="bg1"/>
                </a:solidFill>
                <a:latin typeface="+mj-lt"/>
                <a:ea typeface="Segoe UI" pitchFamily="34" charset="0"/>
                <a:cs typeface="Segoe UI" pitchFamily="34" charset="0"/>
              </a:endParaRPr>
            </a:p>
          </p:txBody>
        </p:sp>
        <p:sp>
          <p:nvSpPr>
            <p:cNvPr id="14" name="Rounded Rectangle 13"/>
            <p:cNvSpPr/>
            <p:nvPr/>
          </p:nvSpPr>
          <p:spPr bwMode="auto">
            <a:xfrm>
              <a:off x="3232386" y="4237629"/>
              <a:ext cx="2449773" cy="1644555"/>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b="1" dirty="0">
                <a:solidFill>
                  <a:schemeClr val="bg1"/>
                </a:solidFill>
                <a:latin typeface="+mj-lt"/>
                <a:ea typeface="Segoe UI" pitchFamily="34" charset="0"/>
                <a:cs typeface="Segoe UI" pitchFamily="34" charset="0"/>
              </a:endParaRPr>
            </a:p>
          </p:txBody>
        </p:sp>
        <p:sp>
          <p:nvSpPr>
            <p:cNvPr id="21" name="TextBox 20"/>
            <p:cNvSpPr txBox="1"/>
            <p:nvPr/>
          </p:nvSpPr>
          <p:spPr>
            <a:xfrm>
              <a:off x="976854" y="4270304"/>
              <a:ext cx="1194179" cy="376759"/>
            </a:xfrm>
            <a:prstGeom prst="rect">
              <a:avLst/>
            </a:prstGeom>
            <a:noFill/>
          </p:spPr>
          <p:txBody>
            <a:bodyPr wrap="none" lIns="182880" tIns="146304" rIns="182880" bIns="146304" rtlCol="0" anchor="ctr">
              <a:noAutofit/>
            </a:bodyPr>
            <a:lstStyle/>
            <a:p>
              <a:pPr algn="ctr">
                <a:lnSpc>
                  <a:spcPct val="90000"/>
                </a:lnSpc>
                <a:spcAft>
                  <a:spcPts val="600"/>
                </a:spcAft>
              </a:pPr>
              <a:r>
                <a:rPr lang="en-US" sz="1600" dirty="0">
                  <a:solidFill>
                    <a:schemeClr val="bg1"/>
                  </a:solidFill>
                </a:rPr>
                <a:t>Data Node</a:t>
              </a:r>
            </a:p>
          </p:txBody>
        </p:sp>
        <p:sp>
          <p:nvSpPr>
            <p:cNvPr id="22" name="TextBox 21"/>
            <p:cNvSpPr txBox="1"/>
            <p:nvPr/>
          </p:nvSpPr>
          <p:spPr>
            <a:xfrm>
              <a:off x="3860183" y="4272578"/>
              <a:ext cx="1194179" cy="376759"/>
            </a:xfrm>
            <a:prstGeom prst="rect">
              <a:avLst/>
            </a:prstGeom>
            <a:noFill/>
          </p:spPr>
          <p:txBody>
            <a:bodyPr wrap="none" lIns="182880" tIns="146304" rIns="182880" bIns="146304" rtlCol="0" anchor="ctr">
              <a:noAutofit/>
            </a:bodyPr>
            <a:lstStyle/>
            <a:p>
              <a:pPr algn="ctr">
                <a:lnSpc>
                  <a:spcPct val="90000"/>
                </a:lnSpc>
                <a:spcAft>
                  <a:spcPts val="600"/>
                </a:spcAft>
              </a:pPr>
              <a:r>
                <a:rPr lang="en-US" sz="1600" dirty="0">
                  <a:solidFill>
                    <a:schemeClr val="bg1"/>
                  </a:solidFill>
                </a:rPr>
                <a:t>Data Node</a:t>
              </a:r>
            </a:p>
          </p:txBody>
        </p:sp>
        <p:sp>
          <p:nvSpPr>
            <p:cNvPr id="23" name="TextBox 22"/>
            <p:cNvSpPr txBox="1"/>
            <p:nvPr/>
          </p:nvSpPr>
          <p:spPr>
            <a:xfrm>
              <a:off x="7117030" y="4261203"/>
              <a:ext cx="1194179" cy="376759"/>
            </a:xfrm>
            <a:prstGeom prst="rect">
              <a:avLst/>
            </a:prstGeom>
            <a:noFill/>
          </p:spPr>
          <p:txBody>
            <a:bodyPr wrap="none" lIns="182880" tIns="146304" rIns="182880" bIns="146304" rtlCol="0" anchor="ctr">
              <a:noAutofit/>
            </a:bodyPr>
            <a:lstStyle/>
            <a:p>
              <a:pPr algn="ctr">
                <a:lnSpc>
                  <a:spcPct val="90000"/>
                </a:lnSpc>
                <a:spcAft>
                  <a:spcPts val="600"/>
                </a:spcAft>
              </a:pPr>
              <a:r>
                <a:rPr lang="en-US" sz="1600" dirty="0">
                  <a:solidFill>
                    <a:schemeClr val="bg1"/>
                  </a:solidFill>
                </a:rPr>
                <a:t>Data Node</a:t>
              </a:r>
            </a:p>
          </p:txBody>
        </p:sp>
        <p:sp>
          <p:nvSpPr>
            <p:cNvPr id="24" name="TextBox 23"/>
            <p:cNvSpPr txBox="1"/>
            <p:nvPr/>
          </p:nvSpPr>
          <p:spPr>
            <a:xfrm>
              <a:off x="10000359" y="4283948"/>
              <a:ext cx="1194179" cy="376759"/>
            </a:xfrm>
            <a:prstGeom prst="rect">
              <a:avLst/>
            </a:prstGeom>
            <a:noFill/>
          </p:spPr>
          <p:txBody>
            <a:bodyPr wrap="none" lIns="182880" tIns="146304" rIns="182880" bIns="146304" rtlCol="0" anchor="ctr">
              <a:noAutofit/>
            </a:bodyPr>
            <a:lstStyle/>
            <a:p>
              <a:pPr algn="ctr">
                <a:lnSpc>
                  <a:spcPct val="90000"/>
                </a:lnSpc>
                <a:spcAft>
                  <a:spcPts val="600"/>
                </a:spcAft>
              </a:pPr>
              <a:r>
                <a:rPr lang="en-US" sz="1600" dirty="0">
                  <a:solidFill>
                    <a:schemeClr val="bg1"/>
                  </a:solidFill>
                </a:rPr>
                <a:t>Data Node</a:t>
              </a:r>
            </a:p>
          </p:txBody>
        </p:sp>
        <p:sp>
          <p:nvSpPr>
            <p:cNvPr id="25" name="Rectangle 24"/>
            <p:cNvSpPr/>
            <p:nvPr/>
          </p:nvSpPr>
          <p:spPr bwMode="auto">
            <a:xfrm>
              <a:off x="819908" y="4690381"/>
              <a:ext cx="425579" cy="40767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b="1" dirty="0">
                <a:solidFill>
                  <a:schemeClr val="bg1"/>
                </a:solidFill>
                <a:latin typeface="+mj-lt"/>
                <a:ea typeface="Segoe UI" pitchFamily="34" charset="0"/>
                <a:cs typeface="Segoe UI" pitchFamily="34" charset="0"/>
              </a:endParaRPr>
            </a:p>
          </p:txBody>
        </p:sp>
        <p:sp>
          <p:nvSpPr>
            <p:cNvPr id="26" name="Rectangle 25"/>
            <p:cNvSpPr/>
            <p:nvPr/>
          </p:nvSpPr>
          <p:spPr bwMode="auto">
            <a:xfrm>
              <a:off x="3654332" y="4641404"/>
              <a:ext cx="412909" cy="42472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b="1" dirty="0">
                <a:solidFill>
                  <a:schemeClr val="bg1"/>
                </a:solidFill>
                <a:latin typeface="+mj-lt"/>
                <a:ea typeface="Segoe UI" pitchFamily="34" charset="0"/>
                <a:cs typeface="Segoe UI" pitchFamily="34" charset="0"/>
              </a:endParaRPr>
            </a:p>
          </p:txBody>
        </p:sp>
        <p:sp>
          <p:nvSpPr>
            <p:cNvPr id="28" name="Rectangle 27"/>
            <p:cNvSpPr/>
            <p:nvPr/>
          </p:nvSpPr>
          <p:spPr bwMode="auto">
            <a:xfrm>
              <a:off x="1994280" y="4697205"/>
              <a:ext cx="425579" cy="407671"/>
            </a:xfrm>
            <a:prstGeom prst="rect">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b="1" dirty="0">
                <a:solidFill>
                  <a:schemeClr val="bg1"/>
                </a:solidFill>
                <a:latin typeface="+mj-lt"/>
                <a:ea typeface="Segoe UI" pitchFamily="34" charset="0"/>
                <a:cs typeface="Segoe UI" pitchFamily="34" charset="0"/>
              </a:endParaRPr>
            </a:p>
          </p:txBody>
        </p:sp>
        <p:sp>
          <p:nvSpPr>
            <p:cNvPr id="29" name="Rectangle 28"/>
            <p:cNvSpPr/>
            <p:nvPr/>
          </p:nvSpPr>
          <p:spPr bwMode="auto">
            <a:xfrm>
              <a:off x="4759579" y="4637962"/>
              <a:ext cx="412909" cy="424729"/>
            </a:xfrm>
            <a:prstGeom prst="rect">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b="1" dirty="0">
                <a:solidFill>
                  <a:schemeClr val="bg1"/>
                </a:solidFill>
                <a:latin typeface="+mj-lt"/>
                <a:ea typeface="Segoe UI" pitchFamily="34" charset="0"/>
                <a:cs typeface="Segoe UI" pitchFamily="34" charset="0"/>
              </a:endParaRPr>
            </a:p>
          </p:txBody>
        </p:sp>
        <p:sp>
          <p:nvSpPr>
            <p:cNvPr id="31" name="Rectangle 30"/>
            <p:cNvSpPr/>
            <p:nvPr/>
          </p:nvSpPr>
          <p:spPr bwMode="auto">
            <a:xfrm>
              <a:off x="819426" y="5156054"/>
              <a:ext cx="425579" cy="40767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b="1" dirty="0">
                <a:solidFill>
                  <a:schemeClr val="bg1"/>
                </a:solidFill>
                <a:latin typeface="+mj-lt"/>
                <a:ea typeface="Segoe UI" pitchFamily="34" charset="0"/>
                <a:cs typeface="Segoe UI" pitchFamily="34" charset="0"/>
              </a:endParaRPr>
            </a:p>
          </p:txBody>
        </p:sp>
        <p:sp>
          <p:nvSpPr>
            <p:cNvPr id="32" name="Rectangle 31"/>
            <p:cNvSpPr/>
            <p:nvPr/>
          </p:nvSpPr>
          <p:spPr bwMode="auto">
            <a:xfrm>
              <a:off x="6878785" y="4636914"/>
              <a:ext cx="430465" cy="40377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b="1" dirty="0">
                <a:solidFill>
                  <a:schemeClr val="bg1"/>
                </a:solidFill>
                <a:latin typeface="+mj-lt"/>
                <a:ea typeface="Segoe UI" pitchFamily="34" charset="0"/>
                <a:cs typeface="Segoe UI" pitchFamily="34" charset="0"/>
              </a:endParaRPr>
            </a:p>
          </p:txBody>
        </p:sp>
        <p:sp>
          <p:nvSpPr>
            <p:cNvPr id="34" name="Rectangle 33"/>
            <p:cNvSpPr/>
            <p:nvPr/>
          </p:nvSpPr>
          <p:spPr bwMode="auto">
            <a:xfrm>
              <a:off x="4774818" y="5289124"/>
              <a:ext cx="412909" cy="424729"/>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b="1" dirty="0">
                <a:solidFill>
                  <a:schemeClr val="bg1"/>
                </a:solidFill>
                <a:latin typeface="+mj-lt"/>
                <a:ea typeface="Segoe UI" pitchFamily="34" charset="0"/>
                <a:cs typeface="Segoe UI" pitchFamily="34" charset="0"/>
              </a:endParaRPr>
            </a:p>
          </p:txBody>
        </p:sp>
        <p:sp>
          <p:nvSpPr>
            <p:cNvPr id="36" name="Rectangle 35"/>
            <p:cNvSpPr/>
            <p:nvPr/>
          </p:nvSpPr>
          <p:spPr bwMode="auto">
            <a:xfrm>
              <a:off x="8033865" y="5289124"/>
              <a:ext cx="408308" cy="377293"/>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b="1" dirty="0">
                <a:solidFill>
                  <a:schemeClr val="bg1"/>
                </a:solidFill>
                <a:latin typeface="+mj-lt"/>
                <a:ea typeface="Segoe UI" pitchFamily="34" charset="0"/>
                <a:cs typeface="Segoe UI" pitchFamily="34" charset="0"/>
              </a:endParaRPr>
            </a:p>
          </p:txBody>
        </p:sp>
        <p:cxnSp>
          <p:nvCxnSpPr>
            <p:cNvPr id="39" name="Straight Arrow Connector 38"/>
            <p:cNvCxnSpPr>
              <a:stCxn id="36" idx="1"/>
              <a:endCxn id="34" idx="3"/>
            </p:cNvCxnSpPr>
            <p:nvPr/>
          </p:nvCxnSpPr>
          <p:spPr>
            <a:xfrm flipH="1">
              <a:off x="5187727" y="5477771"/>
              <a:ext cx="2846138" cy="23718"/>
            </a:xfrm>
            <a:prstGeom prst="straightConnector1">
              <a:avLst/>
            </a:prstGeom>
            <a:ln w="57150">
              <a:solidFill>
                <a:schemeClr val="accent5"/>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a:stCxn id="36" idx="3"/>
              <a:endCxn id="78" idx="1"/>
            </p:cNvCxnSpPr>
            <p:nvPr/>
          </p:nvCxnSpPr>
          <p:spPr>
            <a:xfrm flipV="1">
              <a:off x="8442173" y="5453526"/>
              <a:ext cx="2664789" cy="24245"/>
            </a:xfrm>
            <a:prstGeom prst="straightConnector1">
              <a:avLst/>
            </a:prstGeom>
            <a:ln w="57150">
              <a:solidFill>
                <a:schemeClr val="accent5"/>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47" name="TextBox 46"/>
            <p:cNvSpPr txBox="1"/>
            <p:nvPr/>
          </p:nvSpPr>
          <p:spPr>
            <a:xfrm>
              <a:off x="6910498" y="5568727"/>
              <a:ext cx="1003111" cy="298820"/>
            </a:xfrm>
            <a:prstGeom prst="rect">
              <a:avLst/>
            </a:prstGeom>
            <a:noFill/>
          </p:spPr>
          <p:txBody>
            <a:bodyPr wrap="square" lIns="0" tIns="0" rIns="0" bIns="0" rtlCol="0" anchor="ctr">
              <a:noAutofit/>
            </a:bodyPr>
            <a:lstStyle/>
            <a:p>
              <a:pPr>
                <a:lnSpc>
                  <a:spcPct val="90000"/>
                </a:lnSpc>
                <a:spcAft>
                  <a:spcPts val="600"/>
                </a:spcAft>
              </a:pPr>
              <a:r>
                <a:rPr lang="en-US" sz="1400" dirty="0">
                  <a:solidFill>
                    <a:schemeClr val="bg1"/>
                  </a:solidFill>
                </a:rPr>
                <a:t>Replicate</a:t>
              </a:r>
            </a:p>
          </p:txBody>
        </p:sp>
        <p:sp>
          <p:nvSpPr>
            <p:cNvPr id="49" name="TextBox 48"/>
            <p:cNvSpPr txBox="1"/>
            <p:nvPr/>
          </p:nvSpPr>
          <p:spPr>
            <a:xfrm>
              <a:off x="9901647" y="5584648"/>
              <a:ext cx="1003111" cy="298820"/>
            </a:xfrm>
            <a:prstGeom prst="rect">
              <a:avLst/>
            </a:prstGeom>
            <a:noFill/>
          </p:spPr>
          <p:txBody>
            <a:bodyPr wrap="square" lIns="0" tIns="0" rIns="0" bIns="0" rtlCol="0" anchor="ctr">
              <a:noAutofit/>
            </a:bodyPr>
            <a:lstStyle/>
            <a:p>
              <a:pPr>
                <a:lnSpc>
                  <a:spcPct val="90000"/>
                </a:lnSpc>
                <a:spcAft>
                  <a:spcPts val="600"/>
                </a:spcAft>
              </a:pPr>
              <a:r>
                <a:rPr lang="en-US" sz="1400" dirty="0">
                  <a:solidFill>
                    <a:schemeClr val="bg1"/>
                  </a:solidFill>
                </a:rPr>
                <a:t>Replicate</a:t>
              </a:r>
            </a:p>
          </p:txBody>
        </p:sp>
        <p:sp>
          <p:nvSpPr>
            <p:cNvPr id="50" name="TextBox 49"/>
            <p:cNvSpPr txBox="1"/>
            <p:nvPr/>
          </p:nvSpPr>
          <p:spPr>
            <a:xfrm>
              <a:off x="868962" y="1390332"/>
              <a:ext cx="1999397" cy="513174"/>
            </a:xfrm>
            <a:prstGeom prst="rect">
              <a:avLst/>
            </a:prstGeom>
            <a:noFill/>
          </p:spPr>
          <p:txBody>
            <a:bodyPr wrap="none" lIns="182880" tIns="146304" rIns="182880" bIns="146304" rtlCol="0">
              <a:noAutofit/>
            </a:bodyPr>
            <a:lstStyle/>
            <a:p>
              <a:pPr>
                <a:lnSpc>
                  <a:spcPct val="90000"/>
                </a:lnSpc>
                <a:spcAft>
                  <a:spcPts val="600"/>
                </a:spcAft>
              </a:pPr>
              <a:r>
                <a:rPr lang="en-US" sz="1600" dirty="0">
                  <a:solidFill>
                    <a:schemeClr val="tx1">
                      <a:lumMod val="65000"/>
                      <a:lumOff val="35000"/>
                    </a:schemeClr>
                  </a:solidFill>
                </a:rPr>
                <a:t>Reading a Block</a:t>
              </a:r>
            </a:p>
          </p:txBody>
        </p:sp>
        <p:sp>
          <p:nvSpPr>
            <p:cNvPr id="51" name="Rounded Rectangle 50"/>
            <p:cNvSpPr/>
            <p:nvPr/>
          </p:nvSpPr>
          <p:spPr bwMode="auto">
            <a:xfrm>
              <a:off x="9648967" y="1850648"/>
              <a:ext cx="1609306" cy="754588"/>
            </a:xfrm>
            <a:prstGeom prst="round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b="1" dirty="0">
                  <a:solidFill>
                    <a:schemeClr val="bg1"/>
                  </a:solidFill>
                  <a:latin typeface="+mj-lt"/>
                  <a:ea typeface="Segoe UI" pitchFamily="34" charset="0"/>
                  <a:cs typeface="Segoe UI" pitchFamily="34" charset="0"/>
                </a:rPr>
                <a:t>Client</a:t>
              </a:r>
            </a:p>
          </p:txBody>
        </p:sp>
        <p:cxnSp>
          <p:nvCxnSpPr>
            <p:cNvPr id="53" name="Straight Arrow Connector 52"/>
            <p:cNvCxnSpPr>
              <a:stCxn id="51" idx="1"/>
              <a:endCxn id="4" idx="3"/>
            </p:cNvCxnSpPr>
            <p:nvPr/>
          </p:nvCxnSpPr>
          <p:spPr>
            <a:xfrm flipH="1">
              <a:off x="7791826" y="2227942"/>
              <a:ext cx="1857141" cy="1"/>
            </a:xfrm>
            <a:prstGeom prst="straightConnector1">
              <a:avLst/>
            </a:prstGeom>
            <a:ln w="3810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7" name="TextBox 56"/>
            <p:cNvSpPr txBox="1"/>
            <p:nvPr/>
          </p:nvSpPr>
          <p:spPr>
            <a:xfrm>
              <a:off x="8317464" y="1788435"/>
              <a:ext cx="1400317" cy="914400"/>
            </a:xfrm>
            <a:prstGeom prst="rect">
              <a:avLst/>
            </a:prstGeom>
            <a:noFill/>
          </p:spPr>
          <p:txBody>
            <a:bodyPr wrap="none" lIns="182880" tIns="146304" rIns="182880" bIns="146304" rtlCol="0">
              <a:noAutofit/>
            </a:bodyPr>
            <a:lstStyle/>
            <a:p>
              <a:pPr>
                <a:lnSpc>
                  <a:spcPct val="90000"/>
                </a:lnSpc>
                <a:spcAft>
                  <a:spcPts val="600"/>
                </a:spcAft>
              </a:pPr>
              <a:r>
                <a:rPr lang="en-US" sz="1600" dirty="0">
                  <a:solidFill>
                    <a:schemeClr val="tx1">
                      <a:lumMod val="65000"/>
                      <a:lumOff val="35000"/>
                    </a:schemeClr>
                  </a:solidFill>
                </a:rPr>
                <a:t>create</a:t>
              </a:r>
            </a:p>
            <a:p>
              <a:pPr>
                <a:lnSpc>
                  <a:spcPct val="90000"/>
                </a:lnSpc>
                <a:spcAft>
                  <a:spcPts val="600"/>
                </a:spcAft>
              </a:pPr>
              <a:r>
                <a:rPr lang="en-US" sz="1600" dirty="0" err="1">
                  <a:solidFill>
                    <a:schemeClr val="tx1">
                      <a:lumMod val="65000"/>
                      <a:lumOff val="35000"/>
                    </a:schemeClr>
                  </a:solidFill>
                </a:rPr>
                <a:t>addBlock</a:t>
              </a:r>
              <a:endParaRPr lang="en-US" sz="1600" dirty="0">
                <a:solidFill>
                  <a:schemeClr val="tx1">
                    <a:lumMod val="65000"/>
                    <a:lumOff val="35000"/>
                  </a:schemeClr>
                </a:solidFill>
              </a:endParaRPr>
            </a:p>
          </p:txBody>
        </p:sp>
        <p:cxnSp>
          <p:nvCxnSpPr>
            <p:cNvPr id="59" name="Straight Arrow Connector 58"/>
            <p:cNvCxnSpPr>
              <a:stCxn id="51" idx="2"/>
            </p:cNvCxnSpPr>
            <p:nvPr/>
          </p:nvCxnSpPr>
          <p:spPr>
            <a:xfrm flipH="1">
              <a:off x="8449453" y="2605236"/>
              <a:ext cx="2004167" cy="2659644"/>
            </a:xfrm>
            <a:prstGeom prst="straightConnector1">
              <a:avLst/>
            </a:prstGeom>
            <a:ln w="38100" cap="flat" cmpd="sng" algn="ctr">
              <a:solidFill>
                <a:schemeClr val="accent5"/>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60" name="TextBox 59"/>
            <p:cNvSpPr txBox="1"/>
            <p:nvPr/>
          </p:nvSpPr>
          <p:spPr>
            <a:xfrm>
              <a:off x="9451074" y="1320667"/>
              <a:ext cx="1999397" cy="513174"/>
            </a:xfrm>
            <a:prstGeom prst="rect">
              <a:avLst/>
            </a:prstGeom>
            <a:noFill/>
          </p:spPr>
          <p:txBody>
            <a:bodyPr wrap="none" lIns="182880" tIns="146304" rIns="182880" bIns="146304" rtlCol="0">
              <a:noAutofit/>
            </a:bodyPr>
            <a:lstStyle/>
            <a:p>
              <a:pPr>
                <a:lnSpc>
                  <a:spcPct val="90000"/>
                </a:lnSpc>
                <a:spcAft>
                  <a:spcPts val="600"/>
                </a:spcAft>
              </a:pPr>
              <a:r>
                <a:rPr lang="en-US" sz="1600" dirty="0">
                  <a:solidFill>
                    <a:schemeClr val="tx1">
                      <a:lumMod val="65000"/>
                      <a:lumOff val="35000"/>
                    </a:schemeClr>
                  </a:solidFill>
                </a:rPr>
                <a:t>Adding a Block</a:t>
              </a:r>
            </a:p>
          </p:txBody>
        </p:sp>
        <p:sp>
          <p:nvSpPr>
            <p:cNvPr id="61" name="Rounded Rectangle 60"/>
            <p:cNvSpPr/>
            <p:nvPr/>
          </p:nvSpPr>
          <p:spPr bwMode="auto">
            <a:xfrm>
              <a:off x="1016616" y="1890767"/>
              <a:ext cx="1609306" cy="754588"/>
            </a:xfrm>
            <a:prstGeom prst="round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b="1" dirty="0">
                  <a:solidFill>
                    <a:schemeClr val="bg1"/>
                  </a:solidFill>
                  <a:latin typeface="+mj-lt"/>
                  <a:ea typeface="Segoe UI" pitchFamily="34" charset="0"/>
                  <a:cs typeface="Segoe UI" pitchFamily="34" charset="0"/>
                </a:rPr>
                <a:t>Client</a:t>
              </a:r>
            </a:p>
          </p:txBody>
        </p:sp>
        <p:cxnSp>
          <p:nvCxnSpPr>
            <p:cNvPr id="62" name="Straight Arrow Connector 61"/>
            <p:cNvCxnSpPr>
              <a:stCxn id="61" idx="3"/>
            </p:cNvCxnSpPr>
            <p:nvPr/>
          </p:nvCxnSpPr>
          <p:spPr>
            <a:xfrm>
              <a:off x="2625922" y="2268061"/>
              <a:ext cx="1735038" cy="1"/>
            </a:xfrm>
            <a:prstGeom prst="straightConnector1">
              <a:avLst/>
            </a:prstGeom>
            <a:ln w="3810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a:stCxn id="61" idx="2"/>
            </p:cNvCxnSpPr>
            <p:nvPr/>
          </p:nvCxnSpPr>
          <p:spPr>
            <a:xfrm>
              <a:off x="1821269" y="2645355"/>
              <a:ext cx="1822688" cy="2019250"/>
            </a:xfrm>
            <a:prstGeom prst="straightConnector1">
              <a:avLst/>
            </a:prstGeom>
            <a:ln w="3810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5" name="TextBox 64"/>
            <p:cNvSpPr txBox="1"/>
            <p:nvPr/>
          </p:nvSpPr>
          <p:spPr>
            <a:xfrm rot="18618697">
              <a:off x="9476523" y="2647269"/>
              <a:ext cx="914400" cy="477672"/>
            </a:xfrm>
            <a:prstGeom prst="rect">
              <a:avLst/>
            </a:prstGeom>
            <a:noFill/>
          </p:spPr>
          <p:txBody>
            <a:bodyPr wrap="none" lIns="182880" tIns="146304" rIns="182880" bIns="146304" rtlCol="0">
              <a:noAutofit/>
            </a:bodyPr>
            <a:lstStyle/>
            <a:p>
              <a:pPr>
                <a:lnSpc>
                  <a:spcPct val="90000"/>
                </a:lnSpc>
                <a:spcAft>
                  <a:spcPts val="600"/>
                </a:spcAft>
              </a:pPr>
              <a:r>
                <a:rPr lang="en-US" sz="1600" dirty="0">
                  <a:solidFill>
                    <a:schemeClr val="tx1">
                      <a:lumMod val="65000"/>
                      <a:lumOff val="35000"/>
                    </a:schemeClr>
                  </a:solidFill>
                </a:rPr>
                <a:t>Write</a:t>
              </a:r>
            </a:p>
          </p:txBody>
        </p:sp>
        <p:sp>
          <p:nvSpPr>
            <p:cNvPr id="66" name="TextBox 65"/>
            <p:cNvSpPr txBox="1"/>
            <p:nvPr/>
          </p:nvSpPr>
          <p:spPr>
            <a:xfrm rot="2949165">
              <a:off x="2400988" y="2760643"/>
              <a:ext cx="914400" cy="427832"/>
            </a:xfrm>
            <a:prstGeom prst="rect">
              <a:avLst/>
            </a:prstGeom>
            <a:noFill/>
          </p:spPr>
          <p:txBody>
            <a:bodyPr wrap="none" lIns="182880" tIns="146304" rIns="182880" bIns="146304" rtlCol="0" anchor="ctr">
              <a:noAutofit/>
            </a:bodyPr>
            <a:lstStyle/>
            <a:p>
              <a:pPr algn="ctr">
                <a:lnSpc>
                  <a:spcPct val="90000"/>
                </a:lnSpc>
                <a:spcAft>
                  <a:spcPts val="600"/>
                </a:spcAft>
              </a:pPr>
              <a:r>
                <a:rPr lang="en-US" sz="1600" dirty="0">
                  <a:solidFill>
                    <a:schemeClr val="tx1">
                      <a:lumMod val="65000"/>
                      <a:lumOff val="35000"/>
                    </a:schemeClr>
                  </a:solidFill>
                </a:rPr>
                <a:t>Read</a:t>
              </a:r>
            </a:p>
          </p:txBody>
        </p:sp>
        <p:sp>
          <p:nvSpPr>
            <p:cNvPr id="67" name="TextBox 66"/>
            <p:cNvSpPr txBox="1"/>
            <p:nvPr/>
          </p:nvSpPr>
          <p:spPr>
            <a:xfrm>
              <a:off x="2614237" y="1754222"/>
              <a:ext cx="1852316" cy="914401"/>
            </a:xfrm>
            <a:prstGeom prst="rect">
              <a:avLst/>
            </a:prstGeom>
            <a:noFill/>
          </p:spPr>
          <p:txBody>
            <a:bodyPr wrap="none" lIns="182880" tIns="146304" rIns="182880" bIns="146304" rtlCol="0">
              <a:noAutofit/>
            </a:bodyPr>
            <a:lstStyle/>
            <a:p>
              <a:pPr>
                <a:lnSpc>
                  <a:spcPct val="90000"/>
                </a:lnSpc>
                <a:spcAft>
                  <a:spcPts val="600"/>
                </a:spcAft>
              </a:pPr>
              <a:r>
                <a:rPr lang="en-US" sz="1600" dirty="0" err="1">
                  <a:solidFill>
                    <a:schemeClr val="tx1">
                      <a:lumMod val="65000"/>
                      <a:lumOff val="35000"/>
                    </a:schemeClr>
                  </a:solidFill>
                </a:rPr>
                <a:t>getLocations</a:t>
              </a:r>
              <a:endParaRPr lang="en-US" sz="1600" dirty="0">
                <a:solidFill>
                  <a:schemeClr val="tx1">
                    <a:lumMod val="65000"/>
                    <a:lumOff val="35000"/>
                  </a:schemeClr>
                </a:solidFill>
              </a:endParaRPr>
            </a:p>
            <a:p>
              <a:pPr>
                <a:lnSpc>
                  <a:spcPct val="90000"/>
                </a:lnSpc>
                <a:spcAft>
                  <a:spcPts val="600"/>
                </a:spcAft>
              </a:pPr>
              <a:r>
                <a:rPr lang="en-US" sz="1600" dirty="0" err="1">
                  <a:solidFill>
                    <a:schemeClr val="tx1">
                      <a:lumMod val="65000"/>
                      <a:lumOff val="35000"/>
                    </a:schemeClr>
                  </a:solidFill>
                </a:rPr>
                <a:t>getFileinfo</a:t>
              </a:r>
              <a:endParaRPr lang="en-US" sz="1600" dirty="0">
                <a:solidFill>
                  <a:schemeClr val="tx1">
                    <a:lumMod val="65000"/>
                    <a:lumOff val="35000"/>
                  </a:schemeClr>
                </a:solidFill>
              </a:endParaRPr>
            </a:p>
          </p:txBody>
        </p:sp>
        <p:sp>
          <p:nvSpPr>
            <p:cNvPr id="68" name="Freeform 67"/>
            <p:cNvSpPr/>
            <p:nvPr/>
          </p:nvSpPr>
          <p:spPr>
            <a:xfrm flipH="1">
              <a:off x="3936917" y="6026720"/>
              <a:ext cx="1040711" cy="497343"/>
            </a:xfrm>
            <a:custGeom>
              <a:avLst/>
              <a:gdLst>
                <a:gd name="connsiteX0" fmla="*/ 3284673 w 3284673"/>
                <a:gd name="connsiteY0" fmla="*/ 701841 h 4806110"/>
                <a:gd name="connsiteX1" fmla="*/ 3284671 w 3284673"/>
                <a:gd name="connsiteY1" fmla="*/ 701843 h 4806110"/>
                <a:gd name="connsiteX2" fmla="*/ 3284671 w 3284673"/>
                <a:gd name="connsiteY2" fmla="*/ 701841 h 4806110"/>
                <a:gd name="connsiteX3" fmla="*/ 3284669 w 3284673"/>
                <a:gd name="connsiteY3" fmla="*/ 701842 h 4806110"/>
                <a:gd name="connsiteX4" fmla="*/ 3284669 w 3284673"/>
                <a:gd name="connsiteY4" fmla="*/ 701841 h 4806110"/>
                <a:gd name="connsiteX5" fmla="*/ 3195823 w 3284673"/>
                <a:gd name="connsiteY5" fmla="*/ 779666 h 4806110"/>
                <a:gd name="connsiteX6" fmla="*/ 2143690 w 3284673"/>
                <a:gd name="connsiteY6" fmla="*/ 1039044 h 4806110"/>
                <a:gd name="connsiteX7" fmla="*/ 1642337 w 3284673"/>
                <a:gd name="connsiteY7" fmla="*/ 1059655 h 4806110"/>
                <a:gd name="connsiteX8" fmla="*/ 1140983 w 3284673"/>
                <a:gd name="connsiteY8" fmla="*/ 1039044 h 4806110"/>
                <a:gd name="connsiteX9" fmla="*/ 508725 w 3284673"/>
                <a:gd name="connsiteY9" fmla="*/ 940562 h 4806110"/>
                <a:gd name="connsiteX10" fmla="*/ 395039 w 3284673"/>
                <a:gd name="connsiteY10" fmla="*/ 909279 h 4806110"/>
                <a:gd name="connsiteX11" fmla="*/ 380829 w 3284673"/>
                <a:gd name="connsiteY11" fmla="*/ 905369 h 4806110"/>
                <a:gd name="connsiteX12" fmla="*/ 88851 w 3284673"/>
                <a:gd name="connsiteY12" fmla="*/ 779666 h 4806110"/>
                <a:gd name="connsiteX13" fmla="*/ 59720 w 3284673"/>
                <a:gd name="connsiteY13" fmla="*/ 754150 h 4806110"/>
                <a:gd name="connsiteX14" fmla="*/ 4 w 3284673"/>
                <a:gd name="connsiteY14" fmla="*/ 701841 h 4806110"/>
                <a:gd name="connsiteX15" fmla="*/ 4 w 3284673"/>
                <a:gd name="connsiteY15" fmla="*/ 701842 h 4806110"/>
                <a:gd name="connsiteX16" fmla="*/ 2 w 3284673"/>
                <a:gd name="connsiteY16" fmla="*/ 701841 h 4806110"/>
                <a:gd name="connsiteX17" fmla="*/ 2 w 3284673"/>
                <a:gd name="connsiteY17" fmla="*/ 701843 h 4806110"/>
                <a:gd name="connsiteX18" fmla="*/ 0 w 3284673"/>
                <a:gd name="connsiteY18" fmla="*/ 701841 h 4806110"/>
                <a:gd name="connsiteX19" fmla="*/ 0 w 3284673"/>
                <a:gd name="connsiteY19" fmla="*/ 1053189 h 4806110"/>
                <a:gd name="connsiteX20" fmla="*/ 2 w 3284673"/>
                <a:gd name="connsiteY20" fmla="*/ 1053191 h 4806110"/>
                <a:gd name="connsiteX21" fmla="*/ 2 w 3284673"/>
                <a:gd name="connsiteY21" fmla="*/ 1918845 h 4806110"/>
                <a:gd name="connsiteX22" fmla="*/ 2 w 3284673"/>
                <a:gd name="connsiteY22" fmla="*/ 2181795 h 4806110"/>
                <a:gd name="connsiteX23" fmla="*/ 2 w 3284673"/>
                <a:gd name="connsiteY23" fmla="*/ 2551024 h 4806110"/>
                <a:gd name="connsiteX24" fmla="*/ 4 w 3284673"/>
                <a:gd name="connsiteY24" fmla="*/ 2551025 h 4806110"/>
                <a:gd name="connsiteX25" fmla="*/ 4 w 3284673"/>
                <a:gd name="connsiteY25" fmla="*/ 2920828 h 4806110"/>
                <a:gd name="connsiteX26" fmla="*/ 4 w 3284673"/>
                <a:gd name="connsiteY26" fmla="*/ 3146226 h 4806110"/>
                <a:gd name="connsiteX27" fmla="*/ 0 w 3284673"/>
                <a:gd name="connsiteY27" fmla="*/ 3146222 h 4806110"/>
                <a:gd name="connsiteX28" fmla="*/ 0 w 3284673"/>
                <a:gd name="connsiteY28" fmla="*/ 3169359 h 4806110"/>
                <a:gd name="connsiteX29" fmla="*/ 4 w 3284673"/>
                <a:gd name="connsiteY29" fmla="*/ 3169359 h 4806110"/>
                <a:gd name="connsiteX30" fmla="*/ 4 w 3284673"/>
                <a:gd name="connsiteY30" fmla="*/ 3398798 h 4806110"/>
                <a:gd name="connsiteX31" fmla="*/ 4 w 3284673"/>
                <a:gd name="connsiteY31" fmla="*/ 3719407 h 4806110"/>
                <a:gd name="connsiteX32" fmla="*/ 0 w 3284673"/>
                <a:gd name="connsiteY32" fmla="*/ 3719407 h 4806110"/>
                <a:gd name="connsiteX33" fmla="*/ 0 w 3284673"/>
                <a:gd name="connsiteY33" fmla="*/ 4400783 h 4806110"/>
                <a:gd name="connsiteX34" fmla="*/ 1642335 w 3284673"/>
                <a:gd name="connsiteY34" fmla="*/ 4806110 h 4806110"/>
                <a:gd name="connsiteX35" fmla="*/ 1642339 w 3284673"/>
                <a:gd name="connsiteY35" fmla="*/ 4806110 h 4806110"/>
                <a:gd name="connsiteX36" fmla="*/ 3284673 w 3284673"/>
                <a:gd name="connsiteY36" fmla="*/ 4400783 h 4806110"/>
                <a:gd name="connsiteX37" fmla="*/ 3284673 w 3284673"/>
                <a:gd name="connsiteY37" fmla="*/ 3719407 h 4806110"/>
                <a:gd name="connsiteX38" fmla="*/ 3284669 w 3284673"/>
                <a:gd name="connsiteY38" fmla="*/ 3719407 h 4806110"/>
                <a:gd name="connsiteX39" fmla="*/ 3284669 w 3284673"/>
                <a:gd name="connsiteY39" fmla="*/ 3398798 h 4806110"/>
                <a:gd name="connsiteX40" fmla="*/ 3284669 w 3284673"/>
                <a:gd name="connsiteY40" fmla="*/ 3169359 h 4806110"/>
                <a:gd name="connsiteX41" fmla="*/ 3284673 w 3284673"/>
                <a:gd name="connsiteY41" fmla="*/ 3169359 h 4806110"/>
                <a:gd name="connsiteX42" fmla="*/ 3284673 w 3284673"/>
                <a:gd name="connsiteY42" fmla="*/ 3146222 h 4806110"/>
                <a:gd name="connsiteX43" fmla="*/ 3284669 w 3284673"/>
                <a:gd name="connsiteY43" fmla="*/ 3146226 h 4806110"/>
                <a:gd name="connsiteX44" fmla="*/ 3284669 w 3284673"/>
                <a:gd name="connsiteY44" fmla="*/ 2920828 h 4806110"/>
                <a:gd name="connsiteX45" fmla="*/ 3284669 w 3284673"/>
                <a:gd name="connsiteY45" fmla="*/ 2551025 h 4806110"/>
                <a:gd name="connsiteX46" fmla="*/ 3284671 w 3284673"/>
                <a:gd name="connsiteY46" fmla="*/ 2551024 h 4806110"/>
                <a:gd name="connsiteX47" fmla="*/ 3284671 w 3284673"/>
                <a:gd name="connsiteY47" fmla="*/ 2181795 h 4806110"/>
                <a:gd name="connsiteX48" fmla="*/ 3284671 w 3284673"/>
                <a:gd name="connsiteY48" fmla="*/ 1918845 h 4806110"/>
                <a:gd name="connsiteX49" fmla="*/ 3284671 w 3284673"/>
                <a:gd name="connsiteY49" fmla="*/ 1053191 h 4806110"/>
                <a:gd name="connsiteX50" fmla="*/ 3284673 w 3284673"/>
                <a:gd name="connsiteY50" fmla="*/ 1053189 h 4806110"/>
                <a:gd name="connsiteX51" fmla="*/ 1642339 w 3284673"/>
                <a:gd name="connsiteY51" fmla="*/ 0 h 4806110"/>
                <a:gd name="connsiteX52" fmla="*/ 1642335 w 3284673"/>
                <a:gd name="connsiteY52" fmla="*/ 0 h 4806110"/>
                <a:gd name="connsiteX53" fmla="*/ 0 w 3284673"/>
                <a:gd name="connsiteY53" fmla="*/ 458431 h 4806110"/>
                <a:gd name="connsiteX54" fmla="*/ 1642335 w 3284673"/>
                <a:gd name="connsiteY54" fmla="*/ 916862 h 4806110"/>
                <a:gd name="connsiteX55" fmla="*/ 1642339 w 3284673"/>
                <a:gd name="connsiteY55" fmla="*/ 916862 h 4806110"/>
                <a:gd name="connsiteX56" fmla="*/ 3284673 w 3284673"/>
                <a:gd name="connsiteY56" fmla="*/ 458431 h 4806110"/>
                <a:gd name="connsiteX57" fmla="*/ 1642339 w 3284673"/>
                <a:gd name="connsiteY57" fmla="*/ 0 h 4806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3284673" h="4806110">
                  <a:moveTo>
                    <a:pt x="3284673" y="701841"/>
                  </a:moveTo>
                  <a:lnTo>
                    <a:pt x="3284671" y="701843"/>
                  </a:lnTo>
                  <a:lnTo>
                    <a:pt x="3284671" y="701841"/>
                  </a:lnTo>
                  <a:lnTo>
                    <a:pt x="3284669" y="701842"/>
                  </a:lnTo>
                  <a:lnTo>
                    <a:pt x="3284669" y="701841"/>
                  </a:lnTo>
                  <a:lnTo>
                    <a:pt x="3195823" y="779666"/>
                  </a:lnTo>
                  <a:cubicBezTo>
                    <a:pt x="3003862" y="903069"/>
                    <a:pt x="2618829" y="998859"/>
                    <a:pt x="2143690" y="1039044"/>
                  </a:cubicBezTo>
                  <a:lnTo>
                    <a:pt x="1642337" y="1059655"/>
                  </a:lnTo>
                  <a:lnTo>
                    <a:pt x="1140983" y="1039044"/>
                  </a:lnTo>
                  <a:cubicBezTo>
                    <a:pt x="903413" y="1018952"/>
                    <a:pt x="688370" y="984958"/>
                    <a:pt x="508725" y="940562"/>
                  </a:cubicBezTo>
                  <a:lnTo>
                    <a:pt x="395039" y="909279"/>
                  </a:lnTo>
                  <a:lnTo>
                    <a:pt x="380829" y="905369"/>
                  </a:lnTo>
                  <a:cubicBezTo>
                    <a:pt x="259972" y="868335"/>
                    <a:pt x="160836" y="825942"/>
                    <a:pt x="88851" y="779666"/>
                  </a:cubicBezTo>
                  <a:lnTo>
                    <a:pt x="59720" y="754150"/>
                  </a:lnTo>
                  <a:lnTo>
                    <a:pt x="4" y="701841"/>
                  </a:lnTo>
                  <a:lnTo>
                    <a:pt x="4" y="701842"/>
                  </a:lnTo>
                  <a:lnTo>
                    <a:pt x="2" y="701841"/>
                  </a:lnTo>
                  <a:lnTo>
                    <a:pt x="2" y="701843"/>
                  </a:lnTo>
                  <a:lnTo>
                    <a:pt x="0" y="701841"/>
                  </a:lnTo>
                  <a:lnTo>
                    <a:pt x="0" y="1053189"/>
                  </a:lnTo>
                  <a:lnTo>
                    <a:pt x="2" y="1053191"/>
                  </a:lnTo>
                  <a:lnTo>
                    <a:pt x="2" y="1918845"/>
                  </a:lnTo>
                  <a:lnTo>
                    <a:pt x="2" y="2181795"/>
                  </a:lnTo>
                  <a:lnTo>
                    <a:pt x="2" y="2551024"/>
                  </a:lnTo>
                  <a:lnTo>
                    <a:pt x="4" y="2551025"/>
                  </a:lnTo>
                  <a:lnTo>
                    <a:pt x="4" y="2920828"/>
                  </a:lnTo>
                  <a:lnTo>
                    <a:pt x="4" y="3146226"/>
                  </a:lnTo>
                  <a:lnTo>
                    <a:pt x="0" y="3146222"/>
                  </a:lnTo>
                  <a:lnTo>
                    <a:pt x="0" y="3169359"/>
                  </a:lnTo>
                  <a:lnTo>
                    <a:pt x="4" y="3169359"/>
                  </a:lnTo>
                  <a:lnTo>
                    <a:pt x="4" y="3398798"/>
                  </a:lnTo>
                  <a:lnTo>
                    <a:pt x="4" y="3719407"/>
                  </a:lnTo>
                  <a:lnTo>
                    <a:pt x="0" y="3719407"/>
                  </a:lnTo>
                  <a:lnTo>
                    <a:pt x="0" y="4400783"/>
                  </a:lnTo>
                  <a:cubicBezTo>
                    <a:pt x="0" y="4624721"/>
                    <a:pt x="735436" y="4806110"/>
                    <a:pt x="1642335" y="4806110"/>
                  </a:cubicBezTo>
                  <a:lnTo>
                    <a:pt x="1642339" y="4806110"/>
                  </a:lnTo>
                  <a:cubicBezTo>
                    <a:pt x="2549237" y="4806110"/>
                    <a:pt x="3284673" y="4624721"/>
                    <a:pt x="3284673" y="4400783"/>
                  </a:cubicBezTo>
                  <a:lnTo>
                    <a:pt x="3284673" y="3719407"/>
                  </a:lnTo>
                  <a:lnTo>
                    <a:pt x="3284669" y="3719407"/>
                  </a:lnTo>
                  <a:lnTo>
                    <a:pt x="3284669" y="3398798"/>
                  </a:lnTo>
                  <a:lnTo>
                    <a:pt x="3284669" y="3169359"/>
                  </a:lnTo>
                  <a:lnTo>
                    <a:pt x="3284673" y="3169359"/>
                  </a:lnTo>
                  <a:lnTo>
                    <a:pt x="3284673" y="3146222"/>
                  </a:lnTo>
                  <a:lnTo>
                    <a:pt x="3284669" y="3146226"/>
                  </a:lnTo>
                  <a:lnTo>
                    <a:pt x="3284669" y="2920828"/>
                  </a:lnTo>
                  <a:lnTo>
                    <a:pt x="3284669" y="2551025"/>
                  </a:lnTo>
                  <a:lnTo>
                    <a:pt x="3284671" y="2551024"/>
                  </a:lnTo>
                  <a:lnTo>
                    <a:pt x="3284671" y="2181795"/>
                  </a:lnTo>
                  <a:lnTo>
                    <a:pt x="3284671" y="1918845"/>
                  </a:lnTo>
                  <a:lnTo>
                    <a:pt x="3284671" y="1053191"/>
                  </a:lnTo>
                  <a:lnTo>
                    <a:pt x="3284673" y="1053189"/>
                  </a:lnTo>
                  <a:close/>
                  <a:moveTo>
                    <a:pt x="1642339" y="0"/>
                  </a:moveTo>
                  <a:lnTo>
                    <a:pt x="1642335" y="0"/>
                  </a:lnTo>
                  <a:cubicBezTo>
                    <a:pt x="735297" y="0"/>
                    <a:pt x="0" y="205248"/>
                    <a:pt x="0" y="458431"/>
                  </a:cubicBezTo>
                  <a:cubicBezTo>
                    <a:pt x="0" y="711614"/>
                    <a:pt x="735297" y="916862"/>
                    <a:pt x="1642335" y="916862"/>
                  </a:cubicBezTo>
                  <a:lnTo>
                    <a:pt x="1642339" y="916862"/>
                  </a:lnTo>
                  <a:cubicBezTo>
                    <a:pt x="2549376" y="916862"/>
                    <a:pt x="3284673" y="711614"/>
                    <a:pt x="3284673" y="458431"/>
                  </a:cubicBezTo>
                  <a:cubicBezTo>
                    <a:pt x="3284673" y="205248"/>
                    <a:pt x="2549376" y="0"/>
                    <a:pt x="1642339"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367"/>
              <a:endParaRPr lang="en-US" sz="1600">
                <a:solidFill>
                  <a:srgbClr val="FFFFFF"/>
                </a:solidFill>
              </a:endParaRPr>
            </a:p>
          </p:txBody>
        </p:sp>
        <p:sp>
          <p:nvSpPr>
            <p:cNvPr id="69" name="Freeform 68"/>
            <p:cNvSpPr/>
            <p:nvPr/>
          </p:nvSpPr>
          <p:spPr>
            <a:xfrm flipH="1">
              <a:off x="1053588" y="6026720"/>
              <a:ext cx="1040711" cy="497343"/>
            </a:xfrm>
            <a:custGeom>
              <a:avLst/>
              <a:gdLst>
                <a:gd name="connsiteX0" fmla="*/ 3284673 w 3284673"/>
                <a:gd name="connsiteY0" fmla="*/ 701841 h 4806110"/>
                <a:gd name="connsiteX1" fmla="*/ 3284671 w 3284673"/>
                <a:gd name="connsiteY1" fmla="*/ 701843 h 4806110"/>
                <a:gd name="connsiteX2" fmla="*/ 3284671 w 3284673"/>
                <a:gd name="connsiteY2" fmla="*/ 701841 h 4806110"/>
                <a:gd name="connsiteX3" fmla="*/ 3284669 w 3284673"/>
                <a:gd name="connsiteY3" fmla="*/ 701842 h 4806110"/>
                <a:gd name="connsiteX4" fmla="*/ 3284669 w 3284673"/>
                <a:gd name="connsiteY4" fmla="*/ 701841 h 4806110"/>
                <a:gd name="connsiteX5" fmla="*/ 3195823 w 3284673"/>
                <a:gd name="connsiteY5" fmla="*/ 779666 h 4806110"/>
                <a:gd name="connsiteX6" fmla="*/ 2143690 w 3284673"/>
                <a:gd name="connsiteY6" fmla="*/ 1039044 h 4806110"/>
                <a:gd name="connsiteX7" fmla="*/ 1642337 w 3284673"/>
                <a:gd name="connsiteY7" fmla="*/ 1059655 h 4806110"/>
                <a:gd name="connsiteX8" fmla="*/ 1140983 w 3284673"/>
                <a:gd name="connsiteY8" fmla="*/ 1039044 h 4806110"/>
                <a:gd name="connsiteX9" fmla="*/ 508725 w 3284673"/>
                <a:gd name="connsiteY9" fmla="*/ 940562 h 4806110"/>
                <a:gd name="connsiteX10" fmla="*/ 395039 w 3284673"/>
                <a:gd name="connsiteY10" fmla="*/ 909279 h 4806110"/>
                <a:gd name="connsiteX11" fmla="*/ 380829 w 3284673"/>
                <a:gd name="connsiteY11" fmla="*/ 905369 h 4806110"/>
                <a:gd name="connsiteX12" fmla="*/ 88851 w 3284673"/>
                <a:gd name="connsiteY12" fmla="*/ 779666 h 4806110"/>
                <a:gd name="connsiteX13" fmla="*/ 59720 w 3284673"/>
                <a:gd name="connsiteY13" fmla="*/ 754150 h 4806110"/>
                <a:gd name="connsiteX14" fmla="*/ 4 w 3284673"/>
                <a:gd name="connsiteY14" fmla="*/ 701841 h 4806110"/>
                <a:gd name="connsiteX15" fmla="*/ 4 w 3284673"/>
                <a:gd name="connsiteY15" fmla="*/ 701842 h 4806110"/>
                <a:gd name="connsiteX16" fmla="*/ 2 w 3284673"/>
                <a:gd name="connsiteY16" fmla="*/ 701841 h 4806110"/>
                <a:gd name="connsiteX17" fmla="*/ 2 w 3284673"/>
                <a:gd name="connsiteY17" fmla="*/ 701843 h 4806110"/>
                <a:gd name="connsiteX18" fmla="*/ 0 w 3284673"/>
                <a:gd name="connsiteY18" fmla="*/ 701841 h 4806110"/>
                <a:gd name="connsiteX19" fmla="*/ 0 w 3284673"/>
                <a:gd name="connsiteY19" fmla="*/ 1053189 h 4806110"/>
                <a:gd name="connsiteX20" fmla="*/ 2 w 3284673"/>
                <a:gd name="connsiteY20" fmla="*/ 1053191 h 4806110"/>
                <a:gd name="connsiteX21" fmla="*/ 2 w 3284673"/>
                <a:gd name="connsiteY21" fmla="*/ 1918845 h 4806110"/>
                <a:gd name="connsiteX22" fmla="*/ 2 w 3284673"/>
                <a:gd name="connsiteY22" fmla="*/ 2181795 h 4806110"/>
                <a:gd name="connsiteX23" fmla="*/ 2 w 3284673"/>
                <a:gd name="connsiteY23" fmla="*/ 2551024 h 4806110"/>
                <a:gd name="connsiteX24" fmla="*/ 4 w 3284673"/>
                <a:gd name="connsiteY24" fmla="*/ 2551025 h 4806110"/>
                <a:gd name="connsiteX25" fmla="*/ 4 w 3284673"/>
                <a:gd name="connsiteY25" fmla="*/ 2920828 h 4806110"/>
                <a:gd name="connsiteX26" fmla="*/ 4 w 3284673"/>
                <a:gd name="connsiteY26" fmla="*/ 3146226 h 4806110"/>
                <a:gd name="connsiteX27" fmla="*/ 0 w 3284673"/>
                <a:gd name="connsiteY27" fmla="*/ 3146222 h 4806110"/>
                <a:gd name="connsiteX28" fmla="*/ 0 w 3284673"/>
                <a:gd name="connsiteY28" fmla="*/ 3169359 h 4806110"/>
                <a:gd name="connsiteX29" fmla="*/ 4 w 3284673"/>
                <a:gd name="connsiteY29" fmla="*/ 3169359 h 4806110"/>
                <a:gd name="connsiteX30" fmla="*/ 4 w 3284673"/>
                <a:gd name="connsiteY30" fmla="*/ 3398798 h 4806110"/>
                <a:gd name="connsiteX31" fmla="*/ 4 w 3284673"/>
                <a:gd name="connsiteY31" fmla="*/ 3719407 h 4806110"/>
                <a:gd name="connsiteX32" fmla="*/ 0 w 3284673"/>
                <a:gd name="connsiteY32" fmla="*/ 3719407 h 4806110"/>
                <a:gd name="connsiteX33" fmla="*/ 0 w 3284673"/>
                <a:gd name="connsiteY33" fmla="*/ 4400783 h 4806110"/>
                <a:gd name="connsiteX34" fmla="*/ 1642335 w 3284673"/>
                <a:gd name="connsiteY34" fmla="*/ 4806110 h 4806110"/>
                <a:gd name="connsiteX35" fmla="*/ 1642339 w 3284673"/>
                <a:gd name="connsiteY35" fmla="*/ 4806110 h 4806110"/>
                <a:gd name="connsiteX36" fmla="*/ 3284673 w 3284673"/>
                <a:gd name="connsiteY36" fmla="*/ 4400783 h 4806110"/>
                <a:gd name="connsiteX37" fmla="*/ 3284673 w 3284673"/>
                <a:gd name="connsiteY37" fmla="*/ 3719407 h 4806110"/>
                <a:gd name="connsiteX38" fmla="*/ 3284669 w 3284673"/>
                <a:gd name="connsiteY38" fmla="*/ 3719407 h 4806110"/>
                <a:gd name="connsiteX39" fmla="*/ 3284669 w 3284673"/>
                <a:gd name="connsiteY39" fmla="*/ 3398798 h 4806110"/>
                <a:gd name="connsiteX40" fmla="*/ 3284669 w 3284673"/>
                <a:gd name="connsiteY40" fmla="*/ 3169359 h 4806110"/>
                <a:gd name="connsiteX41" fmla="*/ 3284673 w 3284673"/>
                <a:gd name="connsiteY41" fmla="*/ 3169359 h 4806110"/>
                <a:gd name="connsiteX42" fmla="*/ 3284673 w 3284673"/>
                <a:gd name="connsiteY42" fmla="*/ 3146222 h 4806110"/>
                <a:gd name="connsiteX43" fmla="*/ 3284669 w 3284673"/>
                <a:gd name="connsiteY43" fmla="*/ 3146226 h 4806110"/>
                <a:gd name="connsiteX44" fmla="*/ 3284669 w 3284673"/>
                <a:gd name="connsiteY44" fmla="*/ 2920828 h 4806110"/>
                <a:gd name="connsiteX45" fmla="*/ 3284669 w 3284673"/>
                <a:gd name="connsiteY45" fmla="*/ 2551025 h 4806110"/>
                <a:gd name="connsiteX46" fmla="*/ 3284671 w 3284673"/>
                <a:gd name="connsiteY46" fmla="*/ 2551024 h 4806110"/>
                <a:gd name="connsiteX47" fmla="*/ 3284671 w 3284673"/>
                <a:gd name="connsiteY47" fmla="*/ 2181795 h 4806110"/>
                <a:gd name="connsiteX48" fmla="*/ 3284671 w 3284673"/>
                <a:gd name="connsiteY48" fmla="*/ 1918845 h 4806110"/>
                <a:gd name="connsiteX49" fmla="*/ 3284671 w 3284673"/>
                <a:gd name="connsiteY49" fmla="*/ 1053191 h 4806110"/>
                <a:gd name="connsiteX50" fmla="*/ 3284673 w 3284673"/>
                <a:gd name="connsiteY50" fmla="*/ 1053189 h 4806110"/>
                <a:gd name="connsiteX51" fmla="*/ 1642339 w 3284673"/>
                <a:gd name="connsiteY51" fmla="*/ 0 h 4806110"/>
                <a:gd name="connsiteX52" fmla="*/ 1642335 w 3284673"/>
                <a:gd name="connsiteY52" fmla="*/ 0 h 4806110"/>
                <a:gd name="connsiteX53" fmla="*/ 0 w 3284673"/>
                <a:gd name="connsiteY53" fmla="*/ 458431 h 4806110"/>
                <a:gd name="connsiteX54" fmla="*/ 1642335 w 3284673"/>
                <a:gd name="connsiteY54" fmla="*/ 916862 h 4806110"/>
                <a:gd name="connsiteX55" fmla="*/ 1642339 w 3284673"/>
                <a:gd name="connsiteY55" fmla="*/ 916862 h 4806110"/>
                <a:gd name="connsiteX56" fmla="*/ 3284673 w 3284673"/>
                <a:gd name="connsiteY56" fmla="*/ 458431 h 4806110"/>
                <a:gd name="connsiteX57" fmla="*/ 1642339 w 3284673"/>
                <a:gd name="connsiteY57" fmla="*/ 0 h 4806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3284673" h="4806110">
                  <a:moveTo>
                    <a:pt x="3284673" y="701841"/>
                  </a:moveTo>
                  <a:lnTo>
                    <a:pt x="3284671" y="701843"/>
                  </a:lnTo>
                  <a:lnTo>
                    <a:pt x="3284671" y="701841"/>
                  </a:lnTo>
                  <a:lnTo>
                    <a:pt x="3284669" y="701842"/>
                  </a:lnTo>
                  <a:lnTo>
                    <a:pt x="3284669" y="701841"/>
                  </a:lnTo>
                  <a:lnTo>
                    <a:pt x="3195823" y="779666"/>
                  </a:lnTo>
                  <a:cubicBezTo>
                    <a:pt x="3003862" y="903069"/>
                    <a:pt x="2618829" y="998859"/>
                    <a:pt x="2143690" y="1039044"/>
                  </a:cubicBezTo>
                  <a:lnTo>
                    <a:pt x="1642337" y="1059655"/>
                  </a:lnTo>
                  <a:lnTo>
                    <a:pt x="1140983" y="1039044"/>
                  </a:lnTo>
                  <a:cubicBezTo>
                    <a:pt x="903413" y="1018952"/>
                    <a:pt x="688370" y="984958"/>
                    <a:pt x="508725" y="940562"/>
                  </a:cubicBezTo>
                  <a:lnTo>
                    <a:pt x="395039" y="909279"/>
                  </a:lnTo>
                  <a:lnTo>
                    <a:pt x="380829" y="905369"/>
                  </a:lnTo>
                  <a:cubicBezTo>
                    <a:pt x="259972" y="868335"/>
                    <a:pt x="160836" y="825942"/>
                    <a:pt x="88851" y="779666"/>
                  </a:cubicBezTo>
                  <a:lnTo>
                    <a:pt x="59720" y="754150"/>
                  </a:lnTo>
                  <a:lnTo>
                    <a:pt x="4" y="701841"/>
                  </a:lnTo>
                  <a:lnTo>
                    <a:pt x="4" y="701842"/>
                  </a:lnTo>
                  <a:lnTo>
                    <a:pt x="2" y="701841"/>
                  </a:lnTo>
                  <a:lnTo>
                    <a:pt x="2" y="701843"/>
                  </a:lnTo>
                  <a:lnTo>
                    <a:pt x="0" y="701841"/>
                  </a:lnTo>
                  <a:lnTo>
                    <a:pt x="0" y="1053189"/>
                  </a:lnTo>
                  <a:lnTo>
                    <a:pt x="2" y="1053191"/>
                  </a:lnTo>
                  <a:lnTo>
                    <a:pt x="2" y="1918845"/>
                  </a:lnTo>
                  <a:lnTo>
                    <a:pt x="2" y="2181795"/>
                  </a:lnTo>
                  <a:lnTo>
                    <a:pt x="2" y="2551024"/>
                  </a:lnTo>
                  <a:lnTo>
                    <a:pt x="4" y="2551025"/>
                  </a:lnTo>
                  <a:lnTo>
                    <a:pt x="4" y="2920828"/>
                  </a:lnTo>
                  <a:lnTo>
                    <a:pt x="4" y="3146226"/>
                  </a:lnTo>
                  <a:lnTo>
                    <a:pt x="0" y="3146222"/>
                  </a:lnTo>
                  <a:lnTo>
                    <a:pt x="0" y="3169359"/>
                  </a:lnTo>
                  <a:lnTo>
                    <a:pt x="4" y="3169359"/>
                  </a:lnTo>
                  <a:lnTo>
                    <a:pt x="4" y="3398798"/>
                  </a:lnTo>
                  <a:lnTo>
                    <a:pt x="4" y="3719407"/>
                  </a:lnTo>
                  <a:lnTo>
                    <a:pt x="0" y="3719407"/>
                  </a:lnTo>
                  <a:lnTo>
                    <a:pt x="0" y="4400783"/>
                  </a:lnTo>
                  <a:cubicBezTo>
                    <a:pt x="0" y="4624721"/>
                    <a:pt x="735436" y="4806110"/>
                    <a:pt x="1642335" y="4806110"/>
                  </a:cubicBezTo>
                  <a:lnTo>
                    <a:pt x="1642339" y="4806110"/>
                  </a:lnTo>
                  <a:cubicBezTo>
                    <a:pt x="2549237" y="4806110"/>
                    <a:pt x="3284673" y="4624721"/>
                    <a:pt x="3284673" y="4400783"/>
                  </a:cubicBezTo>
                  <a:lnTo>
                    <a:pt x="3284673" y="3719407"/>
                  </a:lnTo>
                  <a:lnTo>
                    <a:pt x="3284669" y="3719407"/>
                  </a:lnTo>
                  <a:lnTo>
                    <a:pt x="3284669" y="3398798"/>
                  </a:lnTo>
                  <a:lnTo>
                    <a:pt x="3284669" y="3169359"/>
                  </a:lnTo>
                  <a:lnTo>
                    <a:pt x="3284673" y="3169359"/>
                  </a:lnTo>
                  <a:lnTo>
                    <a:pt x="3284673" y="3146222"/>
                  </a:lnTo>
                  <a:lnTo>
                    <a:pt x="3284669" y="3146226"/>
                  </a:lnTo>
                  <a:lnTo>
                    <a:pt x="3284669" y="2920828"/>
                  </a:lnTo>
                  <a:lnTo>
                    <a:pt x="3284669" y="2551025"/>
                  </a:lnTo>
                  <a:lnTo>
                    <a:pt x="3284671" y="2551024"/>
                  </a:lnTo>
                  <a:lnTo>
                    <a:pt x="3284671" y="2181795"/>
                  </a:lnTo>
                  <a:lnTo>
                    <a:pt x="3284671" y="1918845"/>
                  </a:lnTo>
                  <a:lnTo>
                    <a:pt x="3284671" y="1053191"/>
                  </a:lnTo>
                  <a:lnTo>
                    <a:pt x="3284673" y="1053189"/>
                  </a:lnTo>
                  <a:close/>
                  <a:moveTo>
                    <a:pt x="1642339" y="0"/>
                  </a:moveTo>
                  <a:lnTo>
                    <a:pt x="1642335" y="0"/>
                  </a:lnTo>
                  <a:cubicBezTo>
                    <a:pt x="735297" y="0"/>
                    <a:pt x="0" y="205248"/>
                    <a:pt x="0" y="458431"/>
                  </a:cubicBezTo>
                  <a:cubicBezTo>
                    <a:pt x="0" y="711614"/>
                    <a:pt x="735297" y="916862"/>
                    <a:pt x="1642335" y="916862"/>
                  </a:cubicBezTo>
                  <a:lnTo>
                    <a:pt x="1642339" y="916862"/>
                  </a:lnTo>
                  <a:cubicBezTo>
                    <a:pt x="2549376" y="916862"/>
                    <a:pt x="3284673" y="711614"/>
                    <a:pt x="3284673" y="458431"/>
                  </a:cubicBezTo>
                  <a:cubicBezTo>
                    <a:pt x="3284673" y="205248"/>
                    <a:pt x="2549376" y="0"/>
                    <a:pt x="1642339"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367"/>
              <a:endParaRPr lang="en-US" sz="1600">
                <a:solidFill>
                  <a:srgbClr val="FFFFFF"/>
                </a:solidFill>
              </a:endParaRPr>
            </a:p>
          </p:txBody>
        </p:sp>
        <p:sp>
          <p:nvSpPr>
            <p:cNvPr id="70" name="Freeform 69"/>
            <p:cNvSpPr/>
            <p:nvPr/>
          </p:nvSpPr>
          <p:spPr>
            <a:xfrm flipH="1">
              <a:off x="7193764" y="6026720"/>
              <a:ext cx="1040711" cy="497343"/>
            </a:xfrm>
            <a:custGeom>
              <a:avLst/>
              <a:gdLst>
                <a:gd name="connsiteX0" fmla="*/ 3284673 w 3284673"/>
                <a:gd name="connsiteY0" fmla="*/ 701841 h 4806110"/>
                <a:gd name="connsiteX1" fmla="*/ 3284671 w 3284673"/>
                <a:gd name="connsiteY1" fmla="*/ 701843 h 4806110"/>
                <a:gd name="connsiteX2" fmla="*/ 3284671 w 3284673"/>
                <a:gd name="connsiteY2" fmla="*/ 701841 h 4806110"/>
                <a:gd name="connsiteX3" fmla="*/ 3284669 w 3284673"/>
                <a:gd name="connsiteY3" fmla="*/ 701842 h 4806110"/>
                <a:gd name="connsiteX4" fmla="*/ 3284669 w 3284673"/>
                <a:gd name="connsiteY4" fmla="*/ 701841 h 4806110"/>
                <a:gd name="connsiteX5" fmla="*/ 3195823 w 3284673"/>
                <a:gd name="connsiteY5" fmla="*/ 779666 h 4806110"/>
                <a:gd name="connsiteX6" fmla="*/ 2143690 w 3284673"/>
                <a:gd name="connsiteY6" fmla="*/ 1039044 h 4806110"/>
                <a:gd name="connsiteX7" fmla="*/ 1642337 w 3284673"/>
                <a:gd name="connsiteY7" fmla="*/ 1059655 h 4806110"/>
                <a:gd name="connsiteX8" fmla="*/ 1140983 w 3284673"/>
                <a:gd name="connsiteY8" fmla="*/ 1039044 h 4806110"/>
                <a:gd name="connsiteX9" fmla="*/ 508725 w 3284673"/>
                <a:gd name="connsiteY9" fmla="*/ 940562 h 4806110"/>
                <a:gd name="connsiteX10" fmla="*/ 395039 w 3284673"/>
                <a:gd name="connsiteY10" fmla="*/ 909279 h 4806110"/>
                <a:gd name="connsiteX11" fmla="*/ 380829 w 3284673"/>
                <a:gd name="connsiteY11" fmla="*/ 905369 h 4806110"/>
                <a:gd name="connsiteX12" fmla="*/ 88851 w 3284673"/>
                <a:gd name="connsiteY12" fmla="*/ 779666 h 4806110"/>
                <a:gd name="connsiteX13" fmla="*/ 59720 w 3284673"/>
                <a:gd name="connsiteY13" fmla="*/ 754150 h 4806110"/>
                <a:gd name="connsiteX14" fmla="*/ 4 w 3284673"/>
                <a:gd name="connsiteY14" fmla="*/ 701841 h 4806110"/>
                <a:gd name="connsiteX15" fmla="*/ 4 w 3284673"/>
                <a:gd name="connsiteY15" fmla="*/ 701842 h 4806110"/>
                <a:gd name="connsiteX16" fmla="*/ 2 w 3284673"/>
                <a:gd name="connsiteY16" fmla="*/ 701841 h 4806110"/>
                <a:gd name="connsiteX17" fmla="*/ 2 w 3284673"/>
                <a:gd name="connsiteY17" fmla="*/ 701843 h 4806110"/>
                <a:gd name="connsiteX18" fmla="*/ 0 w 3284673"/>
                <a:gd name="connsiteY18" fmla="*/ 701841 h 4806110"/>
                <a:gd name="connsiteX19" fmla="*/ 0 w 3284673"/>
                <a:gd name="connsiteY19" fmla="*/ 1053189 h 4806110"/>
                <a:gd name="connsiteX20" fmla="*/ 2 w 3284673"/>
                <a:gd name="connsiteY20" fmla="*/ 1053191 h 4806110"/>
                <a:gd name="connsiteX21" fmla="*/ 2 w 3284673"/>
                <a:gd name="connsiteY21" fmla="*/ 1918845 h 4806110"/>
                <a:gd name="connsiteX22" fmla="*/ 2 w 3284673"/>
                <a:gd name="connsiteY22" fmla="*/ 2181795 h 4806110"/>
                <a:gd name="connsiteX23" fmla="*/ 2 w 3284673"/>
                <a:gd name="connsiteY23" fmla="*/ 2551024 h 4806110"/>
                <a:gd name="connsiteX24" fmla="*/ 4 w 3284673"/>
                <a:gd name="connsiteY24" fmla="*/ 2551025 h 4806110"/>
                <a:gd name="connsiteX25" fmla="*/ 4 w 3284673"/>
                <a:gd name="connsiteY25" fmla="*/ 2920828 h 4806110"/>
                <a:gd name="connsiteX26" fmla="*/ 4 w 3284673"/>
                <a:gd name="connsiteY26" fmla="*/ 3146226 h 4806110"/>
                <a:gd name="connsiteX27" fmla="*/ 0 w 3284673"/>
                <a:gd name="connsiteY27" fmla="*/ 3146222 h 4806110"/>
                <a:gd name="connsiteX28" fmla="*/ 0 w 3284673"/>
                <a:gd name="connsiteY28" fmla="*/ 3169359 h 4806110"/>
                <a:gd name="connsiteX29" fmla="*/ 4 w 3284673"/>
                <a:gd name="connsiteY29" fmla="*/ 3169359 h 4806110"/>
                <a:gd name="connsiteX30" fmla="*/ 4 w 3284673"/>
                <a:gd name="connsiteY30" fmla="*/ 3398798 h 4806110"/>
                <a:gd name="connsiteX31" fmla="*/ 4 w 3284673"/>
                <a:gd name="connsiteY31" fmla="*/ 3719407 h 4806110"/>
                <a:gd name="connsiteX32" fmla="*/ 0 w 3284673"/>
                <a:gd name="connsiteY32" fmla="*/ 3719407 h 4806110"/>
                <a:gd name="connsiteX33" fmla="*/ 0 w 3284673"/>
                <a:gd name="connsiteY33" fmla="*/ 4400783 h 4806110"/>
                <a:gd name="connsiteX34" fmla="*/ 1642335 w 3284673"/>
                <a:gd name="connsiteY34" fmla="*/ 4806110 h 4806110"/>
                <a:gd name="connsiteX35" fmla="*/ 1642339 w 3284673"/>
                <a:gd name="connsiteY35" fmla="*/ 4806110 h 4806110"/>
                <a:gd name="connsiteX36" fmla="*/ 3284673 w 3284673"/>
                <a:gd name="connsiteY36" fmla="*/ 4400783 h 4806110"/>
                <a:gd name="connsiteX37" fmla="*/ 3284673 w 3284673"/>
                <a:gd name="connsiteY37" fmla="*/ 3719407 h 4806110"/>
                <a:gd name="connsiteX38" fmla="*/ 3284669 w 3284673"/>
                <a:gd name="connsiteY38" fmla="*/ 3719407 h 4806110"/>
                <a:gd name="connsiteX39" fmla="*/ 3284669 w 3284673"/>
                <a:gd name="connsiteY39" fmla="*/ 3398798 h 4806110"/>
                <a:gd name="connsiteX40" fmla="*/ 3284669 w 3284673"/>
                <a:gd name="connsiteY40" fmla="*/ 3169359 h 4806110"/>
                <a:gd name="connsiteX41" fmla="*/ 3284673 w 3284673"/>
                <a:gd name="connsiteY41" fmla="*/ 3169359 h 4806110"/>
                <a:gd name="connsiteX42" fmla="*/ 3284673 w 3284673"/>
                <a:gd name="connsiteY42" fmla="*/ 3146222 h 4806110"/>
                <a:gd name="connsiteX43" fmla="*/ 3284669 w 3284673"/>
                <a:gd name="connsiteY43" fmla="*/ 3146226 h 4806110"/>
                <a:gd name="connsiteX44" fmla="*/ 3284669 w 3284673"/>
                <a:gd name="connsiteY44" fmla="*/ 2920828 h 4806110"/>
                <a:gd name="connsiteX45" fmla="*/ 3284669 w 3284673"/>
                <a:gd name="connsiteY45" fmla="*/ 2551025 h 4806110"/>
                <a:gd name="connsiteX46" fmla="*/ 3284671 w 3284673"/>
                <a:gd name="connsiteY46" fmla="*/ 2551024 h 4806110"/>
                <a:gd name="connsiteX47" fmla="*/ 3284671 w 3284673"/>
                <a:gd name="connsiteY47" fmla="*/ 2181795 h 4806110"/>
                <a:gd name="connsiteX48" fmla="*/ 3284671 w 3284673"/>
                <a:gd name="connsiteY48" fmla="*/ 1918845 h 4806110"/>
                <a:gd name="connsiteX49" fmla="*/ 3284671 w 3284673"/>
                <a:gd name="connsiteY49" fmla="*/ 1053191 h 4806110"/>
                <a:gd name="connsiteX50" fmla="*/ 3284673 w 3284673"/>
                <a:gd name="connsiteY50" fmla="*/ 1053189 h 4806110"/>
                <a:gd name="connsiteX51" fmla="*/ 1642339 w 3284673"/>
                <a:gd name="connsiteY51" fmla="*/ 0 h 4806110"/>
                <a:gd name="connsiteX52" fmla="*/ 1642335 w 3284673"/>
                <a:gd name="connsiteY52" fmla="*/ 0 h 4806110"/>
                <a:gd name="connsiteX53" fmla="*/ 0 w 3284673"/>
                <a:gd name="connsiteY53" fmla="*/ 458431 h 4806110"/>
                <a:gd name="connsiteX54" fmla="*/ 1642335 w 3284673"/>
                <a:gd name="connsiteY54" fmla="*/ 916862 h 4806110"/>
                <a:gd name="connsiteX55" fmla="*/ 1642339 w 3284673"/>
                <a:gd name="connsiteY55" fmla="*/ 916862 h 4806110"/>
                <a:gd name="connsiteX56" fmla="*/ 3284673 w 3284673"/>
                <a:gd name="connsiteY56" fmla="*/ 458431 h 4806110"/>
                <a:gd name="connsiteX57" fmla="*/ 1642339 w 3284673"/>
                <a:gd name="connsiteY57" fmla="*/ 0 h 4806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3284673" h="4806110">
                  <a:moveTo>
                    <a:pt x="3284673" y="701841"/>
                  </a:moveTo>
                  <a:lnTo>
                    <a:pt x="3284671" y="701843"/>
                  </a:lnTo>
                  <a:lnTo>
                    <a:pt x="3284671" y="701841"/>
                  </a:lnTo>
                  <a:lnTo>
                    <a:pt x="3284669" y="701842"/>
                  </a:lnTo>
                  <a:lnTo>
                    <a:pt x="3284669" y="701841"/>
                  </a:lnTo>
                  <a:lnTo>
                    <a:pt x="3195823" y="779666"/>
                  </a:lnTo>
                  <a:cubicBezTo>
                    <a:pt x="3003862" y="903069"/>
                    <a:pt x="2618829" y="998859"/>
                    <a:pt x="2143690" y="1039044"/>
                  </a:cubicBezTo>
                  <a:lnTo>
                    <a:pt x="1642337" y="1059655"/>
                  </a:lnTo>
                  <a:lnTo>
                    <a:pt x="1140983" y="1039044"/>
                  </a:lnTo>
                  <a:cubicBezTo>
                    <a:pt x="903413" y="1018952"/>
                    <a:pt x="688370" y="984958"/>
                    <a:pt x="508725" y="940562"/>
                  </a:cubicBezTo>
                  <a:lnTo>
                    <a:pt x="395039" y="909279"/>
                  </a:lnTo>
                  <a:lnTo>
                    <a:pt x="380829" y="905369"/>
                  </a:lnTo>
                  <a:cubicBezTo>
                    <a:pt x="259972" y="868335"/>
                    <a:pt x="160836" y="825942"/>
                    <a:pt x="88851" y="779666"/>
                  </a:cubicBezTo>
                  <a:lnTo>
                    <a:pt x="59720" y="754150"/>
                  </a:lnTo>
                  <a:lnTo>
                    <a:pt x="4" y="701841"/>
                  </a:lnTo>
                  <a:lnTo>
                    <a:pt x="4" y="701842"/>
                  </a:lnTo>
                  <a:lnTo>
                    <a:pt x="2" y="701841"/>
                  </a:lnTo>
                  <a:lnTo>
                    <a:pt x="2" y="701843"/>
                  </a:lnTo>
                  <a:lnTo>
                    <a:pt x="0" y="701841"/>
                  </a:lnTo>
                  <a:lnTo>
                    <a:pt x="0" y="1053189"/>
                  </a:lnTo>
                  <a:lnTo>
                    <a:pt x="2" y="1053191"/>
                  </a:lnTo>
                  <a:lnTo>
                    <a:pt x="2" y="1918845"/>
                  </a:lnTo>
                  <a:lnTo>
                    <a:pt x="2" y="2181795"/>
                  </a:lnTo>
                  <a:lnTo>
                    <a:pt x="2" y="2551024"/>
                  </a:lnTo>
                  <a:lnTo>
                    <a:pt x="4" y="2551025"/>
                  </a:lnTo>
                  <a:lnTo>
                    <a:pt x="4" y="2920828"/>
                  </a:lnTo>
                  <a:lnTo>
                    <a:pt x="4" y="3146226"/>
                  </a:lnTo>
                  <a:lnTo>
                    <a:pt x="0" y="3146222"/>
                  </a:lnTo>
                  <a:lnTo>
                    <a:pt x="0" y="3169359"/>
                  </a:lnTo>
                  <a:lnTo>
                    <a:pt x="4" y="3169359"/>
                  </a:lnTo>
                  <a:lnTo>
                    <a:pt x="4" y="3398798"/>
                  </a:lnTo>
                  <a:lnTo>
                    <a:pt x="4" y="3719407"/>
                  </a:lnTo>
                  <a:lnTo>
                    <a:pt x="0" y="3719407"/>
                  </a:lnTo>
                  <a:lnTo>
                    <a:pt x="0" y="4400783"/>
                  </a:lnTo>
                  <a:cubicBezTo>
                    <a:pt x="0" y="4624721"/>
                    <a:pt x="735436" y="4806110"/>
                    <a:pt x="1642335" y="4806110"/>
                  </a:cubicBezTo>
                  <a:lnTo>
                    <a:pt x="1642339" y="4806110"/>
                  </a:lnTo>
                  <a:cubicBezTo>
                    <a:pt x="2549237" y="4806110"/>
                    <a:pt x="3284673" y="4624721"/>
                    <a:pt x="3284673" y="4400783"/>
                  </a:cubicBezTo>
                  <a:lnTo>
                    <a:pt x="3284673" y="3719407"/>
                  </a:lnTo>
                  <a:lnTo>
                    <a:pt x="3284669" y="3719407"/>
                  </a:lnTo>
                  <a:lnTo>
                    <a:pt x="3284669" y="3398798"/>
                  </a:lnTo>
                  <a:lnTo>
                    <a:pt x="3284669" y="3169359"/>
                  </a:lnTo>
                  <a:lnTo>
                    <a:pt x="3284673" y="3169359"/>
                  </a:lnTo>
                  <a:lnTo>
                    <a:pt x="3284673" y="3146222"/>
                  </a:lnTo>
                  <a:lnTo>
                    <a:pt x="3284669" y="3146226"/>
                  </a:lnTo>
                  <a:lnTo>
                    <a:pt x="3284669" y="2920828"/>
                  </a:lnTo>
                  <a:lnTo>
                    <a:pt x="3284669" y="2551025"/>
                  </a:lnTo>
                  <a:lnTo>
                    <a:pt x="3284671" y="2551024"/>
                  </a:lnTo>
                  <a:lnTo>
                    <a:pt x="3284671" y="2181795"/>
                  </a:lnTo>
                  <a:lnTo>
                    <a:pt x="3284671" y="1918845"/>
                  </a:lnTo>
                  <a:lnTo>
                    <a:pt x="3284671" y="1053191"/>
                  </a:lnTo>
                  <a:lnTo>
                    <a:pt x="3284673" y="1053189"/>
                  </a:lnTo>
                  <a:close/>
                  <a:moveTo>
                    <a:pt x="1642339" y="0"/>
                  </a:moveTo>
                  <a:lnTo>
                    <a:pt x="1642335" y="0"/>
                  </a:lnTo>
                  <a:cubicBezTo>
                    <a:pt x="735297" y="0"/>
                    <a:pt x="0" y="205248"/>
                    <a:pt x="0" y="458431"/>
                  </a:cubicBezTo>
                  <a:cubicBezTo>
                    <a:pt x="0" y="711614"/>
                    <a:pt x="735297" y="916862"/>
                    <a:pt x="1642335" y="916862"/>
                  </a:cubicBezTo>
                  <a:lnTo>
                    <a:pt x="1642339" y="916862"/>
                  </a:lnTo>
                  <a:cubicBezTo>
                    <a:pt x="2549376" y="916862"/>
                    <a:pt x="3284673" y="711614"/>
                    <a:pt x="3284673" y="458431"/>
                  </a:cubicBezTo>
                  <a:cubicBezTo>
                    <a:pt x="3284673" y="205248"/>
                    <a:pt x="2549376" y="0"/>
                    <a:pt x="1642339"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367"/>
              <a:endParaRPr lang="en-US" sz="1600">
                <a:solidFill>
                  <a:srgbClr val="FFFFFF"/>
                </a:solidFill>
              </a:endParaRPr>
            </a:p>
          </p:txBody>
        </p:sp>
        <p:sp>
          <p:nvSpPr>
            <p:cNvPr id="71" name="Freeform 70"/>
            <p:cNvSpPr/>
            <p:nvPr/>
          </p:nvSpPr>
          <p:spPr>
            <a:xfrm flipH="1">
              <a:off x="10077093" y="6026720"/>
              <a:ext cx="1040711" cy="497343"/>
            </a:xfrm>
            <a:custGeom>
              <a:avLst/>
              <a:gdLst>
                <a:gd name="connsiteX0" fmla="*/ 3284673 w 3284673"/>
                <a:gd name="connsiteY0" fmla="*/ 701841 h 4806110"/>
                <a:gd name="connsiteX1" fmla="*/ 3284671 w 3284673"/>
                <a:gd name="connsiteY1" fmla="*/ 701843 h 4806110"/>
                <a:gd name="connsiteX2" fmla="*/ 3284671 w 3284673"/>
                <a:gd name="connsiteY2" fmla="*/ 701841 h 4806110"/>
                <a:gd name="connsiteX3" fmla="*/ 3284669 w 3284673"/>
                <a:gd name="connsiteY3" fmla="*/ 701842 h 4806110"/>
                <a:gd name="connsiteX4" fmla="*/ 3284669 w 3284673"/>
                <a:gd name="connsiteY4" fmla="*/ 701841 h 4806110"/>
                <a:gd name="connsiteX5" fmla="*/ 3195823 w 3284673"/>
                <a:gd name="connsiteY5" fmla="*/ 779666 h 4806110"/>
                <a:gd name="connsiteX6" fmla="*/ 2143690 w 3284673"/>
                <a:gd name="connsiteY6" fmla="*/ 1039044 h 4806110"/>
                <a:gd name="connsiteX7" fmla="*/ 1642337 w 3284673"/>
                <a:gd name="connsiteY7" fmla="*/ 1059655 h 4806110"/>
                <a:gd name="connsiteX8" fmla="*/ 1140983 w 3284673"/>
                <a:gd name="connsiteY8" fmla="*/ 1039044 h 4806110"/>
                <a:gd name="connsiteX9" fmla="*/ 508725 w 3284673"/>
                <a:gd name="connsiteY9" fmla="*/ 940562 h 4806110"/>
                <a:gd name="connsiteX10" fmla="*/ 395039 w 3284673"/>
                <a:gd name="connsiteY10" fmla="*/ 909279 h 4806110"/>
                <a:gd name="connsiteX11" fmla="*/ 380829 w 3284673"/>
                <a:gd name="connsiteY11" fmla="*/ 905369 h 4806110"/>
                <a:gd name="connsiteX12" fmla="*/ 88851 w 3284673"/>
                <a:gd name="connsiteY12" fmla="*/ 779666 h 4806110"/>
                <a:gd name="connsiteX13" fmla="*/ 59720 w 3284673"/>
                <a:gd name="connsiteY13" fmla="*/ 754150 h 4806110"/>
                <a:gd name="connsiteX14" fmla="*/ 4 w 3284673"/>
                <a:gd name="connsiteY14" fmla="*/ 701841 h 4806110"/>
                <a:gd name="connsiteX15" fmla="*/ 4 w 3284673"/>
                <a:gd name="connsiteY15" fmla="*/ 701842 h 4806110"/>
                <a:gd name="connsiteX16" fmla="*/ 2 w 3284673"/>
                <a:gd name="connsiteY16" fmla="*/ 701841 h 4806110"/>
                <a:gd name="connsiteX17" fmla="*/ 2 w 3284673"/>
                <a:gd name="connsiteY17" fmla="*/ 701843 h 4806110"/>
                <a:gd name="connsiteX18" fmla="*/ 0 w 3284673"/>
                <a:gd name="connsiteY18" fmla="*/ 701841 h 4806110"/>
                <a:gd name="connsiteX19" fmla="*/ 0 w 3284673"/>
                <a:gd name="connsiteY19" fmla="*/ 1053189 h 4806110"/>
                <a:gd name="connsiteX20" fmla="*/ 2 w 3284673"/>
                <a:gd name="connsiteY20" fmla="*/ 1053191 h 4806110"/>
                <a:gd name="connsiteX21" fmla="*/ 2 w 3284673"/>
                <a:gd name="connsiteY21" fmla="*/ 1918845 h 4806110"/>
                <a:gd name="connsiteX22" fmla="*/ 2 w 3284673"/>
                <a:gd name="connsiteY22" fmla="*/ 2181795 h 4806110"/>
                <a:gd name="connsiteX23" fmla="*/ 2 w 3284673"/>
                <a:gd name="connsiteY23" fmla="*/ 2551024 h 4806110"/>
                <a:gd name="connsiteX24" fmla="*/ 4 w 3284673"/>
                <a:gd name="connsiteY24" fmla="*/ 2551025 h 4806110"/>
                <a:gd name="connsiteX25" fmla="*/ 4 w 3284673"/>
                <a:gd name="connsiteY25" fmla="*/ 2920828 h 4806110"/>
                <a:gd name="connsiteX26" fmla="*/ 4 w 3284673"/>
                <a:gd name="connsiteY26" fmla="*/ 3146226 h 4806110"/>
                <a:gd name="connsiteX27" fmla="*/ 0 w 3284673"/>
                <a:gd name="connsiteY27" fmla="*/ 3146222 h 4806110"/>
                <a:gd name="connsiteX28" fmla="*/ 0 w 3284673"/>
                <a:gd name="connsiteY28" fmla="*/ 3169359 h 4806110"/>
                <a:gd name="connsiteX29" fmla="*/ 4 w 3284673"/>
                <a:gd name="connsiteY29" fmla="*/ 3169359 h 4806110"/>
                <a:gd name="connsiteX30" fmla="*/ 4 w 3284673"/>
                <a:gd name="connsiteY30" fmla="*/ 3398798 h 4806110"/>
                <a:gd name="connsiteX31" fmla="*/ 4 w 3284673"/>
                <a:gd name="connsiteY31" fmla="*/ 3719407 h 4806110"/>
                <a:gd name="connsiteX32" fmla="*/ 0 w 3284673"/>
                <a:gd name="connsiteY32" fmla="*/ 3719407 h 4806110"/>
                <a:gd name="connsiteX33" fmla="*/ 0 w 3284673"/>
                <a:gd name="connsiteY33" fmla="*/ 4400783 h 4806110"/>
                <a:gd name="connsiteX34" fmla="*/ 1642335 w 3284673"/>
                <a:gd name="connsiteY34" fmla="*/ 4806110 h 4806110"/>
                <a:gd name="connsiteX35" fmla="*/ 1642339 w 3284673"/>
                <a:gd name="connsiteY35" fmla="*/ 4806110 h 4806110"/>
                <a:gd name="connsiteX36" fmla="*/ 3284673 w 3284673"/>
                <a:gd name="connsiteY36" fmla="*/ 4400783 h 4806110"/>
                <a:gd name="connsiteX37" fmla="*/ 3284673 w 3284673"/>
                <a:gd name="connsiteY37" fmla="*/ 3719407 h 4806110"/>
                <a:gd name="connsiteX38" fmla="*/ 3284669 w 3284673"/>
                <a:gd name="connsiteY38" fmla="*/ 3719407 h 4806110"/>
                <a:gd name="connsiteX39" fmla="*/ 3284669 w 3284673"/>
                <a:gd name="connsiteY39" fmla="*/ 3398798 h 4806110"/>
                <a:gd name="connsiteX40" fmla="*/ 3284669 w 3284673"/>
                <a:gd name="connsiteY40" fmla="*/ 3169359 h 4806110"/>
                <a:gd name="connsiteX41" fmla="*/ 3284673 w 3284673"/>
                <a:gd name="connsiteY41" fmla="*/ 3169359 h 4806110"/>
                <a:gd name="connsiteX42" fmla="*/ 3284673 w 3284673"/>
                <a:gd name="connsiteY42" fmla="*/ 3146222 h 4806110"/>
                <a:gd name="connsiteX43" fmla="*/ 3284669 w 3284673"/>
                <a:gd name="connsiteY43" fmla="*/ 3146226 h 4806110"/>
                <a:gd name="connsiteX44" fmla="*/ 3284669 w 3284673"/>
                <a:gd name="connsiteY44" fmla="*/ 2920828 h 4806110"/>
                <a:gd name="connsiteX45" fmla="*/ 3284669 w 3284673"/>
                <a:gd name="connsiteY45" fmla="*/ 2551025 h 4806110"/>
                <a:gd name="connsiteX46" fmla="*/ 3284671 w 3284673"/>
                <a:gd name="connsiteY46" fmla="*/ 2551024 h 4806110"/>
                <a:gd name="connsiteX47" fmla="*/ 3284671 w 3284673"/>
                <a:gd name="connsiteY47" fmla="*/ 2181795 h 4806110"/>
                <a:gd name="connsiteX48" fmla="*/ 3284671 w 3284673"/>
                <a:gd name="connsiteY48" fmla="*/ 1918845 h 4806110"/>
                <a:gd name="connsiteX49" fmla="*/ 3284671 w 3284673"/>
                <a:gd name="connsiteY49" fmla="*/ 1053191 h 4806110"/>
                <a:gd name="connsiteX50" fmla="*/ 3284673 w 3284673"/>
                <a:gd name="connsiteY50" fmla="*/ 1053189 h 4806110"/>
                <a:gd name="connsiteX51" fmla="*/ 1642339 w 3284673"/>
                <a:gd name="connsiteY51" fmla="*/ 0 h 4806110"/>
                <a:gd name="connsiteX52" fmla="*/ 1642335 w 3284673"/>
                <a:gd name="connsiteY52" fmla="*/ 0 h 4806110"/>
                <a:gd name="connsiteX53" fmla="*/ 0 w 3284673"/>
                <a:gd name="connsiteY53" fmla="*/ 458431 h 4806110"/>
                <a:gd name="connsiteX54" fmla="*/ 1642335 w 3284673"/>
                <a:gd name="connsiteY54" fmla="*/ 916862 h 4806110"/>
                <a:gd name="connsiteX55" fmla="*/ 1642339 w 3284673"/>
                <a:gd name="connsiteY55" fmla="*/ 916862 h 4806110"/>
                <a:gd name="connsiteX56" fmla="*/ 3284673 w 3284673"/>
                <a:gd name="connsiteY56" fmla="*/ 458431 h 4806110"/>
                <a:gd name="connsiteX57" fmla="*/ 1642339 w 3284673"/>
                <a:gd name="connsiteY57" fmla="*/ 0 h 4806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3284673" h="4806110">
                  <a:moveTo>
                    <a:pt x="3284673" y="701841"/>
                  </a:moveTo>
                  <a:lnTo>
                    <a:pt x="3284671" y="701843"/>
                  </a:lnTo>
                  <a:lnTo>
                    <a:pt x="3284671" y="701841"/>
                  </a:lnTo>
                  <a:lnTo>
                    <a:pt x="3284669" y="701842"/>
                  </a:lnTo>
                  <a:lnTo>
                    <a:pt x="3284669" y="701841"/>
                  </a:lnTo>
                  <a:lnTo>
                    <a:pt x="3195823" y="779666"/>
                  </a:lnTo>
                  <a:cubicBezTo>
                    <a:pt x="3003862" y="903069"/>
                    <a:pt x="2618829" y="998859"/>
                    <a:pt x="2143690" y="1039044"/>
                  </a:cubicBezTo>
                  <a:lnTo>
                    <a:pt x="1642337" y="1059655"/>
                  </a:lnTo>
                  <a:lnTo>
                    <a:pt x="1140983" y="1039044"/>
                  </a:lnTo>
                  <a:cubicBezTo>
                    <a:pt x="903413" y="1018952"/>
                    <a:pt x="688370" y="984958"/>
                    <a:pt x="508725" y="940562"/>
                  </a:cubicBezTo>
                  <a:lnTo>
                    <a:pt x="395039" y="909279"/>
                  </a:lnTo>
                  <a:lnTo>
                    <a:pt x="380829" y="905369"/>
                  </a:lnTo>
                  <a:cubicBezTo>
                    <a:pt x="259972" y="868335"/>
                    <a:pt x="160836" y="825942"/>
                    <a:pt x="88851" y="779666"/>
                  </a:cubicBezTo>
                  <a:lnTo>
                    <a:pt x="59720" y="754150"/>
                  </a:lnTo>
                  <a:lnTo>
                    <a:pt x="4" y="701841"/>
                  </a:lnTo>
                  <a:lnTo>
                    <a:pt x="4" y="701842"/>
                  </a:lnTo>
                  <a:lnTo>
                    <a:pt x="2" y="701841"/>
                  </a:lnTo>
                  <a:lnTo>
                    <a:pt x="2" y="701843"/>
                  </a:lnTo>
                  <a:lnTo>
                    <a:pt x="0" y="701841"/>
                  </a:lnTo>
                  <a:lnTo>
                    <a:pt x="0" y="1053189"/>
                  </a:lnTo>
                  <a:lnTo>
                    <a:pt x="2" y="1053191"/>
                  </a:lnTo>
                  <a:lnTo>
                    <a:pt x="2" y="1918845"/>
                  </a:lnTo>
                  <a:lnTo>
                    <a:pt x="2" y="2181795"/>
                  </a:lnTo>
                  <a:lnTo>
                    <a:pt x="2" y="2551024"/>
                  </a:lnTo>
                  <a:lnTo>
                    <a:pt x="4" y="2551025"/>
                  </a:lnTo>
                  <a:lnTo>
                    <a:pt x="4" y="2920828"/>
                  </a:lnTo>
                  <a:lnTo>
                    <a:pt x="4" y="3146226"/>
                  </a:lnTo>
                  <a:lnTo>
                    <a:pt x="0" y="3146222"/>
                  </a:lnTo>
                  <a:lnTo>
                    <a:pt x="0" y="3169359"/>
                  </a:lnTo>
                  <a:lnTo>
                    <a:pt x="4" y="3169359"/>
                  </a:lnTo>
                  <a:lnTo>
                    <a:pt x="4" y="3398798"/>
                  </a:lnTo>
                  <a:lnTo>
                    <a:pt x="4" y="3719407"/>
                  </a:lnTo>
                  <a:lnTo>
                    <a:pt x="0" y="3719407"/>
                  </a:lnTo>
                  <a:lnTo>
                    <a:pt x="0" y="4400783"/>
                  </a:lnTo>
                  <a:cubicBezTo>
                    <a:pt x="0" y="4624721"/>
                    <a:pt x="735436" y="4806110"/>
                    <a:pt x="1642335" y="4806110"/>
                  </a:cubicBezTo>
                  <a:lnTo>
                    <a:pt x="1642339" y="4806110"/>
                  </a:lnTo>
                  <a:cubicBezTo>
                    <a:pt x="2549237" y="4806110"/>
                    <a:pt x="3284673" y="4624721"/>
                    <a:pt x="3284673" y="4400783"/>
                  </a:cubicBezTo>
                  <a:lnTo>
                    <a:pt x="3284673" y="3719407"/>
                  </a:lnTo>
                  <a:lnTo>
                    <a:pt x="3284669" y="3719407"/>
                  </a:lnTo>
                  <a:lnTo>
                    <a:pt x="3284669" y="3398798"/>
                  </a:lnTo>
                  <a:lnTo>
                    <a:pt x="3284669" y="3169359"/>
                  </a:lnTo>
                  <a:lnTo>
                    <a:pt x="3284673" y="3169359"/>
                  </a:lnTo>
                  <a:lnTo>
                    <a:pt x="3284673" y="3146222"/>
                  </a:lnTo>
                  <a:lnTo>
                    <a:pt x="3284669" y="3146226"/>
                  </a:lnTo>
                  <a:lnTo>
                    <a:pt x="3284669" y="2920828"/>
                  </a:lnTo>
                  <a:lnTo>
                    <a:pt x="3284669" y="2551025"/>
                  </a:lnTo>
                  <a:lnTo>
                    <a:pt x="3284671" y="2551024"/>
                  </a:lnTo>
                  <a:lnTo>
                    <a:pt x="3284671" y="2181795"/>
                  </a:lnTo>
                  <a:lnTo>
                    <a:pt x="3284671" y="1918845"/>
                  </a:lnTo>
                  <a:lnTo>
                    <a:pt x="3284671" y="1053191"/>
                  </a:lnTo>
                  <a:lnTo>
                    <a:pt x="3284673" y="1053189"/>
                  </a:lnTo>
                  <a:close/>
                  <a:moveTo>
                    <a:pt x="1642339" y="0"/>
                  </a:moveTo>
                  <a:lnTo>
                    <a:pt x="1642335" y="0"/>
                  </a:lnTo>
                  <a:cubicBezTo>
                    <a:pt x="735297" y="0"/>
                    <a:pt x="0" y="205248"/>
                    <a:pt x="0" y="458431"/>
                  </a:cubicBezTo>
                  <a:cubicBezTo>
                    <a:pt x="0" y="711614"/>
                    <a:pt x="735297" y="916862"/>
                    <a:pt x="1642335" y="916862"/>
                  </a:cubicBezTo>
                  <a:lnTo>
                    <a:pt x="1642339" y="916862"/>
                  </a:lnTo>
                  <a:cubicBezTo>
                    <a:pt x="2549376" y="916862"/>
                    <a:pt x="3284673" y="711614"/>
                    <a:pt x="3284673" y="458431"/>
                  </a:cubicBezTo>
                  <a:cubicBezTo>
                    <a:pt x="3284673" y="205248"/>
                    <a:pt x="2549376" y="0"/>
                    <a:pt x="1642339"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367"/>
              <a:endParaRPr lang="en-US" sz="1600">
                <a:solidFill>
                  <a:srgbClr val="FFFFFF"/>
                </a:solidFill>
              </a:endParaRPr>
            </a:p>
          </p:txBody>
        </p:sp>
        <p:sp>
          <p:nvSpPr>
            <p:cNvPr id="75" name="Rectangle 74"/>
            <p:cNvSpPr/>
            <p:nvPr/>
          </p:nvSpPr>
          <p:spPr bwMode="auto">
            <a:xfrm>
              <a:off x="8033865" y="4626961"/>
              <a:ext cx="412909" cy="424729"/>
            </a:xfrm>
            <a:prstGeom prst="rect">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b="1" dirty="0">
                <a:solidFill>
                  <a:schemeClr val="bg1"/>
                </a:solidFill>
                <a:latin typeface="+mj-lt"/>
                <a:ea typeface="Segoe UI" pitchFamily="34" charset="0"/>
                <a:cs typeface="Segoe UI" pitchFamily="34" charset="0"/>
              </a:endParaRPr>
            </a:p>
          </p:txBody>
        </p:sp>
        <p:sp>
          <p:nvSpPr>
            <p:cNvPr id="76" name="Rectangle 75"/>
            <p:cNvSpPr/>
            <p:nvPr/>
          </p:nvSpPr>
          <p:spPr bwMode="auto">
            <a:xfrm>
              <a:off x="9667931" y="4654863"/>
              <a:ext cx="412909" cy="42472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b="1" dirty="0">
                <a:solidFill>
                  <a:schemeClr val="bg1"/>
                </a:solidFill>
                <a:latin typeface="+mj-lt"/>
                <a:ea typeface="Segoe UI" pitchFamily="34" charset="0"/>
                <a:cs typeface="Segoe UI" pitchFamily="34" charset="0"/>
              </a:endParaRPr>
            </a:p>
          </p:txBody>
        </p:sp>
        <p:sp>
          <p:nvSpPr>
            <p:cNvPr id="77" name="Rectangle 76"/>
            <p:cNvSpPr/>
            <p:nvPr/>
          </p:nvSpPr>
          <p:spPr bwMode="auto">
            <a:xfrm>
              <a:off x="11109175" y="4595070"/>
              <a:ext cx="412909" cy="42472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b="1" dirty="0">
                <a:solidFill>
                  <a:schemeClr val="bg1"/>
                </a:solidFill>
                <a:latin typeface="+mj-lt"/>
                <a:ea typeface="Segoe UI" pitchFamily="34" charset="0"/>
                <a:cs typeface="Segoe UI" pitchFamily="34" charset="0"/>
              </a:endParaRPr>
            </a:p>
          </p:txBody>
        </p:sp>
        <p:sp>
          <p:nvSpPr>
            <p:cNvPr id="78" name="Rectangle 77"/>
            <p:cNvSpPr/>
            <p:nvPr/>
          </p:nvSpPr>
          <p:spPr bwMode="auto">
            <a:xfrm>
              <a:off x="11106962" y="5241161"/>
              <a:ext cx="412909" cy="424729"/>
            </a:xfrm>
            <a:prstGeom prst="rect">
              <a:avLst/>
            </a:prstGeom>
            <a:solidFill>
              <a:schemeClr val="accent6">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b="1" dirty="0">
                <a:solidFill>
                  <a:schemeClr val="bg1"/>
                </a:solidFill>
                <a:latin typeface="+mj-lt"/>
                <a:ea typeface="Segoe UI" pitchFamily="34" charset="0"/>
                <a:cs typeface="Segoe UI" pitchFamily="34" charset="0"/>
              </a:endParaRPr>
            </a:p>
          </p:txBody>
        </p:sp>
        <p:grpSp>
          <p:nvGrpSpPr>
            <p:cNvPr id="40" name="Group 39"/>
            <p:cNvGrpSpPr/>
            <p:nvPr/>
          </p:nvGrpSpPr>
          <p:grpSpPr>
            <a:xfrm>
              <a:off x="1579253" y="3107491"/>
              <a:ext cx="9035173" cy="1102610"/>
              <a:chOff x="1579253" y="3107491"/>
              <a:chExt cx="9035173" cy="1102610"/>
            </a:xfrm>
          </p:grpSpPr>
          <p:cxnSp>
            <p:nvCxnSpPr>
              <p:cNvPr id="16" name="Elbow Connector 15"/>
              <p:cNvCxnSpPr/>
              <p:nvPr/>
            </p:nvCxnSpPr>
            <p:spPr>
              <a:xfrm rot="16200000" flipH="1">
                <a:off x="6320674" y="2878891"/>
                <a:ext cx="1097280" cy="1554480"/>
              </a:xfrm>
              <a:prstGeom prst="bentConnector3">
                <a:avLst/>
              </a:prstGeom>
              <a:ln w="19050">
                <a:solidFill>
                  <a:schemeClr val="accent4">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4" name="Elbow Connector 53"/>
              <p:cNvCxnSpPr/>
              <p:nvPr/>
            </p:nvCxnSpPr>
            <p:spPr>
              <a:xfrm rot="5400000">
                <a:off x="4775725" y="2884221"/>
                <a:ext cx="1097280" cy="1554480"/>
              </a:xfrm>
              <a:prstGeom prst="bentConnector3">
                <a:avLst/>
              </a:prstGeom>
              <a:ln w="19050">
                <a:solidFill>
                  <a:schemeClr val="accent4">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 name="Elbow Connector 17"/>
              <p:cNvCxnSpPr/>
              <p:nvPr/>
            </p:nvCxnSpPr>
            <p:spPr>
              <a:xfrm rot="5400000">
                <a:off x="2790833" y="2441579"/>
                <a:ext cx="548640" cy="2971800"/>
              </a:xfrm>
              <a:prstGeom prst="bentConnector3">
                <a:avLst>
                  <a:gd name="adj1" fmla="val -688"/>
                </a:avLst>
              </a:prstGeom>
              <a:ln w="19050">
                <a:solidFill>
                  <a:schemeClr val="accent4">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3" name="Elbow Connector 62"/>
              <p:cNvCxnSpPr/>
              <p:nvPr/>
            </p:nvCxnSpPr>
            <p:spPr>
              <a:xfrm rot="16200000" flipH="1">
                <a:off x="8854206" y="2441448"/>
                <a:ext cx="548640" cy="2971800"/>
              </a:xfrm>
              <a:prstGeom prst="bentConnector3">
                <a:avLst>
                  <a:gd name="adj1" fmla="val -688"/>
                </a:avLst>
              </a:prstGeom>
              <a:ln w="19050">
                <a:solidFill>
                  <a:schemeClr val="accent4">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grpSp>
      <p:sp>
        <p:nvSpPr>
          <p:cNvPr id="17" name="Rectangle 16"/>
          <p:cNvSpPr/>
          <p:nvPr/>
        </p:nvSpPr>
        <p:spPr bwMode="auto">
          <a:xfrm>
            <a:off x="846585" y="1463831"/>
            <a:ext cx="10601325" cy="4724400"/>
          </a:xfrm>
          <a:prstGeom prst="rect">
            <a:avLst/>
          </a:prstGeom>
          <a:noFill/>
          <a:ln>
            <a:solidFill>
              <a:schemeClr val="bg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Tree>
    <p:extLst>
      <p:ext uri="{BB962C8B-B14F-4D97-AF65-F5344CB8AC3E}">
        <p14:creationId xmlns:p14="http://schemas.microsoft.com/office/powerpoint/2010/main" val="1423520490"/>
      </p:ext>
    </p:extLst>
  </p:cSld>
  <p:clrMapOvr>
    <a:masterClrMapping/>
  </p:clrMapOvr>
  <p:transition spd="med">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Rectangle 52"/>
          <p:cNvSpPr/>
          <p:nvPr/>
        </p:nvSpPr>
        <p:spPr bwMode="auto">
          <a:xfrm>
            <a:off x="7014113" y="2169993"/>
            <a:ext cx="4859439" cy="259307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2" name="Title 1"/>
          <p:cNvSpPr>
            <a:spLocks noGrp="1"/>
          </p:cNvSpPr>
          <p:nvPr>
            <p:ph type="title"/>
          </p:nvPr>
        </p:nvSpPr>
        <p:spPr/>
        <p:txBody>
          <a:bodyPr/>
          <a:lstStyle/>
          <a:p>
            <a:r>
              <a:rPr lang="en-US" dirty="0"/>
              <a:t>HDFS Components</a:t>
            </a:r>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11</a:t>
            </a:fld>
            <a:endParaRPr lang="en-US" dirty="0"/>
          </a:p>
        </p:txBody>
      </p:sp>
      <p:pic>
        <p:nvPicPr>
          <p:cNvPr id="52" name="Picture 5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230602" y="2418794"/>
            <a:ext cx="4414361" cy="2084967"/>
          </a:xfrm>
          <a:prstGeom prst="rect">
            <a:avLst/>
          </a:prstGeom>
          <a:solidFill>
            <a:schemeClr val="bg2"/>
          </a:solidFill>
        </p:spPr>
      </p:pic>
      <p:sp>
        <p:nvSpPr>
          <p:cNvPr id="54" name="TextBox 53"/>
          <p:cNvSpPr txBox="1"/>
          <p:nvPr/>
        </p:nvSpPr>
        <p:spPr>
          <a:xfrm>
            <a:off x="292709" y="1196443"/>
            <a:ext cx="6827758" cy="4529668"/>
          </a:xfrm>
          <a:prstGeom prst="rect">
            <a:avLst/>
          </a:prstGeom>
          <a:noFill/>
        </p:spPr>
        <p:txBody>
          <a:bodyPr wrap="square" lIns="182880" tIns="146304" rIns="182880" bIns="146304" rtlCol="0">
            <a:noAutofit/>
          </a:bodyPr>
          <a:lstStyle/>
          <a:p>
            <a:pPr>
              <a:lnSpc>
                <a:spcPct val="90000"/>
              </a:lnSpc>
              <a:spcAft>
                <a:spcPts val="600"/>
              </a:spcAft>
            </a:pPr>
            <a:r>
              <a:rPr lang="en-US" sz="2000" dirty="0" err="1">
                <a:solidFill>
                  <a:schemeClr val="tx1">
                    <a:lumMod val="65000"/>
                    <a:lumOff val="35000"/>
                  </a:schemeClr>
                </a:solidFill>
                <a:latin typeface="Segoe UI Semibold" panose="020B0702040204020203" pitchFamily="34" charset="0"/>
                <a:cs typeface="Segoe UI Semibold" panose="020B0702040204020203" pitchFamily="34" charset="0"/>
              </a:rPr>
              <a:t>NameNode</a:t>
            </a:r>
            <a:endParaRPr lang="en-US" sz="2000" dirty="0">
              <a:solidFill>
                <a:schemeClr val="tx1">
                  <a:lumMod val="65000"/>
                  <a:lumOff val="35000"/>
                </a:schemeClr>
              </a:solidFill>
              <a:latin typeface="Segoe UI Semibold" panose="020B0702040204020203" pitchFamily="34" charset="0"/>
              <a:cs typeface="Segoe UI Semibold" panose="020B0702040204020203" pitchFamily="34" charset="0"/>
            </a:endParaRPr>
          </a:p>
          <a:p>
            <a:pPr marL="285750" indent="-285750">
              <a:lnSpc>
                <a:spcPct val="90000"/>
              </a:lnSpc>
              <a:spcAft>
                <a:spcPts val="600"/>
              </a:spcAft>
              <a:buClr>
                <a:schemeClr val="accent3"/>
              </a:buClr>
              <a:buSzPct val="50000"/>
              <a:buFont typeface="Wingdings" panose="05000000000000000000" pitchFamily="2" charset="2"/>
              <a:buChar char="v"/>
            </a:pPr>
            <a:r>
              <a:rPr lang="en-US" dirty="0">
                <a:solidFill>
                  <a:schemeClr val="tx1">
                    <a:lumMod val="65000"/>
                    <a:lumOff val="35000"/>
                  </a:schemeClr>
                </a:solidFill>
              </a:rPr>
              <a:t>Keeps all namespaces in memory</a:t>
            </a:r>
          </a:p>
          <a:p>
            <a:pPr marL="285750" indent="-285750">
              <a:lnSpc>
                <a:spcPct val="90000"/>
              </a:lnSpc>
              <a:spcAft>
                <a:spcPts val="600"/>
              </a:spcAft>
              <a:buClr>
                <a:schemeClr val="accent3"/>
              </a:buClr>
              <a:buSzPct val="50000"/>
              <a:buFont typeface="Wingdings" panose="05000000000000000000" pitchFamily="2" charset="2"/>
              <a:buChar char="v"/>
            </a:pPr>
            <a:r>
              <a:rPr lang="en-US" dirty="0">
                <a:solidFill>
                  <a:schemeClr val="tx1">
                    <a:lumMod val="65000"/>
                    <a:lumOff val="35000"/>
                  </a:schemeClr>
                </a:solidFill>
              </a:rPr>
              <a:t>Maintains metadata (i.e. “</a:t>
            </a:r>
            <a:r>
              <a:rPr lang="en-US" dirty="0" err="1">
                <a:solidFill>
                  <a:schemeClr val="tx1">
                    <a:lumMod val="65000"/>
                    <a:lumOff val="35000"/>
                  </a:schemeClr>
                </a:solidFill>
              </a:rPr>
              <a:t>inode</a:t>
            </a:r>
            <a:r>
              <a:rPr lang="en-US" dirty="0">
                <a:solidFill>
                  <a:schemeClr val="tx1">
                    <a:lumMod val="65000"/>
                    <a:lumOff val="35000"/>
                  </a:schemeClr>
                </a:solidFill>
              </a:rPr>
              <a:t>”)</a:t>
            </a:r>
          </a:p>
          <a:p>
            <a:pPr marL="285750" indent="-285750">
              <a:lnSpc>
                <a:spcPct val="90000"/>
              </a:lnSpc>
              <a:spcAft>
                <a:spcPts val="600"/>
              </a:spcAft>
              <a:buClr>
                <a:schemeClr val="accent3"/>
              </a:buClr>
              <a:buSzPct val="50000"/>
              <a:buFont typeface="Wingdings" panose="05000000000000000000" pitchFamily="2" charset="2"/>
              <a:buChar char="v"/>
            </a:pPr>
            <a:r>
              <a:rPr lang="en-US" dirty="0">
                <a:solidFill>
                  <a:schemeClr val="tx1">
                    <a:lumMod val="65000"/>
                    <a:lumOff val="35000"/>
                  </a:schemeClr>
                </a:solidFill>
              </a:rPr>
              <a:t>Monitors Data Node health</a:t>
            </a:r>
          </a:p>
          <a:p>
            <a:pPr marL="285750" indent="-285750">
              <a:lnSpc>
                <a:spcPct val="90000"/>
              </a:lnSpc>
              <a:spcAft>
                <a:spcPts val="600"/>
              </a:spcAft>
              <a:buClr>
                <a:schemeClr val="accent3"/>
              </a:buClr>
              <a:buSzPct val="50000"/>
              <a:buFont typeface="Wingdings" panose="05000000000000000000" pitchFamily="2" charset="2"/>
              <a:buChar char="v"/>
            </a:pPr>
            <a:r>
              <a:rPr lang="en-US" dirty="0">
                <a:solidFill>
                  <a:schemeClr val="tx1">
                    <a:lumMod val="65000"/>
                    <a:lumOff val="35000"/>
                  </a:schemeClr>
                </a:solidFill>
              </a:rPr>
              <a:t>Replicates missing blocks</a:t>
            </a:r>
          </a:p>
          <a:p>
            <a:pPr marL="285750" indent="-285750">
              <a:lnSpc>
                <a:spcPct val="90000"/>
              </a:lnSpc>
              <a:spcAft>
                <a:spcPts val="600"/>
              </a:spcAft>
              <a:buClr>
                <a:schemeClr val="accent3"/>
              </a:buClr>
              <a:buSzPct val="50000"/>
              <a:buFont typeface="Wingdings" panose="05000000000000000000" pitchFamily="2" charset="2"/>
              <a:buChar char="v"/>
            </a:pPr>
            <a:r>
              <a:rPr lang="en-US" dirty="0">
                <a:solidFill>
                  <a:schemeClr val="tx1">
                    <a:lumMod val="65000"/>
                    <a:lumOff val="35000"/>
                  </a:schemeClr>
                </a:solidFill>
              </a:rPr>
              <a:t>Maintains mapping of list of blocks + locations</a:t>
            </a:r>
          </a:p>
          <a:p>
            <a:pPr marL="285750" indent="-285750">
              <a:lnSpc>
                <a:spcPct val="90000"/>
              </a:lnSpc>
              <a:spcAft>
                <a:spcPts val="600"/>
              </a:spcAft>
              <a:buClr>
                <a:schemeClr val="accent3"/>
              </a:buClr>
              <a:buSzPct val="50000"/>
              <a:buFont typeface="Wingdings" panose="05000000000000000000" pitchFamily="2" charset="2"/>
              <a:buChar char="v"/>
            </a:pPr>
            <a:r>
              <a:rPr lang="en-US" dirty="0">
                <a:solidFill>
                  <a:schemeClr val="tx1">
                    <a:lumMod val="65000"/>
                    <a:lumOff val="35000"/>
                  </a:schemeClr>
                </a:solidFill>
              </a:rPr>
              <a:t>Maintains Authorization and Authentication data</a:t>
            </a:r>
          </a:p>
          <a:p>
            <a:pPr marL="285750" indent="-285750">
              <a:lnSpc>
                <a:spcPct val="90000"/>
              </a:lnSpc>
              <a:spcAft>
                <a:spcPts val="600"/>
              </a:spcAft>
              <a:buClr>
                <a:schemeClr val="accent3"/>
              </a:buClr>
              <a:buSzPct val="50000"/>
              <a:buFont typeface="Wingdings" panose="05000000000000000000" pitchFamily="2" charset="2"/>
              <a:buChar char="v"/>
            </a:pPr>
            <a:r>
              <a:rPr lang="en-US" dirty="0">
                <a:solidFill>
                  <a:schemeClr val="tx1">
                    <a:lumMod val="65000"/>
                    <a:lumOff val="35000"/>
                  </a:schemeClr>
                </a:solidFill>
              </a:rPr>
              <a:t>Manages Checkpoint &amp; journal namespace changes</a:t>
            </a:r>
          </a:p>
          <a:p>
            <a:pPr>
              <a:lnSpc>
                <a:spcPct val="90000"/>
              </a:lnSpc>
              <a:spcBef>
                <a:spcPts val="600"/>
              </a:spcBef>
              <a:spcAft>
                <a:spcPts val="600"/>
              </a:spcAft>
            </a:pPr>
            <a:r>
              <a:rPr lang="en-US" sz="2000" dirty="0">
                <a:solidFill>
                  <a:schemeClr val="tx1">
                    <a:lumMod val="65000"/>
                    <a:lumOff val="35000"/>
                  </a:schemeClr>
                </a:solidFill>
                <a:latin typeface="Segoe UI Semibold" panose="020B0702040204020203" pitchFamily="34" charset="0"/>
                <a:cs typeface="Segoe UI Semibold" panose="020B0702040204020203" pitchFamily="34" charset="0"/>
              </a:rPr>
              <a:t>Data Node</a:t>
            </a:r>
          </a:p>
          <a:p>
            <a:pPr marL="285750" indent="-285750">
              <a:lnSpc>
                <a:spcPct val="90000"/>
              </a:lnSpc>
              <a:spcAft>
                <a:spcPts val="600"/>
              </a:spcAft>
              <a:buClr>
                <a:schemeClr val="accent3"/>
              </a:buClr>
              <a:buSzPct val="50000"/>
              <a:buFont typeface="Wingdings" panose="05000000000000000000" pitchFamily="2" charset="2"/>
              <a:buChar char="v"/>
            </a:pPr>
            <a:r>
              <a:rPr lang="en-US" dirty="0">
                <a:solidFill>
                  <a:schemeClr val="tx1">
                    <a:lumMod val="65000"/>
                    <a:lumOff val="35000"/>
                  </a:schemeClr>
                </a:solidFill>
              </a:rPr>
              <a:t>Serves data blocks directly to customers</a:t>
            </a:r>
          </a:p>
          <a:p>
            <a:pPr marL="285750" indent="-285750">
              <a:lnSpc>
                <a:spcPct val="90000"/>
              </a:lnSpc>
              <a:spcAft>
                <a:spcPts val="600"/>
              </a:spcAft>
              <a:buClr>
                <a:schemeClr val="accent3"/>
              </a:buClr>
              <a:buSzPct val="50000"/>
              <a:buFont typeface="Wingdings" panose="05000000000000000000" pitchFamily="2" charset="2"/>
              <a:buChar char="v"/>
            </a:pPr>
            <a:r>
              <a:rPr lang="en-US" dirty="0">
                <a:solidFill>
                  <a:schemeClr val="tx1">
                    <a:lumMod val="65000"/>
                    <a:lumOff val="35000"/>
                  </a:schemeClr>
                </a:solidFill>
              </a:rPr>
              <a:t>Handles block storage on multiple volumes &amp; block integrity</a:t>
            </a:r>
          </a:p>
          <a:p>
            <a:pPr marL="285750" indent="-285750">
              <a:lnSpc>
                <a:spcPct val="90000"/>
              </a:lnSpc>
              <a:spcAft>
                <a:spcPts val="600"/>
              </a:spcAft>
              <a:buClr>
                <a:schemeClr val="accent3"/>
              </a:buClr>
              <a:buSzPct val="50000"/>
              <a:buFont typeface="Wingdings" panose="05000000000000000000" pitchFamily="2" charset="2"/>
              <a:buChar char="v"/>
            </a:pPr>
            <a:r>
              <a:rPr lang="en-US" dirty="0">
                <a:solidFill>
                  <a:schemeClr val="tx1">
                    <a:lumMod val="65000"/>
                    <a:lumOff val="35000"/>
                  </a:schemeClr>
                </a:solidFill>
              </a:rPr>
              <a:t>Periodically sends heartbeats and block reports to NameNode</a:t>
            </a:r>
          </a:p>
          <a:p>
            <a:pPr marL="285750" indent="-285750">
              <a:lnSpc>
                <a:spcPct val="90000"/>
              </a:lnSpc>
              <a:spcAft>
                <a:spcPts val="600"/>
              </a:spcAft>
              <a:buClr>
                <a:schemeClr val="accent3"/>
              </a:buClr>
              <a:buSzPct val="50000"/>
              <a:buFont typeface="Wingdings" panose="05000000000000000000" pitchFamily="2" charset="2"/>
              <a:buChar char="v"/>
            </a:pPr>
            <a:r>
              <a:rPr lang="en-US" dirty="0">
                <a:solidFill>
                  <a:schemeClr val="tx1">
                    <a:lumMod val="65000"/>
                    <a:lumOff val="35000"/>
                  </a:schemeClr>
                </a:solidFill>
              </a:rPr>
              <a:t>Stores Blocks as underlying OS’s file</a:t>
            </a:r>
          </a:p>
          <a:p>
            <a:pPr marL="285750" indent="-285750">
              <a:lnSpc>
                <a:spcPct val="90000"/>
              </a:lnSpc>
              <a:spcAft>
                <a:spcPts val="600"/>
              </a:spcAft>
              <a:buFont typeface="Arial" panose="020B0604020202020204" pitchFamily="34" charset="0"/>
              <a:buChar char="•"/>
            </a:pPr>
            <a:endParaRPr lang="en-US" dirty="0">
              <a:solidFill>
                <a:schemeClr val="tx1">
                  <a:lumMod val="85000"/>
                  <a:lumOff val="15000"/>
                </a:schemeClr>
              </a:solidFill>
            </a:endParaRPr>
          </a:p>
        </p:txBody>
      </p:sp>
    </p:spTree>
    <p:extLst>
      <p:ext uri="{BB962C8B-B14F-4D97-AF65-F5344CB8AC3E}">
        <p14:creationId xmlns:p14="http://schemas.microsoft.com/office/powerpoint/2010/main" val="2998540165"/>
      </p:ext>
    </p:extLst>
  </p:cSld>
  <p:clrMapOvr>
    <a:masterClrMapping/>
  </p:clrMapOvr>
  <p:transition spd="med">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ache YARN – What is it?</a:t>
            </a:r>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12</a:t>
            </a:fld>
            <a:endParaRPr lang="en-US" dirty="0"/>
          </a:p>
        </p:txBody>
      </p:sp>
      <p:sp>
        <p:nvSpPr>
          <p:cNvPr id="4" name="Rectangle 3"/>
          <p:cNvSpPr/>
          <p:nvPr/>
        </p:nvSpPr>
        <p:spPr bwMode="auto">
          <a:xfrm>
            <a:off x="440267" y="1280160"/>
            <a:ext cx="11239115" cy="709507"/>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b="1" dirty="0">
                <a:solidFill>
                  <a:schemeClr val="bg1"/>
                </a:solidFill>
                <a:latin typeface="Segoe UI Semibold" panose="020B0702040204020203" pitchFamily="34" charset="0"/>
                <a:ea typeface="Segoe UI" pitchFamily="34" charset="0"/>
                <a:cs typeface="Segoe UI Semibold" panose="020B0702040204020203" pitchFamily="34" charset="0"/>
              </a:rPr>
              <a:t>Is cluster resource manager for Hadoop that enables a variety of applications types including MapReduce and </a:t>
            </a:r>
            <a:r>
              <a:rPr lang="en-US" sz="2000" b="1" dirty="0" err="1">
                <a:solidFill>
                  <a:schemeClr val="bg1"/>
                </a:solidFill>
                <a:latin typeface="Segoe UI Semibold" panose="020B0702040204020203" pitchFamily="34" charset="0"/>
                <a:ea typeface="Segoe UI" pitchFamily="34" charset="0"/>
                <a:cs typeface="Segoe UI Semibold" panose="020B0702040204020203" pitchFamily="34" charset="0"/>
              </a:rPr>
              <a:t>Tez</a:t>
            </a:r>
            <a:r>
              <a:rPr lang="en-US" sz="2000" b="1" dirty="0">
                <a:solidFill>
                  <a:schemeClr val="bg1"/>
                </a:solidFill>
                <a:latin typeface="Segoe UI Semibold" panose="020B0702040204020203" pitchFamily="34" charset="0"/>
                <a:ea typeface="Segoe UI" pitchFamily="34" charset="0"/>
                <a:cs typeface="Segoe UI Semibold" panose="020B0702040204020203" pitchFamily="34" charset="0"/>
              </a:rPr>
              <a:t> as well as non-MapReduce applications</a:t>
            </a:r>
          </a:p>
        </p:txBody>
      </p:sp>
      <p:sp>
        <p:nvSpPr>
          <p:cNvPr id="6" name="TextBox 5"/>
          <p:cNvSpPr txBox="1"/>
          <p:nvPr/>
        </p:nvSpPr>
        <p:spPr>
          <a:xfrm>
            <a:off x="440267" y="2128642"/>
            <a:ext cx="8730119" cy="3899625"/>
          </a:xfrm>
          <a:prstGeom prst="rect">
            <a:avLst/>
          </a:prstGeom>
          <a:noFill/>
        </p:spPr>
        <p:txBody>
          <a:bodyPr wrap="square" lIns="182880" tIns="146304" rIns="182880" bIns="146304" rtlCol="0">
            <a:noAutofit/>
          </a:bodyPr>
          <a:lstStyle/>
          <a:p>
            <a:pPr marL="285750" indent="-285750">
              <a:lnSpc>
                <a:spcPct val="90000"/>
              </a:lnSpc>
              <a:spcAft>
                <a:spcPts val="600"/>
              </a:spcAft>
              <a:buClr>
                <a:schemeClr val="accent3"/>
              </a:buClr>
              <a:buSzPct val="75000"/>
              <a:buFont typeface="Wingdings" panose="05000000000000000000" pitchFamily="2" charset="2"/>
              <a:buChar char="v"/>
            </a:pPr>
            <a:r>
              <a:rPr lang="en-US" dirty="0">
                <a:solidFill>
                  <a:schemeClr val="tx1">
                    <a:lumMod val="65000"/>
                    <a:lumOff val="35000"/>
                  </a:schemeClr>
                </a:solidFill>
              </a:rPr>
              <a:t>YARN – Yet Another Resource Negotiator (common concept in High Performance Computing Architectures)</a:t>
            </a:r>
          </a:p>
          <a:p>
            <a:pPr marL="285750" indent="-285750">
              <a:lnSpc>
                <a:spcPct val="90000"/>
              </a:lnSpc>
              <a:spcAft>
                <a:spcPts val="600"/>
              </a:spcAft>
              <a:buClr>
                <a:schemeClr val="accent3"/>
              </a:buClr>
              <a:buSzPct val="75000"/>
              <a:buFont typeface="Wingdings" panose="05000000000000000000" pitchFamily="2" charset="2"/>
              <a:buChar char="v"/>
            </a:pPr>
            <a:r>
              <a:rPr lang="en-US" dirty="0">
                <a:solidFill>
                  <a:schemeClr val="tx1">
                    <a:lumMod val="65000"/>
                    <a:lumOff val="35000"/>
                  </a:schemeClr>
                </a:solidFill>
              </a:rPr>
              <a:t>Manages a set of resources (CPU, Memory, Disk) among a set of competing applications.</a:t>
            </a:r>
          </a:p>
          <a:p>
            <a:pPr marL="742950" lvl="2" indent="-285750">
              <a:lnSpc>
                <a:spcPct val="90000"/>
              </a:lnSpc>
              <a:spcAft>
                <a:spcPts val="600"/>
              </a:spcAft>
              <a:buClr>
                <a:schemeClr val="accent3"/>
              </a:buClr>
              <a:buSzPct val="75000"/>
              <a:buFont typeface="Wingdings" panose="05000000000000000000" pitchFamily="2" charset="2"/>
              <a:buChar char="§"/>
            </a:pPr>
            <a:r>
              <a:rPr lang="en-US" sz="1600" dirty="0">
                <a:solidFill>
                  <a:schemeClr val="tx1">
                    <a:lumMod val="65000"/>
                    <a:lumOff val="35000"/>
                  </a:schemeClr>
                </a:solidFill>
              </a:rPr>
              <a:t>Applications using YARN do not have to worry about other applications running on the same cluster</a:t>
            </a:r>
          </a:p>
          <a:p>
            <a:pPr marL="285750" lvl="2" indent="-285750">
              <a:lnSpc>
                <a:spcPct val="90000"/>
              </a:lnSpc>
              <a:spcAft>
                <a:spcPts val="600"/>
              </a:spcAft>
              <a:buClr>
                <a:schemeClr val="accent3"/>
              </a:buClr>
              <a:buSzPct val="75000"/>
              <a:buFont typeface="Wingdings" panose="05000000000000000000" pitchFamily="2" charset="2"/>
              <a:buChar char="v"/>
            </a:pPr>
            <a:r>
              <a:rPr lang="en-US" dirty="0">
                <a:solidFill>
                  <a:schemeClr val="tx1">
                    <a:lumMod val="65000"/>
                    <a:lumOff val="35000"/>
                  </a:schemeClr>
                </a:solidFill>
              </a:rPr>
              <a:t>YARN takes cares of common issues such in running apps on shared resources  including, scheduling, contention, starvation, pre-emption etc.</a:t>
            </a:r>
          </a:p>
          <a:p>
            <a:pPr marL="285750" lvl="2" indent="-285750">
              <a:lnSpc>
                <a:spcPct val="90000"/>
              </a:lnSpc>
              <a:spcAft>
                <a:spcPts val="600"/>
              </a:spcAft>
              <a:buClr>
                <a:schemeClr val="accent3"/>
              </a:buClr>
              <a:buSzPct val="75000"/>
              <a:buFont typeface="Wingdings" panose="05000000000000000000" pitchFamily="2" charset="2"/>
              <a:buChar char="v"/>
            </a:pPr>
            <a:r>
              <a:rPr lang="en-US" dirty="0">
                <a:solidFill>
                  <a:schemeClr val="tx1">
                    <a:lumMod val="65000"/>
                    <a:lumOff val="35000"/>
                  </a:schemeClr>
                </a:solidFill>
              </a:rPr>
              <a:t>Is a general-purpose resource manager. Support variety of application types:</a:t>
            </a:r>
          </a:p>
          <a:p>
            <a:pPr marL="742950" lvl="2" indent="-285750">
              <a:lnSpc>
                <a:spcPct val="90000"/>
              </a:lnSpc>
              <a:spcAft>
                <a:spcPts val="600"/>
              </a:spcAft>
              <a:buClr>
                <a:schemeClr val="accent3"/>
              </a:buClr>
              <a:buSzPct val="75000"/>
              <a:buFont typeface="Wingdings" panose="05000000000000000000" pitchFamily="2" charset="2"/>
              <a:buChar char="§"/>
            </a:pPr>
            <a:r>
              <a:rPr lang="en-US" sz="1600" dirty="0">
                <a:solidFill>
                  <a:schemeClr val="tx1">
                    <a:lumMod val="65000"/>
                    <a:lumOff val="35000"/>
                  </a:schemeClr>
                </a:solidFill>
              </a:rPr>
              <a:t>Distributed Shell, Impala, Apache </a:t>
            </a:r>
            <a:r>
              <a:rPr lang="en-US" sz="1600" dirty="0" err="1">
                <a:solidFill>
                  <a:schemeClr val="tx1">
                    <a:lumMod val="65000"/>
                    <a:lumOff val="35000"/>
                  </a:schemeClr>
                </a:solidFill>
              </a:rPr>
              <a:t>Giraph</a:t>
            </a:r>
            <a:r>
              <a:rPr lang="en-US" sz="1600" dirty="0">
                <a:solidFill>
                  <a:schemeClr val="tx1">
                    <a:lumMod val="65000"/>
                    <a:lumOff val="35000"/>
                  </a:schemeClr>
                </a:solidFill>
              </a:rPr>
              <a:t>, Spark, MapReduce</a:t>
            </a:r>
          </a:p>
          <a:p>
            <a:pPr marL="742950" lvl="2" indent="-285750">
              <a:lnSpc>
                <a:spcPct val="90000"/>
              </a:lnSpc>
              <a:spcAft>
                <a:spcPts val="600"/>
              </a:spcAft>
              <a:buClr>
                <a:schemeClr val="accent3"/>
              </a:buClr>
              <a:buSzPct val="75000"/>
              <a:buFont typeface="Wingdings" panose="05000000000000000000" pitchFamily="2" charset="2"/>
              <a:buChar char="§"/>
            </a:pPr>
            <a:r>
              <a:rPr lang="en-US" sz="1600" dirty="0">
                <a:solidFill>
                  <a:schemeClr val="tx1">
                    <a:lumMod val="65000"/>
                    <a:lumOff val="35000"/>
                  </a:schemeClr>
                </a:solidFill>
              </a:rPr>
              <a:t>Others: </a:t>
            </a:r>
            <a:r>
              <a:rPr lang="en-US" sz="1600" dirty="0">
                <a:solidFill>
                  <a:schemeClr val="tx1">
                    <a:lumMod val="65000"/>
                    <a:lumOff val="35000"/>
                  </a:schemeClr>
                </a:solidFill>
                <a:hlinkClick r:id="rId2"/>
              </a:rPr>
              <a:t>http://wiki/apache.org/Hadoop/PoweredByYarn</a:t>
            </a:r>
            <a:r>
              <a:rPr lang="en-US" sz="1600" dirty="0">
                <a:solidFill>
                  <a:schemeClr val="tx1">
                    <a:lumMod val="65000"/>
                    <a:lumOff val="35000"/>
                  </a:schemeClr>
                </a:solidFill>
              </a:rPr>
              <a:t>  </a:t>
            </a:r>
          </a:p>
          <a:p>
            <a:pPr marL="285750" lvl="2" indent="-285750">
              <a:lnSpc>
                <a:spcPct val="90000"/>
              </a:lnSpc>
              <a:spcAft>
                <a:spcPts val="600"/>
              </a:spcAft>
              <a:buClr>
                <a:schemeClr val="accent3"/>
              </a:buClr>
              <a:buSzPct val="75000"/>
              <a:buFont typeface="Wingdings" panose="05000000000000000000" pitchFamily="2" charset="2"/>
              <a:buChar char="v"/>
            </a:pPr>
            <a:r>
              <a:rPr lang="en-US" dirty="0">
                <a:solidFill>
                  <a:schemeClr val="tx1">
                    <a:lumMod val="65000"/>
                    <a:lumOff val="35000"/>
                  </a:schemeClr>
                </a:solidFill>
              </a:rPr>
              <a:t>Open source, Apache Project</a:t>
            </a:r>
          </a:p>
          <a:p>
            <a:pPr marL="285750" lvl="2" indent="-285750">
              <a:lnSpc>
                <a:spcPct val="90000"/>
              </a:lnSpc>
              <a:spcAft>
                <a:spcPts val="600"/>
              </a:spcAft>
              <a:buClr>
                <a:schemeClr val="accent3"/>
              </a:buClr>
              <a:buSzPct val="75000"/>
              <a:buFont typeface="Wingdings" panose="05000000000000000000" pitchFamily="2" charset="2"/>
              <a:buChar char="v"/>
            </a:pPr>
            <a:r>
              <a:rPr lang="en-US" dirty="0">
                <a:solidFill>
                  <a:schemeClr val="tx1">
                    <a:lumMod val="65000"/>
                    <a:lumOff val="35000"/>
                  </a:schemeClr>
                </a:solidFill>
              </a:rPr>
              <a:t>Is now part of most popular Hadoop Distributions</a:t>
            </a:r>
          </a:p>
        </p:txBody>
      </p:sp>
      <p:grpSp>
        <p:nvGrpSpPr>
          <p:cNvPr id="7" name="Group 6"/>
          <p:cNvGrpSpPr/>
          <p:nvPr/>
        </p:nvGrpSpPr>
        <p:grpSpPr>
          <a:xfrm>
            <a:off x="9958601" y="2144996"/>
            <a:ext cx="1686362" cy="3883271"/>
            <a:chOff x="9973718" y="2301400"/>
            <a:chExt cx="1686362" cy="3883271"/>
          </a:xfrm>
        </p:grpSpPr>
        <p:grpSp>
          <p:nvGrpSpPr>
            <p:cNvPr id="8" name="Group 7"/>
            <p:cNvGrpSpPr/>
            <p:nvPr/>
          </p:nvGrpSpPr>
          <p:grpSpPr>
            <a:xfrm>
              <a:off x="9980569" y="3558225"/>
              <a:ext cx="1679511" cy="1148642"/>
              <a:chOff x="9747530" y="4513754"/>
              <a:chExt cx="1679511" cy="1148642"/>
            </a:xfrm>
          </p:grpSpPr>
          <p:sp>
            <p:nvSpPr>
              <p:cNvPr id="32" name="Rectangle 31"/>
              <p:cNvSpPr/>
              <p:nvPr/>
            </p:nvSpPr>
            <p:spPr bwMode="auto">
              <a:xfrm>
                <a:off x="9747530" y="4513754"/>
                <a:ext cx="1679511" cy="1148642"/>
              </a:xfrm>
              <a:prstGeom prst="rect">
                <a:avLst/>
              </a:prstGeom>
              <a:solidFill>
                <a:srgbClr val="0F7FA7"/>
              </a:solidFill>
              <a:ln/>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50000"/>
                  </a:lnSpc>
                  <a:spcBef>
                    <a:spcPct val="0"/>
                  </a:spcBef>
                  <a:spcAft>
                    <a:spcPct val="0"/>
                  </a:spcAft>
                </a:pPr>
                <a:r>
                  <a:rPr lang="en-US" sz="1200" dirty="0">
                    <a:solidFill>
                      <a:schemeClr val="bg1"/>
                    </a:solidFill>
                    <a:latin typeface="Calibri" panose="020F0502020204030204" pitchFamily="34" charset="0"/>
                    <a:ea typeface="Segoe UI" pitchFamily="34" charset="0"/>
                    <a:cs typeface="Segoe UI" pitchFamily="34" charset="0"/>
                  </a:rPr>
                  <a:t>Hadoop 2.0 (pre-GA)</a:t>
                </a:r>
              </a:p>
            </p:txBody>
          </p:sp>
          <p:sp>
            <p:nvSpPr>
              <p:cNvPr id="33" name="Rectangle 32"/>
              <p:cNvSpPr/>
              <p:nvPr/>
            </p:nvSpPr>
            <p:spPr bwMode="auto">
              <a:xfrm>
                <a:off x="10629573" y="4819020"/>
                <a:ext cx="726932" cy="278156"/>
              </a:xfrm>
              <a:prstGeom prst="rect">
                <a:avLst/>
              </a:prstGeom>
              <a:solidFill>
                <a:srgbClr val="5CC9E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grpSp>
            <p:nvGrpSpPr>
              <p:cNvPr id="34" name="Group 33"/>
              <p:cNvGrpSpPr/>
              <p:nvPr/>
            </p:nvGrpSpPr>
            <p:grpSpPr>
              <a:xfrm>
                <a:off x="9857315" y="4819020"/>
                <a:ext cx="914400" cy="278778"/>
                <a:chOff x="9885307" y="4563943"/>
                <a:chExt cx="914400" cy="278778"/>
              </a:xfrm>
            </p:grpSpPr>
            <p:sp>
              <p:nvSpPr>
                <p:cNvPr id="39" name="Rectangle 38"/>
                <p:cNvSpPr/>
                <p:nvPr/>
              </p:nvSpPr>
              <p:spPr bwMode="auto">
                <a:xfrm>
                  <a:off x="9885307" y="4563943"/>
                  <a:ext cx="662473" cy="278156"/>
                </a:xfrm>
                <a:prstGeom prst="rect">
                  <a:avLst/>
                </a:prstGeom>
                <a:solidFill>
                  <a:srgbClr val="5CC9E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1100" b="1" dirty="0">
                    <a:solidFill>
                      <a:schemeClr val="bg1"/>
                    </a:solidFill>
                    <a:latin typeface="+mj-lt"/>
                    <a:ea typeface="Segoe UI" pitchFamily="34" charset="0"/>
                    <a:cs typeface="Segoe UI" pitchFamily="34" charset="0"/>
                  </a:endParaRPr>
                </a:p>
              </p:txBody>
            </p:sp>
            <p:sp>
              <p:nvSpPr>
                <p:cNvPr id="40" name="TextBox 39"/>
                <p:cNvSpPr txBox="1"/>
                <p:nvPr/>
              </p:nvSpPr>
              <p:spPr>
                <a:xfrm>
                  <a:off x="9885307" y="4637827"/>
                  <a:ext cx="914400" cy="204894"/>
                </a:xfrm>
                <a:prstGeom prst="rect">
                  <a:avLst/>
                </a:prstGeom>
                <a:noFill/>
              </p:spPr>
              <p:txBody>
                <a:bodyPr wrap="none" lIns="182880" tIns="146304" rIns="182880" bIns="146304" rtlCol="0">
                  <a:noAutofit/>
                </a:bodyPr>
                <a:lstStyle/>
                <a:p>
                  <a:pPr>
                    <a:lnSpc>
                      <a:spcPct val="0"/>
                    </a:lnSpc>
                    <a:spcAft>
                      <a:spcPts val="600"/>
                    </a:spcAft>
                  </a:pPr>
                  <a:r>
                    <a:rPr lang="en-US" sz="900" dirty="0">
                      <a:solidFill>
                        <a:schemeClr val="tx1">
                          <a:lumMod val="85000"/>
                          <a:lumOff val="15000"/>
                        </a:schemeClr>
                      </a:solidFill>
                      <a:latin typeface="Calibri" panose="020F0502020204030204" pitchFamily="34" charset="0"/>
                    </a:rPr>
                    <a:t>HDFS</a:t>
                  </a:r>
                </a:p>
              </p:txBody>
            </p:sp>
          </p:grpSp>
          <p:sp>
            <p:nvSpPr>
              <p:cNvPr id="35" name="TextBox 34"/>
              <p:cNvSpPr txBox="1"/>
              <p:nvPr/>
            </p:nvSpPr>
            <p:spPr>
              <a:xfrm>
                <a:off x="10557886" y="4927203"/>
                <a:ext cx="647086" cy="136296"/>
              </a:xfrm>
              <a:prstGeom prst="rect">
                <a:avLst/>
              </a:prstGeom>
              <a:noFill/>
            </p:spPr>
            <p:txBody>
              <a:bodyPr wrap="none" lIns="182880" tIns="146304" rIns="182880" bIns="146304" rtlCol="0">
                <a:noAutofit/>
              </a:bodyPr>
              <a:lstStyle/>
              <a:p>
                <a:pPr>
                  <a:lnSpc>
                    <a:spcPct val="0"/>
                  </a:lnSpc>
                  <a:spcAft>
                    <a:spcPts val="600"/>
                  </a:spcAft>
                </a:pPr>
                <a:r>
                  <a:rPr lang="en-US" sz="900" dirty="0">
                    <a:solidFill>
                      <a:schemeClr val="tx1">
                        <a:lumMod val="85000"/>
                        <a:lumOff val="15000"/>
                      </a:schemeClr>
                    </a:solidFill>
                    <a:latin typeface="Calibri" panose="020F0502020204030204" pitchFamily="34" charset="0"/>
                  </a:rPr>
                  <a:t>MRv2/YARN</a:t>
                </a:r>
              </a:p>
            </p:txBody>
          </p:sp>
          <p:grpSp>
            <p:nvGrpSpPr>
              <p:cNvPr id="36" name="Group 35"/>
              <p:cNvGrpSpPr/>
              <p:nvPr/>
            </p:nvGrpSpPr>
            <p:grpSpPr>
              <a:xfrm>
                <a:off x="9857317" y="5224086"/>
                <a:ext cx="1493382" cy="333016"/>
                <a:chOff x="9885307" y="4563943"/>
                <a:chExt cx="662473" cy="333016"/>
              </a:xfrm>
            </p:grpSpPr>
            <p:sp>
              <p:nvSpPr>
                <p:cNvPr id="37" name="Rectangle 36"/>
                <p:cNvSpPr/>
                <p:nvPr/>
              </p:nvSpPr>
              <p:spPr bwMode="auto">
                <a:xfrm>
                  <a:off x="9885307" y="4563943"/>
                  <a:ext cx="662473" cy="278156"/>
                </a:xfrm>
                <a:prstGeom prst="rect">
                  <a:avLst/>
                </a:prstGeom>
                <a:solidFill>
                  <a:srgbClr val="5CC9E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1100" b="1" dirty="0">
                    <a:solidFill>
                      <a:schemeClr val="bg1"/>
                    </a:solidFill>
                    <a:latin typeface="+mj-lt"/>
                    <a:ea typeface="Segoe UI" pitchFamily="34" charset="0"/>
                    <a:cs typeface="Segoe UI" pitchFamily="34" charset="0"/>
                  </a:endParaRPr>
                </a:p>
              </p:txBody>
            </p:sp>
            <p:sp>
              <p:nvSpPr>
                <p:cNvPr id="38" name="TextBox 37"/>
                <p:cNvSpPr txBox="1"/>
                <p:nvPr/>
              </p:nvSpPr>
              <p:spPr>
                <a:xfrm>
                  <a:off x="9907899" y="4618181"/>
                  <a:ext cx="602453" cy="278778"/>
                </a:xfrm>
                <a:prstGeom prst="rect">
                  <a:avLst/>
                </a:prstGeom>
                <a:noFill/>
              </p:spPr>
              <p:txBody>
                <a:bodyPr wrap="none" lIns="182880" tIns="146304" rIns="182880" bIns="146304" rtlCol="0">
                  <a:noAutofit/>
                </a:bodyPr>
                <a:lstStyle/>
                <a:p>
                  <a:pPr algn="ctr">
                    <a:lnSpc>
                      <a:spcPct val="0"/>
                    </a:lnSpc>
                    <a:spcAft>
                      <a:spcPts val="600"/>
                    </a:spcAft>
                  </a:pPr>
                  <a:r>
                    <a:rPr lang="en-US" sz="900" dirty="0">
                      <a:solidFill>
                        <a:schemeClr val="tx1">
                          <a:lumMod val="85000"/>
                          <a:lumOff val="15000"/>
                        </a:schemeClr>
                      </a:solidFill>
                      <a:latin typeface="Calibri" panose="020F0502020204030204" pitchFamily="34" charset="0"/>
                    </a:rPr>
                    <a:t>Hadoop Common </a:t>
                  </a:r>
                </a:p>
              </p:txBody>
            </p:sp>
          </p:grpSp>
        </p:grpSp>
        <p:grpSp>
          <p:nvGrpSpPr>
            <p:cNvPr id="9" name="Group 8"/>
            <p:cNvGrpSpPr/>
            <p:nvPr/>
          </p:nvGrpSpPr>
          <p:grpSpPr>
            <a:xfrm>
              <a:off x="9973718" y="2301400"/>
              <a:ext cx="1686362" cy="3883271"/>
              <a:chOff x="9973718" y="2301400"/>
              <a:chExt cx="1686362" cy="3883271"/>
            </a:xfrm>
          </p:grpSpPr>
          <p:grpSp>
            <p:nvGrpSpPr>
              <p:cNvPr id="10" name="Group 9"/>
              <p:cNvGrpSpPr/>
              <p:nvPr/>
            </p:nvGrpSpPr>
            <p:grpSpPr>
              <a:xfrm>
                <a:off x="9973718" y="2301400"/>
                <a:ext cx="1679511" cy="1148642"/>
                <a:chOff x="9747530" y="4513754"/>
                <a:chExt cx="1679511" cy="1148642"/>
              </a:xfrm>
            </p:grpSpPr>
            <p:sp>
              <p:nvSpPr>
                <p:cNvPr id="23" name="Rectangle 22"/>
                <p:cNvSpPr/>
                <p:nvPr/>
              </p:nvSpPr>
              <p:spPr bwMode="auto">
                <a:xfrm>
                  <a:off x="9747530" y="4513754"/>
                  <a:ext cx="1679511" cy="1148642"/>
                </a:xfrm>
                <a:prstGeom prst="rect">
                  <a:avLst/>
                </a:prstGeom>
                <a:solidFill>
                  <a:srgbClr val="0F7FA7"/>
                </a:solidFill>
                <a:ln/>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50000"/>
                    </a:lnSpc>
                    <a:spcBef>
                      <a:spcPct val="0"/>
                    </a:spcBef>
                    <a:spcAft>
                      <a:spcPct val="0"/>
                    </a:spcAft>
                  </a:pPr>
                  <a:r>
                    <a:rPr lang="en-US" sz="1200" dirty="0">
                      <a:solidFill>
                        <a:schemeClr val="bg1"/>
                      </a:solidFill>
                      <a:latin typeface="Calibri" panose="020F0502020204030204" pitchFamily="34" charset="0"/>
                      <a:ea typeface="Segoe UI" pitchFamily="34" charset="0"/>
                      <a:cs typeface="Segoe UI" pitchFamily="34" charset="0"/>
                    </a:rPr>
                    <a:t>Hadoop 0.20</a:t>
                  </a:r>
                </a:p>
              </p:txBody>
            </p:sp>
            <p:sp>
              <p:nvSpPr>
                <p:cNvPr id="24" name="Rectangle 23"/>
                <p:cNvSpPr/>
                <p:nvPr/>
              </p:nvSpPr>
              <p:spPr bwMode="auto">
                <a:xfrm>
                  <a:off x="10629573" y="4819020"/>
                  <a:ext cx="726932" cy="278156"/>
                </a:xfrm>
                <a:prstGeom prst="rect">
                  <a:avLst/>
                </a:prstGeom>
                <a:solidFill>
                  <a:srgbClr val="5CC9E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grpSp>
              <p:nvGrpSpPr>
                <p:cNvPr id="25" name="Group 24"/>
                <p:cNvGrpSpPr/>
                <p:nvPr/>
              </p:nvGrpSpPr>
              <p:grpSpPr>
                <a:xfrm>
                  <a:off x="9857315" y="4819020"/>
                  <a:ext cx="914400" cy="278778"/>
                  <a:chOff x="9885307" y="4563943"/>
                  <a:chExt cx="914400" cy="278778"/>
                </a:xfrm>
              </p:grpSpPr>
              <p:sp>
                <p:nvSpPr>
                  <p:cNvPr id="30" name="Rectangle 29"/>
                  <p:cNvSpPr/>
                  <p:nvPr/>
                </p:nvSpPr>
                <p:spPr bwMode="auto">
                  <a:xfrm>
                    <a:off x="9885307" y="4563943"/>
                    <a:ext cx="662473" cy="278156"/>
                  </a:xfrm>
                  <a:prstGeom prst="rect">
                    <a:avLst/>
                  </a:prstGeom>
                  <a:solidFill>
                    <a:srgbClr val="5CC9E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1100" b="1" dirty="0">
                      <a:solidFill>
                        <a:schemeClr val="bg1"/>
                      </a:solidFill>
                      <a:latin typeface="+mj-lt"/>
                      <a:ea typeface="Segoe UI" pitchFamily="34" charset="0"/>
                      <a:cs typeface="Segoe UI" pitchFamily="34" charset="0"/>
                    </a:endParaRPr>
                  </a:p>
                </p:txBody>
              </p:sp>
              <p:sp>
                <p:nvSpPr>
                  <p:cNvPr id="31" name="TextBox 30"/>
                  <p:cNvSpPr txBox="1"/>
                  <p:nvPr/>
                </p:nvSpPr>
                <p:spPr>
                  <a:xfrm>
                    <a:off x="9885307" y="4637827"/>
                    <a:ext cx="914400" cy="204894"/>
                  </a:xfrm>
                  <a:prstGeom prst="rect">
                    <a:avLst/>
                  </a:prstGeom>
                  <a:noFill/>
                </p:spPr>
                <p:txBody>
                  <a:bodyPr wrap="none" lIns="182880" tIns="146304" rIns="182880" bIns="146304" rtlCol="0">
                    <a:noAutofit/>
                  </a:bodyPr>
                  <a:lstStyle/>
                  <a:p>
                    <a:pPr>
                      <a:lnSpc>
                        <a:spcPct val="0"/>
                      </a:lnSpc>
                      <a:spcAft>
                        <a:spcPts val="600"/>
                      </a:spcAft>
                    </a:pPr>
                    <a:r>
                      <a:rPr lang="en-US" sz="900" dirty="0">
                        <a:solidFill>
                          <a:schemeClr val="tx1">
                            <a:lumMod val="85000"/>
                            <a:lumOff val="15000"/>
                          </a:schemeClr>
                        </a:solidFill>
                        <a:latin typeface="Calibri" panose="020F0502020204030204" pitchFamily="34" charset="0"/>
                      </a:rPr>
                      <a:t>HDFS</a:t>
                    </a:r>
                  </a:p>
                </p:txBody>
              </p:sp>
            </p:grpSp>
            <p:sp>
              <p:nvSpPr>
                <p:cNvPr id="26" name="TextBox 25"/>
                <p:cNvSpPr txBox="1"/>
                <p:nvPr/>
              </p:nvSpPr>
              <p:spPr>
                <a:xfrm>
                  <a:off x="10687808" y="4927203"/>
                  <a:ext cx="647086" cy="136296"/>
                </a:xfrm>
                <a:prstGeom prst="rect">
                  <a:avLst/>
                </a:prstGeom>
                <a:noFill/>
              </p:spPr>
              <p:txBody>
                <a:bodyPr wrap="none" lIns="182880" tIns="146304" rIns="182880" bIns="146304" rtlCol="0">
                  <a:noAutofit/>
                </a:bodyPr>
                <a:lstStyle/>
                <a:p>
                  <a:pPr>
                    <a:lnSpc>
                      <a:spcPct val="0"/>
                    </a:lnSpc>
                    <a:spcAft>
                      <a:spcPts val="600"/>
                    </a:spcAft>
                  </a:pPr>
                  <a:r>
                    <a:rPr lang="en-US" sz="900" dirty="0">
                      <a:solidFill>
                        <a:schemeClr val="tx1">
                          <a:lumMod val="85000"/>
                          <a:lumOff val="15000"/>
                        </a:schemeClr>
                      </a:solidFill>
                      <a:latin typeface="Calibri" panose="020F0502020204030204" pitchFamily="34" charset="0"/>
                    </a:rPr>
                    <a:t>MRv1</a:t>
                  </a:r>
                </a:p>
              </p:txBody>
            </p:sp>
            <p:grpSp>
              <p:nvGrpSpPr>
                <p:cNvPr id="27" name="Group 26"/>
                <p:cNvGrpSpPr/>
                <p:nvPr/>
              </p:nvGrpSpPr>
              <p:grpSpPr>
                <a:xfrm>
                  <a:off x="9857317" y="5224086"/>
                  <a:ext cx="1493382" cy="333016"/>
                  <a:chOff x="9885307" y="4563943"/>
                  <a:chExt cx="662473" cy="333016"/>
                </a:xfrm>
              </p:grpSpPr>
              <p:sp>
                <p:nvSpPr>
                  <p:cNvPr id="28" name="Rectangle 27"/>
                  <p:cNvSpPr/>
                  <p:nvPr/>
                </p:nvSpPr>
                <p:spPr bwMode="auto">
                  <a:xfrm>
                    <a:off x="9885307" y="4563943"/>
                    <a:ext cx="662473" cy="278156"/>
                  </a:xfrm>
                  <a:prstGeom prst="rect">
                    <a:avLst/>
                  </a:prstGeom>
                  <a:solidFill>
                    <a:srgbClr val="5CC9E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1100" b="1" dirty="0">
                      <a:solidFill>
                        <a:schemeClr val="bg1"/>
                      </a:solidFill>
                      <a:latin typeface="+mj-lt"/>
                      <a:ea typeface="Segoe UI" pitchFamily="34" charset="0"/>
                      <a:cs typeface="Segoe UI" pitchFamily="34" charset="0"/>
                    </a:endParaRPr>
                  </a:p>
                </p:txBody>
              </p:sp>
              <p:sp>
                <p:nvSpPr>
                  <p:cNvPr id="29" name="TextBox 28"/>
                  <p:cNvSpPr txBox="1"/>
                  <p:nvPr/>
                </p:nvSpPr>
                <p:spPr>
                  <a:xfrm>
                    <a:off x="9907899" y="4618181"/>
                    <a:ext cx="602453" cy="278778"/>
                  </a:xfrm>
                  <a:prstGeom prst="rect">
                    <a:avLst/>
                  </a:prstGeom>
                  <a:noFill/>
                </p:spPr>
                <p:txBody>
                  <a:bodyPr wrap="none" lIns="182880" tIns="146304" rIns="182880" bIns="146304" rtlCol="0">
                    <a:noAutofit/>
                  </a:bodyPr>
                  <a:lstStyle/>
                  <a:p>
                    <a:pPr algn="ctr">
                      <a:lnSpc>
                        <a:spcPct val="0"/>
                      </a:lnSpc>
                      <a:spcAft>
                        <a:spcPts val="600"/>
                      </a:spcAft>
                    </a:pPr>
                    <a:r>
                      <a:rPr lang="en-US" sz="900" dirty="0">
                        <a:solidFill>
                          <a:schemeClr val="tx1">
                            <a:lumMod val="85000"/>
                            <a:lumOff val="15000"/>
                          </a:schemeClr>
                        </a:solidFill>
                        <a:latin typeface="Calibri" panose="020F0502020204030204" pitchFamily="34" charset="0"/>
                      </a:rPr>
                      <a:t>Hadoop Common </a:t>
                    </a:r>
                  </a:p>
                </p:txBody>
              </p:sp>
            </p:grpSp>
          </p:grpSp>
          <p:grpSp>
            <p:nvGrpSpPr>
              <p:cNvPr id="11" name="Group 10"/>
              <p:cNvGrpSpPr/>
              <p:nvPr/>
            </p:nvGrpSpPr>
            <p:grpSpPr>
              <a:xfrm>
                <a:off x="9980569" y="4780750"/>
                <a:ext cx="1679511" cy="1403921"/>
                <a:chOff x="9747530" y="4439502"/>
                <a:chExt cx="1679511" cy="1148642"/>
              </a:xfrm>
            </p:grpSpPr>
            <p:sp>
              <p:nvSpPr>
                <p:cNvPr id="14" name="Rectangle 13"/>
                <p:cNvSpPr/>
                <p:nvPr/>
              </p:nvSpPr>
              <p:spPr bwMode="auto">
                <a:xfrm>
                  <a:off x="9747530" y="4439502"/>
                  <a:ext cx="1679511" cy="1148642"/>
                </a:xfrm>
                <a:prstGeom prst="rect">
                  <a:avLst/>
                </a:prstGeom>
                <a:solidFill>
                  <a:srgbClr val="0F7FA7"/>
                </a:solidFill>
                <a:ln/>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50000"/>
                    </a:lnSpc>
                    <a:spcBef>
                      <a:spcPct val="0"/>
                    </a:spcBef>
                    <a:spcAft>
                      <a:spcPct val="0"/>
                    </a:spcAft>
                  </a:pPr>
                  <a:r>
                    <a:rPr lang="en-US" sz="1200" dirty="0">
                      <a:solidFill>
                        <a:schemeClr val="bg1"/>
                      </a:solidFill>
                      <a:latin typeface="Calibri" panose="020F0502020204030204" pitchFamily="34" charset="0"/>
                      <a:ea typeface="Segoe UI" pitchFamily="34" charset="0"/>
                      <a:cs typeface="Segoe UI" pitchFamily="34" charset="0"/>
                    </a:rPr>
                    <a:t>Hadoop 2.0 (pre-GA)</a:t>
                  </a:r>
                </a:p>
              </p:txBody>
            </p:sp>
            <p:sp>
              <p:nvSpPr>
                <p:cNvPr id="15" name="Rectangle 14"/>
                <p:cNvSpPr/>
                <p:nvPr/>
              </p:nvSpPr>
              <p:spPr bwMode="auto">
                <a:xfrm>
                  <a:off x="10616916" y="4766907"/>
                  <a:ext cx="739589" cy="224870"/>
                </a:xfrm>
                <a:prstGeom prst="rect">
                  <a:avLst/>
                </a:prstGeom>
                <a:solidFill>
                  <a:srgbClr val="5CC9E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grpSp>
              <p:nvGrpSpPr>
                <p:cNvPr id="16" name="Group 15"/>
                <p:cNvGrpSpPr/>
                <p:nvPr/>
              </p:nvGrpSpPr>
              <p:grpSpPr>
                <a:xfrm>
                  <a:off x="9857315" y="4766906"/>
                  <a:ext cx="914400" cy="451625"/>
                  <a:chOff x="9885307" y="4511829"/>
                  <a:chExt cx="914400" cy="451625"/>
                </a:xfrm>
              </p:grpSpPr>
              <p:sp>
                <p:nvSpPr>
                  <p:cNvPr id="21" name="Rectangle 20"/>
                  <p:cNvSpPr/>
                  <p:nvPr/>
                </p:nvSpPr>
                <p:spPr bwMode="auto">
                  <a:xfrm>
                    <a:off x="9885307" y="4511829"/>
                    <a:ext cx="662473" cy="451625"/>
                  </a:xfrm>
                  <a:prstGeom prst="rect">
                    <a:avLst/>
                  </a:prstGeom>
                  <a:solidFill>
                    <a:srgbClr val="5CC9E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1100" b="1" dirty="0">
                      <a:solidFill>
                        <a:schemeClr val="bg1"/>
                      </a:solidFill>
                      <a:latin typeface="+mj-lt"/>
                      <a:ea typeface="Segoe UI" pitchFamily="34" charset="0"/>
                      <a:cs typeface="Segoe UI" pitchFamily="34" charset="0"/>
                    </a:endParaRPr>
                  </a:p>
                </p:txBody>
              </p:sp>
              <p:sp>
                <p:nvSpPr>
                  <p:cNvPr id="22" name="TextBox 21"/>
                  <p:cNvSpPr txBox="1"/>
                  <p:nvPr/>
                </p:nvSpPr>
                <p:spPr>
                  <a:xfrm>
                    <a:off x="9885307" y="4681670"/>
                    <a:ext cx="914400" cy="196386"/>
                  </a:xfrm>
                  <a:prstGeom prst="rect">
                    <a:avLst/>
                  </a:prstGeom>
                  <a:noFill/>
                </p:spPr>
                <p:txBody>
                  <a:bodyPr wrap="none" lIns="182880" tIns="146304" rIns="182880" bIns="146304" rtlCol="0">
                    <a:noAutofit/>
                  </a:bodyPr>
                  <a:lstStyle/>
                  <a:p>
                    <a:pPr>
                      <a:lnSpc>
                        <a:spcPct val="0"/>
                      </a:lnSpc>
                      <a:spcAft>
                        <a:spcPts val="600"/>
                      </a:spcAft>
                    </a:pPr>
                    <a:r>
                      <a:rPr lang="en-US" sz="900" dirty="0">
                        <a:solidFill>
                          <a:schemeClr val="tx1">
                            <a:lumMod val="85000"/>
                            <a:lumOff val="15000"/>
                          </a:schemeClr>
                        </a:solidFill>
                        <a:latin typeface="Calibri" panose="020F0502020204030204" pitchFamily="34" charset="0"/>
                      </a:rPr>
                      <a:t>HDFS</a:t>
                    </a:r>
                  </a:p>
                </p:txBody>
              </p:sp>
            </p:grpSp>
            <p:sp>
              <p:nvSpPr>
                <p:cNvPr id="17" name="TextBox 16"/>
                <p:cNvSpPr txBox="1"/>
                <p:nvPr/>
              </p:nvSpPr>
              <p:spPr>
                <a:xfrm>
                  <a:off x="10656391" y="4836876"/>
                  <a:ext cx="696218" cy="134224"/>
                </a:xfrm>
                <a:prstGeom prst="rect">
                  <a:avLst/>
                </a:prstGeom>
                <a:noFill/>
              </p:spPr>
              <p:txBody>
                <a:bodyPr wrap="none" lIns="182880" tIns="146304" rIns="182880" bIns="146304" rtlCol="0">
                  <a:noAutofit/>
                </a:bodyPr>
                <a:lstStyle/>
                <a:p>
                  <a:pPr>
                    <a:lnSpc>
                      <a:spcPct val="0"/>
                    </a:lnSpc>
                    <a:spcAft>
                      <a:spcPts val="600"/>
                    </a:spcAft>
                  </a:pPr>
                  <a:r>
                    <a:rPr lang="en-US" sz="900" dirty="0">
                      <a:solidFill>
                        <a:schemeClr val="tx1">
                          <a:lumMod val="85000"/>
                          <a:lumOff val="15000"/>
                        </a:schemeClr>
                      </a:solidFill>
                      <a:latin typeface="Calibri" panose="020F0502020204030204" pitchFamily="34" charset="0"/>
                    </a:rPr>
                    <a:t>MRv2</a:t>
                  </a:r>
                </a:p>
              </p:txBody>
            </p:sp>
            <p:grpSp>
              <p:nvGrpSpPr>
                <p:cNvPr id="18" name="Group 17"/>
                <p:cNvGrpSpPr/>
                <p:nvPr/>
              </p:nvGrpSpPr>
              <p:grpSpPr>
                <a:xfrm>
                  <a:off x="9857317" y="5292551"/>
                  <a:ext cx="1493382" cy="253384"/>
                  <a:chOff x="9885307" y="4632408"/>
                  <a:chExt cx="662473" cy="253384"/>
                </a:xfrm>
              </p:grpSpPr>
              <p:sp>
                <p:nvSpPr>
                  <p:cNvPr id="19" name="Rectangle 18"/>
                  <p:cNvSpPr/>
                  <p:nvPr/>
                </p:nvSpPr>
                <p:spPr bwMode="auto">
                  <a:xfrm>
                    <a:off x="9885307" y="4632408"/>
                    <a:ext cx="662473" cy="253384"/>
                  </a:xfrm>
                  <a:prstGeom prst="rect">
                    <a:avLst/>
                  </a:prstGeom>
                  <a:solidFill>
                    <a:srgbClr val="5CC9E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1100" b="1" dirty="0">
                      <a:solidFill>
                        <a:schemeClr val="bg1"/>
                      </a:solidFill>
                      <a:latin typeface="+mj-lt"/>
                      <a:ea typeface="Segoe UI" pitchFamily="34" charset="0"/>
                      <a:cs typeface="Segoe UI" pitchFamily="34" charset="0"/>
                    </a:endParaRPr>
                  </a:p>
                </p:txBody>
              </p:sp>
              <p:sp>
                <p:nvSpPr>
                  <p:cNvPr id="20" name="TextBox 19"/>
                  <p:cNvSpPr txBox="1"/>
                  <p:nvPr/>
                </p:nvSpPr>
                <p:spPr>
                  <a:xfrm>
                    <a:off x="9912278" y="4679702"/>
                    <a:ext cx="602453" cy="206090"/>
                  </a:xfrm>
                  <a:prstGeom prst="rect">
                    <a:avLst/>
                  </a:prstGeom>
                  <a:noFill/>
                </p:spPr>
                <p:txBody>
                  <a:bodyPr wrap="none" lIns="182880" tIns="146304" rIns="182880" bIns="146304" rtlCol="0">
                    <a:noAutofit/>
                  </a:bodyPr>
                  <a:lstStyle/>
                  <a:p>
                    <a:pPr algn="ctr">
                      <a:lnSpc>
                        <a:spcPct val="0"/>
                      </a:lnSpc>
                      <a:spcAft>
                        <a:spcPts val="600"/>
                      </a:spcAft>
                    </a:pPr>
                    <a:r>
                      <a:rPr lang="en-US" sz="900" dirty="0">
                        <a:solidFill>
                          <a:schemeClr val="tx1">
                            <a:lumMod val="85000"/>
                            <a:lumOff val="15000"/>
                          </a:schemeClr>
                        </a:solidFill>
                        <a:latin typeface="Calibri" panose="020F0502020204030204" pitchFamily="34" charset="0"/>
                      </a:rPr>
                      <a:t>Hadoop Common </a:t>
                    </a:r>
                  </a:p>
                </p:txBody>
              </p:sp>
            </p:grpSp>
          </p:grpSp>
          <p:sp>
            <p:nvSpPr>
              <p:cNvPr id="12" name="Rectangle 11"/>
              <p:cNvSpPr/>
              <p:nvPr/>
            </p:nvSpPr>
            <p:spPr bwMode="auto">
              <a:xfrm>
                <a:off x="10849955" y="5488299"/>
                <a:ext cx="726932" cy="246974"/>
              </a:xfrm>
              <a:prstGeom prst="rect">
                <a:avLst/>
              </a:prstGeom>
              <a:solidFill>
                <a:srgbClr val="5CC9E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3" name="TextBox 12"/>
              <p:cNvSpPr txBox="1"/>
              <p:nvPr/>
            </p:nvSpPr>
            <p:spPr>
              <a:xfrm>
                <a:off x="10902535" y="5566327"/>
                <a:ext cx="647086" cy="166587"/>
              </a:xfrm>
              <a:prstGeom prst="rect">
                <a:avLst/>
              </a:prstGeom>
              <a:noFill/>
            </p:spPr>
            <p:txBody>
              <a:bodyPr wrap="none" lIns="182880" tIns="146304" rIns="182880" bIns="146304" rtlCol="0">
                <a:noAutofit/>
              </a:bodyPr>
              <a:lstStyle/>
              <a:p>
                <a:pPr>
                  <a:lnSpc>
                    <a:spcPct val="0"/>
                  </a:lnSpc>
                  <a:spcAft>
                    <a:spcPts val="600"/>
                  </a:spcAft>
                </a:pPr>
                <a:r>
                  <a:rPr lang="en-US" sz="900" dirty="0">
                    <a:solidFill>
                      <a:schemeClr val="tx1">
                        <a:lumMod val="85000"/>
                        <a:lumOff val="15000"/>
                      </a:schemeClr>
                    </a:solidFill>
                    <a:latin typeface="Calibri" panose="020F0502020204030204" pitchFamily="34" charset="0"/>
                  </a:rPr>
                  <a:t>YARN</a:t>
                </a:r>
              </a:p>
            </p:txBody>
          </p:sp>
        </p:grpSp>
      </p:grpSp>
    </p:spTree>
    <p:extLst>
      <p:ext uri="{BB962C8B-B14F-4D97-AF65-F5344CB8AC3E}">
        <p14:creationId xmlns:p14="http://schemas.microsoft.com/office/powerpoint/2010/main" val="3970317548"/>
      </p:ext>
    </p:extLst>
  </p:cSld>
  <p:clrMapOvr>
    <a:masterClrMapping/>
  </p:clrMapOvr>
  <p:transition spd="med">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6819811" y="5404884"/>
            <a:ext cx="4932710" cy="132553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26" name="Rectangle 25"/>
          <p:cNvSpPr/>
          <p:nvPr/>
        </p:nvSpPr>
        <p:spPr bwMode="auto">
          <a:xfrm>
            <a:off x="6826900" y="4093518"/>
            <a:ext cx="4932710" cy="122984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25" name="Rectangle 24"/>
          <p:cNvSpPr/>
          <p:nvPr/>
        </p:nvSpPr>
        <p:spPr bwMode="auto">
          <a:xfrm>
            <a:off x="1180214" y="4316808"/>
            <a:ext cx="4362579" cy="184447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2" name="Title 1"/>
          <p:cNvSpPr>
            <a:spLocks noGrp="1"/>
          </p:cNvSpPr>
          <p:nvPr>
            <p:ph type="title"/>
          </p:nvPr>
        </p:nvSpPr>
        <p:spPr/>
        <p:txBody>
          <a:bodyPr/>
          <a:lstStyle/>
          <a:p>
            <a:r>
              <a:rPr lang="en-US" dirty="0"/>
              <a:t>YARN – Motivation</a:t>
            </a:r>
          </a:p>
        </p:txBody>
      </p:sp>
      <p:sp>
        <p:nvSpPr>
          <p:cNvPr id="3" name="Slide Number Placeholder 2"/>
          <p:cNvSpPr>
            <a:spLocks noGrp="1"/>
          </p:cNvSpPr>
          <p:nvPr>
            <p:ph type="sldNum" sz="quarter" idx="11"/>
          </p:nvPr>
        </p:nvSpPr>
        <p:spPr>
          <a:xfrm>
            <a:off x="11367165" y="6522806"/>
            <a:ext cx="555597" cy="133860"/>
          </a:xfrm>
        </p:spPr>
        <p:txBody>
          <a:bodyPr/>
          <a:lstStyle/>
          <a:p>
            <a:pPr>
              <a:defRPr/>
            </a:pPr>
            <a:fld id="{F8A0AC42-AA1D-4944-8D96-660DE70C7E1B}" type="slidenum">
              <a:rPr lang="en-US" smtClean="0"/>
              <a:pPr>
                <a:defRPr/>
              </a:pPr>
              <a:t>13</a:t>
            </a:fld>
            <a:endParaRPr lang="en-US" dirty="0"/>
          </a:p>
        </p:txBody>
      </p:sp>
      <p:sp>
        <p:nvSpPr>
          <p:cNvPr id="4" name="TextBox 3"/>
          <p:cNvSpPr txBox="1"/>
          <p:nvPr/>
        </p:nvSpPr>
        <p:spPr>
          <a:xfrm>
            <a:off x="355367" y="1118624"/>
            <a:ext cx="5949740" cy="2943678"/>
          </a:xfrm>
          <a:prstGeom prst="rect">
            <a:avLst/>
          </a:prstGeom>
          <a:noFill/>
          <a:ln>
            <a:solidFill>
              <a:schemeClr val="tx1">
                <a:lumMod val="50000"/>
                <a:lumOff val="50000"/>
              </a:schemeClr>
            </a:solidFill>
          </a:ln>
        </p:spPr>
        <p:txBody>
          <a:bodyPr wrap="square" lIns="182880" tIns="146304" rIns="182880" bIns="146304" rtlCol="0">
            <a:noAutofit/>
          </a:bodyPr>
          <a:lstStyle/>
          <a:p>
            <a:pPr algn="ctr">
              <a:lnSpc>
                <a:spcPct val="90000"/>
              </a:lnSpc>
              <a:spcAft>
                <a:spcPts val="600"/>
              </a:spcAft>
            </a:pPr>
            <a:r>
              <a:rPr lang="en-US" sz="2000" dirty="0">
                <a:solidFill>
                  <a:schemeClr val="tx1">
                    <a:lumMod val="65000"/>
                    <a:lumOff val="35000"/>
                  </a:schemeClr>
                </a:solidFill>
                <a:latin typeface="Segoe UI Semibold" panose="020B0702040204020203" pitchFamily="34" charset="0"/>
                <a:cs typeface="Segoe UI Semibold" panose="020B0702040204020203" pitchFamily="34" charset="0"/>
              </a:rPr>
              <a:t>Drawbacks of the pre-YARN architecture</a:t>
            </a:r>
          </a:p>
          <a:p>
            <a:pPr marL="285750" indent="-285750">
              <a:lnSpc>
                <a:spcPct val="90000"/>
              </a:lnSpc>
              <a:spcAft>
                <a:spcPts val="600"/>
              </a:spcAft>
              <a:buClr>
                <a:schemeClr val="accent3"/>
              </a:buClr>
              <a:buFont typeface="Wingdings" panose="05000000000000000000" pitchFamily="2" charset="2"/>
              <a:buChar char="§"/>
            </a:pPr>
            <a:r>
              <a:rPr lang="en-US" sz="1600" dirty="0">
                <a:solidFill>
                  <a:schemeClr val="tx1">
                    <a:lumMod val="65000"/>
                    <a:lumOff val="35000"/>
                  </a:schemeClr>
                </a:solidFill>
              </a:rPr>
              <a:t>Jobs scheduling, Resource management and data processing was all inflexibly coupled (MR)</a:t>
            </a:r>
          </a:p>
          <a:p>
            <a:pPr marL="285750" indent="-285750">
              <a:lnSpc>
                <a:spcPct val="90000"/>
              </a:lnSpc>
              <a:spcAft>
                <a:spcPts val="600"/>
              </a:spcAft>
              <a:buClr>
                <a:schemeClr val="accent3"/>
              </a:buClr>
              <a:buFont typeface="Wingdings" panose="05000000000000000000" pitchFamily="2" charset="2"/>
              <a:buChar char="§"/>
            </a:pPr>
            <a:r>
              <a:rPr lang="en-US" sz="1600" dirty="0">
                <a:solidFill>
                  <a:schemeClr val="tx1">
                    <a:lumMod val="65000"/>
                    <a:lumOff val="35000"/>
                  </a:schemeClr>
                </a:solidFill>
              </a:rPr>
              <a:t>Inflexible “slots” were configured on node – Map or Reduce, but not both.</a:t>
            </a:r>
          </a:p>
          <a:p>
            <a:pPr marL="742950" lvl="1" indent="-285750">
              <a:lnSpc>
                <a:spcPct val="90000"/>
              </a:lnSpc>
              <a:spcAft>
                <a:spcPts val="600"/>
              </a:spcAft>
              <a:buClr>
                <a:schemeClr val="accent3"/>
              </a:buClr>
              <a:buFont typeface="Wingdings" panose="05000000000000000000" pitchFamily="2" charset="2"/>
              <a:buChar char="§"/>
            </a:pPr>
            <a:r>
              <a:rPr lang="en-US" sz="1400" dirty="0">
                <a:solidFill>
                  <a:schemeClr val="tx1">
                    <a:lumMod val="65000"/>
                    <a:lumOff val="35000"/>
                  </a:schemeClr>
                </a:solidFill>
              </a:rPr>
              <a:t>Underutilization of cluster when more map or reduce tasks are running</a:t>
            </a:r>
          </a:p>
          <a:p>
            <a:pPr marL="285750" indent="-285750">
              <a:lnSpc>
                <a:spcPct val="90000"/>
              </a:lnSpc>
              <a:spcAft>
                <a:spcPts val="600"/>
              </a:spcAft>
              <a:buClr>
                <a:schemeClr val="accent3"/>
              </a:buClr>
              <a:buFont typeface="Wingdings" panose="05000000000000000000" pitchFamily="2" charset="2"/>
              <a:buChar char="§"/>
            </a:pPr>
            <a:r>
              <a:rPr lang="en-US" sz="1600" dirty="0">
                <a:solidFill>
                  <a:schemeClr val="tx1">
                    <a:lumMod val="65000"/>
                    <a:lumOff val="35000"/>
                  </a:schemeClr>
                </a:solidFill>
              </a:rPr>
              <a:t>Cannot share resources with non-MR applications on Hadoop Cluster (e.g. Impala, </a:t>
            </a:r>
            <a:r>
              <a:rPr lang="en-US" sz="1600" dirty="0" err="1">
                <a:solidFill>
                  <a:schemeClr val="tx1">
                    <a:lumMod val="65000"/>
                    <a:lumOff val="35000"/>
                  </a:schemeClr>
                </a:solidFill>
              </a:rPr>
              <a:t>Giraph</a:t>
            </a:r>
            <a:r>
              <a:rPr lang="en-US" sz="1600" dirty="0">
                <a:solidFill>
                  <a:schemeClr val="tx1">
                    <a:lumMod val="65000"/>
                    <a:lumOff val="35000"/>
                  </a:schemeClr>
                </a:solidFill>
              </a:rPr>
              <a:t>)</a:t>
            </a:r>
          </a:p>
          <a:p>
            <a:pPr marL="285750" indent="-285750">
              <a:lnSpc>
                <a:spcPct val="90000"/>
              </a:lnSpc>
              <a:spcAft>
                <a:spcPts val="600"/>
              </a:spcAft>
              <a:buClr>
                <a:schemeClr val="accent3"/>
              </a:buClr>
              <a:buFont typeface="Wingdings" panose="05000000000000000000" pitchFamily="2" charset="2"/>
              <a:buChar char="§"/>
            </a:pPr>
            <a:r>
              <a:rPr lang="en-US" sz="1600" dirty="0">
                <a:solidFill>
                  <a:schemeClr val="tx1">
                    <a:lumMod val="65000"/>
                    <a:lumOff val="35000"/>
                  </a:schemeClr>
                </a:solidFill>
              </a:rPr>
              <a:t>One JobTracker per cluster limited scalability (max of 4000 nodes)</a:t>
            </a:r>
          </a:p>
          <a:p>
            <a:pPr marL="285750" indent="-285750">
              <a:lnSpc>
                <a:spcPct val="90000"/>
              </a:lnSpc>
              <a:spcAft>
                <a:spcPts val="600"/>
              </a:spcAft>
              <a:buFont typeface="Arial" panose="020B0604020202020204" pitchFamily="34" charset="0"/>
              <a:buChar char="•"/>
            </a:pPr>
            <a:endParaRPr lang="en-US" dirty="0">
              <a:solidFill>
                <a:schemeClr val="tx1">
                  <a:lumMod val="85000"/>
                  <a:lumOff val="15000"/>
                </a:schemeClr>
              </a:solidFill>
            </a:endParaRPr>
          </a:p>
        </p:txBody>
      </p:sp>
      <p:sp>
        <p:nvSpPr>
          <p:cNvPr id="5" name="TextBox 4"/>
          <p:cNvSpPr txBox="1"/>
          <p:nvPr/>
        </p:nvSpPr>
        <p:spPr>
          <a:xfrm>
            <a:off x="6391547" y="1118622"/>
            <a:ext cx="5570096" cy="2943679"/>
          </a:xfrm>
          <a:prstGeom prst="rect">
            <a:avLst/>
          </a:prstGeom>
          <a:noFill/>
          <a:ln>
            <a:solidFill>
              <a:schemeClr val="tx1">
                <a:lumMod val="50000"/>
                <a:lumOff val="50000"/>
              </a:schemeClr>
            </a:solidFill>
          </a:ln>
        </p:spPr>
        <p:txBody>
          <a:bodyPr wrap="square" lIns="182880" tIns="146304" rIns="182880" bIns="146304" rtlCol="0">
            <a:noAutofit/>
          </a:bodyPr>
          <a:lstStyle/>
          <a:p>
            <a:pPr algn="ctr">
              <a:lnSpc>
                <a:spcPct val="90000"/>
              </a:lnSpc>
              <a:spcAft>
                <a:spcPts val="600"/>
              </a:spcAft>
            </a:pPr>
            <a:r>
              <a:rPr lang="en-US" sz="2000" dirty="0">
                <a:solidFill>
                  <a:schemeClr val="tx1">
                    <a:lumMod val="65000"/>
                    <a:lumOff val="35000"/>
                  </a:schemeClr>
                </a:solidFill>
                <a:latin typeface="Segoe UI Semibold" panose="020B0702040204020203" pitchFamily="34" charset="0"/>
                <a:cs typeface="Segoe UI Semibold" panose="020B0702040204020203" pitchFamily="34" charset="0"/>
              </a:rPr>
              <a:t>How YARN addresses the limitations</a:t>
            </a:r>
          </a:p>
          <a:p>
            <a:pPr marL="400050" indent="-285750">
              <a:lnSpc>
                <a:spcPct val="90000"/>
              </a:lnSpc>
              <a:spcAft>
                <a:spcPts val="600"/>
              </a:spcAft>
              <a:buClr>
                <a:schemeClr val="accent3"/>
              </a:buClr>
              <a:buFont typeface="Wingdings" panose="05000000000000000000" pitchFamily="2" charset="2"/>
              <a:buChar char="§"/>
            </a:pPr>
            <a:r>
              <a:rPr lang="en-US" dirty="0">
                <a:solidFill>
                  <a:schemeClr val="tx1">
                    <a:lumMod val="65000"/>
                    <a:lumOff val="35000"/>
                  </a:schemeClr>
                </a:solidFill>
              </a:rPr>
              <a:t>No slots. Node have resources—memory and CPU cores– which are allocated to applications when requested.</a:t>
            </a:r>
          </a:p>
          <a:p>
            <a:pPr marL="400050" indent="-285750">
              <a:lnSpc>
                <a:spcPct val="90000"/>
              </a:lnSpc>
              <a:spcAft>
                <a:spcPts val="600"/>
              </a:spcAft>
              <a:buClr>
                <a:schemeClr val="accent3"/>
              </a:buClr>
              <a:buFont typeface="Wingdings" panose="05000000000000000000" pitchFamily="2" charset="2"/>
              <a:buChar char="§"/>
            </a:pPr>
            <a:r>
              <a:rPr lang="en-US" dirty="0">
                <a:solidFill>
                  <a:schemeClr val="tx1">
                    <a:lumMod val="65000"/>
                    <a:lumOff val="35000"/>
                  </a:schemeClr>
                </a:solidFill>
              </a:rPr>
              <a:t>Support both MR and non-MR applications running on the same cluster</a:t>
            </a:r>
          </a:p>
          <a:p>
            <a:pPr marL="400050" indent="-285750">
              <a:lnSpc>
                <a:spcPct val="90000"/>
              </a:lnSpc>
              <a:spcAft>
                <a:spcPts val="600"/>
              </a:spcAft>
              <a:buClr>
                <a:schemeClr val="accent3"/>
              </a:buClr>
              <a:buFont typeface="Wingdings" panose="05000000000000000000" pitchFamily="2" charset="2"/>
              <a:buChar char="§"/>
            </a:pPr>
            <a:r>
              <a:rPr lang="en-US" dirty="0">
                <a:solidFill>
                  <a:schemeClr val="tx1">
                    <a:lumMod val="65000"/>
                    <a:lumOff val="35000"/>
                  </a:schemeClr>
                </a:solidFill>
              </a:rPr>
              <a:t>Most Job Tracker functions moved to Application Master– one cluster can have many Application Masters</a:t>
            </a:r>
          </a:p>
          <a:p>
            <a:pPr marL="285750" indent="-285750">
              <a:lnSpc>
                <a:spcPct val="90000"/>
              </a:lnSpc>
              <a:spcAft>
                <a:spcPts val="600"/>
              </a:spcAft>
              <a:buFont typeface="Arial" panose="020B0604020202020204" pitchFamily="34" charset="0"/>
              <a:buChar char="•"/>
            </a:pPr>
            <a:endParaRPr lang="en-US" dirty="0">
              <a:solidFill>
                <a:schemeClr val="tx1">
                  <a:lumMod val="85000"/>
                  <a:lumOff val="15000"/>
                </a:schemeClr>
              </a:solidFill>
            </a:endParaRPr>
          </a:p>
        </p:txBody>
      </p:sp>
      <p:sp>
        <p:nvSpPr>
          <p:cNvPr id="6" name="Rounded Rectangle 5"/>
          <p:cNvSpPr/>
          <p:nvPr/>
        </p:nvSpPr>
        <p:spPr bwMode="auto">
          <a:xfrm>
            <a:off x="1368052" y="5582087"/>
            <a:ext cx="4054552" cy="467832"/>
          </a:xfrm>
          <a:prstGeom prst="round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b="1" dirty="0">
              <a:solidFill>
                <a:schemeClr val="bg1"/>
              </a:solidFill>
              <a:latin typeface="+mj-lt"/>
              <a:ea typeface="Segoe UI" pitchFamily="34" charset="0"/>
              <a:cs typeface="Segoe UI" pitchFamily="34" charset="0"/>
            </a:endParaRPr>
          </a:p>
        </p:txBody>
      </p:sp>
      <p:sp>
        <p:nvSpPr>
          <p:cNvPr id="7" name="TextBox 6"/>
          <p:cNvSpPr txBox="1"/>
          <p:nvPr/>
        </p:nvSpPr>
        <p:spPr>
          <a:xfrm>
            <a:off x="1410739" y="5592720"/>
            <a:ext cx="4132054" cy="528724"/>
          </a:xfrm>
          <a:prstGeom prst="rect">
            <a:avLst/>
          </a:prstGeom>
          <a:noFill/>
        </p:spPr>
        <p:txBody>
          <a:bodyPr wrap="square" lIns="182880" tIns="146304" rIns="182880" bIns="146304" rtlCol="0">
            <a:noAutofit/>
          </a:bodyPr>
          <a:lstStyle/>
          <a:p>
            <a:pPr>
              <a:lnSpc>
                <a:spcPct val="90000"/>
              </a:lnSpc>
              <a:spcAft>
                <a:spcPts val="600"/>
              </a:spcAft>
            </a:pPr>
            <a:r>
              <a:rPr lang="en-US" sz="1600" dirty="0">
                <a:solidFill>
                  <a:schemeClr val="bg1"/>
                </a:solidFill>
              </a:rPr>
              <a:t>Resource Management  &amp; Job Scheduling</a:t>
            </a:r>
          </a:p>
        </p:txBody>
      </p:sp>
      <p:sp>
        <p:nvSpPr>
          <p:cNvPr id="10" name="Rounded Rectangle 9"/>
          <p:cNvSpPr/>
          <p:nvPr/>
        </p:nvSpPr>
        <p:spPr bwMode="auto">
          <a:xfrm>
            <a:off x="1368051" y="5085901"/>
            <a:ext cx="4054553" cy="467832"/>
          </a:xfrm>
          <a:prstGeom prst="round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b="1" dirty="0">
              <a:solidFill>
                <a:schemeClr val="bg1"/>
              </a:solidFill>
              <a:latin typeface="+mj-lt"/>
              <a:ea typeface="Segoe UI" pitchFamily="34" charset="0"/>
              <a:cs typeface="Segoe UI" pitchFamily="34" charset="0"/>
            </a:endParaRPr>
          </a:p>
        </p:txBody>
      </p:sp>
      <p:sp>
        <p:nvSpPr>
          <p:cNvPr id="12" name="Rounded Rectangle 11"/>
          <p:cNvSpPr/>
          <p:nvPr/>
        </p:nvSpPr>
        <p:spPr bwMode="auto">
          <a:xfrm>
            <a:off x="1368051" y="4579082"/>
            <a:ext cx="4054553" cy="467832"/>
          </a:xfrm>
          <a:prstGeom prst="round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b="1" dirty="0">
              <a:solidFill>
                <a:schemeClr val="bg1"/>
              </a:solidFill>
              <a:latin typeface="+mj-lt"/>
              <a:ea typeface="Segoe UI" pitchFamily="34" charset="0"/>
              <a:cs typeface="Segoe UI" pitchFamily="34" charset="0"/>
            </a:endParaRPr>
          </a:p>
        </p:txBody>
      </p:sp>
      <p:sp>
        <p:nvSpPr>
          <p:cNvPr id="13" name="TextBox 12"/>
          <p:cNvSpPr txBox="1"/>
          <p:nvPr/>
        </p:nvSpPr>
        <p:spPr>
          <a:xfrm>
            <a:off x="1492568" y="4579082"/>
            <a:ext cx="1697195" cy="528724"/>
          </a:xfrm>
          <a:prstGeom prst="rect">
            <a:avLst/>
          </a:prstGeom>
          <a:noFill/>
        </p:spPr>
        <p:txBody>
          <a:bodyPr wrap="none" lIns="182880" tIns="146304" rIns="182880" bIns="146304" rtlCol="0">
            <a:noAutofit/>
          </a:bodyPr>
          <a:lstStyle/>
          <a:p>
            <a:pPr>
              <a:lnSpc>
                <a:spcPct val="90000"/>
              </a:lnSpc>
              <a:spcAft>
                <a:spcPts val="600"/>
              </a:spcAft>
            </a:pPr>
            <a:r>
              <a:rPr lang="en-US" sz="1600" dirty="0">
                <a:solidFill>
                  <a:schemeClr val="bg1"/>
                </a:solidFill>
              </a:rPr>
              <a:t>Unified API</a:t>
            </a:r>
          </a:p>
        </p:txBody>
      </p:sp>
      <p:sp>
        <p:nvSpPr>
          <p:cNvPr id="14" name="Rounded Rectangle 13"/>
          <p:cNvSpPr/>
          <p:nvPr/>
        </p:nvSpPr>
        <p:spPr bwMode="auto">
          <a:xfrm>
            <a:off x="6921812" y="4823627"/>
            <a:ext cx="4742104" cy="467832"/>
          </a:xfrm>
          <a:prstGeom prst="round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6" name="Rounded Rectangle 15"/>
          <p:cNvSpPr/>
          <p:nvPr/>
        </p:nvSpPr>
        <p:spPr bwMode="auto">
          <a:xfrm>
            <a:off x="6921812" y="4316808"/>
            <a:ext cx="4742104" cy="467832"/>
          </a:xfrm>
          <a:prstGeom prst="round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7" name="TextBox 16"/>
          <p:cNvSpPr txBox="1"/>
          <p:nvPr/>
        </p:nvSpPr>
        <p:spPr>
          <a:xfrm>
            <a:off x="7053412" y="4316808"/>
            <a:ext cx="2647507" cy="528724"/>
          </a:xfrm>
          <a:prstGeom prst="rect">
            <a:avLst/>
          </a:prstGeom>
          <a:noFill/>
        </p:spPr>
        <p:txBody>
          <a:bodyPr wrap="none" lIns="182880" tIns="146304" rIns="182880" bIns="146304" rtlCol="0">
            <a:noAutofit/>
          </a:bodyPr>
          <a:lstStyle/>
          <a:p>
            <a:pPr>
              <a:lnSpc>
                <a:spcPct val="90000"/>
              </a:lnSpc>
              <a:spcAft>
                <a:spcPts val="600"/>
              </a:spcAft>
            </a:pPr>
            <a:r>
              <a:rPr lang="en-US" dirty="0">
                <a:solidFill>
                  <a:schemeClr val="bg1"/>
                </a:solidFill>
              </a:rPr>
              <a:t>MR API</a:t>
            </a:r>
          </a:p>
        </p:txBody>
      </p:sp>
      <p:sp>
        <p:nvSpPr>
          <p:cNvPr id="18" name="Rounded Rectangle 17"/>
          <p:cNvSpPr/>
          <p:nvPr/>
        </p:nvSpPr>
        <p:spPr bwMode="auto">
          <a:xfrm>
            <a:off x="6932446" y="6138535"/>
            <a:ext cx="4731470" cy="467832"/>
          </a:xfrm>
          <a:prstGeom prst="round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20" name="Rounded Rectangle 19"/>
          <p:cNvSpPr/>
          <p:nvPr/>
        </p:nvSpPr>
        <p:spPr bwMode="auto">
          <a:xfrm>
            <a:off x="6932446" y="5631716"/>
            <a:ext cx="4731470" cy="467832"/>
          </a:xfrm>
          <a:prstGeom prst="round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21" name="TextBox 20"/>
          <p:cNvSpPr txBox="1"/>
          <p:nvPr/>
        </p:nvSpPr>
        <p:spPr>
          <a:xfrm>
            <a:off x="7053412" y="5631716"/>
            <a:ext cx="2647507" cy="528724"/>
          </a:xfrm>
          <a:prstGeom prst="rect">
            <a:avLst/>
          </a:prstGeom>
          <a:noFill/>
        </p:spPr>
        <p:txBody>
          <a:bodyPr wrap="none" lIns="182880" tIns="146304" rIns="182880" bIns="146304" rtlCol="0">
            <a:noAutofit/>
          </a:bodyPr>
          <a:lstStyle/>
          <a:p>
            <a:pPr>
              <a:lnSpc>
                <a:spcPct val="90000"/>
              </a:lnSpc>
              <a:spcAft>
                <a:spcPts val="600"/>
              </a:spcAft>
            </a:pPr>
            <a:r>
              <a:rPr lang="en-US" sz="1600" dirty="0">
                <a:solidFill>
                  <a:schemeClr val="bg1"/>
                </a:solidFill>
              </a:rPr>
              <a:t>YARN API</a:t>
            </a:r>
          </a:p>
        </p:txBody>
      </p:sp>
      <p:sp>
        <p:nvSpPr>
          <p:cNvPr id="22" name="TextBox 21"/>
          <p:cNvSpPr txBox="1"/>
          <p:nvPr/>
        </p:nvSpPr>
        <p:spPr>
          <a:xfrm>
            <a:off x="7053412" y="6159796"/>
            <a:ext cx="4330519" cy="369271"/>
          </a:xfrm>
          <a:prstGeom prst="rect">
            <a:avLst/>
          </a:prstGeom>
          <a:noFill/>
        </p:spPr>
        <p:txBody>
          <a:bodyPr wrap="square" lIns="182880" tIns="146304" rIns="182880" bIns="146304" rtlCol="0">
            <a:noAutofit/>
          </a:bodyPr>
          <a:lstStyle/>
          <a:p>
            <a:pPr>
              <a:lnSpc>
                <a:spcPct val="90000"/>
              </a:lnSpc>
              <a:spcAft>
                <a:spcPts val="600"/>
              </a:spcAft>
            </a:pPr>
            <a:r>
              <a:rPr lang="en-US" sz="1600" dirty="0">
                <a:solidFill>
                  <a:schemeClr val="bg1"/>
                </a:solidFill>
              </a:rPr>
              <a:t>Resource Management &amp; Job Scheduling</a:t>
            </a:r>
          </a:p>
        </p:txBody>
      </p:sp>
      <p:sp>
        <p:nvSpPr>
          <p:cNvPr id="11" name="TextBox 10"/>
          <p:cNvSpPr txBox="1"/>
          <p:nvPr/>
        </p:nvSpPr>
        <p:spPr>
          <a:xfrm>
            <a:off x="7053412" y="4820084"/>
            <a:ext cx="4185201" cy="424662"/>
          </a:xfrm>
          <a:prstGeom prst="rect">
            <a:avLst/>
          </a:prstGeom>
          <a:noFill/>
        </p:spPr>
        <p:txBody>
          <a:bodyPr wrap="square" lIns="182880" tIns="146304" rIns="182880" bIns="146304" rtlCol="0">
            <a:noAutofit/>
          </a:bodyPr>
          <a:lstStyle/>
          <a:p>
            <a:pPr>
              <a:lnSpc>
                <a:spcPct val="90000"/>
              </a:lnSpc>
              <a:spcAft>
                <a:spcPts val="600"/>
              </a:spcAft>
            </a:pPr>
            <a:r>
              <a:rPr lang="en-US" sz="1600" dirty="0">
                <a:solidFill>
                  <a:schemeClr val="bg1"/>
                </a:solidFill>
              </a:rPr>
              <a:t>Data Processing Framework</a:t>
            </a:r>
          </a:p>
        </p:txBody>
      </p:sp>
      <p:sp>
        <p:nvSpPr>
          <p:cNvPr id="23" name="TextBox 22"/>
          <p:cNvSpPr txBox="1"/>
          <p:nvPr/>
        </p:nvSpPr>
        <p:spPr>
          <a:xfrm>
            <a:off x="1485474" y="5121343"/>
            <a:ext cx="3437396" cy="389869"/>
          </a:xfrm>
          <a:prstGeom prst="rect">
            <a:avLst/>
          </a:prstGeom>
          <a:noFill/>
        </p:spPr>
        <p:txBody>
          <a:bodyPr wrap="square" lIns="182880" tIns="146304" rIns="182880" bIns="146304" rtlCol="0">
            <a:noAutofit/>
          </a:bodyPr>
          <a:lstStyle/>
          <a:p>
            <a:pPr>
              <a:lnSpc>
                <a:spcPct val="90000"/>
              </a:lnSpc>
              <a:spcAft>
                <a:spcPts val="600"/>
              </a:spcAft>
            </a:pPr>
            <a:r>
              <a:rPr lang="en-US" sz="1600" dirty="0">
                <a:solidFill>
                  <a:schemeClr val="bg1"/>
                </a:solidFill>
              </a:rPr>
              <a:t>Data Processing Framework</a:t>
            </a:r>
          </a:p>
        </p:txBody>
      </p:sp>
      <p:sp>
        <p:nvSpPr>
          <p:cNvPr id="24" name="Striped Right Arrow 23"/>
          <p:cNvSpPr/>
          <p:nvPr/>
        </p:nvSpPr>
        <p:spPr bwMode="auto">
          <a:xfrm>
            <a:off x="5858540" y="5121343"/>
            <a:ext cx="712381" cy="471377"/>
          </a:xfrm>
          <a:prstGeom prst="striped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29" name="TextBox 28"/>
          <p:cNvSpPr txBox="1"/>
          <p:nvPr/>
        </p:nvSpPr>
        <p:spPr>
          <a:xfrm>
            <a:off x="2454512" y="4280348"/>
            <a:ext cx="2083977" cy="335194"/>
          </a:xfrm>
          <a:prstGeom prst="rect">
            <a:avLst/>
          </a:prstGeom>
          <a:noFill/>
        </p:spPr>
        <p:txBody>
          <a:bodyPr wrap="none" lIns="182880" tIns="146304" rIns="182880" bIns="146304" rtlCol="0" anchor="ctr">
            <a:noAutofit/>
          </a:bodyPr>
          <a:lstStyle/>
          <a:p>
            <a:pPr algn="ctr">
              <a:lnSpc>
                <a:spcPct val="90000"/>
              </a:lnSpc>
              <a:spcAft>
                <a:spcPts val="600"/>
              </a:spcAft>
            </a:pPr>
            <a:r>
              <a:rPr lang="en-US" dirty="0">
                <a:solidFill>
                  <a:schemeClr val="tx1">
                    <a:lumMod val="65000"/>
                    <a:lumOff val="35000"/>
                  </a:schemeClr>
                </a:solidFill>
              </a:rPr>
              <a:t>MapReduce 1</a:t>
            </a:r>
          </a:p>
        </p:txBody>
      </p:sp>
      <p:sp>
        <p:nvSpPr>
          <p:cNvPr id="30" name="TextBox 29"/>
          <p:cNvSpPr txBox="1"/>
          <p:nvPr/>
        </p:nvSpPr>
        <p:spPr>
          <a:xfrm>
            <a:off x="8210283" y="4049968"/>
            <a:ext cx="2083977" cy="335194"/>
          </a:xfrm>
          <a:prstGeom prst="rect">
            <a:avLst/>
          </a:prstGeom>
          <a:noFill/>
        </p:spPr>
        <p:txBody>
          <a:bodyPr wrap="none" lIns="182880" tIns="146304" rIns="182880" bIns="146304" rtlCol="0" anchor="ctr">
            <a:noAutofit/>
          </a:bodyPr>
          <a:lstStyle/>
          <a:p>
            <a:pPr algn="ctr">
              <a:lnSpc>
                <a:spcPct val="90000"/>
              </a:lnSpc>
              <a:spcAft>
                <a:spcPts val="600"/>
              </a:spcAft>
            </a:pPr>
            <a:r>
              <a:rPr lang="en-US" dirty="0">
                <a:solidFill>
                  <a:schemeClr val="tx1">
                    <a:lumMod val="65000"/>
                    <a:lumOff val="35000"/>
                  </a:schemeClr>
                </a:solidFill>
              </a:rPr>
              <a:t>MapReduce 2</a:t>
            </a:r>
          </a:p>
        </p:txBody>
      </p:sp>
      <p:sp>
        <p:nvSpPr>
          <p:cNvPr id="31" name="TextBox 30"/>
          <p:cNvSpPr txBox="1"/>
          <p:nvPr/>
        </p:nvSpPr>
        <p:spPr>
          <a:xfrm>
            <a:off x="8277623" y="5361317"/>
            <a:ext cx="2083977" cy="335194"/>
          </a:xfrm>
          <a:prstGeom prst="rect">
            <a:avLst/>
          </a:prstGeom>
          <a:noFill/>
        </p:spPr>
        <p:txBody>
          <a:bodyPr wrap="none" lIns="182880" tIns="146304" rIns="182880" bIns="146304" rtlCol="0" anchor="ctr">
            <a:noAutofit/>
          </a:bodyPr>
          <a:lstStyle/>
          <a:p>
            <a:pPr algn="ctr">
              <a:lnSpc>
                <a:spcPct val="90000"/>
              </a:lnSpc>
              <a:spcAft>
                <a:spcPts val="600"/>
              </a:spcAft>
            </a:pPr>
            <a:r>
              <a:rPr lang="en-US" dirty="0">
                <a:solidFill>
                  <a:schemeClr val="tx1">
                    <a:lumMod val="65000"/>
                    <a:lumOff val="35000"/>
                  </a:schemeClr>
                </a:solidFill>
              </a:rPr>
              <a:t>YARN</a:t>
            </a:r>
          </a:p>
        </p:txBody>
      </p:sp>
    </p:spTree>
    <p:extLst>
      <p:ext uri="{BB962C8B-B14F-4D97-AF65-F5344CB8AC3E}">
        <p14:creationId xmlns:p14="http://schemas.microsoft.com/office/powerpoint/2010/main" val="1815143641"/>
      </p:ext>
    </p:extLst>
  </p:cSld>
  <p:clrMapOvr>
    <a:masterClrMapping/>
  </p:clrMapOvr>
  <p:transition spd="med">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YARN: Cluster Components</a:t>
            </a:r>
            <a:br>
              <a:rPr lang="en-US" dirty="0"/>
            </a:br>
            <a:endParaRPr lang="en-US" dirty="0"/>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14</a:t>
            </a:fld>
            <a:endParaRPr lang="en-US" dirty="0"/>
          </a:p>
        </p:txBody>
      </p:sp>
      <p:pic>
        <p:nvPicPr>
          <p:cNvPr id="4" name="Picture 3"/>
          <p:cNvPicPr>
            <a:picLocks noChangeAspect="1"/>
          </p:cNvPicPr>
          <p:nvPr/>
        </p:nvPicPr>
        <p:blipFill>
          <a:blip r:embed="rId2"/>
          <a:stretch>
            <a:fillRect/>
          </a:stretch>
        </p:blipFill>
        <p:spPr>
          <a:xfrm>
            <a:off x="6408717" y="2214889"/>
            <a:ext cx="5579635" cy="3749306"/>
          </a:xfrm>
          <a:prstGeom prst="rect">
            <a:avLst/>
          </a:prstGeom>
        </p:spPr>
      </p:pic>
      <p:sp>
        <p:nvSpPr>
          <p:cNvPr id="5" name="TextBox 4"/>
          <p:cNvSpPr txBox="1"/>
          <p:nvPr/>
        </p:nvSpPr>
        <p:spPr>
          <a:xfrm>
            <a:off x="268927" y="1358153"/>
            <a:ext cx="7103938" cy="4836634"/>
          </a:xfrm>
          <a:prstGeom prst="rect">
            <a:avLst/>
          </a:prstGeom>
          <a:noFill/>
        </p:spPr>
        <p:txBody>
          <a:bodyPr wrap="square" lIns="182880" tIns="146304" rIns="182880" bIns="146304" rtlCol="0">
            <a:noAutofit/>
          </a:bodyPr>
          <a:lstStyle/>
          <a:p>
            <a:pPr marL="285750" indent="-285750">
              <a:lnSpc>
                <a:spcPct val="90000"/>
              </a:lnSpc>
              <a:spcAft>
                <a:spcPts val="600"/>
              </a:spcAft>
              <a:buClr>
                <a:schemeClr val="accent3"/>
              </a:buClr>
              <a:buFont typeface="Wingdings" panose="05000000000000000000" pitchFamily="2" charset="2"/>
              <a:buChar char="v"/>
            </a:pPr>
            <a:r>
              <a:rPr lang="en-US" dirty="0">
                <a:solidFill>
                  <a:schemeClr val="tx1">
                    <a:lumMod val="65000"/>
                    <a:lumOff val="35000"/>
                  </a:schemeClr>
                </a:solidFill>
              </a:rPr>
              <a:t>Resource Manager</a:t>
            </a:r>
          </a:p>
          <a:p>
            <a:pPr marL="548640" lvl="1" indent="-285750">
              <a:lnSpc>
                <a:spcPct val="90000"/>
              </a:lnSpc>
              <a:spcAft>
                <a:spcPts val="600"/>
              </a:spcAft>
              <a:buFont typeface="Arial" panose="020B0604020202020204" pitchFamily="34" charset="0"/>
              <a:buChar char="•"/>
            </a:pPr>
            <a:r>
              <a:rPr lang="en-US" dirty="0">
                <a:solidFill>
                  <a:schemeClr val="tx1">
                    <a:lumMod val="65000"/>
                    <a:lumOff val="35000"/>
                  </a:schemeClr>
                </a:solidFill>
              </a:rPr>
              <a:t>Runs on the master node</a:t>
            </a:r>
          </a:p>
          <a:p>
            <a:pPr marL="548640" lvl="1" indent="-285750">
              <a:lnSpc>
                <a:spcPct val="90000"/>
              </a:lnSpc>
              <a:spcAft>
                <a:spcPts val="600"/>
              </a:spcAft>
              <a:buFont typeface="Arial" panose="020B0604020202020204" pitchFamily="34" charset="0"/>
              <a:buChar char="•"/>
            </a:pPr>
            <a:r>
              <a:rPr lang="en-US" dirty="0">
                <a:solidFill>
                  <a:schemeClr val="tx1">
                    <a:lumMod val="65000"/>
                    <a:lumOff val="35000"/>
                  </a:schemeClr>
                </a:solidFill>
              </a:rPr>
              <a:t>Arbitrates system resources between competing apps</a:t>
            </a:r>
          </a:p>
          <a:p>
            <a:pPr marL="285750" indent="-285750">
              <a:lnSpc>
                <a:spcPct val="90000"/>
              </a:lnSpc>
              <a:spcAft>
                <a:spcPts val="600"/>
              </a:spcAft>
              <a:buClr>
                <a:schemeClr val="accent3"/>
              </a:buClr>
              <a:buFont typeface="Wingdings" panose="05000000000000000000" pitchFamily="2" charset="2"/>
              <a:buChar char="v"/>
            </a:pPr>
            <a:r>
              <a:rPr lang="en-US" dirty="0">
                <a:solidFill>
                  <a:schemeClr val="tx1">
                    <a:lumMod val="65000"/>
                    <a:lumOff val="35000"/>
                  </a:schemeClr>
                </a:solidFill>
              </a:rPr>
              <a:t>Node Manager</a:t>
            </a:r>
          </a:p>
          <a:p>
            <a:pPr marL="548640" lvl="1" indent="-285750">
              <a:lnSpc>
                <a:spcPct val="90000"/>
              </a:lnSpc>
              <a:spcAft>
                <a:spcPts val="600"/>
              </a:spcAft>
              <a:buFont typeface="Arial" panose="020B0604020202020204" pitchFamily="34" charset="0"/>
              <a:buChar char="•"/>
            </a:pPr>
            <a:r>
              <a:rPr lang="en-US" dirty="0">
                <a:solidFill>
                  <a:schemeClr val="tx1">
                    <a:lumMod val="65000"/>
                    <a:lumOff val="35000"/>
                  </a:schemeClr>
                </a:solidFill>
              </a:rPr>
              <a:t>Runs on the slave nodes</a:t>
            </a:r>
          </a:p>
          <a:p>
            <a:pPr marL="548640" lvl="1" indent="-285750">
              <a:lnSpc>
                <a:spcPct val="90000"/>
              </a:lnSpc>
              <a:spcAft>
                <a:spcPts val="600"/>
              </a:spcAft>
              <a:buFont typeface="Arial" panose="020B0604020202020204" pitchFamily="34" charset="0"/>
              <a:buChar char="•"/>
            </a:pPr>
            <a:r>
              <a:rPr lang="en-US" dirty="0">
                <a:solidFill>
                  <a:schemeClr val="tx1">
                    <a:lumMod val="65000"/>
                    <a:lumOff val="35000"/>
                  </a:schemeClr>
                </a:solidFill>
              </a:rPr>
              <a:t>Communicates with the RM</a:t>
            </a:r>
          </a:p>
          <a:p>
            <a:pPr marL="285750" indent="-285750">
              <a:lnSpc>
                <a:spcPct val="90000"/>
              </a:lnSpc>
              <a:spcAft>
                <a:spcPts val="600"/>
              </a:spcAft>
              <a:buClr>
                <a:schemeClr val="accent3"/>
              </a:buClr>
              <a:buFont typeface="Wingdings" panose="05000000000000000000" pitchFamily="2" charset="2"/>
              <a:buChar char="v"/>
            </a:pPr>
            <a:r>
              <a:rPr lang="en-US" dirty="0">
                <a:solidFill>
                  <a:schemeClr val="tx1">
                    <a:lumMod val="65000"/>
                    <a:lumOff val="35000"/>
                  </a:schemeClr>
                </a:solidFill>
              </a:rPr>
              <a:t>Containers</a:t>
            </a:r>
          </a:p>
          <a:p>
            <a:pPr marL="548640" lvl="1" indent="-285750">
              <a:lnSpc>
                <a:spcPct val="90000"/>
              </a:lnSpc>
              <a:spcAft>
                <a:spcPts val="600"/>
              </a:spcAft>
              <a:buFont typeface="Arial" panose="020B0604020202020204" pitchFamily="34" charset="0"/>
              <a:buChar char="•"/>
            </a:pPr>
            <a:r>
              <a:rPr lang="en-US" dirty="0">
                <a:solidFill>
                  <a:schemeClr val="tx1">
                    <a:lumMod val="65000"/>
                    <a:lumOff val="35000"/>
                  </a:schemeClr>
                </a:solidFill>
              </a:rPr>
              <a:t>Where the application code runs.</a:t>
            </a:r>
          </a:p>
          <a:p>
            <a:pPr marL="548640" lvl="1" indent="-285750">
              <a:lnSpc>
                <a:spcPct val="90000"/>
              </a:lnSpc>
              <a:spcAft>
                <a:spcPts val="600"/>
              </a:spcAft>
              <a:buFont typeface="Arial" panose="020B0604020202020204" pitchFamily="34" charset="0"/>
              <a:buChar char="•"/>
            </a:pPr>
            <a:r>
              <a:rPr lang="en-US" dirty="0">
                <a:solidFill>
                  <a:schemeClr val="tx1">
                    <a:lumMod val="65000"/>
                    <a:lumOff val="35000"/>
                  </a:schemeClr>
                </a:solidFill>
              </a:rPr>
              <a:t>Allocated by the RM upon request</a:t>
            </a:r>
          </a:p>
          <a:p>
            <a:pPr marL="548640" lvl="1" indent="-285750">
              <a:lnSpc>
                <a:spcPct val="90000"/>
              </a:lnSpc>
              <a:spcAft>
                <a:spcPts val="600"/>
              </a:spcAft>
              <a:buFont typeface="Arial" panose="020B0604020202020204" pitchFamily="34" charset="0"/>
              <a:buChar char="•"/>
            </a:pPr>
            <a:r>
              <a:rPr lang="en-US" dirty="0">
                <a:solidFill>
                  <a:schemeClr val="tx1">
                    <a:lumMod val="65000"/>
                    <a:lumOff val="35000"/>
                  </a:schemeClr>
                </a:solidFill>
              </a:rPr>
              <a:t>Consists of some amount of resources (CPU, Memory)</a:t>
            </a:r>
          </a:p>
          <a:p>
            <a:pPr marL="285750" indent="-285750">
              <a:lnSpc>
                <a:spcPct val="90000"/>
              </a:lnSpc>
              <a:spcAft>
                <a:spcPts val="600"/>
              </a:spcAft>
              <a:buClr>
                <a:schemeClr val="accent3"/>
              </a:buClr>
              <a:buFont typeface="Wingdings" panose="05000000000000000000" pitchFamily="2" charset="2"/>
              <a:buChar char="v"/>
            </a:pPr>
            <a:r>
              <a:rPr lang="en-US" dirty="0">
                <a:solidFill>
                  <a:schemeClr val="tx1">
                    <a:lumMod val="65000"/>
                    <a:lumOff val="35000"/>
                  </a:schemeClr>
                </a:solidFill>
              </a:rPr>
              <a:t>Application Master</a:t>
            </a:r>
          </a:p>
          <a:p>
            <a:pPr marL="548640" lvl="1" indent="-285750">
              <a:lnSpc>
                <a:spcPct val="90000"/>
              </a:lnSpc>
              <a:spcAft>
                <a:spcPts val="600"/>
              </a:spcAft>
              <a:buFont typeface="Arial" panose="020B0604020202020204" pitchFamily="34" charset="0"/>
              <a:buChar char="•"/>
            </a:pPr>
            <a:r>
              <a:rPr lang="en-US" dirty="0">
                <a:solidFill>
                  <a:schemeClr val="tx1">
                    <a:lumMod val="65000"/>
                    <a:lumOff val="35000"/>
                  </a:schemeClr>
                </a:solidFill>
              </a:rPr>
              <a:t>One per application</a:t>
            </a:r>
          </a:p>
          <a:p>
            <a:pPr marL="548640" lvl="1" indent="-285750">
              <a:lnSpc>
                <a:spcPct val="90000"/>
              </a:lnSpc>
              <a:spcAft>
                <a:spcPts val="600"/>
              </a:spcAft>
              <a:buFont typeface="Arial" panose="020B0604020202020204" pitchFamily="34" charset="0"/>
              <a:buChar char="•"/>
            </a:pPr>
            <a:r>
              <a:rPr lang="en-US" dirty="0">
                <a:solidFill>
                  <a:schemeClr val="tx1">
                    <a:lumMod val="65000"/>
                    <a:lumOff val="35000"/>
                  </a:schemeClr>
                </a:solidFill>
              </a:rPr>
              <a:t>Runs in a container. </a:t>
            </a:r>
          </a:p>
          <a:p>
            <a:pPr marL="548640" lvl="1" indent="-285750">
              <a:lnSpc>
                <a:spcPct val="90000"/>
              </a:lnSpc>
              <a:spcAft>
                <a:spcPts val="600"/>
              </a:spcAft>
              <a:buFont typeface="Arial" panose="020B0604020202020204" pitchFamily="34" charset="0"/>
              <a:buChar char="•"/>
            </a:pPr>
            <a:r>
              <a:rPr lang="en-US" dirty="0">
                <a:solidFill>
                  <a:schemeClr val="tx1">
                    <a:lumMod val="65000"/>
                    <a:lumOff val="35000"/>
                  </a:schemeClr>
                </a:solidFill>
              </a:rPr>
              <a:t>Requests containers on run application tasks</a:t>
            </a:r>
          </a:p>
          <a:p>
            <a:pPr>
              <a:lnSpc>
                <a:spcPct val="90000"/>
              </a:lnSpc>
              <a:spcAft>
                <a:spcPts val="600"/>
              </a:spcAft>
            </a:pPr>
            <a:endParaRPr lang="en-US" dirty="0">
              <a:solidFill>
                <a:schemeClr val="tx1">
                  <a:lumMod val="85000"/>
                  <a:lumOff val="15000"/>
                </a:schemeClr>
              </a:solidFill>
            </a:endParaRPr>
          </a:p>
        </p:txBody>
      </p:sp>
    </p:spTree>
    <p:extLst>
      <p:ext uri="{BB962C8B-B14F-4D97-AF65-F5344CB8AC3E}">
        <p14:creationId xmlns:p14="http://schemas.microsoft.com/office/powerpoint/2010/main" val="3315077777"/>
      </p:ext>
    </p:extLst>
  </p:cSld>
  <p:clrMapOvr>
    <a:masterClrMapping/>
  </p:clrMapOvr>
  <p:transition spd="med">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8927" y="200242"/>
            <a:ext cx="11653523" cy="927940"/>
          </a:xfrm>
        </p:spPr>
        <p:txBody>
          <a:bodyPr/>
          <a:lstStyle/>
          <a:p>
            <a:r>
              <a:rPr lang="en-US" dirty="0"/>
              <a:t>YARN: Process Flow</a:t>
            </a:r>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15</a:t>
            </a:fld>
            <a:endParaRPr lang="en-US" dirty="0"/>
          </a:p>
        </p:txBody>
      </p:sp>
      <p:pic>
        <p:nvPicPr>
          <p:cNvPr id="4" name="Picture 3"/>
          <p:cNvPicPr>
            <a:picLocks noChangeAspect="1"/>
          </p:cNvPicPr>
          <p:nvPr/>
        </p:nvPicPr>
        <p:blipFill>
          <a:blip r:embed="rId2"/>
          <a:stretch>
            <a:fillRect/>
          </a:stretch>
        </p:blipFill>
        <p:spPr>
          <a:xfrm>
            <a:off x="8045739" y="2400466"/>
            <a:ext cx="3965420" cy="2669677"/>
          </a:xfrm>
          <a:prstGeom prst="rect">
            <a:avLst/>
          </a:prstGeom>
        </p:spPr>
      </p:pic>
      <p:sp>
        <p:nvSpPr>
          <p:cNvPr id="5" name="TextBox 4"/>
          <p:cNvSpPr txBox="1"/>
          <p:nvPr/>
        </p:nvSpPr>
        <p:spPr>
          <a:xfrm>
            <a:off x="336789" y="1128182"/>
            <a:ext cx="7804099" cy="5198876"/>
          </a:xfrm>
          <a:prstGeom prst="rect">
            <a:avLst/>
          </a:prstGeom>
          <a:noFill/>
        </p:spPr>
        <p:txBody>
          <a:bodyPr wrap="square" lIns="182880" tIns="146304" rIns="182880" bIns="146304" rtlCol="0">
            <a:noAutofit/>
          </a:bodyPr>
          <a:lstStyle/>
          <a:p>
            <a:pPr marL="342900" indent="-342900">
              <a:lnSpc>
                <a:spcPct val="90000"/>
              </a:lnSpc>
              <a:spcAft>
                <a:spcPts val="600"/>
              </a:spcAft>
              <a:buFont typeface="+mj-lt"/>
              <a:buAutoNum type="arabicPeriod"/>
            </a:pPr>
            <a:r>
              <a:rPr lang="en-US" dirty="0">
                <a:solidFill>
                  <a:schemeClr val="tx1">
                    <a:lumMod val="65000"/>
                    <a:lumOff val="35000"/>
                  </a:schemeClr>
                </a:solidFill>
              </a:rPr>
              <a:t>Client ask the RM for resources.</a:t>
            </a:r>
          </a:p>
          <a:p>
            <a:pPr marL="342900" indent="-342900">
              <a:lnSpc>
                <a:spcPct val="90000"/>
              </a:lnSpc>
              <a:spcAft>
                <a:spcPts val="600"/>
              </a:spcAft>
              <a:buFont typeface="+mj-lt"/>
              <a:buAutoNum type="arabicPeriod"/>
            </a:pPr>
            <a:r>
              <a:rPr lang="en-US" dirty="0">
                <a:solidFill>
                  <a:schemeClr val="tx1">
                    <a:lumMod val="65000"/>
                    <a:lumOff val="35000"/>
                  </a:schemeClr>
                </a:solidFill>
              </a:rPr>
              <a:t>RM asks a Node Manager to launches an instance of the AM.</a:t>
            </a:r>
          </a:p>
          <a:p>
            <a:pPr marL="342900" indent="-342900">
              <a:lnSpc>
                <a:spcPct val="90000"/>
              </a:lnSpc>
              <a:spcAft>
                <a:spcPts val="600"/>
              </a:spcAft>
              <a:buFont typeface="+mj-lt"/>
              <a:buAutoNum type="arabicPeriod"/>
            </a:pPr>
            <a:r>
              <a:rPr lang="en-US" dirty="0">
                <a:solidFill>
                  <a:schemeClr val="tx1">
                    <a:lumMod val="65000"/>
                    <a:lumOff val="35000"/>
                  </a:schemeClr>
                </a:solidFill>
              </a:rPr>
              <a:t>After launch, AM requests resources from the RM. A Resource Request includes</a:t>
            </a:r>
          </a:p>
          <a:p>
            <a:pPr marL="800100" lvl="1" indent="-342900">
              <a:lnSpc>
                <a:spcPct val="90000"/>
              </a:lnSpc>
              <a:buFont typeface="Arial" panose="020B0604020202020204" pitchFamily="34" charset="0"/>
              <a:buChar char="•"/>
            </a:pPr>
            <a:r>
              <a:rPr lang="en-US" sz="1600" dirty="0">
                <a:solidFill>
                  <a:schemeClr val="tx1">
                    <a:lumMod val="65000"/>
                    <a:lumOff val="35000"/>
                  </a:schemeClr>
                </a:solidFill>
              </a:rPr>
              <a:t>Priority (within this application, not between applications)</a:t>
            </a:r>
          </a:p>
          <a:p>
            <a:pPr marL="800100" lvl="1" indent="-342900">
              <a:lnSpc>
                <a:spcPct val="90000"/>
              </a:lnSpc>
              <a:buFont typeface="Arial" panose="020B0604020202020204" pitchFamily="34" charset="0"/>
              <a:buChar char="•"/>
            </a:pPr>
            <a:r>
              <a:rPr lang="en-US" sz="1600" dirty="0">
                <a:solidFill>
                  <a:schemeClr val="tx1">
                    <a:lumMod val="65000"/>
                    <a:lumOff val="35000"/>
                  </a:schemeClr>
                </a:solidFill>
              </a:rPr>
              <a:t>Memory (MB) and CPU (number of cores)</a:t>
            </a:r>
          </a:p>
          <a:p>
            <a:pPr marL="800100" lvl="1" indent="-342900">
              <a:lnSpc>
                <a:spcPct val="90000"/>
              </a:lnSpc>
              <a:buFont typeface="Arial" panose="020B0604020202020204" pitchFamily="34" charset="0"/>
              <a:buChar char="•"/>
            </a:pPr>
            <a:r>
              <a:rPr lang="en-US" sz="1600" dirty="0">
                <a:solidFill>
                  <a:schemeClr val="tx1">
                    <a:lumMod val="65000"/>
                    <a:lumOff val="35000"/>
                  </a:schemeClr>
                </a:solidFill>
              </a:rPr>
              <a:t>Number of containers</a:t>
            </a:r>
          </a:p>
          <a:p>
            <a:pPr marL="342900" indent="-342900">
              <a:lnSpc>
                <a:spcPct val="90000"/>
              </a:lnSpc>
              <a:spcAft>
                <a:spcPts val="600"/>
              </a:spcAft>
              <a:buFont typeface="+mj-lt"/>
              <a:buAutoNum type="arabicPeriod"/>
            </a:pPr>
            <a:r>
              <a:rPr lang="en-US" dirty="0">
                <a:solidFill>
                  <a:schemeClr val="tx1">
                    <a:lumMod val="65000"/>
                    <a:lumOff val="35000"/>
                  </a:schemeClr>
                </a:solidFill>
              </a:rPr>
              <a:t>RM communicates with the Node Mangers to allocate the desired number of containers somewhere in the cluster</a:t>
            </a:r>
          </a:p>
          <a:p>
            <a:pPr marL="342900" indent="-342900">
              <a:lnSpc>
                <a:spcPct val="90000"/>
              </a:lnSpc>
              <a:spcAft>
                <a:spcPts val="600"/>
              </a:spcAft>
              <a:buFont typeface="+mj-lt"/>
              <a:buAutoNum type="arabicPeriod"/>
            </a:pPr>
            <a:r>
              <a:rPr lang="en-US" dirty="0">
                <a:solidFill>
                  <a:schemeClr val="tx1">
                    <a:lumMod val="65000"/>
                    <a:lumOff val="35000"/>
                  </a:schemeClr>
                </a:solidFill>
              </a:rPr>
              <a:t>RM passes the container IDs to the AM.</a:t>
            </a:r>
          </a:p>
          <a:p>
            <a:pPr marL="342900" indent="-342900">
              <a:lnSpc>
                <a:spcPct val="90000"/>
              </a:lnSpc>
              <a:buFont typeface="+mj-lt"/>
              <a:buAutoNum type="arabicPeriod"/>
            </a:pPr>
            <a:r>
              <a:rPr lang="en-US" dirty="0">
                <a:solidFill>
                  <a:schemeClr val="tx1">
                    <a:lumMod val="65000"/>
                    <a:lumOff val="35000"/>
                  </a:schemeClr>
                </a:solidFill>
              </a:rPr>
              <a:t>AM request the Node Manager to launch the application processes by passing on the following information:</a:t>
            </a:r>
          </a:p>
          <a:p>
            <a:pPr marL="800100" lvl="1" indent="-342900">
              <a:lnSpc>
                <a:spcPct val="90000"/>
              </a:lnSpc>
              <a:buFont typeface="Arial" panose="020B0604020202020204" pitchFamily="34" charset="0"/>
              <a:buChar char="•"/>
            </a:pPr>
            <a:r>
              <a:rPr lang="en-US" sz="1600" dirty="0">
                <a:solidFill>
                  <a:schemeClr val="tx1">
                    <a:lumMod val="65000"/>
                    <a:lumOff val="35000"/>
                  </a:schemeClr>
                </a:solidFill>
              </a:rPr>
              <a:t>The Container ID</a:t>
            </a:r>
          </a:p>
          <a:p>
            <a:pPr marL="800100" lvl="1" indent="-342900">
              <a:lnSpc>
                <a:spcPct val="90000"/>
              </a:lnSpc>
              <a:buFont typeface="Arial" panose="020B0604020202020204" pitchFamily="34" charset="0"/>
              <a:buChar char="•"/>
            </a:pPr>
            <a:r>
              <a:rPr lang="en-US" sz="1600" dirty="0">
                <a:solidFill>
                  <a:schemeClr val="tx1">
                    <a:lumMod val="65000"/>
                    <a:lumOff val="35000"/>
                  </a:schemeClr>
                </a:solidFill>
              </a:rPr>
              <a:t>Commands to start the application</a:t>
            </a:r>
          </a:p>
          <a:p>
            <a:pPr marL="800100" lvl="1" indent="-342900">
              <a:lnSpc>
                <a:spcPct val="90000"/>
              </a:lnSpc>
              <a:buFont typeface="Arial" panose="020B0604020202020204" pitchFamily="34" charset="0"/>
              <a:buChar char="•"/>
            </a:pPr>
            <a:r>
              <a:rPr lang="en-US" sz="1600" dirty="0">
                <a:solidFill>
                  <a:schemeClr val="tx1">
                    <a:lumMod val="65000"/>
                    <a:lumOff val="35000"/>
                  </a:schemeClr>
                </a:solidFill>
              </a:rPr>
              <a:t>Environment information, </a:t>
            </a:r>
          </a:p>
          <a:p>
            <a:pPr marL="800100" lvl="1" indent="-342900">
              <a:lnSpc>
                <a:spcPct val="90000"/>
              </a:lnSpc>
              <a:spcAft>
                <a:spcPts val="300"/>
              </a:spcAft>
              <a:buFont typeface="Arial" panose="020B0604020202020204" pitchFamily="34" charset="0"/>
              <a:buChar char="•"/>
            </a:pPr>
            <a:r>
              <a:rPr lang="en-US" sz="1600" dirty="0">
                <a:solidFill>
                  <a:schemeClr val="tx1">
                    <a:lumMod val="65000"/>
                    <a:lumOff val="35000"/>
                  </a:schemeClr>
                </a:solidFill>
              </a:rPr>
              <a:t>Application Binary etc. </a:t>
            </a:r>
          </a:p>
          <a:p>
            <a:pPr marL="342900" indent="-342900">
              <a:lnSpc>
                <a:spcPct val="90000"/>
              </a:lnSpc>
              <a:spcAft>
                <a:spcPts val="600"/>
              </a:spcAft>
              <a:buFont typeface="+mj-lt"/>
              <a:buAutoNum type="arabicPeriod"/>
            </a:pPr>
            <a:r>
              <a:rPr lang="en-US" dirty="0">
                <a:solidFill>
                  <a:schemeClr val="tx1">
                    <a:lumMod val="65000"/>
                    <a:lumOff val="35000"/>
                  </a:schemeClr>
                </a:solidFill>
              </a:rPr>
              <a:t>After the application code finishes execution, the AM informs the RM.</a:t>
            </a:r>
          </a:p>
          <a:p>
            <a:pPr marL="342900" indent="-342900">
              <a:lnSpc>
                <a:spcPct val="90000"/>
              </a:lnSpc>
              <a:spcAft>
                <a:spcPts val="600"/>
              </a:spcAft>
              <a:buFont typeface="+mj-lt"/>
              <a:buAutoNum type="arabicPeriod"/>
            </a:pPr>
            <a:r>
              <a:rPr lang="en-US" dirty="0">
                <a:solidFill>
                  <a:schemeClr val="tx1">
                    <a:lumMod val="65000"/>
                    <a:lumOff val="35000"/>
                  </a:schemeClr>
                </a:solidFill>
              </a:rPr>
              <a:t>RM asks the Node Manager to deallocate the containers and free up the resources.</a:t>
            </a:r>
          </a:p>
        </p:txBody>
      </p:sp>
    </p:spTree>
    <p:extLst>
      <p:ext uri="{BB962C8B-B14F-4D97-AF65-F5344CB8AC3E}">
        <p14:creationId xmlns:p14="http://schemas.microsoft.com/office/powerpoint/2010/main" val="2466941496"/>
      </p:ext>
    </p:extLst>
  </p:cSld>
  <p:clrMapOvr>
    <a:masterClrMapping/>
  </p:clrMapOvr>
  <p:transition spd="med">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ache </a:t>
            </a:r>
            <a:r>
              <a:rPr lang="en-US" dirty="0" err="1"/>
              <a:t>Tez</a:t>
            </a:r>
            <a:r>
              <a:rPr lang="en-US" dirty="0"/>
              <a:t> – What is it?</a:t>
            </a:r>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16</a:t>
            </a:fld>
            <a:endParaRPr lang="en-US" dirty="0"/>
          </a:p>
        </p:txBody>
      </p:sp>
      <p:sp>
        <p:nvSpPr>
          <p:cNvPr id="4" name="TextBox 3"/>
          <p:cNvSpPr txBox="1"/>
          <p:nvPr/>
        </p:nvSpPr>
        <p:spPr>
          <a:xfrm>
            <a:off x="493776" y="1132025"/>
            <a:ext cx="11428674" cy="855588"/>
          </a:xfrm>
          <a:prstGeom prst="rect">
            <a:avLst/>
          </a:prstGeom>
          <a:solidFill>
            <a:schemeClr val="accent3"/>
          </a:solidFill>
        </p:spPr>
        <p:txBody>
          <a:bodyPr wrap="square" lIns="182880" tIns="146304" rIns="182880" bIns="146304" rtlCol="0">
            <a:noAutofit/>
          </a:bodyPr>
          <a:lstStyle/>
          <a:p>
            <a:pPr algn="ctr">
              <a:lnSpc>
                <a:spcPct val="90000"/>
              </a:lnSpc>
              <a:spcAft>
                <a:spcPts val="600"/>
              </a:spcAft>
            </a:pPr>
            <a:r>
              <a:rPr lang="en-US" sz="2000" dirty="0">
                <a:solidFill>
                  <a:schemeClr val="bg1"/>
                </a:solidFill>
                <a:latin typeface="Segoe UI Semibold" panose="020B0702040204020203" pitchFamily="34" charset="0"/>
                <a:cs typeface="Segoe UI Semibold" panose="020B0702040204020203" pitchFamily="34" charset="0"/>
              </a:rPr>
              <a:t>A YARN-based framework for running high performance batch and interactive data processing applications in Apache Hadoop.  </a:t>
            </a:r>
          </a:p>
        </p:txBody>
      </p:sp>
      <p:sp>
        <p:nvSpPr>
          <p:cNvPr id="6" name="TextBox 5"/>
          <p:cNvSpPr txBox="1"/>
          <p:nvPr/>
        </p:nvSpPr>
        <p:spPr>
          <a:xfrm>
            <a:off x="364884" y="1974228"/>
            <a:ext cx="5843229" cy="4463514"/>
          </a:xfrm>
          <a:prstGeom prst="rect">
            <a:avLst/>
          </a:prstGeom>
          <a:noFill/>
        </p:spPr>
        <p:txBody>
          <a:bodyPr wrap="square" lIns="182880" tIns="146304" rIns="182880" bIns="146304" rtlCol="0">
            <a:noAutofit/>
          </a:bodyPr>
          <a:lstStyle>
            <a:defPPr>
              <a:defRPr lang="en-US"/>
            </a:defPPr>
            <a:lvl1pPr marL="283464" indent="-285750">
              <a:lnSpc>
                <a:spcPts val="2300"/>
              </a:lnSpc>
              <a:spcBef>
                <a:spcPts val="600"/>
              </a:spcBef>
              <a:spcAft>
                <a:spcPts val="600"/>
              </a:spcAft>
              <a:buClr>
                <a:schemeClr val="accent3"/>
              </a:buClr>
              <a:buFont typeface="Wingdings" panose="05000000000000000000" pitchFamily="2" charset="2"/>
              <a:buChar char="v"/>
              <a:defRPr>
                <a:solidFill>
                  <a:schemeClr val="tx1">
                    <a:lumMod val="85000"/>
                    <a:lumOff val="15000"/>
                  </a:schemeClr>
                </a:solidFill>
              </a:defRPr>
            </a:lvl1pPr>
            <a:lvl2pPr marL="740664" lvl="1" indent="-285750">
              <a:lnSpc>
                <a:spcPts val="2300"/>
              </a:lnSpc>
              <a:spcBef>
                <a:spcPts val="600"/>
              </a:spcBef>
              <a:spcAft>
                <a:spcPts val="300"/>
              </a:spcAft>
              <a:buClr>
                <a:schemeClr val="accent3"/>
              </a:buClr>
              <a:buFont typeface="Wingdings" panose="05000000000000000000" pitchFamily="2" charset="2"/>
              <a:buChar char="§"/>
              <a:defRPr sz="1600">
                <a:solidFill>
                  <a:schemeClr val="tx1">
                    <a:lumMod val="85000"/>
                    <a:lumOff val="15000"/>
                  </a:schemeClr>
                </a:solidFill>
              </a:defRPr>
            </a:lvl2pPr>
          </a:lstStyle>
          <a:p>
            <a:pPr>
              <a:spcAft>
                <a:spcPts val="0"/>
              </a:spcAft>
            </a:pPr>
            <a:r>
              <a:rPr lang="en-US" dirty="0">
                <a:solidFill>
                  <a:schemeClr val="tx1">
                    <a:lumMod val="65000"/>
                    <a:lumOff val="35000"/>
                  </a:schemeClr>
                </a:solidFill>
              </a:rPr>
              <a:t>What is it?</a:t>
            </a:r>
          </a:p>
          <a:p>
            <a:pPr lvl="1">
              <a:spcAft>
                <a:spcPts val="0"/>
              </a:spcAft>
            </a:pPr>
            <a:r>
              <a:rPr lang="en-US" dirty="0">
                <a:solidFill>
                  <a:schemeClr val="tx1">
                    <a:lumMod val="65000"/>
                    <a:lumOff val="35000"/>
                  </a:schemeClr>
                </a:solidFill>
              </a:rPr>
              <a:t>Developer API and an execution framework</a:t>
            </a:r>
          </a:p>
          <a:p>
            <a:pPr lvl="1">
              <a:spcAft>
                <a:spcPts val="0"/>
              </a:spcAft>
            </a:pPr>
            <a:r>
              <a:rPr lang="en-US" dirty="0">
                <a:solidFill>
                  <a:schemeClr val="tx1">
                    <a:lumMod val="65000"/>
                    <a:lumOff val="35000"/>
                  </a:schemeClr>
                </a:solidFill>
              </a:rPr>
              <a:t>Programming model that expresses computation as a dataflow graph (DAG) </a:t>
            </a:r>
          </a:p>
          <a:p>
            <a:pPr lvl="1">
              <a:spcAft>
                <a:spcPts val="0"/>
              </a:spcAft>
            </a:pPr>
            <a:r>
              <a:rPr lang="en-US" dirty="0">
                <a:solidFill>
                  <a:schemeClr val="tx1">
                    <a:lumMod val="65000"/>
                    <a:lumOff val="35000"/>
                  </a:schemeClr>
                </a:solidFill>
              </a:rPr>
              <a:t>Uses YARN for cluster resource management</a:t>
            </a:r>
          </a:p>
          <a:p>
            <a:pPr lvl="1">
              <a:spcAft>
                <a:spcPts val="0"/>
              </a:spcAft>
            </a:pPr>
            <a:r>
              <a:rPr lang="en-US" dirty="0">
                <a:solidFill>
                  <a:schemeClr val="tx1">
                    <a:lumMod val="65000"/>
                    <a:lumOff val="35000"/>
                  </a:schemeClr>
                </a:solidFill>
              </a:rPr>
              <a:t>Supported  by Hadoop ecosystem projects (Pig, Hive, Cascading).</a:t>
            </a:r>
          </a:p>
          <a:p>
            <a:pPr>
              <a:spcAft>
                <a:spcPts val="0"/>
              </a:spcAft>
            </a:pPr>
            <a:r>
              <a:rPr lang="en-US" dirty="0">
                <a:solidFill>
                  <a:schemeClr val="tx1">
                    <a:lumMod val="65000"/>
                    <a:lumOff val="35000"/>
                  </a:schemeClr>
                </a:solidFill>
              </a:rPr>
              <a:t>Benefits</a:t>
            </a:r>
          </a:p>
          <a:p>
            <a:pPr lvl="1">
              <a:spcAft>
                <a:spcPts val="0"/>
              </a:spcAft>
            </a:pPr>
            <a:r>
              <a:rPr lang="en-US" dirty="0">
                <a:solidFill>
                  <a:schemeClr val="tx1">
                    <a:lumMod val="65000"/>
                    <a:lumOff val="35000"/>
                  </a:schemeClr>
                </a:solidFill>
              </a:rPr>
              <a:t>Much faster than MapReduce for  many applications.</a:t>
            </a:r>
          </a:p>
          <a:p>
            <a:pPr lvl="1">
              <a:spcAft>
                <a:spcPts val="0"/>
              </a:spcAft>
            </a:pPr>
            <a:r>
              <a:rPr lang="en-US" dirty="0">
                <a:solidFill>
                  <a:schemeClr val="tx1">
                    <a:lumMod val="65000"/>
                    <a:lumOff val="35000"/>
                  </a:schemeClr>
                </a:solidFill>
              </a:rPr>
              <a:t>Supports a wider range of applications than MR</a:t>
            </a:r>
          </a:p>
          <a:p>
            <a:pPr lvl="1">
              <a:spcAft>
                <a:spcPts val="0"/>
              </a:spcAft>
            </a:pPr>
            <a:r>
              <a:rPr lang="en-US" dirty="0">
                <a:solidFill>
                  <a:schemeClr val="tx1">
                    <a:lumMod val="65000"/>
                    <a:lumOff val="35000"/>
                  </a:schemeClr>
                </a:solidFill>
              </a:rPr>
              <a:t>Provides apps greater control over executions </a:t>
            </a:r>
          </a:p>
          <a:p>
            <a:endParaRPr lang="en-US" dirty="0"/>
          </a:p>
          <a:p>
            <a:endParaRPr lang="en-US" dirty="0"/>
          </a:p>
          <a:p>
            <a:endParaRPr lang="en-US" dirty="0"/>
          </a:p>
        </p:txBody>
      </p:sp>
      <p:grpSp>
        <p:nvGrpSpPr>
          <p:cNvPr id="7" name="Group 6"/>
          <p:cNvGrpSpPr/>
          <p:nvPr/>
        </p:nvGrpSpPr>
        <p:grpSpPr>
          <a:xfrm>
            <a:off x="6393519" y="2429810"/>
            <a:ext cx="5343525" cy="3762375"/>
            <a:chOff x="6578925" y="2059965"/>
            <a:chExt cx="5343525" cy="3762375"/>
          </a:xfrm>
        </p:grpSpPr>
        <p:grpSp>
          <p:nvGrpSpPr>
            <p:cNvPr id="8" name="Group 7"/>
            <p:cNvGrpSpPr/>
            <p:nvPr/>
          </p:nvGrpSpPr>
          <p:grpSpPr>
            <a:xfrm>
              <a:off x="6578925" y="2059965"/>
              <a:ext cx="5343525" cy="3762375"/>
              <a:chOff x="6578925" y="2212237"/>
              <a:chExt cx="5343525" cy="3762375"/>
            </a:xfrm>
          </p:grpSpPr>
          <p:sp>
            <p:nvSpPr>
              <p:cNvPr id="11" name="Rectangle 10"/>
              <p:cNvSpPr/>
              <p:nvPr/>
            </p:nvSpPr>
            <p:spPr bwMode="auto">
              <a:xfrm>
                <a:off x="6578925" y="2212237"/>
                <a:ext cx="5343525" cy="3762375"/>
              </a:xfrm>
              <a:prstGeom prst="rect">
                <a:avLst/>
              </a:prstGeom>
              <a:solidFill>
                <a:srgbClr val="F0F5F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2" name="Rectangle 11"/>
              <p:cNvSpPr/>
              <p:nvPr/>
            </p:nvSpPr>
            <p:spPr bwMode="auto">
              <a:xfrm>
                <a:off x="6669412" y="2375719"/>
                <a:ext cx="5162550" cy="1692121"/>
              </a:xfrm>
              <a:prstGeom prst="rect">
                <a:avLst/>
              </a:prstGeom>
              <a:noFill/>
              <a:ln w="19050">
                <a:solidFill>
                  <a:srgbClr val="DDE8F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3" name="Rectangle 12"/>
              <p:cNvSpPr/>
              <p:nvPr/>
            </p:nvSpPr>
            <p:spPr bwMode="auto">
              <a:xfrm>
                <a:off x="6669412" y="4231321"/>
                <a:ext cx="5162550" cy="1645604"/>
              </a:xfrm>
              <a:prstGeom prst="rect">
                <a:avLst/>
              </a:prstGeom>
              <a:noFill/>
              <a:ln w="19050">
                <a:solidFill>
                  <a:srgbClr val="DDE8F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4" name="Rectangle 13"/>
              <p:cNvSpPr/>
              <p:nvPr/>
            </p:nvSpPr>
            <p:spPr bwMode="auto">
              <a:xfrm>
                <a:off x="6754634" y="3485583"/>
                <a:ext cx="5029303" cy="1028346"/>
              </a:xfrm>
              <a:prstGeom prst="rect">
                <a:avLst/>
              </a:prstGeom>
              <a:solidFill>
                <a:srgbClr val="729FCC"/>
              </a:solidFill>
              <a:ln w="19050">
                <a:solidFill>
                  <a:srgbClr val="5B8FC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grpSp>
            <p:nvGrpSpPr>
              <p:cNvPr id="15" name="Group 14"/>
              <p:cNvGrpSpPr/>
              <p:nvPr/>
            </p:nvGrpSpPr>
            <p:grpSpPr>
              <a:xfrm>
                <a:off x="6754634" y="2472370"/>
                <a:ext cx="714375" cy="1232949"/>
                <a:chOff x="6754634" y="2472370"/>
                <a:chExt cx="714375" cy="1232949"/>
              </a:xfrm>
            </p:grpSpPr>
            <p:sp>
              <p:nvSpPr>
                <p:cNvPr id="56" name="Rectangle 55"/>
                <p:cNvSpPr/>
                <p:nvPr/>
              </p:nvSpPr>
              <p:spPr bwMode="auto">
                <a:xfrm>
                  <a:off x="6754634" y="2472370"/>
                  <a:ext cx="714375" cy="1136298"/>
                </a:xfrm>
                <a:prstGeom prst="rect">
                  <a:avLst/>
                </a:prstGeom>
                <a:solidFill>
                  <a:srgbClr val="FEFEFF"/>
                </a:solidFill>
                <a:ln w="19050">
                  <a:solidFill>
                    <a:srgbClr val="DDE8F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57" name="Trapezoid 56"/>
                <p:cNvSpPr/>
                <p:nvPr/>
              </p:nvSpPr>
              <p:spPr bwMode="auto">
                <a:xfrm rot="10800000">
                  <a:off x="6988834" y="3589712"/>
                  <a:ext cx="245973" cy="115607"/>
                </a:xfrm>
                <a:prstGeom prst="trapezoid">
                  <a:avLst/>
                </a:prstGeom>
                <a:solidFill>
                  <a:srgbClr val="FEFE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grpSp>
          <p:grpSp>
            <p:nvGrpSpPr>
              <p:cNvPr id="16" name="Group 15"/>
              <p:cNvGrpSpPr/>
              <p:nvPr/>
            </p:nvGrpSpPr>
            <p:grpSpPr>
              <a:xfrm>
                <a:off x="7578184" y="2477213"/>
                <a:ext cx="714375" cy="1232949"/>
                <a:chOff x="6754634" y="2472370"/>
                <a:chExt cx="714375" cy="1232949"/>
              </a:xfrm>
            </p:grpSpPr>
            <p:sp>
              <p:nvSpPr>
                <p:cNvPr id="54" name="Rectangle 53"/>
                <p:cNvSpPr/>
                <p:nvPr/>
              </p:nvSpPr>
              <p:spPr bwMode="auto">
                <a:xfrm>
                  <a:off x="6754634" y="2472370"/>
                  <a:ext cx="714375" cy="1136298"/>
                </a:xfrm>
                <a:prstGeom prst="rect">
                  <a:avLst/>
                </a:prstGeom>
                <a:solidFill>
                  <a:srgbClr val="FEFEFF"/>
                </a:solidFill>
                <a:ln w="19050">
                  <a:solidFill>
                    <a:srgbClr val="DDE8F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55" name="Trapezoid 54"/>
                <p:cNvSpPr/>
                <p:nvPr/>
              </p:nvSpPr>
              <p:spPr bwMode="auto">
                <a:xfrm rot="10800000">
                  <a:off x="6988834" y="3589712"/>
                  <a:ext cx="245973" cy="115607"/>
                </a:xfrm>
                <a:prstGeom prst="trapezoid">
                  <a:avLst/>
                </a:prstGeom>
                <a:solidFill>
                  <a:srgbClr val="FEFE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grpSp>
          <p:grpSp>
            <p:nvGrpSpPr>
              <p:cNvPr id="17" name="Group 16"/>
              <p:cNvGrpSpPr/>
              <p:nvPr/>
            </p:nvGrpSpPr>
            <p:grpSpPr>
              <a:xfrm>
                <a:off x="8352561" y="2462688"/>
                <a:ext cx="811932" cy="1232949"/>
                <a:chOff x="6754634" y="2472370"/>
                <a:chExt cx="714375" cy="1232949"/>
              </a:xfrm>
            </p:grpSpPr>
            <p:sp>
              <p:nvSpPr>
                <p:cNvPr id="52" name="Rectangle 51"/>
                <p:cNvSpPr/>
                <p:nvPr/>
              </p:nvSpPr>
              <p:spPr bwMode="auto">
                <a:xfrm>
                  <a:off x="6754634" y="2472370"/>
                  <a:ext cx="714375" cy="1136298"/>
                </a:xfrm>
                <a:prstGeom prst="rect">
                  <a:avLst/>
                </a:prstGeom>
                <a:solidFill>
                  <a:srgbClr val="FEFEFF"/>
                </a:solidFill>
                <a:ln w="19050">
                  <a:solidFill>
                    <a:srgbClr val="DDE8F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53" name="Trapezoid 52"/>
                <p:cNvSpPr/>
                <p:nvPr/>
              </p:nvSpPr>
              <p:spPr bwMode="auto">
                <a:xfrm rot="10800000">
                  <a:off x="6988834" y="3589712"/>
                  <a:ext cx="245973" cy="115607"/>
                </a:xfrm>
                <a:prstGeom prst="trapezoid">
                  <a:avLst/>
                </a:prstGeom>
                <a:solidFill>
                  <a:srgbClr val="FEFE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grpSp>
          <p:grpSp>
            <p:nvGrpSpPr>
              <p:cNvPr id="18" name="Group 17"/>
              <p:cNvGrpSpPr/>
              <p:nvPr/>
            </p:nvGrpSpPr>
            <p:grpSpPr>
              <a:xfrm>
                <a:off x="9215066" y="2472901"/>
                <a:ext cx="807375" cy="1213413"/>
                <a:chOff x="6754634" y="2472370"/>
                <a:chExt cx="807375" cy="1293904"/>
              </a:xfrm>
            </p:grpSpPr>
            <p:sp>
              <p:nvSpPr>
                <p:cNvPr id="50" name="Rectangle 49"/>
                <p:cNvSpPr/>
                <p:nvPr/>
              </p:nvSpPr>
              <p:spPr bwMode="auto">
                <a:xfrm>
                  <a:off x="6754634" y="2472370"/>
                  <a:ext cx="807375" cy="1194226"/>
                </a:xfrm>
                <a:prstGeom prst="rect">
                  <a:avLst/>
                </a:prstGeom>
                <a:solidFill>
                  <a:srgbClr val="FEFEFF"/>
                </a:solidFill>
                <a:ln w="19050">
                  <a:solidFill>
                    <a:srgbClr val="DDE8F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51" name="Trapezoid 50"/>
                <p:cNvSpPr/>
                <p:nvPr/>
              </p:nvSpPr>
              <p:spPr bwMode="auto">
                <a:xfrm rot="10800000">
                  <a:off x="7029795" y="3600682"/>
                  <a:ext cx="245973" cy="165592"/>
                </a:xfrm>
                <a:prstGeom prst="trapezoid">
                  <a:avLst/>
                </a:prstGeom>
                <a:solidFill>
                  <a:srgbClr val="FEFE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grpSp>
          <p:grpSp>
            <p:nvGrpSpPr>
              <p:cNvPr id="19" name="Group 18"/>
              <p:cNvGrpSpPr/>
              <p:nvPr/>
            </p:nvGrpSpPr>
            <p:grpSpPr>
              <a:xfrm>
                <a:off x="10138633" y="2492850"/>
                <a:ext cx="714375" cy="1232949"/>
                <a:chOff x="6754634" y="2472370"/>
                <a:chExt cx="714375" cy="1232949"/>
              </a:xfrm>
            </p:grpSpPr>
            <p:sp>
              <p:nvSpPr>
                <p:cNvPr id="48" name="Rectangle 47"/>
                <p:cNvSpPr/>
                <p:nvPr/>
              </p:nvSpPr>
              <p:spPr bwMode="auto">
                <a:xfrm>
                  <a:off x="6754634" y="2472370"/>
                  <a:ext cx="714375" cy="1136298"/>
                </a:xfrm>
                <a:prstGeom prst="rect">
                  <a:avLst/>
                </a:prstGeom>
                <a:solidFill>
                  <a:srgbClr val="FEFEFF"/>
                </a:solidFill>
                <a:ln w="19050">
                  <a:solidFill>
                    <a:srgbClr val="DDE8F3"/>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49" name="Trapezoid 48"/>
                <p:cNvSpPr/>
                <p:nvPr/>
              </p:nvSpPr>
              <p:spPr bwMode="auto">
                <a:xfrm rot="10800000">
                  <a:off x="6988834" y="3589712"/>
                  <a:ext cx="245973" cy="115607"/>
                </a:xfrm>
                <a:prstGeom prst="trapezoid">
                  <a:avLst/>
                </a:prstGeom>
                <a:solidFill>
                  <a:srgbClr val="FEFEFF"/>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grpSp>
          <p:grpSp>
            <p:nvGrpSpPr>
              <p:cNvPr id="20" name="Group 19"/>
              <p:cNvGrpSpPr/>
              <p:nvPr/>
            </p:nvGrpSpPr>
            <p:grpSpPr>
              <a:xfrm>
                <a:off x="11021239" y="2498043"/>
                <a:ext cx="714375" cy="1232949"/>
                <a:chOff x="6754634" y="2472370"/>
                <a:chExt cx="714375" cy="1232949"/>
              </a:xfrm>
            </p:grpSpPr>
            <p:sp>
              <p:nvSpPr>
                <p:cNvPr id="46" name="Rectangle 45"/>
                <p:cNvSpPr/>
                <p:nvPr/>
              </p:nvSpPr>
              <p:spPr bwMode="auto">
                <a:xfrm>
                  <a:off x="6754634" y="2472370"/>
                  <a:ext cx="714375" cy="1136298"/>
                </a:xfrm>
                <a:prstGeom prst="rect">
                  <a:avLst/>
                </a:prstGeom>
                <a:solidFill>
                  <a:srgbClr val="FEFEFF"/>
                </a:solidFill>
                <a:ln w="19050">
                  <a:solidFill>
                    <a:srgbClr val="DDE8F3"/>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47" name="Trapezoid 46"/>
                <p:cNvSpPr/>
                <p:nvPr/>
              </p:nvSpPr>
              <p:spPr bwMode="auto">
                <a:xfrm rot="10800000">
                  <a:off x="6988834" y="3589712"/>
                  <a:ext cx="245973" cy="115607"/>
                </a:xfrm>
                <a:prstGeom prst="trapezoid">
                  <a:avLst/>
                </a:prstGeom>
                <a:solidFill>
                  <a:srgbClr val="FEFEFF"/>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grpSp>
          <p:grpSp>
            <p:nvGrpSpPr>
              <p:cNvPr id="21" name="Group 20"/>
              <p:cNvGrpSpPr/>
              <p:nvPr/>
            </p:nvGrpSpPr>
            <p:grpSpPr>
              <a:xfrm>
                <a:off x="6844331" y="3291553"/>
                <a:ext cx="534983" cy="271223"/>
                <a:chOff x="6196646" y="6215960"/>
                <a:chExt cx="534983" cy="271223"/>
              </a:xfrm>
            </p:grpSpPr>
            <p:sp>
              <p:nvSpPr>
                <p:cNvPr id="44" name="Rectangle 43"/>
                <p:cNvSpPr/>
                <p:nvPr/>
              </p:nvSpPr>
              <p:spPr bwMode="auto">
                <a:xfrm>
                  <a:off x="6208113" y="6223379"/>
                  <a:ext cx="523516" cy="263804"/>
                </a:xfrm>
                <a:prstGeom prst="rect">
                  <a:avLst/>
                </a:prstGeom>
                <a:solidFill>
                  <a:srgbClr val="729FC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000" b="1" dirty="0">
                    <a:solidFill>
                      <a:schemeClr val="bg1"/>
                    </a:solidFill>
                    <a:latin typeface="Calibri" panose="020F0502020204030204" pitchFamily="34" charset="0"/>
                    <a:ea typeface="Segoe UI" pitchFamily="34" charset="0"/>
                    <a:cs typeface="Segoe UI" pitchFamily="34" charset="0"/>
                  </a:endParaRPr>
                </a:p>
              </p:txBody>
            </p:sp>
            <p:sp>
              <p:nvSpPr>
                <p:cNvPr id="45" name="TextBox 32"/>
                <p:cNvSpPr txBox="1"/>
                <p:nvPr/>
              </p:nvSpPr>
              <p:spPr>
                <a:xfrm>
                  <a:off x="6196646" y="6215960"/>
                  <a:ext cx="502247" cy="243993"/>
                </a:xfrm>
                <a:prstGeom prst="rect">
                  <a:avLst/>
                </a:prstGeom>
                <a:noFill/>
              </p:spPr>
              <p:txBody>
                <a:bodyPr wrap="none" lIns="182880" tIns="146304" rIns="182880" bIns="146304"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50000"/>
                    </a:lnSpc>
                    <a:spcAft>
                      <a:spcPts val="600"/>
                    </a:spcAft>
                  </a:pPr>
                  <a:r>
                    <a:rPr lang="en-US" sz="1300" b="1" dirty="0">
                      <a:solidFill>
                        <a:schemeClr val="bg1"/>
                      </a:solidFill>
                    </a:rPr>
                    <a:t> </a:t>
                  </a:r>
                  <a:r>
                    <a:rPr lang="en-US" sz="1300" b="1" dirty="0" err="1">
                      <a:solidFill>
                        <a:schemeClr val="bg1"/>
                      </a:solidFill>
                    </a:rPr>
                    <a:t>Tez</a:t>
                  </a:r>
                  <a:endParaRPr lang="en-US" sz="1300" b="1" dirty="0">
                    <a:solidFill>
                      <a:schemeClr val="bg1"/>
                    </a:solidFill>
                  </a:endParaRPr>
                </a:p>
              </p:txBody>
            </p:sp>
          </p:grpSp>
          <p:grpSp>
            <p:nvGrpSpPr>
              <p:cNvPr id="22" name="Group 21"/>
              <p:cNvGrpSpPr/>
              <p:nvPr/>
            </p:nvGrpSpPr>
            <p:grpSpPr>
              <a:xfrm>
                <a:off x="8478866" y="3291553"/>
                <a:ext cx="534983" cy="271223"/>
                <a:chOff x="6196646" y="6215960"/>
                <a:chExt cx="534983" cy="271223"/>
              </a:xfrm>
            </p:grpSpPr>
            <p:sp>
              <p:nvSpPr>
                <p:cNvPr id="42" name="Rectangle 41"/>
                <p:cNvSpPr/>
                <p:nvPr/>
              </p:nvSpPr>
              <p:spPr bwMode="auto">
                <a:xfrm>
                  <a:off x="6208113" y="6223379"/>
                  <a:ext cx="523516" cy="263804"/>
                </a:xfrm>
                <a:prstGeom prst="rect">
                  <a:avLst/>
                </a:prstGeom>
                <a:solidFill>
                  <a:srgbClr val="729FC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000" b="1" dirty="0">
                    <a:solidFill>
                      <a:schemeClr val="bg1"/>
                    </a:solidFill>
                    <a:latin typeface="Calibri" panose="020F0502020204030204" pitchFamily="34" charset="0"/>
                    <a:ea typeface="Segoe UI" pitchFamily="34" charset="0"/>
                    <a:cs typeface="Segoe UI" pitchFamily="34" charset="0"/>
                  </a:endParaRPr>
                </a:p>
              </p:txBody>
            </p:sp>
            <p:sp>
              <p:nvSpPr>
                <p:cNvPr id="43" name="TextBox 37"/>
                <p:cNvSpPr txBox="1"/>
                <p:nvPr/>
              </p:nvSpPr>
              <p:spPr>
                <a:xfrm>
                  <a:off x="6196646" y="6215960"/>
                  <a:ext cx="502247" cy="243993"/>
                </a:xfrm>
                <a:prstGeom prst="rect">
                  <a:avLst/>
                </a:prstGeom>
                <a:noFill/>
              </p:spPr>
              <p:txBody>
                <a:bodyPr wrap="none" lIns="182880" tIns="146304" rIns="182880" bIns="146304"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50000"/>
                    </a:lnSpc>
                    <a:spcAft>
                      <a:spcPts val="600"/>
                    </a:spcAft>
                  </a:pPr>
                  <a:r>
                    <a:rPr lang="en-US" sz="1300" b="1" dirty="0">
                      <a:solidFill>
                        <a:schemeClr val="bg1"/>
                      </a:solidFill>
                    </a:rPr>
                    <a:t> </a:t>
                  </a:r>
                  <a:r>
                    <a:rPr lang="en-US" sz="1300" b="1" dirty="0" err="1">
                      <a:solidFill>
                        <a:schemeClr val="bg1"/>
                      </a:solidFill>
                    </a:rPr>
                    <a:t>Tez</a:t>
                  </a:r>
                  <a:endParaRPr lang="en-US" sz="1300" b="1" dirty="0">
                    <a:solidFill>
                      <a:schemeClr val="bg1"/>
                    </a:solidFill>
                  </a:endParaRPr>
                </a:p>
              </p:txBody>
            </p:sp>
          </p:grpSp>
          <p:grpSp>
            <p:nvGrpSpPr>
              <p:cNvPr id="23" name="Group 22"/>
              <p:cNvGrpSpPr/>
              <p:nvPr/>
            </p:nvGrpSpPr>
            <p:grpSpPr>
              <a:xfrm>
                <a:off x="10228327" y="3311098"/>
                <a:ext cx="534983" cy="271223"/>
                <a:chOff x="6196646" y="6215960"/>
                <a:chExt cx="534983" cy="271223"/>
              </a:xfrm>
            </p:grpSpPr>
            <p:sp>
              <p:nvSpPr>
                <p:cNvPr id="40" name="Rectangle 39"/>
                <p:cNvSpPr/>
                <p:nvPr/>
              </p:nvSpPr>
              <p:spPr bwMode="auto">
                <a:xfrm>
                  <a:off x="6208113" y="6223379"/>
                  <a:ext cx="523516" cy="263804"/>
                </a:xfrm>
                <a:prstGeom prst="rect">
                  <a:avLst/>
                </a:prstGeom>
                <a:solidFill>
                  <a:srgbClr val="729FC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000" b="1" dirty="0">
                    <a:solidFill>
                      <a:schemeClr val="bg1"/>
                    </a:solidFill>
                    <a:latin typeface="Calibri" panose="020F0502020204030204" pitchFamily="34" charset="0"/>
                    <a:ea typeface="Segoe UI" pitchFamily="34" charset="0"/>
                    <a:cs typeface="Segoe UI" pitchFamily="34" charset="0"/>
                  </a:endParaRPr>
                </a:p>
              </p:txBody>
            </p:sp>
            <p:sp>
              <p:nvSpPr>
                <p:cNvPr id="41" name="TextBox 40"/>
                <p:cNvSpPr txBox="1"/>
                <p:nvPr/>
              </p:nvSpPr>
              <p:spPr>
                <a:xfrm>
                  <a:off x="6196646" y="6215960"/>
                  <a:ext cx="502247" cy="243993"/>
                </a:xfrm>
                <a:prstGeom prst="rect">
                  <a:avLst/>
                </a:prstGeom>
                <a:noFill/>
              </p:spPr>
              <p:txBody>
                <a:bodyPr wrap="none" lIns="182880" tIns="146304" rIns="182880" bIns="146304"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50000"/>
                    </a:lnSpc>
                    <a:spcAft>
                      <a:spcPts val="600"/>
                    </a:spcAft>
                  </a:pPr>
                  <a:r>
                    <a:rPr lang="en-US" sz="1300" b="1" dirty="0">
                      <a:solidFill>
                        <a:schemeClr val="bg1"/>
                      </a:solidFill>
                    </a:rPr>
                    <a:t> </a:t>
                  </a:r>
                  <a:r>
                    <a:rPr lang="en-US" sz="1300" b="1" dirty="0" err="1">
                      <a:solidFill>
                        <a:schemeClr val="bg1"/>
                      </a:solidFill>
                    </a:rPr>
                    <a:t>Tez</a:t>
                  </a:r>
                  <a:endParaRPr lang="en-US" sz="1300" b="1" dirty="0">
                    <a:solidFill>
                      <a:schemeClr val="bg1"/>
                    </a:solidFill>
                  </a:endParaRPr>
                </a:p>
              </p:txBody>
            </p:sp>
          </p:grpSp>
          <p:grpSp>
            <p:nvGrpSpPr>
              <p:cNvPr id="24" name="Group 23"/>
              <p:cNvGrpSpPr/>
              <p:nvPr/>
            </p:nvGrpSpPr>
            <p:grpSpPr>
              <a:xfrm>
                <a:off x="7676219" y="3291553"/>
                <a:ext cx="534983" cy="271223"/>
                <a:chOff x="6196646" y="6215960"/>
                <a:chExt cx="534983" cy="271223"/>
              </a:xfrm>
            </p:grpSpPr>
            <p:sp>
              <p:nvSpPr>
                <p:cNvPr id="38" name="Rectangle 37"/>
                <p:cNvSpPr/>
                <p:nvPr/>
              </p:nvSpPr>
              <p:spPr bwMode="auto">
                <a:xfrm>
                  <a:off x="6208113" y="6223379"/>
                  <a:ext cx="523516" cy="263804"/>
                </a:xfrm>
                <a:prstGeom prst="rect">
                  <a:avLst/>
                </a:prstGeom>
                <a:solidFill>
                  <a:srgbClr val="729FC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000" b="1" dirty="0">
                    <a:solidFill>
                      <a:schemeClr val="bg1"/>
                    </a:solidFill>
                    <a:latin typeface="Calibri" panose="020F0502020204030204" pitchFamily="34" charset="0"/>
                    <a:ea typeface="Segoe UI" pitchFamily="34" charset="0"/>
                    <a:cs typeface="Segoe UI" pitchFamily="34" charset="0"/>
                  </a:endParaRPr>
                </a:p>
              </p:txBody>
            </p:sp>
            <p:sp>
              <p:nvSpPr>
                <p:cNvPr id="39" name="TextBox 43"/>
                <p:cNvSpPr txBox="1"/>
                <p:nvPr/>
              </p:nvSpPr>
              <p:spPr>
                <a:xfrm>
                  <a:off x="6196646" y="6215960"/>
                  <a:ext cx="502247" cy="243993"/>
                </a:xfrm>
                <a:prstGeom prst="rect">
                  <a:avLst/>
                </a:prstGeom>
                <a:noFill/>
              </p:spPr>
              <p:txBody>
                <a:bodyPr wrap="none" lIns="182880" tIns="146304" rIns="182880" bIns="146304"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50000"/>
                    </a:lnSpc>
                    <a:spcAft>
                      <a:spcPts val="600"/>
                    </a:spcAft>
                  </a:pPr>
                  <a:r>
                    <a:rPr lang="en-US" sz="1300" b="1" dirty="0">
                      <a:solidFill>
                        <a:schemeClr val="bg1"/>
                      </a:solidFill>
                    </a:rPr>
                    <a:t> </a:t>
                  </a:r>
                  <a:r>
                    <a:rPr lang="en-US" sz="1300" b="1" dirty="0" err="1">
                      <a:solidFill>
                        <a:schemeClr val="bg1"/>
                      </a:solidFill>
                    </a:rPr>
                    <a:t>Tez</a:t>
                  </a:r>
                  <a:endParaRPr lang="en-US" sz="1300" b="1" dirty="0">
                    <a:solidFill>
                      <a:schemeClr val="bg1"/>
                    </a:solidFill>
                  </a:endParaRPr>
                </a:p>
              </p:txBody>
            </p:sp>
          </p:grpSp>
          <p:sp>
            <p:nvSpPr>
              <p:cNvPr id="25" name="TextBox 44"/>
              <p:cNvSpPr txBox="1"/>
              <p:nvPr/>
            </p:nvSpPr>
            <p:spPr>
              <a:xfrm>
                <a:off x="6678440" y="2377085"/>
                <a:ext cx="799596" cy="483402"/>
              </a:xfrm>
              <a:prstGeom prst="rect">
                <a:avLst/>
              </a:prstGeom>
              <a:noFill/>
            </p:spPr>
            <p:txBody>
              <a:bodyPr wrap="none" lIns="182880" tIns="146304" rIns="182880" bIns="146304"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1600" b="1" dirty="0">
                    <a:solidFill>
                      <a:srgbClr val="5B8FC3"/>
                    </a:solidFill>
                    <a:latin typeface="Calibri" panose="020F0502020204030204" pitchFamily="34" charset="0"/>
                  </a:rPr>
                  <a:t>Script</a:t>
                </a:r>
              </a:p>
            </p:txBody>
          </p:sp>
          <p:sp>
            <p:nvSpPr>
              <p:cNvPr id="26" name="TextBox 45"/>
              <p:cNvSpPr txBox="1"/>
              <p:nvPr/>
            </p:nvSpPr>
            <p:spPr>
              <a:xfrm>
                <a:off x="7616324" y="2371008"/>
                <a:ext cx="610211" cy="483402"/>
              </a:xfrm>
              <a:prstGeom prst="rect">
                <a:avLst/>
              </a:prstGeom>
              <a:noFill/>
            </p:spPr>
            <p:txBody>
              <a:bodyPr wrap="none" lIns="182880" tIns="146304" rIns="182880" bIns="146304"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1600" b="1" dirty="0">
                    <a:solidFill>
                      <a:srgbClr val="5B8FC3"/>
                    </a:solidFill>
                    <a:latin typeface="Calibri" panose="020F0502020204030204" pitchFamily="34" charset="0"/>
                  </a:rPr>
                  <a:t>SQL</a:t>
                </a:r>
              </a:p>
            </p:txBody>
          </p:sp>
          <p:sp>
            <p:nvSpPr>
              <p:cNvPr id="27" name="TextBox 46"/>
              <p:cNvSpPr txBox="1"/>
              <p:nvPr/>
            </p:nvSpPr>
            <p:spPr>
              <a:xfrm>
                <a:off x="8397617" y="2368395"/>
                <a:ext cx="547727" cy="365649"/>
              </a:xfrm>
              <a:prstGeom prst="rect">
                <a:avLst/>
              </a:prstGeom>
              <a:noFill/>
            </p:spPr>
            <p:txBody>
              <a:bodyPr wrap="none" lIns="182880" tIns="146304" rIns="182880" bIns="146304"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1600" b="1" dirty="0">
                    <a:solidFill>
                      <a:srgbClr val="5B8FC3"/>
                    </a:solidFill>
                    <a:latin typeface="Calibri" panose="020F0502020204030204" pitchFamily="34" charset="0"/>
                  </a:rPr>
                  <a:t>Java</a:t>
                </a:r>
              </a:p>
            </p:txBody>
          </p:sp>
          <p:sp>
            <p:nvSpPr>
              <p:cNvPr id="28" name="TextBox 47"/>
              <p:cNvSpPr txBox="1"/>
              <p:nvPr/>
            </p:nvSpPr>
            <p:spPr>
              <a:xfrm>
                <a:off x="9116477" y="2359394"/>
                <a:ext cx="799596" cy="483402"/>
              </a:xfrm>
              <a:prstGeom prst="rect">
                <a:avLst/>
              </a:prstGeom>
              <a:noFill/>
            </p:spPr>
            <p:txBody>
              <a:bodyPr wrap="none" lIns="182880" tIns="146304" rIns="182880" bIns="146304"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1600" b="1" dirty="0">
                    <a:solidFill>
                      <a:srgbClr val="5B8FC3"/>
                    </a:solidFill>
                    <a:latin typeface="Calibri" panose="020F0502020204030204" pitchFamily="34" charset="0"/>
                  </a:rPr>
                  <a:t>Engines</a:t>
                </a:r>
              </a:p>
            </p:txBody>
          </p:sp>
          <p:sp>
            <p:nvSpPr>
              <p:cNvPr id="29" name="TextBox 48"/>
              <p:cNvSpPr txBox="1"/>
              <p:nvPr/>
            </p:nvSpPr>
            <p:spPr>
              <a:xfrm>
                <a:off x="10075968" y="2368119"/>
                <a:ext cx="799596" cy="483402"/>
              </a:xfrm>
              <a:prstGeom prst="rect">
                <a:avLst/>
              </a:prstGeom>
              <a:noFill/>
            </p:spPr>
            <p:txBody>
              <a:bodyPr wrap="none" lIns="182880" tIns="146304" rIns="182880" bIns="146304"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600"/>
                  </a:spcAft>
                </a:pPr>
                <a:r>
                  <a:rPr lang="en-US" sz="1600" b="1" dirty="0">
                    <a:solidFill>
                      <a:srgbClr val="5B8FC3"/>
                    </a:solidFill>
                    <a:latin typeface="Calibri" panose="020F0502020204030204" pitchFamily="34" charset="0"/>
                  </a:rPr>
                  <a:t>Others</a:t>
                </a:r>
              </a:p>
            </p:txBody>
          </p:sp>
          <p:sp>
            <p:nvSpPr>
              <p:cNvPr id="30" name="TextBox 49"/>
              <p:cNvSpPr txBox="1"/>
              <p:nvPr/>
            </p:nvSpPr>
            <p:spPr>
              <a:xfrm>
                <a:off x="10910134" y="2379405"/>
                <a:ext cx="799596" cy="483402"/>
              </a:xfrm>
              <a:prstGeom prst="rect">
                <a:avLst/>
              </a:prstGeom>
              <a:noFill/>
            </p:spPr>
            <p:txBody>
              <a:bodyPr wrap="none" lIns="182880" tIns="146304" rIns="182880" bIns="146304"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1600" b="1" dirty="0">
                    <a:solidFill>
                      <a:srgbClr val="5B8FC3"/>
                    </a:solidFill>
                    <a:latin typeface="Calibri" panose="020F0502020204030204" pitchFamily="34" charset="0"/>
                  </a:rPr>
                  <a:t>Others</a:t>
                </a:r>
              </a:p>
            </p:txBody>
          </p:sp>
          <p:sp>
            <p:nvSpPr>
              <p:cNvPr id="31" name="TextBox 50"/>
              <p:cNvSpPr txBox="1"/>
              <p:nvPr/>
            </p:nvSpPr>
            <p:spPr>
              <a:xfrm>
                <a:off x="6819085" y="2796129"/>
                <a:ext cx="490780" cy="483402"/>
              </a:xfrm>
              <a:prstGeom prst="rect">
                <a:avLst/>
              </a:prstGeom>
              <a:noFill/>
            </p:spPr>
            <p:txBody>
              <a:bodyPr wrap="none" lIns="182880" tIns="146304" rIns="182880" bIns="146304"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1200" dirty="0">
                    <a:solidFill>
                      <a:srgbClr val="5B8FC3"/>
                    </a:solidFill>
                    <a:cs typeface="Arial" panose="020B0604020202020204" pitchFamily="34" charset="0"/>
                  </a:rPr>
                  <a:t>Pig</a:t>
                </a:r>
              </a:p>
            </p:txBody>
          </p:sp>
          <p:sp>
            <p:nvSpPr>
              <p:cNvPr id="32" name="TextBox 51"/>
              <p:cNvSpPr txBox="1"/>
              <p:nvPr/>
            </p:nvSpPr>
            <p:spPr>
              <a:xfrm>
                <a:off x="7605984" y="2804122"/>
                <a:ext cx="580261" cy="483402"/>
              </a:xfrm>
              <a:prstGeom prst="rect">
                <a:avLst/>
              </a:prstGeom>
              <a:noFill/>
            </p:spPr>
            <p:txBody>
              <a:bodyPr wrap="none" lIns="182880" tIns="146304" rIns="182880" bIns="146304"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1200" dirty="0">
                    <a:solidFill>
                      <a:srgbClr val="5B8FC3"/>
                    </a:solidFill>
                    <a:cs typeface="Arial" panose="020B0604020202020204" pitchFamily="34" charset="0"/>
                  </a:rPr>
                  <a:t>Hive</a:t>
                </a:r>
              </a:p>
            </p:txBody>
          </p:sp>
          <p:sp>
            <p:nvSpPr>
              <p:cNvPr id="33" name="TextBox 52"/>
              <p:cNvSpPr txBox="1"/>
              <p:nvPr/>
            </p:nvSpPr>
            <p:spPr>
              <a:xfrm>
                <a:off x="8351317" y="2794683"/>
                <a:ext cx="820861" cy="483402"/>
              </a:xfrm>
              <a:prstGeom prst="rect">
                <a:avLst/>
              </a:prstGeom>
              <a:noFill/>
            </p:spPr>
            <p:txBody>
              <a:bodyPr wrap="none" lIns="182880" tIns="146304" rIns="182880" bIns="146304"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600"/>
                  </a:spcAft>
                </a:pPr>
                <a:r>
                  <a:rPr lang="en-US" sz="1200" dirty="0">
                    <a:solidFill>
                      <a:srgbClr val="5B8FC3"/>
                    </a:solidFill>
                    <a:cs typeface="Arial" panose="020B0604020202020204" pitchFamily="34" charset="0"/>
                  </a:rPr>
                  <a:t>Cascading</a:t>
                </a:r>
              </a:p>
            </p:txBody>
          </p:sp>
          <p:sp>
            <p:nvSpPr>
              <p:cNvPr id="34" name="TextBox 53"/>
              <p:cNvSpPr txBox="1"/>
              <p:nvPr/>
            </p:nvSpPr>
            <p:spPr>
              <a:xfrm>
                <a:off x="9197827" y="2859121"/>
                <a:ext cx="820861" cy="483402"/>
              </a:xfrm>
              <a:prstGeom prst="rect">
                <a:avLst/>
              </a:prstGeom>
              <a:noFill/>
            </p:spPr>
            <p:txBody>
              <a:bodyPr wrap="none" lIns="182880" tIns="146304" rIns="182880" bIns="146304"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50000"/>
                  </a:lnSpc>
                  <a:spcAft>
                    <a:spcPts val="600"/>
                  </a:spcAft>
                </a:pPr>
                <a:r>
                  <a:rPr lang="en-US" sz="1050" dirty="0" err="1">
                    <a:solidFill>
                      <a:srgbClr val="5B8FC3"/>
                    </a:solidFill>
                    <a:cs typeface="Arial" panose="020B0604020202020204" pitchFamily="34" charset="0"/>
                  </a:rPr>
                  <a:t>Hbase</a:t>
                </a:r>
                <a:r>
                  <a:rPr lang="en-US" sz="1050" dirty="0">
                    <a:solidFill>
                      <a:srgbClr val="5B8FC3"/>
                    </a:solidFill>
                    <a:cs typeface="Arial" panose="020B0604020202020204" pitchFamily="34" charset="0"/>
                  </a:rPr>
                  <a:t> </a:t>
                </a:r>
              </a:p>
              <a:p>
                <a:pPr algn="ctr">
                  <a:lnSpc>
                    <a:spcPct val="50000"/>
                  </a:lnSpc>
                  <a:spcAft>
                    <a:spcPts val="600"/>
                  </a:spcAft>
                </a:pPr>
                <a:r>
                  <a:rPr lang="en-US" sz="1050" dirty="0" err="1">
                    <a:solidFill>
                      <a:srgbClr val="5B8FC3"/>
                    </a:solidFill>
                    <a:cs typeface="Arial" panose="020B0604020202020204" pitchFamily="34" charset="0"/>
                  </a:rPr>
                  <a:t>Accumulo</a:t>
                </a:r>
                <a:endParaRPr lang="en-US" sz="1050" dirty="0">
                  <a:solidFill>
                    <a:srgbClr val="5B8FC3"/>
                  </a:solidFill>
                  <a:cs typeface="Arial" panose="020B0604020202020204" pitchFamily="34" charset="0"/>
                </a:endParaRPr>
              </a:p>
              <a:p>
                <a:pPr algn="ctr">
                  <a:lnSpc>
                    <a:spcPct val="50000"/>
                  </a:lnSpc>
                  <a:spcAft>
                    <a:spcPts val="600"/>
                  </a:spcAft>
                </a:pPr>
                <a:r>
                  <a:rPr lang="en-US" sz="1050" dirty="0">
                    <a:solidFill>
                      <a:srgbClr val="5B8FC3"/>
                    </a:solidFill>
                    <a:cs typeface="Arial" panose="020B0604020202020204" pitchFamily="34" charset="0"/>
                  </a:rPr>
                  <a:t>Storm, </a:t>
                </a:r>
                <a:r>
                  <a:rPr lang="en-US" sz="1050" dirty="0" err="1">
                    <a:solidFill>
                      <a:srgbClr val="5B8FC3"/>
                    </a:solidFill>
                    <a:cs typeface="Arial" panose="020B0604020202020204" pitchFamily="34" charset="0"/>
                  </a:rPr>
                  <a:t>Solr</a:t>
                </a:r>
                <a:endParaRPr lang="en-US" sz="1050" dirty="0">
                  <a:solidFill>
                    <a:srgbClr val="5B8FC3"/>
                  </a:solidFill>
                  <a:cs typeface="Arial" panose="020B0604020202020204" pitchFamily="34" charset="0"/>
                </a:endParaRPr>
              </a:p>
              <a:p>
                <a:pPr algn="ctr">
                  <a:lnSpc>
                    <a:spcPct val="50000"/>
                  </a:lnSpc>
                  <a:spcAft>
                    <a:spcPts val="600"/>
                  </a:spcAft>
                </a:pPr>
                <a:r>
                  <a:rPr lang="en-US" sz="1050" dirty="0">
                    <a:solidFill>
                      <a:srgbClr val="5B8FC3"/>
                    </a:solidFill>
                    <a:cs typeface="Arial" panose="020B0604020202020204" pitchFamily="34" charset="0"/>
                  </a:rPr>
                  <a:t>Spark</a:t>
                </a:r>
              </a:p>
            </p:txBody>
          </p:sp>
          <p:sp>
            <p:nvSpPr>
              <p:cNvPr id="35" name="TextBox 54"/>
              <p:cNvSpPr txBox="1"/>
              <p:nvPr/>
            </p:nvSpPr>
            <p:spPr>
              <a:xfrm>
                <a:off x="10071072" y="2862524"/>
                <a:ext cx="820861" cy="483402"/>
              </a:xfrm>
              <a:prstGeom prst="rect">
                <a:avLst/>
              </a:prstGeom>
              <a:noFill/>
            </p:spPr>
            <p:txBody>
              <a:bodyPr wrap="none" lIns="182880" tIns="146304" rIns="182880" bIns="146304"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600"/>
                  </a:spcAft>
                </a:pPr>
                <a:r>
                  <a:rPr lang="en-US" sz="1200" dirty="0">
                    <a:solidFill>
                      <a:srgbClr val="5B8FC3"/>
                    </a:solidFill>
                    <a:cs typeface="Arial" panose="020B0604020202020204" pitchFamily="34" charset="0"/>
                  </a:rPr>
                  <a:t>Engines</a:t>
                </a:r>
              </a:p>
            </p:txBody>
          </p:sp>
          <p:sp>
            <p:nvSpPr>
              <p:cNvPr id="36" name="TextBox 55"/>
              <p:cNvSpPr txBox="1"/>
              <p:nvPr/>
            </p:nvSpPr>
            <p:spPr>
              <a:xfrm>
                <a:off x="10956734" y="2862524"/>
                <a:ext cx="820861" cy="483402"/>
              </a:xfrm>
              <a:prstGeom prst="rect">
                <a:avLst/>
              </a:prstGeom>
              <a:noFill/>
            </p:spPr>
            <p:txBody>
              <a:bodyPr wrap="none" lIns="182880" tIns="146304" rIns="182880" bIns="146304"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600"/>
                  </a:spcAft>
                </a:pPr>
                <a:r>
                  <a:rPr lang="en-US" sz="1200" dirty="0">
                    <a:solidFill>
                      <a:srgbClr val="5B8FC3"/>
                    </a:solidFill>
                    <a:cs typeface="Arial" panose="020B0604020202020204" pitchFamily="34" charset="0"/>
                  </a:rPr>
                  <a:t>ISV</a:t>
                </a:r>
              </a:p>
              <a:p>
                <a:pPr algn="ctr">
                  <a:lnSpc>
                    <a:spcPct val="90000"/>
                  </a:lnSpc>
                  <a:spcAft>
                    <a:spcPts val="600"/>
                  </a:spcAft>
                </a:pPr>
                <a:r>
                  <a:rPr lang="en-US" sz="1200" dirty="0">
                    <a:solidFill>
                      <a:srgbClr val="5B8FC3"/>
                    </a:solidFill>
                    <a:cs typeface="Arial" panose="020B0604020202020204" pitchFamily="34" charset="0"/>
                  </a:rPr>
                  <a:t>Engines</a:t>
                </a:r>
              </a:p>
            </p:txBody>
          </p:sp>
          <p:sp>
            <p:nvSpPr>
              <p:cNvPr id="37" name="TextBox 56"/>
              <p:cNvSpPr txBox="1"/>
              <p:nvPr/>
            </p:nvSpPr>
            <p:spPr>
              <a:xfrm>
                <a:off x="7527801" y="3833878"/>
                <a:ext cx="3784572" cy="744108"/>
              </a:xfrm>
              <a:prstGeom prst="rect">
                <a:avLst/>
              </a:prstGeom>
              <a:noFill/>
            </p:spPr>
            <p:txBody>
              <a:bodyPr wrap="none" lIns="182880" tIns="146304" rIns="182880" bIns="146304"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50000"/>
                  </a:lnSpc>
                  <a:spcAft>
                    <a:spcPts val="600"/>
                  </a:spcAft>
                </a:pPr>
                <a:r>
                  <a:rPr lang="en-US" sz="2400" b="1" dirty="0">
                    <a:solidFill>
                      <a:schemeClr val="bg1"/>
                    </a:solidFill>
                  </a:rPr>
                  <a:t>YARN</a:t>
                </a:r>
                <a:r>
                  <a:rPr lang="en-US" dirty="0">
                    <a:solidFill>
                      <a:schemeClr val="bg1"/>
                    </a:solidFill>
                  </a:rPr>
                  <a:t>:</a:t>
                </a:r>
                <a:r>
                  <a:rPr lang="en-US" dirty="0">
                    <a:solidFill>
                      <a:schemeClr val="tx1">
                        <a:lumMod val="85000"/>
                        <a:lumOff val="15000"/>
                      </a:schemeClr>
                    </a:solidFill>
                  </a:rPr>
                  <a:t> </a:t>
                </a:r>
                <a:r>
                  <a:rPr lang="en-US" b="1" dirty="0">
                    <a:solidFill>
                      <a:schemeClr val="bg1"/>
                    </a:solidFill>
                  </a:rPr>
                  <a:t>Data Operation System</a:t>
                </a:r>
              </a:p>
              <a:p>
                <a:pPr algn="ctr">
                  <a:lnSpc>
                    <a:spcPct val="50000"/>
                  </a:lnSpc>
                  <a:spcAft>
                    <a:spcPts val="600"/>
                  </a:spcAft>
                </a:pPr>
                <a:r>
                  <a:rPr lang="en-US" sz="1600" dirty="0">
                    <a:solidFill>
                      <a:schemeClr val="bg1"/>
                    </a:solidFill>
                  </a:rPr>
                  <a:t>(Cluster Resource Management)</a:t>
                </a:r>
              </a:p>
            </p:txBody>
          </p:sp>
        </p:grpSp>
        <p:sp>
          <p:nvSpPr>
            <p:cNvPr id="9" name="Rectangle 8"/>
            <p:cNvSpPr/>
            <p:nvPr/>
          </p:nvSpPr>
          <p:spPr bwMode="auto">
            <a:xfrm>
              <a:off x="6758747" y="4435685"/>
              <a:ext cx="5018847" cy="1179493"/>
            </a:xfrm>
            <a:prstGeom prst="rect">
              <a:avLst/>
            </a:prstGeom>
            <a:solidFill>
              <a:schemeClr val="bg1"/>
            </a:solidFill>
            <a:ln w="19050">
              <a:solidFill>
                <a:srgbClr val="729FC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0" name="TextBox 9"/>
            <p:cNvSpPr txBox="1"/>
            <p:nvPr/>
          </p:nvSpPr>
          <p:spPr>
            <a:xfrm>
              <a:off x="8898308" y="4535630"/>
              <a:ext cx="961053" cy="914400"/>
            </a:xfrm>
            <a:prstGeom prst="rect">
              <a:avLst/>
            </a:prstGeom>
            <a:noFill/>
          </p:spPr>
          <p:txBody>
            <a:bodyPr wrap="none" lIns="182880" tIns="146304" rIns="182880" bIns="146304" rtlCol="0">
              <a:noAutofit/>
            </a:bodyPr>
            <a:lstStyle/>
            <a:p>
              <a:pPr>
                <a:lnSpc>
                  <a:spcPct val="90000"/>
                </a:lnSpc>
                <a:spcAft>
                  <a:spcPts val="600"/>
                </a:spcAft>
              </a:pPr>
              <a:r>
                <a:rPr lang="en-US" b="1" dirty="0">
                  <a:solidFill>
                    <a:srgbClr val="538AC0"/>
                  </a:solidFill>
                </a:rPr>
                <a:t>HDFS</a:t>
              </a:r>
            </a:p>
            <a:p>
              <a:pPr algn="ctr">
                <a:lnSpc>
                  <a:spcPct val="90000"/>
                </a:lnSpc>
                <a:spcAft>
                  <a:spcPts val="600"/>
                </a:spcAft>
              </a:pPr>
              <a:r>
                <a:rPr lang="en-US" sz="1600" dirty="0">
                  <a:solidFill>
                    <a:srgbClr val="538AC0"/>
                  </a:solidFill>
                </a:rPr>
                <a:t>(Hadoop Distributed File System)</a:t>
              </a:r>
            </a:p>
          </p:txBody>
        </p:sp>
      </p:grpSp>
    </p:spTree>
    <p:extLst>
      <p:ext uri="{BB962C8B-B14F-4D97-AF65-F5344CB8AC3E}">
        <p14:creationId xmlns:p14="http://schemas.microsoft.com/office/powerpoint/2010/main" val="3334512352"/>
      </p:ext>
    </p:extLst>
  </p:cSld>
  <p:clrMapOvr>
    <a:masterClrMapping/>
  </p:clrMapOvr>
  <p:transition spd="med">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z DAG Components</a:t>
            </a:r>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17</a:t>
            </a:fld>
            <a:endParaRPr lang="en-US" dirty="0"/>
          </a:p>
        </p:txBody>
      </p:sp>
      <p:sp>
        <p:nvSpPr>
          <p:cNvPr id="5" name="TextBox 4"/>
          <p:cNvSpPr txBox="1"/>
          <p:nvPr/>
        </p:nvSpPr>
        <p:spPr>
          <a:xfrm>
            <a:off x="439048" y="1382232"/>
            <a:ext cx="7620431" cy="4720855"/>
          </a:xfrm>
          <a:prstGeom prst="rect">
            <a:avLst/>
          </a:prstGeom>
          <a:noFill/>
        </p:spPr>
        <p:txBody>
          <a:bodyPr wrap="square" lIns="182880" tIns="146304" rIns="182880" bIns="146304" rtlCol="0">
            <a:noAutofit/>
          </a:bodyPr>
          <a:lstStyle/>
          <a:p>
            <a:pPr marL="285750" indent="-285750">
              <a:spcBef>
                <a:spcPts val="600"/>
              </a:spcBef>
              <a:spcAft>
                <a:spcPts val="600"/>
              </a:spcAft>
              <a:buClr>
                <a:schemeClr val="accent3"/>
              </a:buClr>
              <a:buSzPct val="75000"/>
              <a:buFont typeface="Wingdings" panose="05000000000000000000" pitchFamily="2" charset="2"/>
              <a:buChar char="v"/>
            </a:pPr>
            <a:r>
              <a:rPr lang="en-US" dirty="0">
                <a:solidFill>
                  <a:schemeClr val="tx1">
                    <a:lumMod val="65000"/>
                    <a:lumOff val="35000"/>
                  </a:schemeClr>
                </a:solidFill>
              </a:rPr>
              <a:t>Tez defines a simple Java API to express a DAG of data processing.  </a:t>
            </a:r>
          </a:p>
          <a:p>
            <a:pPr marL="285750" indent="-285750">
              <a:spcBef>
                <a:spcPts val="600"/>
              </a:spcBef>
              <a:spcAft>
                <a:spcPts val="600"/>
              </a:spcAft>
              <a:buClr>
                <a:schemeClr val="accent3"/>
              </a:buClr>
              <a:buSzPct val="75000"/>
              <a:buFont typeface="Wingdings" panose="05000000000000000000" pitchFamily="2" charset="2"/>
              <a:buChar char="v"/>
            </a:pPr>
            <a:r>
              <a:rPr lang="en-US" dirty="0">
                <a:solidFill>
                  <a:schemeClr val="tx1">
                    <a:lumMod val="65000"/>
                    <a:lumOff val="35000"/>
                  </a:schemeClr>
                </a:solidFill>
              </a:rPr>
              <a:t>Tez models data processing as a dataflow graph, with the graph vertices representing application logic and its edges representing movement of data. </a:t>
            </a:r>
            <a:endParaRPr lang="en-US" sz="2000" dirty="0">
              <a:solidFill>
                <a:schemeClr val="tx1">
                  <a:lumMod val="65000"/>
                  <a:lumOff val="35000"/>
                </a:schemeClr>
              </a:solidFill>
            </a:endParaRPr>
          </a:p>
          <a:p>
            <a:pPr marL="285750" indent="-285750">
              <a:spcBef>
                <a:spcPts val="600"/>
              </a:spcBef>
              <a:spcAft>
                <a:spcPts val="600"/>
              </a:spcAft>
              <a:buClr>
                <a:schemeClr val="accent3"/>
              </a:buClr>
              <a:buSzPct val="75000"/>
              <a:buFont typeface="Wingdings" panose="05000000000000000000" pitchFamily="2" charset="2"/>
              <a:buChar char="v"/>
            </a:pPr>
            <a:r>
              <a:rPr lang="en-US" sz="2000" dirty="0">
                <a:solidFill>
                  <a:schemeClr val="tx1">
                    <a:lumMod val="65000"/>
                    <a:lumOff val="35000"/>
                  </a:schemeClr>
                </a:solidFill>
              </a:rPr>
              <a:t>The API has three components:</a:t>
            </a:r>
          </a:p>
          <a:p>
            <a:pPr marL="742950" lvl="1" indent="-285750">
              <a:spcBef>
                <a:spcPts val="600"/>
              </a:spcBef>
              <a:spcAft>
                <a:spcPts val="600"/>
              </a:spcAft>
              <a:buClr>
                <a:schemeClr val="accent3"/>
              </a:buClr>
              <a:buSzPct val="75000"/>
              <a:buFont typeface="Wingdings" panose="05000000000000000000" pitchFamily="2" charset="2"/>
              <a:buChar char="§"/>
            </a:pPr>
            <a:r>
              <a:rPr lang="en-US" i="1" dirty="0">
                <a:solidFill>
                  <a:schemeClr val="tx1">
                    <a:lumMod val="65000"/>
                    <a:lumOff val="35000"/>
                  </a:schemeClr>
                </a:solidFill>
              </a:rPr>
              <a:t>DAG</a:t>
            </a:r>
            <a:r>
              <a:rPr lang="en-US" dirty="0">
                <a:solidFill>
                  <a:schemeClr val="tx1">
                    <a:lumMod val="65000"/>
                    <a:lumOff val="35000"/>
                  </a:schemeClr>
                </a:solidFill>
              </a:rPr>
              <a:t> – defines the overall job. The user creates a DAG object for each data processing job. </a:t>
            </a:r>
          </a:p>
          <a:p>
            <a:pPr marL="742950" lvl="1" indent="-285750">
              <a:spcBef>
                <a:spcPts val="600"/>
              </a:spcBef>
              <a:spcAft>
                <a:spcPts val="600"/>
              </a:spcAft>
              <a:buClr>
                <a:schemeClr val="accent3"/>
              </a:buClr>
              <a:buSzPct val="75000"/>
              <a:buFont typeface="Wingdings" panose="05000000000000000000" pitchFamily="2" charset="2"/>
              <a:buChar char="§"/>
            </a:pPr>
            <a:r>
              <a:rPr lang="en-US" i="1" dirty="0">
                <a:solidFill>
                  <a:schemeClr val="tx1">
                    <a:lumMod val="65000"/>
                    <a:lumOff val="35000"/>
                  </a:schemeClr>
                </a:solidFill>
              </a:rPr>
              <a:t>Vertex</a:t>
            </a:r>
            <a:r>
              <a:rPr lang="en-US" dirty="0">
                <a:solidFill>
                  <a:schemeClr val="tx1">
                    <a:lumMod val="65000"/>
                    <a:lumOff val="35000"/>
                  </a:schemeClr>
                </a:solidFill>
              </a:rPr>
              <a:t> – defines the user logic and the resources &amp; environment needed to execute the user logic. The user creates a Vertex object for each step in the job and adds it to the DAG</a:t>
            </a:r>
          </a:p>
          <a:p>
            <a:pPr marL="742950" lvl="1" indent="-285750">
              <a:spcBef>
                <a:spcPts val="600"/>
              </a:spcBef>
              <a:spcAft>
                <a:spcPts val="600"/>
              </a:spcAft>
              <a:buClr>
                <a:schemeClr val="accent3"/>
              </a:buClr>
              <a:buSzPct val="75000"/>
              <a:buFont typeface="Wingdings" panose="05000000000000000000" pitchFamily="2" charset="2"/>
              <a:buChar char="§"/>
            </a:pPr>
            <a:r>
              <a:rPr lang="en-US" i="1" dirty="0">
                <a:solidFill>
                  <a:schemeClr val="tx1">
                    <a:lumMod val="65000"/>
                    <a:lumOff val="35000"/>
                  </a:schemeClr>
                </a:solidFill>
              </a:rPr>
              <a:t>Edge</a:t>
            </a:r>
            <a:r>
              <a:rPr lang="en-US" dirty="0">
                <a:solidFill>
                  <a:schemeClr val="tx1">
                    <a:lumMod val="65000"/>
                    <a:lumOff val="35000"/>
                  </a:schemeClr>
                </a:solidFill>
              </a:rPr>
              <a:t> – defines the connection between producer and consumer vertices. The user creates an Edge object and connects the producer and consumer vertices using it</a:t>
            </a:r>
            <a:r>
              <a:rPr lang="en-US" dirty="0">
                <a:solidFill>
                  <a:schemeClr val="tx1">
                    <a:lumMod val="75000"/>
                    <a:lumOff val="25000"/>
                  </a:schemeClr>
                </a:solidFill>
              </a:rPr>
              <a:t>.</a:t>
            </a:r>
          </a:p>
          <a:p>
            <a:pPr algn="ctr">
              <a:lnSpc>
                <a:spcPct val="90000"/>
              </a:lnSpc>
              <a:spcAft>
                <a:spcPts val="600"/>
              </a:spcAft>
            </a:pPr>
            <a:endParaRPr lang="en-US" dirty="0">
              <a:solidFill>
                <a:schemeClr val="tx1">
                  <a:lumMod val="75000"/>
                  <a:lumOff val="25000"/>
                </a:schemeClr>
              </a:solidFill>
            </a:endParaRPr>
          </a:p>
          <a:p>
            <a:pPr marL="742950" lvl="1" indent="-285750">
              <a:lnSpc>
                <a:spcPct val="90000"/>
              </a:lnSpc>
              <a:spcAft>
                <a:spcPts val="600"/>
              </a:spcAft>
              <a:buFont typeface="Arial" panose="020B0604020202020204" pitchFamily="34" charset="0"/>
              <a:buChar char="•"/>
            </a:pPr>
            <a:endParaRPr lang="en-US" dirty="0">
              <a:solidFill>
                <a:schemeClr val="tx1">
                  <a:lumMod val="75000"/>
                  <a:lumOff val="25000"/>
                </a:schemeClr>
              </a:solidFill>
            </a:endParaRPr>
          </a:p>
          <a:p>
            <a:pPr lvl="1">
              <a:lnSpc>
                <a:spcPct val="90000"/>
              </a:lnSpc>
              <a:spcAft>
                <a:spcPts val="600"/>
              </a:spcAft>
            </a:pPr>
            <a:r>
              <a:rPr lang="en-US" dirty="0">
                <a:solidFill>
                  <a:schemeClr val="tx1">
                    <a:lumMod val="75000"/>
                    <a:lumOff val="25000"/>
                  </a:schemeClr>
                </a:solidFill>
              </a:rPr>
              <a:t> </a:t>
            </a:r>
          </a:p>
        </p:txBody>
      </p:sp>
      <p:pic>
        <p:nvPicPr>
          <p:cNvPr id="10" name="Picture 2" descr="https://svn.apache.org/repos/asf/tez/site/images/ApacheTezIcon.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656820" y="2289143"/>
            <a:ext cx="2794282" cy="27942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31814964"/>
      </p:ext>
    </p:extLst>
  </p:cSld>
  <p:clrMapOvr>
    <a:masterClrMapping/>
  </p:clrMapOvr>
  <p:transition spd="med">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z: DAG Execution </a:t>
            </a:r>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18</a:t>
            </a:fld>
            <a:endParaRPr lang="en-US" dirty="0"/>
          </a:p>
        </p:txBody>
      </p:sp>
      <p:pic>
        <p:nvPicPr>
          <p:cNvPr id="4" name="Picture 3"/>
          <p:cNvPicPr>
            <a:picLocks noChangeAspect="1"/>
          </p:cNvPicPr>
          <p:nvPr/>
        </p:nvPicPr>
        <p:blipFill>
          <a:blip r:embed="rId3"/>
          <a:stretch>
            <a:fillRect/>
          </a:stretch>
        </p:blipFill>
        <p:spPr>
          <a:xfrm>
            <a:off x="609169" y="1471594"/>
            <a:ext cx="5568347" cy="3537605"/>
          </a:xfrm>
          <a:prstGeom prst="rect">
            <a:avLst/>
          </a:prstGeom>
          <a:solidFill>
            <a:srgbClr val="B48900"/>
          </a:solidFill>
          <a:ln>
            <a:solidFill>
              <a:schemeClr val="accent1">
                <a:lumMod val="75000"/>
              </a:schemeClr>
            </a:solidFill>
          </a:ln>
        </p:spPr>
      </p:pic>
      <p:pic>
        <p:nvPicPr>
          <p:cNvPr id="6" name="Picture 5"/>
          <p:cNvPicPr>
            <a:picLocks noChangeAspect="1"/>
          </p:cNvPicPr>
          <p:nvPr/>
        </p:nvPicPr>
        <p:blipFill>
          <a:blip r:embed="rId4"/>
          <a:stretch>
            <a:fillRect/>
          </a:stretch>
        </p:blipFill>
        <p:spPr>
          <a:xfrm>
            <a:off x="7686326" y="1193875"/>
            <a:ext cx="2137771" cy="2941573"/>
          </a:xfrm>
          <a:prstGeom prst="rect">
            <a:avLst/>
          </a:prstGeom>
        </p:spPr>
      </p:pic>
      <p:pic>
        <p:nvPicPr>
          <p:cNvPr id="7" name="Picture 6"/>
          <p:cNvPicPr>
            <a:picLocks noChangeAspect="1"/>
          </p:cNvPicPr>
          <p:nvPr/>
        </p:nvPicPr>
        <p:blipFill>
          <a:blip r:embed="rId5"/>
          <a:stretch>
            <a:fillRect/>
          </a:stretch>
        </p:blipFill>
        <p:spPr>
          <a:xfrm>
            <a:off x="7686326" y="4352925"/>
            <a:ext cx="3629025" cy="2505075"/>
          </a:xfrm>
          <a:prstGeom prst="rect">
            <a:avLst/>
          </a:prstGeom>
        </p:spPr>
      </p:pic>
      <p:sp>
        <p:nvSpPr>
          <p:cNvPr id="8" name="TextBox 7"/>
          <p:cNvSpPr txBox="1"/>
          <p:nvPr/>
        </p:nvSpPr>
        <p:spPr>
          <a:xfrm>
            <a:off x="609169" y="1077161"/>
            <a:ext cx="5568347" cy="356506"/>
          </a:xfrm>
          <a:prstGeom prst="rect">
            <a:avLst/>
          </a:prstGeom>
          <a:solidFill>
            <a:schemeClr val="accent2"/>
          </a:solidFill>
        </p:spPr>
        <p:txBody>
          <a:bodyPr wrap="none" lIns="182880" tIns="146304" rIns="182880" bIns="146304" rtlCol="0" anchor="ctr">
            <a:noAutofit/>
          </a:bodyPr>
          <a:lstStyle/>
          <a:p>
            <a:pPr algn="ctr">
              <a:lnSpc>
                <a:spcPct val="90000"/>
              </a:lnSpc>
              <a:spcAft>
                <a:spcPts val="600"/>
              </a:spcAft>
            </a:pPr>
            <a:r>
              <a:rPr lang="en-US" dirty="0">
                <a:solidFill>
                  <a:schemeClr val="bg1"/>
                </a:solidFill>
              </a:rPr>
              <a:t>Code (simplified) to create a DAG (using Java API)</a:t>
            </a:r>
          </a:p>
        </p:txBody>
      </p:sp>
      <p:cxnSp>
        <p:nvCxnSpPr>
          <p:cNvPr id="11" name="Straight Arrow Connector 10"/>
          <p:cNvCxnSpPr>
            <a:endCxn id="6" idx="1"/>
          </p:cNvCxnSpPr>
          <p:nvPr/>
        </p:nvCxnSpPr>
        <p:spPr>
          <a:xfrm flipV="1">
            <a:off x="6177516" y="2664662"/>
            <a:ext cx="1508810" cy="5386"/>
          </a:xfrm>
          <a:prstGeom prst="straightConnector1">
            <a:avLst/>
          </a:prstGeom>
          <a:ln w="28575">
            <a:headEnd type="none"/>
            <a:tailEnd type="triangle"/>
          </a:ln>
          <a:scene3d>
            <a:camera prst="orthographicFront"/>
            <a:lightRig rig="threePt" dir="t"/>
          </a:scene3d>
          <a:sp3d>
            <a:bevelT/>
          </a:sp3d>
        </p:spPr>
        <p:style>
          <a:lnRef idx="1">
            <a:schemeClr val="accent6"/>
          </a:lnRef>
          <a:fillRef idx="0">
            <a:schemeClr val="accent6"/>
          </a:fillRef>
          <a:effectRef idx="0">
            <a:schemeClr val="accent6"/>
          </a:effectRef>
          <a:fontRef idx="minor">
            <a:schemeClr val="tx1"/>
          </a:fontRef>
        </p:style>
      </p:cxnSp>
      <p:sp>
        <p:nvSpPr>
          <p:cNvPr id="16" name="Rectangle 15"/>
          <p:cNvSpPr/>
          <p:nvPr/>
        </p:nvSpPr>
        <p:spPr>
          <a:xfrm>
            <a:off x="609169" y="5080701"/>
            <a:ext cx="5568347" cy="1092607"/>
          </a:xfrm>
          <a:prstGeom prst="rect">
            <a:avLst/>
          </a:prstGeom>
          <a:ln>
            <a:solidFill>
              <a:schemeClr val="accent1">
                <a:lumMod val="75000"/>
              </a:schemeClr>
            </a:solidFill>
          </a:ln>
        </p:spPr>
        <p:txBody>
          <a:bodyPr wrap="square">
            <a:spAutoFit/>
          </a:bodyPr>
          <a:lstStyle/>
          <a:p>
            <a:r>
              <a:rPr lang="en-US" sz="1300" dirty="0">
                <a:solidFill>
                  <a:schemeClr val="tx1">
                    <a:lumMod val="65000"/>
                    <a:lumOff val="35000"/>
                  </a:schemeClr>
                </a:solidFill>
              </a:rPr>
              <a:t>Tez handles expanding the logical graph at runtime to perform the operations in parallel using multiple tasks. </a:t>
            </a:r>
          </a:p>
          <a:p>
            <a:r>
              <a:rPr lang="en-US" sz="1300" dirty="0">
                <a:solidFill>
                  <a:schemeClr val="tx1">
                    <a:lumMod val="65000"/>
                    <a:lumOff val="35000"/>
                  </a:schemeClr>
                </a:solidFill>
              </a:rPr>
              <a:t>The diagram shows a runtime expansion in which the first M-R pair has a parallelism of 2 while the second has a parallelism of 3. Both branches of computation merge in the Join operation that has a parallelism of 2</a:t>
            </a:r>
          </a:p>
        </p:txBody>
      </p:sp>
      <p:cxnSp>
        <p:nvCxnSpPr>
          <p:cNvPr id="22" name="Straight Arrow Connector 21"/>
          <p:cNvCxnSpPr>
            <a:stCxn id="16" idx="3"/>
            <a:endCxn id="7" idx="1"/>
          </p:cNvCxnSpPr>
          <p:nvPr/>
        </p:nvCxnSpPr>
        <p:spPr>
          <a:xfrm flipV="1">
            <a:off x="6177516" y="5605463"/>
            <a:ext cx="1508810" cy="21542"/>
          </a:xfrm>
          <a:prstGeom prst="straightConnector1">
            <a:avLst/>
          </a:prstGeom>
          <a:ln w="28575">
            <a:headEnd type="none"/>
            <a:tailEnd type="triangle"/>
          </a:ln>
          <a:scene3d>
            <a:camera prst="orthographicFront"/>
            <a:lightRig rig="threePt" dir="t"/>
          </a:scene3d>
          <a:sp3d>
            <a:bevelT/>
          </a:sp3d>
        </p:spPr>
        <p:style>
          <a:lnRef idx="1">
            <a:schemeClr val="accent6"/>
          </a:lnRef>
          <a:fillRef idx="0">
            <a:schemeClr val="accent6"/>
          </a:fillRef>
          <a:effectRef idx="0">
            <a:schemeClr val="accent6"/>
          </a:effectRef>
          <a:fontRef idx="minor">
            <a:schemeClr val="tx1"/>
          </a:fontRef>
        </p:style>
      </p:cxnSp>
      <p:grpSp>
        <p:nvGrpSpPr>
          <p:cNvPr id="30" name="Group 29"/>
          <p:cNvGrpSpPr/>
          <p:nvPr/>
        </p:nvGrpSpPr>
        <p:grpSpPr>
          <a:xfrm>
            <a:off x="6370005" y="2276990"/>
            <a:ext cx="1141388" cy="741028"/>
            <a:chOff x="6370005" y="2414150"/>
            <a:chExt cx="1141388" cy="741028"/>
          </a:xfrm>
        </p:grpSpPr>
        <p:sp>
          <p:nvSpPr>
            <p:cNvPr id="9" name="TextBox 8"/>
            <p:cNvSpPr txBox="1"/>
            <p:nvPr/>
          </p:nvSpPr>
          <p:spPr>
            <a:xfrm>
              <a:off x="6370005" y="2414150"/>
              <a:ext cx="1141388" cy="235571"/>
            </a:xfrm>
            <a:prstGeom prst="rect">
              <a:avLst/>
            </a:prstGeom>
            <a:noFill/>
          </p:spPr>
          <p:txBody>
            <a:bodyPr wrap="square" lIns="182880" tIns="146304" rIns="182880" bIns="146304" rtlCol="0" anchor="ctr">
              <a:noAutofit/>
            </a:bodyPr>
            <a:lstStyle/>
            <a:p>
              <a:pPr algn="ctr">
                <a:lnSpc>
                  <a:spcPct val="90000"/>
                </a:lnSpc>
                <a:spcAft>
                  <a:spcPts val="600"/>
                </a:spcAft>
              </a:pPr>
              <a:r>
                <a:rPr lang="en-US" sz="1600" dirty="0">
                  <a:solidFill>
                    <a:schemeClr val="tx1">
                      <a:lumMod val="65000"/>
                      <a:lumOff val="35000"/>
                    </a:schemeClr>
                  </a:solidFill>
                </a:rPr>
                <a:t>‘Logical’</a:t>
              </a:r>
            </a:p>
          </p:txBody>
        </p:sp>
        <p:sp>
          <p:nvSpPr>
            <p:cNvPr id="28" name="TextBox 27"/>
            <p:cNvSpPr txBox="1"/>
            <p:nvPr/>
          </p:nvSpPr>
          <p:spPr>
            <a:xfrm>
              <a:off x="6478576" y="2676278"/>
              <a:ext cx="924247" cy="235571"/>
            </a:xfrm>
            <a:prstGeom prst="rect">
              <a:avLst/>
            </a:prstGeom>
            <a:solidFill>
              <a:schemeClr val="bg1"/>
            </a:solidFill>
          </p:spPr>
          <p:txBody>
            <a:bodyPr wrap="none" lIns="0" tIns="0" rIns="0" bIns="0" rtlCol="0" anchor="ctr">
              <a:noAutofit/>
            </a:bodyPr>
            <a:lstStyle/>
            <a:p>
              <a:pPr algn="ctr">
                <a:lnSpc>
                  <a:spcPct val="90000"/>
                </a:lnSpc>
                <a:spcAft>
                  <a:spcPts val="600"/>
                </a:spcAft>
              </a:pPr>
              <a:r>
                <a:rPr lang="en-US" sz="1600" dirty="0">
                  <a:solidFill>
                    <a:schemeClr val="tx1">
                      <a:lumMod val="65000"/>
                      <a:lumOff val="35000"/>
                    </a:schemeClr>
                  </a:solidFill>
                </a:rPr>
                <a:t>Dataflow</a:t>
              </a:r>
            </a:p>
          </p:txBody>
        </p:sp>
        <p:sp>
          <p:nvSpPr>
            <p:cNvPr id="29" name="TextBox 28"/>
            <p:cNvSpPr txBox="1"/>
            <p:nvPr/>
          </p:nvSpPr>
          <p:spPr>
            <a:xfrm>
              <a:off x="6478576" y="2919607"/>
              <a:ext cx="924247" cy="235571"/>
            </a:xfrm>
            <a:prstGeom prst="rect">
              <a:avLst/>
            </a:prstGeom>
            <a:noFill/>
          </p:spPr>
          <p:txBody>
            <a:bodyPr wrap="square" lIns="182880" tIns="146304" rIns="182880" bIns="146304" rtlCol="0" anchor="ctr">
              <a:noAutofit/>
            </a:bodyPr>
            <a:lstStyle/>
            <a:p>
              <a:pPr algn="ctr">
                <a:lnSpc>
                  <a:spcPct val="90000"/>
                </a:lnSpc>
                <a:spcAft>
                  <a:spcPts val="600"/>
                </a:spcAft>
              </a:pPr>
              <a:r>
                <a:rPr lang="en-US" sz="1600" dirty="0">
                  <a:solidFill>
                    <a:schemeClr val="tx1">
                      <a:lumMod val="65000"/>
                      <a:lumOff val="35000"/>
                    </a:schemeClr>
                  </a:solidFill>
                </a:rPr>
                <a:t>Graph</a:t>
              </a:r>
            </a:p>
          </p:txBody>
        </p:sp>
      </p:grpSp>
      <p:sp>
        <p:nvSpPr>
          <p:cNvPr id="34" name="Rectangle 33"/>
          <p:cNvSpPr/>
          <p:nvPr/>
        </p:nvSpPr>
        <p:spPr>
          <a:xfrm>
            <a:off x="10413690" y="2018330"/>
            <a:ext cx="1548178" cy="1292662"/>
          </a:xfrm>
          <a:prstGeom prst="rect">
            <a:avLst/>
          </a:prstGeom>
        </p:spPr>
        <p:txBody>
          <a:bodyPr wrap="square">
            <a:spAutoFit/>
          </a:bodyPr>
          <a:lstStyle/>
          <a:p>
            <a:r>
              <a:rPr lang="en-US" sz="1300" dirty="0" err="1">
                <a:solidFill>
                  <a:schemeClr val="tx1">
                    <a:lumMod val="65000"/>
                    <a:lumOff val="35000"/>
                  </a:schemeClr>
                </a:solidFill>
              </a:rPr>
              <a:t>Mapreduce</a:t>
            </a:r>
            <a:r>
              <a:rPr lang="en-US" sz="1300" dirty="0">
                <a:solidFill>
                  <a:schemeClr val="tx1">
                    <a:lumMod val="65000"/>
                    <a:lumOff val="35000"/>
                  </a:schemeClr>
                </a:solidFill>
              </a:rPr>
              <a:t> would be expressed with the scatter-gather, sequential and persisted edge properties.</a:t>
            </a:r>
          </a:p>
        </p:txBody>
      </p:sp>
      <p:cxnSp>
        <p:nvCxnSpPr>
          <p:cNvPr id="36" name="Straight Arrow Connector 35"/>
          <p:cNvCxnSpPr/>
          <p:nvPr/>
        </p:nvCxnSpPr>
        <p:spPr>
          <a:xfrm flipH="1">
            <a:off x="9824097" y="2664661"/>
            <a:ext cx="589593" cy="1"/>
          </a:xfrm>
          <a:prstGeom prst="straightConnector1">
            <a:avLst/>
          </a:prstGeom>
          <a:ln w="28575">
            <a:headEnd type="none"/>
            <a:tailEnd type="triangle"/>
          </a:ln>
          <a:scene3d>
            <a:camera prst="orthographicFront"/>
            <a:lightRig rig="threePt" dir="t"/>
          </a:scene3d>
          <a:sp3d>
            <a:bevelT/>
          </a:sp3d>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1102661115"/>
      </p:ext>
    </p:extLst>
  </p:cSld>
  <p:clrMapOvr>
    <a:masterClrMapping/>
  </p:clrMapOvr>
  <p:transition spd="med">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Rectangle 69"/>
          <p:cNvSpPr/>
          <p:nvPr/>
        </p:nvSpPr>
        <p:spPr bwMode="auto">
          <a:xfrm>
            <a:off x="9045070" y="1153506"/>
            <a:ext cx="3068401" cy="4879428"/>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5" name="Rectangle 4"/>
          <p:cNvSpPr/>
          <p:nvPr/>
        </p:nvSpPr>
        <p:spPr bwMode="auto">
          <a:xfrm>
            <a:off x="4855779" y="1135117"/>
            <a:ext cx="3697014" cy="4879428"/>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2" name="Title 1"/>
          <p:cNvSpPr>
            <a:spLocks noGrp="1"/>
          </p:cNvSpPr>
          <p:nvPr>
            <p:ph type="title"/>
          </p:nvPr>
        </p:nvSpPr>
        <p:spPr/>
        <p:txBody>
          <a:bodyPr/>
          <a:lstStyle/>
          <a:p>
            <a:r>
              <a:rPr lang="en-US" dirty="0"/>
              <a:t>Tez – How it improves performance?</a:t>
            </a:r>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19</a:t>
            </a:fld>
            <a:endParaRPr lang="en-US" dirty="0"/>
          </a:p>
        </p:txBody>
      </p:sp>
      <p:sp>
        <p:nvSpPr>
          <p:cNvPr id="4" name="TextBox 3"/>
          <p:cNvSpPr txBox="1"/>
          <p:nvPr/>
        </p:nvSpPr>
        <p:spPr>
          <a:xfrm>
            <a:off x="385481" y="1069902"/>
            <a:ext cx="4584665" cy="5367840"/>
          </a:xfrm>
          <a:prstGeom prst="rect">
            <a:avLst/>
          </a:prstGeom>
          <a:noFill/>
        </p:spPr>
        <p:txBody>
          <a:bodyPr wrap="square" lIns="182880" tIns="146304" rIns="182880" bIns="146304" rtlCol="0">
            <a:noAutofit/>
          </a:bodyPr>
          <a:lstStyle/>
          <a:p>
            <a:pPr>
              <a:lnSpc>
                <a:spcPct val="90000"/>
              </a:lnSpc>
              <a:spcBef>
                <a:spcPts val="600"/>
              </a:spcBef>
              <a:spcAft>
                <a:spcPts val="600"/>
              </a:spcAft>
              <a:buClr>
                <a:schemeClr val="accent3"/>
              </a:buClr>
              <a:buSzPct val="75000"/>
            </a:pPr>
            <a:r>
              <a:rPr lang="en-US" dirty="0">
                <a:solidFill>
                  <a:schemeClr val="tx1">
                    <a:lumMod val="65000"/>
                    <a:lumOff val="35000"/>
                  </a:schemeClr>
                </a:solidFill>
              </a:rPr>
              <a:t>The performance benefits of expressing data processing as a DAG are: </a:t>
            </a:r>
          </a:p>
          <a:p>
            <a:pPr marL="194310" indent="-182880">
              <a:lnSpc>
                <a:spcPct val="90000"/>
              </a:lnSpc>
              <a:spcAft>
                <a:spcPts val="600"/>
              </a:spcAft>
              <a:buFont typeface="Arial" panose="020B0604020202020204" pitchFamily="34" charset="0"/>
              <a:buChar char="•"/>
            </a:pPr>
            <a:r>
              <a:rPr lang="en-US" sz="1600" dirty="0">
                <a:solidFill>
                  <a:schemeClr val="tx1">
                    <a:lumMod val="65000"/>
                    <a:lumOff val="35000"/>
                  </a:schemeClr>
                </a:solidFill>
              </a:rPr>
              <a:t>Eliminates replicated write barrier between successive computations</a:t>
            </a:r>
          </a:p>
          <a:p>
            <a:pPr marL="194310" indent="-182880">
              <a:lnSpc>
                <a:spcPct val="90000"/>
              </a:lnSpc>
              <a:spcAft>
                <a:spcPts val="600"/>
              </a:spcAft>
              <a:buFont typeface="Arial" panose="020B0604020202020204" pitchFamily="34" charset="0"/>
              <a:buChar char="•"/>
            </a:pPr>
            <a:r>
              <a:rPr lang="en-US" sz="1600" dirty="0">
                <a:solidFill>
                  <a:schemeClr val="tx1">
                    <a:lumMod val="65000"/>
                    <a:lumOff val="35000"/>
                  </a:schemeClr>
                </a:solidFill>
              </a:rPr>
              <a:t>Eliminates job launch overhead of workflow jobs</a:t>
            </a:r>
          </a:p>
          <a:p>
            <a:pPr marL="194310" indent="-182880">
              <a:lnSpc>
                <a:spcPct val="90000"/>
              </a:lnSpc>
              <a:spcAft>
                <a:spcPts val="600"/>
              </a:spcAft>
              <a:buFont typeface="Arial" panose="020B0604020202020204" pitchFamily="34" charset="0"/>
              <a:buChar char="•"/>
            </a:pPr>
            <a:r>
              <a:rPr lang="en-US" sz="1600" dirty="0">
                <a:solidFill>
                  <a:schemeClr val="tx1">
                    <a:lumMod val="65000"/>
                    <a:lumOff val="35000"/>
                  </a:schemeClr>
                </a:solidFill>
              </a:rPr>
              <a:t>Eliminates extra stage of map reads in every workflow job</a:t>
            </a:r>
          </a:p>
          <a:p>
            <a:pPr marL="194310" indent="-182880">
              <a:lnSpc>
                <a:spcPct val="90000"/>
              </a:lnSpc>
              <a:spcAft>
                <a:spcPts val="600"/>
              </a:spcAft>
              <a:buFont typeface="Arial" panose="020B0604020202020204" pitchFamily="34" charset="0"/>
              <a:buChar char="•"/>
            </a:pPr>
            <a:r>
              <a:rPr lang="en-US" sz="1600" dirty="0">
                <a:solidFill>
                  <a:schemeClr val="tx1">
                    <a:lumMod val="65000"/>
                    <a:lumOff val="35000"/>
                  </a:schemeClr>
                </a:solidFill>
              </a:rPr>
              <a:t>Eliminates queue and resource contention suffered by workflow jobs that are started after a predecessor job completes</a:t>
            </a:r>
          </a:p>
          <a:p>
            <a:pPr marL="194310" indent="-182880">
              <a:lnSpc>
                <a:spcPct val="90000"/>
              </a:lnSpc>
              <a:spcAft>
                <a:spcPts val="600"/>
              </a:spcAft>
              <a:buFont typeface="Arial" panose="020B0604020202020204" pitchFamily="34" charset="0"/>
              <a:buChar char="•"/>
            </a:pPr>
            <a:r>
              <a:rPr lang="en-US" sz="1600" dirty="0">
                <a:solidFill>
                  <a:schemeClr val="tx1">
                    <a:lumMod val="65000"/>
                    <a:lumOff val="35000"/>
                  </a:schemeClr>
                </a:solidFill>
              </a:rPr>
              <a:t>Better locality because the engine has the global picture </a:t>
            </a:r>
          </a:p>
          <a:p>
            <a:pPr>
              <a:lnSpc>
                <a:spcPct val="90000"/>
              </a:lnSpc>
              <a:spcBef>
                <a:spcPts val="600"/>
              </a:spcBef>
              <a:spcAft>
                <a:spcPts val="600"/>
              </a:spcAft>
              <a:buClr>
                <a:schemeClr val="accent3"/>
              </a:buClr>
              <a:buSzPct val="75000"/>
            </a:pPr>
            <a:r>
              <a:rPr lang="en-US" dirty="0">
                <a:solidFill>
                  <a:schemeClr val="tx1">
                    <a:lumMod val="65000"/>
                    <a:lumOff val="35000"/>
                  </a:schemeClr>
                </a:solidFill>
              </a:rPr>
              <a:t>Runtime optimizations: Application can modify the DAG at runtime to optimize execution. Applications can:</a:t>
            </a:r>
          </a:p>
          <a:p>
            <a:pPr marL="194310" lvl="1" indent="-182880">
              <a:lnSpc>
                <a:spcPct val="90000"/>
              </a:lnSpc>
              <a:spcAft>
                <a:spcPts val="600"/>
              </a:spcAft>
              <a:buFont typeface="Arial" panose="020B0604020202020204" pitchFamily="34" charset="0"/>
              <a:buChar char="•"/>
            </a:pPr>
            <a:r>
              <a:rPr lang="en-US" sz="1600" dirty="0">
                <a:solidFill>
                  <a:schemeClr val="tx1">
                    <a:lumMod val="65000"/>
                    <a:lumOff val="35000"/>
                  </a:schemeClr>
                </a:solidFill>
              </a:rPr>
              <a:t>Change task concurrency, </a:t>
            </a:r>
          </a:p>
          <a:p>
            <a:pPr marL="194310" lvl="1" indent="-182880">
              <a:lnSpc>
                <a:spcPct val="90000"/>
              </a:lnSpc>
              <a:spcAft>
                <a:spcPts val="600"/>
              </a:spcAft>
              <a:buFont typeface="Arial" panose="020B0604020202020204" pitchFamily="34" charset="0"/>
              <a:buChar char="•"/>
            </a:pPr>
            <a:r>
              <a:rPr lang="en-US" sz="1600" dirty="0">
                <a:solidFill>
                  <a:schemeClr val="tx1">
                    <a:lumMod val="65000"/>
                    <a:lumOff val="35000"/>
                  </a:schemeClr>
                </a:solidFill>
              </a:rPr>
              <a:t>Change task scheduling and </a:t>
            </a:r>
          </a:p>
          <a:p>
            <a:pPr marL="194310" lvl="1" indent="-182880">
              <a:lnSpc>
                <a:spcPct val="90000"/>
              </a:lnSpc>
              <a:spcAft>
                <a:spcPts val="600"/>
              </a:spcAft>
              <a:buFont typeface="Arial" panose="020B0604020202020204" pitchFamily="34" charset="0"/>
              <a:buChar char="•"/>
            </a:pPr>
            <a:r>
              <a:rPr lang="en-US" sz="1600" dirty="0">
                <a:solidFill>
                  <a:schemeClr val="tx1">
                    <a:lumMod val="65000"/>
                    <a:lumOff val="35000"/>
                  </a:schemeClr>
                </a:solidFill>
              </a:rPr>
              <a:t>Change DAG edges</a:t>
            </a:r>
          </a:p>
          <a:p>
            <a:pPr marL="11430">
              <a:lnSpc>
                <a:spcPct val="90000"/>
              </a:lnSpc>
              <a:spcAft>
                <a:spcPts val="600"/>
              </a:spcAft>
            </a:pPr>
            <a:endParaRPr lang="en-US" sz="1600" dirty="0">
              <a:solidFill>
                <a:schemeClr val="tx1">
                  <a:lumMod val="85000"/>
                  <a:lumOff val="15000"/>
                </a:schemeClr>
              </a:solidFill>
            </a:endParaRPr>
          </a:p>
          <a:p>
            <a:pPr marL="651510" lvl="1" indent="-285750">
              <a:lnSpc>
                <a:spcPct val="90000"/>
              </a:lnSpc>
              <a:spcAft>
                <a:spcPts val="600"/>
              </a:spcAft>
              <a:buFont typeface="Arial" panose="020B0604020202020204" pitchFamily="34" charset="0"/>
              <a:buChar char="•"/>
            </a:pPr>
            <a:endParaRPr lang="en-US" sz="1600" dirty="0">
              <a:solidFill>
                <a:schemeClr val="tx1">
                  <a:lumMod val="85000"/>
                  <a:lumOff val="15000"/>
                </a:schemeClr>
              </a:solidFill>
            </a:endParaRPr>
          </a:p>
          <a:p>
            <a:pPr marL="194310" indent="-285750">
              <a:lnSpc>
                <a:spcPct val="90000"/>
              </a:lnSpc>
              <a:spcAft>
                <a:spcPts val="600"/>
              </a:spcAft>
              <a:buFont typeface="Arial" panose="020B0604020202020204" pitchFamily="34" charset="0"/>
              <a:buChar char="•"/>
            </a:pPr>
            <a:endParaRPr lang="en-US" sz="1600" dirty="0">
              <a:solidFill>
                <a:schemeClr val="tx1">
                  <a:lumMod val="85000"/>
                  <a:lumOff val="15000"/>
                </a:schemeClr>
              </a:solidFill>
            </a:endParaRPr>
          </a:p>
        </p:txBody>
      </p:sp>
      <p:cxnSp>
        <p:nvCxnSpPr>
          <p:cNvPr id="14" name="Straight Connector 13"/>
          <p:cNvCxnSpPr>
            <a:stCxn id="116" idx="2"/>
            <a:endCxn id="32" idx="0"/>
          </p:cNvCxnSpPr>
          <p:nvPr/>
        </p:nvCxnSpPr>
        <p:spPr>
          <a:xfrm>
            <a:off x="9398563" y="2158042"/>
            <a:ext cx="257607" cy="65419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a:stCxn id="116" idx="2"/>
            <a:endCxn id="33" idx="0"/>
          </p:cNvCxnSpPr>
          <p:nvPr/>
        </p:nvCxnSpPr>
        <p:spPr>
          <a:xfrm>
            <a:off x="9398563" y="2158042"/>
            <a:ext cx="900248" cy="654189"/>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a:stCxn id="32" idx="0"/>
          </p:cNvCxnSpPr>
          <p:nvPr/>
        </p:nvCxnSpPr>
        <p:spPr>
          <a:xfrm flipV="1">
            <a:off x="9656170" y="2158041"/>
            <a:ext cx="828028" cy="654191"/>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a:stCxn id="33" idx="0"/>
            <a:endCxn id="120" idx="2"/>
          </p:cNvCxnSpPr>
          <p:nvPr/>
        </p:nvCxnSpPr>
        <p:spPr>
          <a:xfrm flipV="1">
            <a:off x="10298811" y="2158042"/>
            <a:ext cx="203691" cy="654189"/>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a:stCxn id="32" idx="0"/>
            <a:endCxn id="119" idx="2"/>
          </p:cNvCxnSpPr>
          <p:nvPr/>
        </p:nvCxnSpPr>
        <p:spPr>
          <a:xfrm flipV="1">
            <a:off x="9656170" y="2158042"/>
            <a:ext cx="300527" cy="65419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a:stCxn id="33" idx="0"/>
            <a:endCxn id="119" idx="2"/>
          </p:cNvCxnSpPr>
          <p:nvPr/>
        </p:nvCxnSpPr>
        <p:spPr>
          <a:xfrm flipH="1" flipV="1">
            <a:off x="9956697" y="2158042"/>
            <a:ext cx="342114" cy="654189"/>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a:stCxn id="35" idx="0"/>
            <a:endCxn id="32" idx="2"/>
          </p:cNvCxnSpPr>
          <p:nvPr/>
        </p:nvCxnSpPr>
        <p:spPr>
          <a:xfrm flipH="1" flipV="1">
            <a:off x="9656170" y="3085150"/>
            <a:ext cx="434674" cy="130449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a:stCxn id="35" idx="0"/>
            <a:endCxn id="33" idx="2"/>
          </p:cNvCxnSpPr>
          <p:nvPr/>
        </p:nvCxnSpPr>
        <p:spPr>
          <a:xfrm flipV="1">
            <a:off x="10090844" y="3085149"/>
            <a:ext cx="207967" cy="1304491"/>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a:stCxn id="36" idx="0"/>
            <a:endCxn id="35" idx="2"/>
          </p:cNvCxnSpPr>
          <p:nvPr/>
        </p:nvCxnSpPr>
        <p:spPr>
          <a:xfrm flipH="1" flipV="1">
            <a:off x="10090844" y="4689199"/>
            <a:ext cx="518383" cy="895839"/>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a:stCxn id="36" idx="0"/>
            <a:endCxn id="34" idx="2"/>
          </p:cNvCxnSpPr>
          <p:nvPr/>
        </p:nvCxnSpPr>
        <p:spPr>
          <a:xfrm flipV="1">
            <a:off x="10609227" y="3085149"/>
            <a:ext cx="842873" cy="2499889"/>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a:stCxn id="126" idx="2"/>
            <a:endCxn id="34" idx="0"/>
          </p:cNvCxnSpPr>
          <p:nvPr/>
        </p:nvCxnSpPr>
        <p:spPr>
          <a:xfrm>
            <a:off x="11125034" y="2163852"/>
            <a:ext cx="327066" cy="64838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a:stCxn id="127" idx="2"/>
            <a:endCxn id="34" idx="0"/>
          </p:cNvCxnSpPr>
          <p:nvPr/>
        </p:nvCxnSpPr>
        <p:spPr>
          <a:xfrm flipH="1">
            <a:off x="11452100" y="2158041"/>
            <a:ext cx="303297" cy="654191"/>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2" name="Rectangle 31"/>
          <p:cNvSpPr/>
          <p:nvPr/>
        </p:nvSpPr>
        <p:spPr bwMode="auto">
          <a:xfrm>
            <a:off x="9410888" y="2812232"/>
            <a:ext cx="490564" cy="272918"/>
          </a:xfrm>
          <a:prstGeom prst="rect">
            <a:avLst/>
          </a:prstGeom>
          <a:solidFill>
            <a:schemeClr val="accent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80" dirty="0">
                <a:solidFill>
                  <a:srgbClr val="FFFFFF"/>
                </a:solidFill>
                <a:latin typeface="Segoe UI Semibold" panose="020B0702040204020203" pitchFamily="34" charset="0"/>
                <a:ea typeface="Segoe UI" pitchFamily="34" charset="0"/>
                <a:cs typeface="Segoe UI Semibold" panose="020B0702040204020203" pitchFamily="34" charset="0"/>
              </a:rPr>
              <a:t>Reducer</a:t>
            </a:r>
          </a:p>
        </p:txBody>
      </p:sp>
      <p:sp>
        <p:nvSpPr>
          <p:cNvPr id="33" name="Rectangle 32"/>
          <p:cNvSpPr/>
          <p:nvPr/>
        </p:nvSpPr>
        <p:spPr bwMode="auto">
          <a:xfrm>
            <a:off x="10055333" y="2812231"/>
            <a:ext cx="486955" cy="272918"/>
          </a:xfrm>
          <a:prstGeom prst="rect">
            <a:avLst/>
          </a:prstGeom>
          <a:solidFill>
            <a:schemeClr val="accent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80" dirty="0">
                <a:solidFill>
                  <a:srgbClr val="FFFFFF"/>
                </a:solidFill>
                <a:latin typeface="Segoe UI Semibold" panose="020B0702040204020203" pitchFamily="34" charset="0"/>
                <a:ea typeface="Segoe UI" pitchFamily="34" charset="0"/>
                <a:cs typeface="Segoe UI Semibold" panose="020B0702040204020203" pitchFamily="34" charset="0"/>
              </a:rPr>
              <a:t>Reducer</a:t>
            </a:r>
          </a:p>
        </p:txBody>
      </p:sp>
      <p:sp>
        <p:nvSpPr>
          <p:cNvPr id="34" name="Rectangle 33"/>
          <p:cNvSpPr/>
          <p:nvPr/>
        </p:nvSpPr>
        <p:spPr bwMode="auto">
          <a:xfrm>
            <a:off x="11181735" y="2812232"/>
            <a:ext cx="540729" cy="272917"/>
          </a:xfrm>
          <a:prstGeom prst="rect">
            <a:avLst/>
          </a:prstGeom>
          <a:solidFill>
            <a:schemeClr val="accent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80" dirty="0">
                <a:solidFill>
                  <a:srgbClr val="FFFFFF"/>
                </a:solidFill>
                <a:latin typeface="Segoe UI Semibold" panose="020B0702040204020203" pitchFamily="34" charset="0"/>
                <a:ea typeface="Segoe UI" pitchFamily="34" charset="0"/>
                <a:cs typeface="Segoe UI Semibold" panose="020B0702040204020203" pitchFamily="34" charset="0"/>
              </a:rPr>
              <a:t>Reducer</a:t>
            </a:r>
          </a:p>
        </p:txBody>
      </p:sp>
      <p:sp>
        <p:nvSpPr>
          <p:cNvPr id="35" name="Rectangle 34"/>
          <p:cNvSpPr/>
          <p:nvPr/>
        </p:nvSpPr>
        <p:spPr bwMode="auto">
          <a:xfrm>
            <a:off x="9848387" y="4389640"/>
            <a:ext cx="484914" cy="299559"/>
          </a:xfrm>
          <a:prstGeom prst="rect">
            <a:avLst/>
          </a:prstGeom>
          <a:solidFill>
            <a:schemeClr val="accent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80" dirty="0">
                <a:solidFill>
                  <a:srgbClr val="FFFFFF"/>
                </a:solidFill>
                <a:latin typeface="Segoe UI Semibold" panose="020B0702040204020203" pitchFamily="34" charset="0"/>
                <a:ea typeface="Segoe UI" pitchFamily="34" charset="0"/>
                <a:cs typeface="Segoe UI Semibold" panose="020B0702040204020203" pitchFamily="34" charset="0"/>
              </a:rPr>
              <a:t>Reducer</a:t>
            </a:r>
          </a:p>
        </p:txBody>
      </p:sp>
      <p:sp>
        <p:nvSpPr>
          <p:cNvPr id="36" name="Rectangle 35"/>
          <p:cNvSpPr/>
          <p:nvPr/>
        </p:nvSpPr>
        <p:spPr bwMode="auto">
          <a:xfrm>
            <a:off x="10338702" y="5585038"/>
            <a:ext cx="541050" cy="276518"/>
          </a:xfrm>
          <a:prstGeom prst="rect">
            <a:avLst/>
          </a:prstGeom>
          <a:solidFill>
            <a:schemeClr val="accent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80" dirty="0">
                <a:solidFill>
                  <a:srgbClr val="FFFFFF"/>
                </a:solidFill>
                <a:latin typeface="Segoe UI Semibold" panose="020B0702040204020203" pitchFamily="34" charset="0"/>
                <a:ea typeface="Segoe UI" pitchFamily="34" charset="0"/>
                <a:cs typeface="Segoe UI Semibold" panose="020B0702040204020203" pitchFamily="34" charset="0"/>
              </a:rPr>
              <a:t>Reducer</a:t>
            </a:r>
          </a:p>
        </p:txBody>
      </p:sp>
      <p:sp>
        <p:nvSpPr>
          <p:cNvPr id="116" name="Rectangle 115"/>
          <p:cNvSpPr/>
          <p:nvPr/>
        </p:nvSpPr>
        <p:spPr bwMode="auto">
          <a:xfrm>
            <a:off x="9153281" y="1874971"/>
            <a:ext cx="490564" cy="283071"/>
          </a:xfrm>
          <a:prstGeom prst="rect">
            <a:avLst/>
          </a:prstGeom>
          <a:solidFill>
            <a:schemeClr val="accent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80" dirty="0">
                <a:solidFill>
                  <a:srgbClr val="FFFFFF"/>
                </a:solidFill>
                <a:latin typeface="Segoe UI Semibold" panose="020B0702040204020203" pitchFamily="34" charset="0"/>
                <a:ea typeface="Segoe UI" pitchFamily="34" charset="0"/>
                <a:cs typeface="Segoe UI Semibold" panose="020B0702040204020203" pitchFamily="34" charset="0"/>
              </a:rPr>
              <a:t>Mapper</a:t>
            </a:r>
          </a:p>
        </p:txBody>
      </p:sp>
      <p:sp>
        <p:nvSpPr>
          <p:cNvPr id="119" name="Rectangle 118"/>
          <p:cNvSpPr/>
          <p:nvPr/>
        </p:nvSpPr>
        <p:spPr bwMode="auto">
          <a:xfrm>
            <a:off x="9711415" y="1874971"/>
            <a:ext cx="490564" cy="283071"/>
          </a:xfrm>
          <a:prstGeom prst="rect">
            <a:avLst/>
          </a:prstGeom>
          <a:solidFill>
            <a:schemeClr val="accent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80" dirty="0">
                <a:solidFill>
                  <a:srgbClr val="FFFFFF"/>
                </a:solidFill>
                <a:latin typeface="Segoe UI Semibold" panose="020B0702040204020203" pitchFamily="34" charset="0"/>
                <a:ea typeface="Segoe UI" pitchFamily="34" charset="0"/>
                <a:cs typeface="Segoe UI Semibold" panose="020B0702040204020203" pitchFamily="34" charset="0"/>
              </a:rPr>
              <a:t>Mapper</a:t>
            </a:r>
          </a:p>
        </p:txBody>
      </p:sp>
      <p:sp>
        <p:nvSpPr>
          <p:cNvPr id="120" name="Rectangle 119"/>
          <p:cNvSpPr/>
          <p:nvPr/>
        </p:nvSpPr>
        <p:spPr bwMode="auto">
          <a:xfrm>
            <a:off x="10257220" y="1874971"/>
            <a:ext cx="490564" cy="283071"/>
          </a:xfrm>
          <a:prstGeom prst="rect">
            <a:avLst/>
          </a:prstGeom>
          <a:solidFill>
            <a:schemeClr val="accent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80" dirty="0">
                <a:solidFill>
                  <a:srgbClr val="FFFFFF"/>
                </a:solidFill>
                <a:latin typeface="Segoe UI Semibold" panose="020B0702040204020203" pitchFamily="34" charset="0"/>
                <a:ea typeface="Segoe UI" pitchFamily="34" charset="0"/>
                <a:cs typeface="Segoe UI Semibold" panose="020B0702040204020203" pitchFamily="34" charset="0"/>
              </a:rPr>
              <a:t>Mapper</a:t>
            </a:r>
          </a:p>
        </p:txBody>
      </p:sp>
      <p:sp>
        <p:nvSpPr>
          <p:cNvPr id="126" name="Rectangle 125"/>
          <p:cNvSpPr/>
          <p:nvPr/>
        </p:nvSpPr>
        <p:spPr bwMode="auto">
          <a:xfrm>
            <a:off x="10879752" y="1880781"/>
            <a:ext cx="490564" cy="283071"/>
          </a:xfrm>
          <a:prstGeom prst="rect">
            <a:avLst/>
          </a:prstGeom>
          <a:solidFill>
            <a:schemeClr val="accent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80" dirty="0">
                <a:solidFill>
                  <a:srgbClr val="FFFFFF"/>
                </a:solidFill>
                <a:latin typeface="Segoe UI Semibold" panose="020B0702040204020203" pitchFamily="34" charset="0"/>
                <a:ea typeface="Segoe UI" pitchFamily="34" charset="0"/>
                <a:cs typeface="Segoe UI Semibold" panose="020B0702040204020203" pitchFamily="34" charset="0"/>
              </a:rPr>
              <a:t>Mapper</a:t>
            </a:r>
          </a:p>
        </p:txBody>
      </p:sp>
      <p:sp>
        <p:nvSpPr>
          <p:cNvPr id="127" name="Rectangle 126"/>
          <p:cNvSpPr/>
          <p:nvPr/>
        </p:nvSpPr>
        <p:spPr bwMode="auto">
          <a:xfrm>
            <a:off x="11510115" y="1874970"/>
            <a:ext cx="490564" cy="283071"/>
          </a:xfrm>
          <a:prstGeom prst="rect">
            <a:avLst/>
          </a:prstGeom>
          <a:solidFill>
            <a:schemeClr val="accent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80" dirty="0">
                <a:solidFill>
                  <a:srgbClr val="FFFFFF"/>
                </a:solidFill>
                <a:latin typeface="Segoe UI Semibold" panose="020B0702040204020203" pitchFamily="34" charset="0"/>
                <a:ea typeface="Segoe UI" pitchFamily="34" charset="0"/>
                <a:cs typeface="Segoe UI Semibold" panose="020B0702040204020203" pitchFamily="34" charset="0"/>
              </a:rPr>
              <a:t>Mapper</a:t>
            </a:r>
          </a:p>
        </p:txBody>
      </p:sp>
      <p:sp>
        <p:nvSpPr>
          <p:cNvPr id="241" name="TextBox 240"/>
          <p:cNvSpPr txBox="1"/>
          <p:nvPr/>
        </p:nvSpPr>
        <p:spPr>
          <a:xfrm>
            <a:off x="9153281" y="1256039"/>
            <a:ext cx="2911893" cy="392430"/>
          </a:xfrm>
          <a:prstGeom prst="rect">
            <a:avLst/>
          </a:prstGeom>
          <a:solidFill>
            <a:srgbClr val="B48900"/>
          </a:solidFill>
        </p:spPr>
        <p:txBody>
          <a:bodyPr wrap="none" lIns="182880" tIns="146304" rIns="182880" bIns="146304" rtlCol="0" anchor="ctr">
            <a:noAutofit/>
          </a:bodyPr>
          <a:lstStyle/>
          <a:p>
            <a:pPr algn="ctr">
              <a:lnSpc>
                <a:spcPct val="90000"/>
              </a:lnSpc>
              <a:spcAft>
                <a:spcPts val="600"/>
              </a:spcAft>
            </a:pPr>
            <a:r>
              <a:rPr lang="en-US" dirty="0">
                <a:solidFill>
                  <a:schemeClr val="bg1"/>
                </a:solidFill>
              </a:rPr>
              <a:t>Tez</a:t>
            </a:r>
          </a:p>
        </p:txBody>
      </p:sp>
      <p:grpSp>
        <p:nvGrpSpPr>
          <p:cNvPr id="182" name="Group 181"/>
          <p:cNvGrpSpPr/>
          <p:nvPr/>
        </p:nvGrpSpPr>
        <p:grpSpPr>
          <a:xfrm>
            <a:off x="4947506" y="1244093"/>
            <a:ext cx="3533916" cy="4609736"/>
            <a:chOff x="4947506" y="1531174"/>
            <a:chExt cx="3533916" cy="4609736"/>
          </a:xfrm>
        </p:grpSpPr>
        <p:cxnSp>
          <p:nvCxnSpPr>
            <p:cNvPr id="136" name="Straight Connector 135"/>
            <p:cNvCxnSpPr>
              <a:stCxn id="169" idx="2"/>
              <a:endCxn id="158" idx="0"/>
            </p:cNvCxnSpPr>
            <p:nvPr/>
          </p:nvCxnSpPr>
          <p:spPr>
            <a:xfrm>
              <a:off x="7320384" y="3442602"/>
              <a:ext cx="392509" cy="252676"/>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a:stCxn id="170" idx="2"/>
              <a:endCxn id="158" idx="0"/>
            </p:cNvCxnSpPr>
            <p:nvPr/>
          </p:nvCxnSpPr>
          <p:spPr>
            <a:xfrm flipH="1">
              <a:off x="7712893" y="3462000"/>
              <a:ext cx="455677" cy="233278"/>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a:stCxn id="158" idx="2"/>
              <a:endCxn id="162" idx="1"/>
            </p:cNvCxnSpPr>
            <p:nvPr/>
          </p:nvCxnSpPr>
          <p:spPr>
            <a:xfrm>
              <a:off x="7712893" y="3974700"/>
              <a:ext cx="0" cy="133707"/>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a:stCxn id="162" idx="3"/>
              <a:endCxn id="172" idx="0"/>
            </p:cNvCxnSpPr>
            <p:nvPr/>
          </p:nvCxnSpPr>
          <p:spPr>
            <a:xfrm flipH="1">
              <a:off x="7712892" y="4462188"/>
              <a:ext cx="1" cy="854048"/>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a:stCxn id="172" idx="2"/>
              <a:endCxn id="159" idx="0"/>
            </p:cNvCxnSpPr>
            <p:nvPr/>
          </p:nvCxnSpPr>
          <p:spPr>
            <a:xfrm flipH="1">
              <a:off x="6946835" y="5595658"/>
              <a:ext cx="766057" cy="26583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1" name="Straight Connector 140"/>
            <p:cNvCxnSpPr>
              <a:stCxn id="171" idx="2"/>
              <a:endCxn id="159" idx="0"/>
            </p:cNvCxnSpPr>
            <p:nvPr/>
          </p:nvCxnSpPr>
          <p:spPr>
            <a:xfrm>
              <a:off x="6070474" y="5586065"/>
              <a:ext cx="876361" cy="275423"/>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a:stCxn id="161" idx="3"/>
              <a:endCxn id="171" idx="0"/>
            </p:cNvCxnSpPr>
            <p:nvPr/>
          </p:nvCxnSpPr>
          <p:spPr>
            <a:xfrm flipH="1">
              <a:off x="6070474" y="5151023"/>
              <a:ext cx="1" cy="15562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3" name="Straight Connector 142"/>
            <p:cNvCxnSpPr>
              <a:stCxn id="160" idx="2"/>
              <a:endCxn id="161" idx="0"/>
            </p:cNvCxnSpPr>
            <p:nvPr/>
          </p:nvCxnSpPr>
          <p:spPr>
            <a:xfrm>
              <a:off x="6070474" y="4691108"/>
              <a:ext cx="1" cy="224061"/>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4" name="Straight Connector 143"/>
            <p:cNvCxnSpPr>
              <a:stCxn id="157" idx="2"/>
              <a:endCxn id="163" idx="1"/>
            </p:cNvCxnSpPr>
            <p:nvPr/>
          </p:nvCxnSpPr>
          <p:spPr>
            <a:xfrm flipH="1">
              <a:off x="6070475" y="3020412"/>
              <a:ext cx="312946" cy="302352"/>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5" name="Straight Connector 144"/>
            <p:cNvCxnSpPr>
              <a:endCxn id="156" idx="0"/>
            </p:cNvCxnSpPr>
            <p:nvPr/>
          </p:nvCxnSpPr>
          <p:spPr>
            <a:xfrm>
              <a:off x="5260358" y="2205347"/>
              <a:ext cx="312852" cy="533513"/>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a:stCxn id="166" idx="2"/>
              <a:endCxn id="157" idx="0"/>
            </p:cNvCxnSpPr>
            <p:nvPr/>
          </p:nvCxnSpPr>
          <p:spPr>
            <a:xfrm flipH="1">
              <a:off x="6383421" y="2354209"/>
              <a:ext cx="520692" cy="386781"/>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7" name="Straight Connector 146"/>
            <p:cNvCxnSpPr>
              <a:stCxn id="165" idx="2"/>
              <a:endCxn id="156" idx="0"/>
            </p:cNvCxnSpPr>
            <p:nvPr/>
          </p:nvCxnSpPr>
          <p:spPr>
            <a:xfrm flipH="1">
              <a:off x="5573210" y="2386107"/>
              <a:ext cx="497264" cy="352753"/>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8" name="Straight Connector 147"/>
            <p:cNvCxnSpPr>
              <a:stCxn id="165" idx="2"/>
              <a:endCxn id="157" idx="0"/>
            </p:cNvCxnSpPr>
            <p:nvPr/>
          </p:nvCxnSpPr>
          <p:spPr>
            <a:xfrm>
              <a:off x="6070474" y="2386107"/>
              <a:ext cx="312947" cy="354883"/>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9" name="Straight Connector 148"/>
            <p:cNvCxnSpPr>
              <a:stCxn id="157" idx="0"/>
            </p:cNvCxnSpPr>
            <p:nvPr/>
          </p:nvCxnSpPr>
          <p:spPr>
            <a:xfrm flipH="1" flipV="1">
              <a:off x="5260358" y="2205347"/>
              <a:ext cx="1123063" cy="535643"/>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0" name="Straight Connector 149"/>
            <p:cNvCxnSpPr>
              <a:stCxn id="156" idx="0"/>
              <a:endCxn id="166" idx="2"/>
            </p:cNvCxnSpPr>
            <p:nvPr/>
          </p:nvCxnSpPr>
          <p:spPr>
            <a:xfrm flipV="1">
              <a:off x="5573210" y="2354209"/>
              <a:ext cx="1330903" cy="384651"/>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1" name="Straight Connector 150"/>
            <p:cNvCxnSpPr>
              <a:stCxn id="156" idx="2"/>
              <a:endCxn id="163" idx="1"/>
            </p:cNvCxnSpPr>
            <p:nvPr/>
          </p:nvCxnSpPr>
          <p:spPr>
            <a:xfrm>
              <a:off x="5573210" y="3018282"/>
              <a:ext cx="497265" cy="304482"/>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2" name="Straight Connector 151"/>
            <p:cNvCxnSpPr>
              <a:stCxn id="167" idx="2"/>
              <a:endCxn id="160" idx="0"/>
            </p:cNvCxnSpPr>
            <p:nvPr/>
          </p:nvCxnSpPr>
          <p:spPr>
            <a:xfrm>
              <a:off x="5581799" y="4162824"/>
              <a:ext cx="488675" cy="248862"/>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3" name="Straight Connector 152"/>
            <p:cNvCxnSpPr>
              <a:stCxn id="168" idx="2"/>
              <a:endCxn id="160" idx="0"/>
            </p:cNvCxnSpPr>
            <p:nvPr/>
          </p:nvCxnSpPr>
          <p:spPr>
            <a:xfrm flipH="1">
              <a:off x="6070474" y="4169382"/>
              <a:ext cx="315067" cy="242304"/>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4" name="Straight Connector 153"/>
            <p:cNvCxnSpPr>
              <a:stCxn id="163" idx="3"/>
              <a:endCxn id="168" idx="0"/>
            </p:cNvCxnSpPr>
            <p:nvPr/>
          </p:nvCxnSpPr>
          <p:spPr>
            <a:xfrm>
              <a:off x="6070475" y="3676545"/>
              <a:ext cx="315066" cy="213415"/>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a:stCxn id="163" idx="3"/>
              <a:endCxn id="167" idx="0"/>
            </p:cNvCxnSpPr>
            <p:nvPr/>
          </p:nvCxnSpPr>
          <p:spPr>
            <a:xfrm flipH="1">
              <a:off x="5581799" y="3676545"/>
              <a:ext cx="488676" cy="206857"/>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56" name="Rectangle 155"/>
            <p:cNvSpPr/>
            <p:nvPr/>
          </p:nvSpPr>
          <p:spPr bwMode="auto">
            <a:xfrm>
              <a:off x="5268947" y="2738860"/>
              <a:ext cx="608526" cy="279422"/>
            </a:xfrm>
            <a:prstGeom prst="rect">
              <a:avLst/>
            </a:prstGeom>
            <a:solidFill>
              <a:schemeClr val="accent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00" dirty="0">
                  <a:solidFill>
                    <a:srgbClr val="FFFFFF"/>
                  </a:solidFill>
                  <a:latin typeface="Segoe UI Semibold" panose="020B0702040204020203" pitchFamily="34" charset="0"/>
                  <a:ea typeface="Segoe UI" pitchFamily="34" charset="0"/>
                  <a:cs typeface="Segoe UI Semibold" panose="020B0702040204020203" pitchFamily="34" charset="0"/>
                </a:rPr>
                <a:t>Reducer</a:t>
              </a:r>
            </a:p>
          </p:txBody>
        </p:sp>
        <p:sp>
          <p:nvSpPr>
            <p:cNvPr id="157" name="Rectangle 156"/>
            <p:cNvSpPr/>
            <p:nvPr/>
          </p:nvSpPr>
          <p:spPr bwMode="auto">
            <a:xfrm>
              <a:off x="6079158" y="2740990"/>
              <a:ext cx="608526" cy="279422"/>
            </a:xfrm>
            <a:prstGeom prst="rect">
              <a:avLst/>
            </a:prstGeom>
            <a:solidFill>
              <a:schemeClr val="accent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00" dirty="0">
                  <a:solidFill>
                    <a:srgbClr val="FFFFFF"/>
                  </a:solidFill>
                  <a:latin typeface="Segoe UI Semibold" panose="020B0702040204020203" pitchFamily="34" charset="0"/>
                  <a:ea typeface="Segoe UI" pitchFamily="34" charset="0"/>
                  <a:cs typeface="Segoe UI Semibold" panose="020B0702040204020203" pitchFamily="34" charset="0"/>
                </a:rPr>
                <a:t>Reducer</a:t>
              </a:r>
            </a:p>
          </p:txBody>
        </p:sp>
        <p:sp>
          <p:nvSpPr>
            <p:cNvPr id="158" name="Rectangle 157"/>
            <p:cNvSpPr/>
            <p:nvPr/>
          </p:nvSpPr>
          <p:spPr bwMode="auto">
            <a:xfrm>
              <a:off x="7408211" y="3695278"/>
              <a:ext cx="609363" cy="279422"/>
            </a:xfrm>
            <a:prstGeom prst="rect">
              <a:avLst/>
            </a:prstGeom>
            <a:solidFill>
              <a:schemeClr val="accent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00" dirty="0">
                  <a:solidFill>
                    <a:srgbClr val="FFFFFF"/>
                  </a:solidFill>
                  <a:latin typeface="Segoe UI Semibold" panose="020B0702040204020203" pitchFamily="34" charset="0"/>
                  <a:ea typeface="Segoe UI" pitchFamily="34" charset="0"/>
                  <a:cs typeface="Segoe UI Semibold" panose="020B0702040204020203" pitchFamily="34" charset="0"/>
                </a:rPr>
                <a:t>Reducer</a:t>
              </a:r>
            </a:p>
          </p:txBody>
        </p:sp>
        <p:sp>
          <p:nvSpPr>
            <p:cNvPr id="159" name="Rectangle 158"/>
            <p:cNvSpPr/>
            <p:nvPr/>
          </p:nvSpPr>
          <p:spPr bwMode="auto">
            <a:xfrm>
              <a:off x="6643437" y="5861488"/>
              <a:ext cx="606795" cy="279422"/>
            </a:xfrm>
            <a:prstGeom prst="rect">
              <a:avLst/>
            </a:prstGeom>
            <a:solidFill>
              <a:schemeClr val="accent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00" dirty="0">
                  <a:solidFill>
                    <a:srgbClr val="FFFFFF"/>
                  </a:solidFill>
                  <a:latin typeface="Segoe UI Semibold" panose="020B0702040204020203" pitchFamily="34" charset="0"/>
                  <a:ea typeface="Segoe UI" pitchFamily="34" charset="0"/>
                  <a:cs typeface="Segoe UI Semibold" panose="020B0702040204020203" pitchFamily="34" charset="0"/>
                </a:rPr>
                <a:t>Reducer</a:t>
              </a:r>
            </a:p>
          </p:txBody>
        </p:sp>
        <p:sp>
          <p:nvSpPr>
            <p:cNvPr id="160" name="Rectangle 159"/>
            <p:cNvSpPr/>
            <p:nvPr/>
          </p:nvSpPr>
          <p:spPr bwMode="auto">
            <a:xfrm>
              <a:off x="5765791" y="4411686"/>
              <a:ext cx="609366" cy="279422"/>
            </a:xfrm>
            <a:prstGeom prst="rect">
              <a:avLst/>
            </a:prstGeom>
            <a:solidFill>
              <a:schemeClr val="accent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00" dirty="0">
                  <a:solidFill>
                    <a:srgbClr val="FFFFFF"/>
                  </a:solidFill>
                  <a:latin typeface="Segoe UI Semibold" panose="020B0702040204020203" pitchFamily="34" charset="0"/>
                  <a:ea typeface="Segoe UI" pitchFamily="34" charset="0"/>
                  <a:cs typeface="Segoe UI Semibold" panose="020B0702040204020203" pitchFamily="34" charset="0"/>
                </a:rPr>
                <a:t>Reducer</a:t>
              </a:r>
            </a:p>
          </p:txBody>
        </p:sp>
        <p:sp>
          <p:nvSpPr>
            <p:cNvPr id="161" name="Flowchart: Magnetic Disk 160"/>
            <p:cNvSpPr/>
            <p:nvPr/>
          </p:nvSpPr>
          <p:spPr bwMode="auto">
            <a:xfrm>
              <a:off x="5812235" y="4797242"/>
              <a:ext cx="516479" cy="353781"/>
            </a:xfrm>
            <a:prstGeom prst="flowChartMagneticDisk">
              <a:avLst/>
            </a:prstGeom>
            <a:solidFill>
              <a:schemeClr val="accent4"/>
            </a:solid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1100" dirty="0">
                  <a:solidFill>
                    <a:srgbClr val="FFFFFF"/>
                  </a:solidFill>
                  <a:ea typeface="Segoe UI" pitchFamily="34" charset="0"/>
                  <a:cs typeface="Segoe UI" pitchFamily="34" charset="0"/>
                </a:rPr>
                <a:t>HDFS</a:t>
              </a:r>
            </a:p>
          </p:txBody>
        </p:sp>
        <p:sp>
          <p:nvSpPr>
            <p:cNvPr id="162" name="Flowchart: Magnetic Disk 161"/>
            <p:cNvSpPr/>
            <p:nvPr/>
          </p:nvSpPr>
          <p:spPr bwMode="auto">
            <a:xfrm>
              <a:off x="7454653" y="4108407"/>
              <a:ext cx="516479" cy="353781"/>
            </a:xfrm>
            <a:prstGeom prst="flowChartMagneticDisk">
              <a:avLst/>
            </a:prstGeom>
            <a:solidFill>
              <a:schemeClr val="accent4"/>
            </a:solid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1100" dirty="0">
                  <a:solidFill>
                    <a:srgbClr val="FFFFFF"/>
                  </a:solidFill>
                  <a:ea typeface="Segoe UI" pitchFamily="34" charset="0"/>
                  <a:cs typeface="Segoe UI" pitchFamily="34" charset="0"/>
                </a:rPr>
                <a:t>HDFS</a:t>
              </a:r>
            </a:p>
          </p:txBody>
        </p:sp>
        <p:sp>
          <p:nvSpPr>
            <p:cNvPr id="163" name="Flowchart: Magnetic Disk 162"/>
            <p:cNvSpPr/>
            <p:nvPr/>
          </p:nvSpPr>
          <p:spPr bwMode="auto">
            <a:xfrm>
              <a:off x="5812235" y="3322764"/>
              <a:ext cx="516479" cy="353781"/>
            </a:xfrm>
            <a:prstGeom prst="flowChartMagneticDisk">
              <a:avLst/>
            </a:prstGeom>
            <a:solidFill>
              <a:schemeClr val="accent4"/>
            </a:solid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1100" dirty="0">
                  <a:solidFill>
                    <a:srgbClr val="FFFFFF"/>
                  </a:solidFill>
                  <a:ea typeface="Segoe UI" pitchFamily="34" charset="0"/>
                  <a:cs typeface="Segoe UI" pitchFamily="34" charset="0"/>
                </a:rPr>
                <a:t>HDFS</a:t>
              </a:r>
            </a:p>
          </p:txBody>
        </p:sp>
        <p:sp>
          <p:nvSpPr>
            <p:cNvPr id="164" name="Rectangle 163"/>
            <p:cNvSpPr/>
            <p:nvPr/>
          </p:nvSpPr>
          <p:spPr bwMode="auto">
            <a:xfrm>
              <a:off x="4947506" y="2085420"/>
              <a:ext cx="625704" cy="279422"/>
            </a:xfrm>
            <a:prstGeom prst="rect">
              <a:avLst/>
            </a:prstGeom>
            <a:solidFill>
              <a:schemeClr val="accent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00" dirty="0">
                  <a:solidFill>
                    <a:srgbClr val="FFFFFF"/>
                  </a:solidFill>
                  <a:latin typeface="Segoe UI Semibold" panose="020B0702040204020203" pitchFamily="34" charset="0"/>
                  <a:ea typeface="Segoe UI" pitchFamily="34" charset="0"/>
                  <a:cs typeface="Segoe UI Semibold" panose="020B0702040204020203" pitchFamily="34" charset="0"/>
                </a:rPr>
                <a:t>Mapper</a:t>
              </a:r>
            </a:p>
          </p:txBody>
        </p:sp>
        <p:sp>
          <p:nvSpPr>
            <p:cNvPr id="165" name="Rectangle 164"/>
            <p:cNvSpPr/>
            <p:nvPr/>
          </p:nvSpPr>
          <p:spPr bwMode="auto">
            <a:xfrm>
              <a:off x="5757622" y="2106685"/>
              <a:ext cx="625704" cy="279422"/>
            </a:xfrm>
            <a:prstGeom prst="rect">
              <a:avLst/>
            </a:prstGeom>
            <a:solidFill>
              <a:schemeClr val="accent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00" dirty="0">
                  <a:solidFill>
                    <a:srgbClr val="FFFFFF"/>
                  </a:solidFill>
                  <a:latin typeface="Segoe UI Semibold" panose="020B0702040204020203" pitchFamily="34" charset="0"/>
                  <a:ea typeface="Segoe UI" pitchFamily="34" charset="0"/>
                  <a:cs typeface="Segoe UI Semibold" panose="020B0702040204020203" pitchFamily="34" charset="0"/>
                </a:rPr>
                <a:t>Mapper</a:t>
              </a:r>
            </a:p>
          </p:txBody>
        </p:sp>
        <p:sp>
          <p:nvSpPr>
            <p:cNvPr id="166" name="Rectangle 165"/>
            <p:cNvSpPr/>
            <p:nvPr/>
          </p:nvSpPr>
          <p:spPr bwMode="auto">
            <a:xfrm>
              <a:off x="6591261" y="2074787"/>
              <a:ext cx="625704" cy="279422"/>
            </a:xfrm>
            <a:prstGeom prst="rect">
              <a:avLst/>
            </a:prstGeom>
            <a:solidFill>
              <a:schemeClr val="accent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00" dirty="0">
                  <a:solidFill>
                    <a:srgbClr val="FFFFFF"/>
                  </a:solidFill>
                  <a:latin typeface="Segoe UI Semibold" panose="020B0702040204020203" pitchFamily="34" charset="0"/>
                  <a:ea typeface="Segoe UI" pitchFamily="34" charset="0"/>
                  <a:cs typeface="Segoe UI Semibold" panose="020B0702040204020203" pitchFamily="34" charset="0"/>
                </a:rPr>
                <a:t>Mapper</a:t>
              </a:r>
            </a:p>
          </p:txBody>
        </p:sp>
        <p:sp>
          <p:nvSpPr>
            <p:cNvPr id="167" name="Rectangle 166"/>
            <p:cNvSpPr/>
            <p:nvPr/>
          </p:nvSpPr>
          <p:spPr bwMode="auto">
            <a:xfrm>
              <a:off x="5268947" y="3883402"/>
              <a:ext cx="625704" cy="279422"/>
            </a:xfrm>
            <a:prstGeom prst="rect">
              <a:avLst/>
            </a:prstGeom>
            <a:solidFill>
              <a:schemeClr val="accent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00" dirty="0">
                  <a:solidFill>
                    <a:srgbClr val="FFFFFF"/>
                  </a:solidFill>
                  <a:latin typeface="Segoe UI Semibold" panose="020B0702040204020203" pitchFamily="34" charset="0"/>
                  <a:ea typeface="Segoe UI" pitchFamily="34" charset="0"/>
                  <a:cs typeface="Segoe UI Semibold" panose="020B0702040204020203" pitchFamily="34" charset="0"/>
                </a:rPr>
                <a:t>Mapper</a:t>
              </a:r>
            </a:p>
          </p:txBody>
        </p:sp>
        <p:sp>
          <p:nvSpPr>
            <p:cNvPr id="168" name="Rectangle 167"/>
            <p:cNvSpPr/>
            <p:nvPr/>
          </p:nvSpPr>
          <p:spPr bwMode="auto">
            <a:xfrm>
              <a:off x="6072689" y="3889960"/>
              <a:ext cx="625704" cy="279422"/>
            </a:xfrm>
            <a:prstGeom prst="rect">
              <a:avLst/>
            </a:prstGeom>
            <a:solidFill>
              <a:schemeClr val="accent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00" dirty="0">
                  <a:solidFill>
                    <a:srgbClr val="FFFFFF"/>
                  </a:solidFill>
                  <a:latin typeface="Segoe UI Semibold" panose="020B0702040204020203" pitchFamily="34" charset="0"/>
                  <a:ea typeface="Segoe UI" pitchFamily="34" charset="0"/>
                  <a:cs typeface="Segoe UI Semibold" panose="020B0702040204020203" pitchFamily="34" charset="0"/>
                </a:rPr>
                <a:t>Mapper</a:t>
              </a:r>
            </a:p>
          </p:txBody>
        </p:sp>
        <p:sp>
          <p:nvSpPr>
            <p:cNvPr id="169" name="Rectangle 168"/>
            <p:cNvSpPr/>
            <p:nvPr/>
          </p:nvSpPr>
          <p:spPr bwMode="auto">
            <a:xfrm>
              <a:off x="7007532" y="3163180"/>
              <a:ext cx="625704" cy="279422"/>
            </a:xfrm>
            <a:prstGeom prst="rect">
              <a:avLst/>
            </a:prstGeom>
            <a:solidFill>
              <a:schemeClr val="accent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00" dirty="0">
                  <a:solidFill>
                    <a:srgbClr val="FFFFFF"/>
                  </a:solidFill>
                  <a:latin typeface="Segoe UI Semibold" panose="020B0702040204020203" pitchFamily="34" charset="0"/>
                  <a:ea typeface="Segoe UI" pitchFamily="34" charset="0"/>
                  <a:cs typeface="Segoe UI Semibold" panose="020B0702040204020203" pitchFamily="34" charset="0"/>
                </a:rPr>
                <a:t>Mapper</a:t>
              </a:r>
            </a:p>
          </p:txBody>
        </p:sp>
        <p:sp>
          <p:nvSpPr>
            <p:cNvPr id="170" name="Rectangle 169"/>
            <p:cNvSpPr/>
            <p:nvPr/>
          </p:nvSpPr>
          <p:spPr bwMode="auto">
            <a:xfrm>
              <a:off x="7855718" y="3182578"/>
              <a:ext cx="625704" cy="279422"/>
            </a:xfrm>
            <a:prstGeom prst="rect">
              <a:avLst/>
            </a:prstGeom>
            <a:solidFill>
              <a:schemeClr val="accent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00" dirty="0">
                  <a:solidFill>
                    <a:srgbClr val="FFFFFF"/>
                  </a:solidFill>
                  <a:latin typeface="Segoe UI Semibold" panose="020B0702040204020203" pitchFamily="34" charset="0"/>
                  <a:ea typeface="Segoe UI" pitchFamily="34" charset="0"/>
                  <a:cs typeface="Segoe UI Semibold" panose="020B0702040204020203" pitchFamily="34" charset="0"/>
                </a:rPr>
                <a:t>Mapper</a:t>
              </a:r>
            </a:p>
          </p:txBody>
        </p:sp>
        <p:sp>
          <p:nvSpPr>
            <p:cNvPr id="171" name="Rectangle 170"/>
            <p:cNvSpPr/>
            <p:nvPr/>
          </p:nvSpPr>
          <p:spPr bwMode="auto">
            <a:xfrm>
              <a:off x="5757622" y="5306643"/>
              <a:ext cx="625704" cy="279422"/>
            </a:xfrm>
            <a:prstGeom prst="rect">
              <a:avLst/>
            </a:prstGeom>
            <a:solidFill>
              <a:schemeClr val="accent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00" dirty="0">
                  <a:solidFill>
                    <a:srgbClr val="FFFFFF"/>
                  </a:solidFill>
                  <a:latin typeface="Segoe UI Semibold" panose="020B0702040204020203" pitchFamily="34" charset="0"/>
                  <a:ea typeface="Segoe UI" pitchFamily="34" charset="0"/>
                  <a:cs typeface="Segoe UI Semibold" panose="020B0702040204020203" pitchFamily="34" charset="0"/>
                </a:rPr>
                <a:t>Mapper</a:t>
              </a:r>
            </a:p>
          </p:txBody>
        </p:sp>
        <p:sp>
          <p:nvSpPr>
            <p:cNvPr id="172" name="Rectangle 171"/>
            <p:cNvSpPr/>
            <p:nvPr/>
          </p:nvSpPr>
          <p:spPr bwMode="auto">
            <a:xfrm>
              <a:off x="7400040" y="5316236"/>
              <a:ext cx="625704" cy="279422"/>
            </a:xfrm>
            <a:prstGeom prst="rect">
              <a:avLst/>
            </a:prstGeom>
            <a:solidFill>
              <a:schemeClr val="accent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900" dirty="0">
                  <a:solidFill>
                    <a:srgbClr val="FFFFFF"/>
                  </a:solidFill>
                  <a:latin typeface="Segoe UI Semibold" panose="020B0702040204020203" pitchFamily="34" charset="0"/>
                  <a:ea typeface="Segoe UI" pitchFamily="34" charset="0"/>
                  <a:cs typeface="Segoe UI Semibold" panose="020B0702040204020203" pitchFamily="34" charset="0"/>
                </a:rPr>
                <a:t>Mapper</a:t>
              </a:r>
            </a:p>
          </p:txBody>
        </p:sp>
        <p:sp>
          <p:nvSpPr>
            <p:cNvPr id="176" name="TextBox 175"/>
            <p:cNvSpPr txBox="1"/>
            <p:nvPr/>
          </p:nvSpPr>
          <p:spPr>
            <a:xfrm>
              <a:off x="4947506" y="1531174"/>
              <a:ext cx="3533915" cy="392430"/>
            </a:xfrm>
            <a:prstGeom prst="rect">
              <a:avLst/>
            </a:prstGeom>
            <a:solidFill>
              <a:schemeClr val="accent3"/>
            </a:solidFill>
          </p:spPr>
          <p:txBody>
            <a:bodyPr wrap="none" lIns="182880" tIns="146304" rIns="182880" bIns="146304" rtlCol="0" anchor="ctr">
              <a:noAutofit/>
            </a:bodyPr>
            <a:lstStyle/>
            <a:p>
              <a:pPr algn="ctr">
                <a:lnSpc>
                  <a:spcPct val="90000"/>
                </a:lnSpc>
                <a:spcAft>
                  <a:spcPts val="600"/>
                </a:spcAft>
              </a:pPr>
              <a:r>
                <a:rPr lang="en-US" dirty="0">
                  <a:solidFill>
                    <a:schemeClr val="bg1"/>
                  </a:solidFill>
                </a:rPr>
                <a:t>MapReduce</a:t>
              </a:r>
            </a:p>
          </p:txBody>
        </p:sp>
        <p:sp>
          <p:nvSpPr>
            <p:cNvPr id="243" name="Freeform 242"/>
            <p:cNvSpPr>
              <a:spLocks/>
            </p:cNvSpPr>
            <p:nvPr/>
          </p:nvSpPr>
          <p:spPr bwMode="auto">
            <a:xfrm>
              <a:off x="5070873" y="1536480"/>
              <a:ext cx="383629" cy="331522"/>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4367"/>
              <a:endParaRPr lang="en-IN" sz="1961">
                <a:solidFill>
                  <a:srgbClr val="000000"/>
                </a:solidFill>
              </a:endParaRPr>
            </a:p>
          </p:txBody>
        </p:sp>
      </p:grpSp>
      <p:pic>
        <p:nvPicPr>
          <p:cNvPr id="244" name="Picture 2" descr="https://svn.apache.org/repos/asf/tez/site/images/ApacheTezIcon.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282331" y="1293008"/>
            <a:ext cx="309045" cy="309045"/>
          </a:xfrm>
          <a:prstGeom prst="rect">
            <a:avLst/>
          </a:prstGeom>
          <a:noFill/>
          <a:extLst>
            <a:ext uri="{909E8E84-426E-40DD-AFC4-6F175D3DCCD1}">
              <a14:hiddenFill xmlns:a14="http://schemas.microsoft.com/office/drawing/2010/main">
                <a:solidFill>
                  <a:srgbClr val="FFFFFF"/>
                </a:solidFill>
              </a14:hiddenFill>
            </a:ext>
          </a:extLst>
        </p:spPr>
      </p:pic>
      <p:sp>
        <p:nvSpPr>
          <p:cNvPr id="6" name="Striped Right Arrow 5"/>
          <p:cNvSpPr/>
          <p:nvPr/>
        </p:nvSpPr>
        <p:spPr bwMode="auto">
          <a:xfrm>
            <a:off x="8631621" y="3294993"/>
            <a:ext cx="331076" cy="392626"/>
          </a:xfrm>
          <a:prstGeom prst="striped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Tree>
    <p:extLst>
      <p:ext uri="{BB962C8B-B14F-4D97-AF65-F5344CB8AC3E}">
        <p14:creationId xmlns:p14="http://schemas.microsoft.com/office/powerpoint/2010/main" val="3988951656"/>
      </p:ext>
    </p:extLst>
  </p:cSld>
  <p:clrMapOvr>
    <a:masterClrMapping/>
  </p:clrMapOvr>
  <p:transition spd="med">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1" y="487"/>
            <a:ext cx="5220356" cy="6857027"/>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endParaRPr lang="en-US" sz="5294" dirty="0">
              <a:solidFill>
                <a:schemeClr val="bg1"/>
              </a:solidFill>
              <a:latin typeface="+mj-lt"/>
              <a:ea typeface="Segoe UI" pitchFamily="34" charset="0"/>
              <a:cs typeface="Segoe UI" pitchFamily="34" charset="0"/>
            </a:endParaRPr>
          </a:p>
          <a:p>
            <a:pPr defTabSz="914102" fontAlgn="base">
              <a:lnSpc>
                <a:spcPct val="90000"/>
              </a:lnSpc>
              <a:spcBef>
                <a:spcPct val="0"/>
              </a:spcBef>
              <a:spcAft>
                <a:spcPct val="0"/>
              </a:spcAft>
            </a:pPr>
            <a:endParaRPr lang="en-US" sz="5294" dirty="0">
              <a:solidFill>
                <a:schemeClr val="bg1"/>
              </a:solidFill>
              <a:latin typeface="+mj-lt"/>
              <a:ea typeface="Segoe UI" pitchFamily="34" charset="0"/>
              <a:cs typeface="Segoe UI" pitchFamily="34" charset="0"/>
            </a:endParaRPr>
          </a:p>
        </p:txBody>
      </p:sp>
      <p:sp>
        <p:nvSpPr>
          <p:cNvPr id="4" name="TextBox 3"/>
          <p:cNvSpPr txBox="1"/>
          <p:nvPr/>
        </p:nvSpPr>
        <p:spPr>
          <a:xfrm>
            <a:off x="5220356" y="1283300"/>
            <a:ext cx="6553002" cy="2900502"/>
          </a:xfrm>
          <a:prstGeom prst="rect">
            <a:avLst/>
          </a:prstGeom>
          <a:noFill/>
        </p:spPr>
        <p:txBody>
          <a:bodyPr wrap="square" lIns="268927" tIns="143428" rIns="179285" bIns="143428" rtlCol="0">
            <a:noAutofit/>
          </a:bodyPr>
          <a:lstStyle/>
          <a:p>
            <a:pPr marL="52912" lvl="1" defTabSz="913770" fontAlgn="base">
              <a:spcBef>
                <a:spcPts val="1176"/>
              </a:spcBef>
              <a:buClr>
                <a:schemeClr val="accent3">
                  <a:lumMod val="50000"/>
                </a:schemeClr>
              </a:buClr>
            </a:pPr>
            <a:r>
              <a:rPr lang="en-US" sz="3137" dirty="0">
                <a:ln>
                  <a:solidFill>
                    <a:srgbClr val="FFFFFF">
                      <a:alpha val="0"/>
                    </a:srgbClr>
                  </a:solidFill>
                </a:ln>
                <a:solidFill>
                  <a:schemeClr val="accent3"/>
                </a:solidFill>
                <a:latin typeface="+mj-lt"/>
                <a:ea typeface="Segoe UI" pitchFamily="34" charset="0"/>
                <a:cs typeface="Segoe UI" pitchFamily="34" charset="0"/>
              </a:rPr>
              <a:t>Agenda</a:t>
            </a:r>
          </a:p>
          <a:p>
            <a:pPr marL="558686" lvl="1" indent="-448193" defTabSz="913770" fontAlgn="base">
              <a:buClr>
                <a:schemeClr val="accent3">
                  <a:lumMod val="50000"/>
                </a:schemeClr>
              </a:buClr>
              <a:buBlip>
                <a:blip r:embed="rId2"/>
              </a:buBlip>
            </a:pPr>
            <a:r>
              <a:rPr lang="en-US" sz="2353" dirty="0">
                <a:ln>
                  <a:solidFill>
                    <a:srgbClr val="FFFFFF">
                      <a:alpha val="0"/>
                    </a:srgbClr>
                  </a:solidFill>
                </a:ln>
                <a:solidFill>
                  <a:schemeClr val="tx2"/>
                </a:solidFill>
                <a:ea typeface="Segoe UI" pitchFamily="34" charset="0"/>
                <a:cs typeface="Segoe UI" pitchFamily="34" charset="0"/>
              </a:rPr>
              <a:t>Apache Hadoop</a:t>
            </a:r>
          </a:p>
          <a:p>
            <a:pPr marL="558686" lvl="1" indent="-448193" defTabSz="913770" fontAlgn="base">
              <a:buClr>
                <a:schemeClr val="accent3">
                  <a:lumMod val="50000"/>
                </a:schemeClr>
              </a:buClr>
              <a:buBlip>
                <a:blip r:embed="rId2"/>
              </a:buBlip>
            </a:pPr>
            <a:r>
              <a:rPr lang="en-US" sz="2353" dirty="0">
                <a:ln>
                  <a:solidFill>
                    <a:srgbClr val="FFFFFF">
                      <a:alpha val="0"/>
                    </a:srgbClr>
                  </a:solidFill>
                </a:ln>
                <a:solidFill>
                  <a:schemeClr val="tx2"/>
                </a:solidFill>
                <a:ea typeface="Segoe UI" pitchFamily="34" charset="0"/>
                <a:cs typeface="Segoe UI" pitchFamily="34" charset="0"/>
              </a:rPr>
              <a:t>Apache </a:t>
            </a:r>
            <a:r>
              <a:rPr lang="en-US" sz="2353" dirty="0" err="1">
                <a:ln>
                  <a:solidFill>
                    <a:srgbClr val="FFFFFF">
                      <a:alpha val="0"/>
                    </a:srgbClr>
                  </a:solidFill>
                </a:ln>
                <a:solidFill>
                  <a:schemeClr val="tx2"/>
                </a:solidFill>
                <a:ea typeface="Segoe UI" pitchFamily="34" charset="0"/>
                <a:cs typeface="Segoe UI" pitchFamily="34" charset="0"/>
              </a:rPr>
              <a:t>HCatalog</a:t>
            </a:r>
            <a:endParaRPr lang="en-US" sz="2353" dirty="0">
              <a:ln>
                <a:solidFill>
                  <a:srgbClr val="FFFFFF">
                    <a:alpha val="0"/>
                  </a:srgbClr>
                </a:solidFill>
              </a:ln>
              <a:solidFill>
                <a:schemeClr val="tx2"/>
              </a:solidFill>
              <a:ea typeface="Segoe UI" pitchFamily="34" charset="0"/>
              <a:cs typeface="Segoe UI" pitchFamily="34" charset="0"/>
            </a:endParaRPr>
          </a:p>
          <a:p>
            <a:pPr marL="558686" lvl="1" indent="-448193" defTabSz="913770" fontAlgn="base">
              <a:buClr>
                <a:schemeClr val="accent3">
                  <a:lumMod val="50000"/>
                </a:schemeClr>
              </a:buClr>
              <a:buBlip>
                <a:blip r:embed="rId2"/>
              </a:buBlip>
            </a:pPr>
            <a:r>
              <a:rPr lang="en-US" sz="2353" dirty="0">
                <a:ln>
                  <a:solidFill>
                    <a:srgbClr val="FFFFFF">
                      <a:alpha val="0"/>
                    </a:srgbClr>
                  </a:solidFill>
                </a:ln>
                <a:solidFill>
                  <a:schemeClr val="tx2"/>
                </a:solidFill>
                <a:ea typeface="Segoe UI" pitchFamily="34" charset="0"/>
                <a:cs typeface="Segoe UI" pitchFamily="34" charset="0"/>
              </a:rPr>
              <a:t>Apache Hive</a:t>
            </a:r>
          </a:p>
          <a:p>
            <a:pPr marL="558686" lvl="1" indent="-448193" defTabSz="913770" fontAlgn="base">
              <a:buClr>
                <a:schemeClr val="accent3">
                  <a:lumMod val="50000"/>
                </a:schemeClr>
              </a:buClr>
              <a:buBlip>
                <a:blip r:embed="rId2"/>
              </a:buBlip>
            </a:pPr>
            <a:r>
              <a:rPr lang="en-US" sz="2353" dirty="0">
                <a:ln>
                  <a:solidFill>
                    <a:srgbClr val="FFFFFF">
                      <a:alpha val="0"/>
                    </a:srgbClr>
                  </a:solidFill>
                </a:ln>
                <a:solidFill>
                  <a:schemeClr val="tx2"/>
                </a:solidFill>
                <a:ea typeface="Segoe UI" pitchFamily="34" charset="0"/>
                <a:cs typeface="Segoe UI" pitchFamily="34" charset="0"/>
              </a:rPr>
              <a:t>Apache Pig</a:t>
            </a:r>
          </a:p>
          <a:p>
            <a:pPr marL="558686" lvl="1" indent="-448193" defTabSz="913770" fontAlgn="base">
              <a:buClr>
                <a:schemeClr val="accent3">
                  <a:lumMod val="50000"/>
                </a:schemeClr>
              </a:buClr>
              <a:buBlip>
                <a:blip r:embed="rId2"/>
              </a:buBlip>
            </a:pPr>
            <a:r>
              <a:rPr lang="en-US" sz="2353" dirty="0">
                <a:ln>
                  <a:solidFill>
                    <a:srgbClr val="FFFFFF">
                      <a:alpha val="0"/>
                    </a:srgbClr>
                  </a:solidFill>
                </a:ln>
                <a:solidFill>
                  <a:schemeClr val="tx2"/>
                </a:solidFill>
                <a:ea typeface="Segoe UI" pitchFamily="34" charset="0"/>
                <a:cs typeface="Segoe UI" pitchFamily="34" charset="0"/>
              </a:rPr>
              <a:t>Apache HBase</a:t>
            </a:r>
          </a:p>
          <a:p>
            <a:pPr marL="558686" lvl="1" indent="-448193" defTabSz="913770" fontAlgn="base">
              <a:buClr>
                <a:schemeClr val="accent3">
                  <a:lumMod val="50000"/>
                </a:schemeClr>
              </a:buClr>
              <a:buBlip>
                <a:blip r:embed="rId2"/>
              </a:buBlip>
            </a:pPr>
            <a:r>
              <a:rPr lang="en-US" sz="2353" dirty="0">
                <a:ln>
                  <a:solidFill>
                    <a:srgbClr val="FFFFFF">
                      <a:alpha val="0"/>
                    </a:srgbClr>
                  </a:solidFill>
                </a:ln>
                <a:solidFill>
                  <a:schemeClr val="tx2"/>
                </a:solidFill>
                <a:ea typeface="Segoe UI" pitchFamily="34" charset="0"/>
                <a:cs typeface="Segoe UI" pitchFamily="34" charset="0"/>
              </a:rPr>
              <a:t>Apache Storm</a:t>
            </a:r>
          </a:p>
          <a:p>
            <a:pPr marL="558686" lvl="1" indent="-448193" defTabSz="913770" fontAlgn="base">
              <a:buClr>
                <a:schemeClr val="accent3">
                  <a:lumMod val="50000"/>
                </a:schemeClr>
              </a:buClr>
              <a:buBlip>
                <a:blip r:embed="rId2"/>
              </a:buBlip>
            </a:pPr>
            <a:endParaRPr lang="en-US" sz="2353" dirty="0">
              <a:ln>
                <a:solidFill>
                  <a:srgbClr val="FFFFFF">
                    <a:alpha val="0"/>
                  </a:srgbClr>
                </a:solidFill>
              </a:ln>
              <a:solidFill>
                <a:schemeClr val="tx2"/>
              </a:solidFill>
              <a:ea typeface="Segoe UI" pitchFamily="34" charset="0"/>
              <a:cs typeface="Segoe UI" pitchFamily="34" charset="0"/>
            </a:endParaRPr>
          </a:p>
        </p:txBody>
      </p:sp>
      <p:sp>
        <p:nvSpPr>
          <p:cNvPr id="5" name="Rectangle 4"/>
          <p:cNvSpPr/>
          <p:nvPr/>
        </p:nvSpPr>
        <p:spPr bwMode="auto">
          <a:xfrm>
            <a:off x="1" y="6319659"/>
            <a:ext cx="5220356" cy="537855"/>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endParaRPr lang="en-US" sz="2353" kern="0" dirty="0">
              <a:ln>
                <a:solidFill>
                  <a:srgbClr val="FFFFFF">
                    <a:alpha val="0"/>
                  </a:srgbClr>
                </a:solidFill>
              </a:ln>
              <a:solidFill>
                <a:srgbClr val="FFFFFF"/>
              </a:solidFill>
              <a:latin typeface="Segoe UI Semibold" panose="020B0702040204020203" pitchFamily="34" charset="0"/>
              <a:ea typeface="MS PGothic" charset="0"/>
              <a:cs typeface="Segoe UI Semibold" panose="020B0702040204020203" pitchFamily="34" charset="0"/>
            </a:endParaRPr>
          </a:p>
        </p:txBody>
      </p:sp>
      <p:sp>
        <p:nvSpPr>
          <p:cNvPr id="6" name="Freeform 5"/>
          <p:cNvSpPr>
            <a:spLocks/>
          </p:cNvSpPr>
          <p:nvPr/>
        </p:nvSpPr>
        <p:spPr bwMode="auto">
          <a:xfrm flipH="1">
            <a:off x="2619107" y="4183803"/>
            <a:ext cx="2601249" cy="2135857"/>
          </a:xfrm>
          <a:custGeom>
            <a:avLst/>
            <a:gdLst>
              <a:gd name="connsiteX0" fmla="*/ 603413 w 1090712"/>
              <a:gd name="connsiteY0" fmla="*/ 721327 h 895572"/>
              <a:gd name="connsiteX1" fmla="*/ 578466 w 1090712"/>
              <a:gd name="connsiteY1" fmla="*/ 770746 h 895572"/>
              <a:gd name="connsiteX2" fmla="*/ 553519 w 1090712"/>
              <a:gd name="connsiteY2" fmla="*/ 818264 h 895572"/>
              <a:gd name="connsiteX3" fmla="*/ 528334 w 1090712"/>
              <a:gd name="connsiteY3" fmla="*/ 865069 h 895572"/>
              <a:gd name="connsiteX4" fmla="*/ 511825 w 1090712"/>
              <a:gd name="connsiteY4" fmla="*/ 895572 h 895572"/>
              <a:gd name="connsiteX5" fmla="*/ 624528 w 1090712"/>
              <a:gd name="connsiteY5" fmla="*/ 895572 h 895572"/>
              <a:gd name="connsiteX6" fmla="*/ 624796 w 1090712"/>
              <a:gd name="connsiteY6" fmla="*/ 894768 h 895572"/>
              <a:gd name="connsiteX7" fmla="*/ 625271 w 1090712"/>
              <a:gd name="connsiteY7" fmla="*/ 891679 h 895572"/>
              <a:gd name="connsiteX8" fmla="*/ 625747 w 1090712"/>
              <a:gd name="connsiteY8" fmla="*/ 889066 h 895572"/>
              <a:gd name="connsiteX9" fmla="*/ 625747 w 1090712"/>
              <a:gd name="connsiteY9" fmla="*/ 860555 h 895572"/>
              <a:gd name="connsiteX10" fmla="*/ 624796 w 1090712"/>
              <a:gd name="connsiteY10" fmla="*/ 833945 h 895572"/>
              <a:gd name="connsiteX11" fmla="*/ 624321 w 1090712"/>
              <a:gd name="connsiteY11" fmla="*/ 820877 h 895572"/>
              <a:gd name="connsiteX12" fmla="*/ 623608 w 1090712"/>
              <a:gd name="connsiteY12" fmla="*/ 808047 h 895572"/>
              <a:gd name="connsiteX13" fmla="*/ 621708 w 1090712"/>
              <a:gd name="connsiteY13" fmla="*/ 795218 h 895572"/>
              <a:gd name="connsiteX14" fmla="*/ 620044 w 1090712"/>
              <a:gd name="connsiteY14" fmla="*/ 782625 h 895572"/>
              <a:gd name="connsiteX15" fmla="*/ 616005 w 1090712"/>
              <a:gd name="connsiteY15" fmla="*/ 766707 h 895572"/>
              <a:gd name="connsiteX16" fmla="*/ 611966 w 1090712"/>
              <a:gd name="connsiteY16" fmla="*/ 751976 h 895572"/>
              <a:gd name="connsiteX17" fmla="*/ 607452 w 1090712"/>
              <a:gd name="connsiteY17" fmla="*/ 737245 h 895572"/>
              <a:gd name="connsiteX18" fmla="*/ 698212 w 1090712"/>
              <a:gd name="connsiteY18" fmla="*/ 530778 h 895572"/>
              <a:gd name="connsiteX19" fmla="*/ 693460 w 1090712"/>
              <a:gd name="connsiteY19" fmla="*/ 534818 h 895572"/>
              <a:gd name="connsiteX20" fmla="*/ 688471 w 1090712"/>
              <a:gd name="connsiteY20" fmla="*/ 538857 h 895572"/>
              <a:gd name="connsiteX21" fmla="*/ 678254 w 1090712"/>
              <a:gd name="connsiteY21" fmla="*/ 546935 h 895572"/>
              <a:gd name="connsiteX22" fmla="*/ 669226 w 1090712"/>
              <a:gd name="connsiteY22" fmla="*/ 553587 h 895572"/>
              <a:gd name="connsiteX23" fmla="*/ 663048 w 1090712"/>
              <a:gd name="connsiteY23" fmla="*/ 558814 h 895572"/>
              <a:gd name="connsiteX24" fmla="*/ 663048 w 1090712"/>
              <a:gd name="connsiteY24" fmla="*/ 556676 h 895572"/>
              <a:gd name="connsiteX25" fmla="*/ 663523 w 1090712"/>
              <a:gd name="connsiteY25" fmla="*/ 554538 h 895572"/>
              <a:gd name="connsiteX26" fmla="*/ 665424 w 1090712"/>
              <a:gd name="connsiteY26" fmla="*/ 550498 h 895572"/>
              <a:gd name="connsiteX27" fmla="*/ 668038 w 1090712"/>
              <a:gd name="connsiteY27" fmla="*/ 546459 h 895572"/>
              <a:gd name="connsiteX28" fmla="*/ 671602 w 1090712"/>
              <a:gd name="connsiteY28" fmla="*/ 542420 h 895572"/>
              <a:gd name="connsiteX29" fmla="*/ 676829 w 1090712"/>
              <a:gd name="connsiteY29" fmla="*/ 538857 h 895572"/>
              <a:gd name="connsiteX30" fmla="*/ 682768 w 1090712"/>
              <a:gd name="connsiteY30" fmla="*/ 535768 h 895572"/>
              <a:gd name="connsiteX31" fmla="*/ 689896 w 1090712"/>
              <a:gd name="connsiteY31" fmla="*/ 533154 h 895572"/>
              <a:gd name="connsiteX32" fmla="*/ 654257 w 1090712"/>
              <a:gd name="connsiteY32" fmla="*/ 302216 h 895572"/>
              <a:gd name="connsiteX33" fmla="*/ 651882 w 1090712"/>
              <a:gd name="connsiteY33" fmla="*/ 302691 h 895572"/>
              <a:gd name="connsiteX34" fmla="*/ 649268 w 1090712"/>
              <a:gd name="connsiteY34" fmla="*/ 303166 h 895572"/>
              <a:gd name="connsiteX35" fmla="*/ 647130 w 1090712"/>
              <a:gd name="connsiteY35" fmla="*/ 304354 h 895572"/>
              <a:gd name="connsiteX36" fmla="*/ 644516 w 1090712"/>
              <a:gd name="connsiteY36" fmla="*/ 306255 h 895572"/>
              <a:gd name="connsiteX37" fmla="*/ 642140 w 1090712"/>
              <a:gd name="connsiteY37" fmla="*/ 307918 h 895572"/>
              <a:gd name="connsiteX38" fmla="*/ 640002 w 1090712"/>
              <a:gd name="connsiteY38" fmla="*/ 310294 h 895572"/>
              <a:gd name="connsiteX39" fmla="*/ 638101 w 1090712"/>
              <a:gd name="connsiteY39" fmla="*/ 312432 h 895572"/>
              <a:gd name="connsiteX40" fmla="*/ 636913 w 1090712"/>
              <a:gd name="connsiteY40" fmla="*/ 314571 h 895572"/>
              <a:gd name="connsiteX41" fmla="*/ 635963 w 1090712"/>
              <a:gd name="connsiteY41" fmla="*/ 316946 h 895572"/>
              <a:gd name="connsiteX42" fmla="*/ 635963 w 1090712"/>
              <a:gd name="connsiteY42" fmla="*/ 319085 h 895572"/>
              <a:gd name="connsiteX43" fmla="*/ 636913 w 1090712"/>
              <a:gd name="connsiteY43" fmla="*/ 321223 h 895572"/>
              <a:gd name="connsiteX44" fmla="*/ 637626 w 1090712"/>
              <a:gd name="connsiteY44" fmla="*/ 324074 h 895572"/>
              <a:gd name="connsiteX45" fmla="*/ 639527 w 1090712"/>
              <a:gd name="connsiteY45" fmla="*/ 326688 h 895572"/>
              <a:gd name="connsiteX46" fmla="*/ 643091 w 1090712"/>
              <a:gd name="connsiteY46" fmla="*/ 331677 h 895572"/>
              <a:gd name="connsiteX47" fmla="*/ 647130 w 1090712"/>
              <a:gd name="connsiteY47" fmla="*/ 335954 h 895572"/>
              <a:gd name="connsiteX48" fmla="*/ 655920 w 1090712"/>
              <a:gd name="connsiteY48" fmla="*/ 330727 h 895572"/>
              <a:gd name="connsiteX49" fmla="*/ 663999 w 1090712"/>
              <a:gd name="connsiteY49" fmla="*/ 324787 h 895572"/>
              <a:gd name="connsiteX50" fmla="*/ 679917 w 1090712"/>
              <a:gd name="connsiteY50" fmla="*/ 313383 h 895572"/>
              <a:gd name="connsiteX51" fmla="*/ 676354 w 1090712"/>
              <a:gd name="connsiteY51" fmla="*/ 311007 h 895572"/>
              <a:gd name="connsiteX52" fmla="*/ 672790 w 1090712"/>
              <a:gd name="connsiteY52" fmla="*/ 308393 h 895572"/>
              <a:gd name="connsiteX53" fmla="*/ 668988 w 1090712"/>
              <a:gd name="connsiteY53" fmla="*/ 306730 h 895572"/>
              <a:gd name="connsiteX54" fmla="*/ 664949 w 1090712"/>
              <a:gd name="connsiteY54" fmla="*/ 304829 h 895572"/>
              <a:gd name="connsiteX55" fmla="*/ 660910 w 1090712"/>
              <a:gd name="connsiteY55" fmla="*/ 303641 h 895572"/>
              <a:gd name="connsiteX56" fmla="*/ 657346 w 1090712"/>
              <a:gd name="connsiteY56" fmla="*/ 302691 h 895572"/>
              <a:gd name="connsiteX57" fmla="*/ 696549 w 1090712"/>
              <a:gd name="connsiteY57" fmla="*/ 252322 h 895572"/>
              <a:gd name="connsiteX58" fmla="*/ 696786 w 1090712"/>
              <a:gd name="connsiteY58" fmla="*/ 259925 h 895572"/>
              <a:gd name="connsiteX59" fmla="*/ 698212 w 1090712"/>
              <a:gd name="connsiteY59" fmla="*/ 266102 h 895572"/>
              <a:gd name="connsiteX60" fmla="*/ 700113 w 1090712"/>
              <a:gd name="connsiteY60" fmla="*/ 272042 h 895572"/>
              <a:gd name="connsiteX61" fmla="*/ 701776 w 1090712"/>
              <a:gd name="connsiteY61" fmla="*/ 276794 h 895572"/>
              <a:gd name="connsiteX62" fmla="*/ 704389 w 1090712"/>
              <a:gd name="connsiteY62" fmla="*/ 280833 h 895572"/>
              <a:gd name="connsiteX63" fmla="*/ 707240 w 1090712"/>
              <a:gd name="connsiteY63" fmla="*/ 284397 h 895572"/>
              <a:gd name="connsiteX64" fmla="*/ 710329 w 1090712"/>
              <a:gd name="connsiteY64" fmla="*/ 287010 h 895572"/>
              <a:gd name="connsiteX65" fmla="*/ 713418 w 1090712"/>
              <a:gd name="connsiteY65" fmla="*/ 289624 h 895572"/>
              <a:gd name="connsiteX66" fmla="*/ 716506 w 1090712"/>
              <a:gd name="connsiteY66" fmla="*/ 291524 h 895572"/>
              <a:gd name="connsiteX67" fmla="*/ 719595 w 1090712"/>
              <a:gd name="connsiteY67" fmla="*/ 293187 h 895572"/>
              <a:gd name="connsiteX68" fmla="*/ 725772 w 1090712"/>
              <a:gd name="connsiteY68" fmla="*/ 295088 h 895572"/>
              <a:gd name="connsiteX69" fmla="*/ 731237 w 1090712"/>
              <a:gd name="connsiteY69" fmla="*/ 296514 h 895572"/>
              <a:gd name="connsiteX70" fmla="*/ 734801 w 1090712"/>
              <a:gd name="connsiteY70" fmla="*/ 296751 h 895572"/>
              <a:gd name="connsiteX71" fmla="*/ 722209 w 1090712"/>
              <a:gd name="connsiteY71" fmla="*/ 303879 h 895572"/>
              <a:gd name="connsiteX72" fmla="*/ 710804 w 1090712"/>
              <a:gd name="connsiteY72" fmla="*/ 311007 h 895572"/>
              <a:gd name="connsiteX73" fmla="*/ 688471 w 1090712"/>
              <a:gd name="connsiteY73" fmla="*/ 324787 h 895572"/>
              <a:gd name="connsiteX74" fmla="*/ 667563 w 1090712"/>
              <a:gd name="connsiteY74" fmla="*/ 339043 h 895572"/>
              <a:gd name="connsiteX75" fmla="*/ 646179 w 1090712"/>
              <a:gd name="connsiteY75" fmla="*/ 352823 h 895572"/>
              <a:gd name="connsiteX76" fmla="*/ 620044 w 1090712"/>
              <a:gd name="connsiteY76" fmla="*/ 313383 h 895572"/>
              <a:gd name="connsiteX77" fmla="*/ 617668 w 1090712"/>
              <a:gd name="connsiteY77" fmla="*/ 312432 h 895572"/>
              <a:gd name="connsiteX78" fmla="*/ 615055 w 1090712"/>
              <a:gd name="connsiteY78" fmla="*/ 312432 h 895572"/>
              <a:gd name="connsiteX79" fmla="*/ 612441 w 1090712"/>
              <a:gd name="connsiteY79" fmla="*/ 313383 h 895572"/>
              <a:gd name="connsiteX80" fmla="*/ 609353 w 1090712"/>
              <a:gd name="connsiteY80" fmla="*/ 314095 h 895572"/>
              <a:gd name="connsiteX81" fmla="*/ 602938 w 1090712"/>
              <a:gd name="connsiteY81" fmla="*/ 316946 h 895572"/>
              <a:gd name="connsiteX82" fmla="*/ 599849 w 1090712"/>
              <a:gd name="connsiteY82" fmla="*/ 317659 h 895572"/>
              <a:gd name="connsiteX83" fmla="*/ 596760 w 1090712"/>
              <a:gd name="connsiteY83" fmla="*/ 318610 h 895572"/>
              <a:gd name="connsiteX84" fmla="*/ 607927 w 1090712"/>
              <a:gd name="connsiteY84" fmla="*/ 307205 h 895572"/>
              <a:gd name="connsiteX85" fmla="*/ 618619 w 1090712"/>
              <a:gd name="connsiteY85" fmla="*/ 295088 h 895572"/>
              <a:gd name="connsiteX86" fmla="*/ 623846 w 1090712"/>
              <a:gd name="connsiteY86" fmla="*/ 289386 h 895572"/>
              <a:gd name="connsiteX87" fmla="*/ 629786 w 1090712"/>
              <a:gd name="connsiteY87" fmla="*/ 283921 h 895572"/>
              <a:gd name="connsiteX88" fmla="*/ 635963 w 1090712"/>
              <a:gd name="connsiteY88" fmla="*/ 278694 h 895572"/>
              <a:gd name="connsiteX89" fmla="*/ 642140 w 1090712"/>
              <a:gd name="connsiteY89" fmla="*/ 273705 h 895572"/>
              <a:gd name="connsiteX90" fmla="*/ 648793 w 1090712"/>
              <a:gd name="connsiteY90" fmla="*/ 269191 h 895572"/>
              <a:gd name="connsiteX91" fmla="*/ 655446 w 1090712"/>
              <a:gd name="connsiteY91" fmla="*/ 265627 h 895572"/>
              <a:gd name="connsiteX92" fmla="*/ 662098 w 1090712"/>
              <a:gd name="connsiteY92" fmla="*/ 263013 h 895572"/>
              <a:gd name="connsiteX93" fmla="*/ 668988 w 1090712"/>
              <a:gd name="connsiteY93" fmla="*/ 260400 h 895572"/>
              <a:gd name="connsiteX94" fmla="*/ 682768 w 1090712"/>
              <a:gd name="connsiteY94" fmla="*/ 256361 h 895572"/>
              <a:gd name="connsiteX95" fmla="*/ 1030602 w 1090712"/>
              <a:gd name="connsiteY95" fmla="*/ 200289 h 895572"/>
              <a:gd name="connsiteX96" fmla="*/ 1027513 w 1090712"/>
              <a:gd name="connsiteY96" fmla="*/ 207892 h 895572"/>
              <a:gd name="connsiteX97" fmla="*/ 1023949 w 1090712"/>
              <a:gd name="connsiteY97" fmla="*/ 214545 h 895572"/>
              <a:gd name="connsiteX98" fmla="*/ 1019910 w 1090712"/>
              <a:gd name="connsiteY98" fmla="*/ 221197 h 895572"/>
              <a:gd name="connsiteX99" fmla="*/ 1015396 w 1090712"/>
              <a:gd name="connsiteY99" fmla="*/ 226899 h 895572"/>
              <a:gd name="connsiteX100" fmla="*/ 1011119 w 1090712"/>
              <a:gd name="connsiteY100" fmla="*/ 232839 h 895572"/>
              <a:gd name="connsiteX101" fmla="*/ 1006130 w 1090712"/>
              <a:gd name="connsiteY101" fmla="*/ 237591 h 895572"/>
              <a:gd name="connsiteX102" fmla="*/ 1001140 w 1090712"/>
              <a:gd name="connsiteY102" fmla="*/ 242105 h 895572"/>
              <a:gd name="connsiteX103" fmla="*/ 996388 w 1090712"/>
              <a:gd name="connsiteY103" fmla="*/ 246144 h 895572"/>
              <a:gd name="connsiteX104" fmla="*/ 990924 w 1090712"/>
              <a:gd name="connsiteY104" fmla="*/ 249708 h 895572"/>
              <a:gd name="connsiteX105" fmla="*/ 985697 w 1090712"/>
              <a:gd name="connsiteY105" fmla="*/ 252797 h 895572"/>
              <a:gd name="connsiteX106" fmla="*/ 980232 w 1090712"/>
              <a:gd name="connsiteY106" fmla="*/ 254935 h 895572"/>
              <a:gd name="connsiteX107" fmla="*/ 975005 w 1090712"/>
              <a:gd name="connsiteY107" fmla="*/ 256836 h 895572"/>
              <a:gd name="connsiteX108" fmla="*/ 969541 w 1090712"/>
              <a:gd name="connsiteY108" fmla="*/ 258262 h 895572"/>
              <a:gd name="connsiteX109" fmla="*/ 963839 w 1090712"/>
              <a:gd name="connsiteY109" fmla="*/ 258499 h 895572"/>
              <a:gd name="connsiteX110" fmla="*/ 958612 w 1090712"/>
              <a:gd name="connsiteY110" fmla="*/ 258499 h 895572"/>
              <a:gd name="connsiteX111" fmla="*/ 953622 w 1090712"/>
              <a:gd name="connsiteY111" fmla="*/ 257786 h 895572"/>
              <a:gd name="connsiteX112" fmla="*/ 970966 w 1090712"/>
              <a:gd name="connsiteY112" fmla="*/ 244006 h 895572"/>
              <a:gd name="connsiteX113" fmla="*/ 990211 w 1090712"/>
              <a:gd name="connsiteY113" fmla="*/ 229275 h 895572"/>
              <a:gd name="connsiteX114" fmla="*/ 1010169 w 1090712"/>
              <a:gd name="connsiteY114" fmla="*/ 214069 h 895572"/>
              <a:gd name="connsiteX115" fmla="*/ 1020385 w 1090712"/>
              <a:gd name="connsiteY115" fmla="*/ 206942 h 895572"/>
              <a:gd name="connsiteX116" fmla="*/ 389581 w 1090712"/>
              <a:gd name="connsiteY116" fmla="*/ 176768 h 895572"/>
              <a:gd name="connsiteX117" fmla="*/ 397422 w 1090712"/>
              <a:gd name="connsiteY117" fmla="*/ 177243 h 895572"/>
              <a:gd name="connsiteX118" fmla="*/ 414766 w 1090712"/>
              <a:gd name="connsiteY118" fmla="*/ 178906 h 895572"/>
              <a:gd name="connsiteX119" fmla="*/ 405500 w 1090712"/>
              <a:gd name="connsiteY119" fmla="*/ 179856 h 895572"/>
              <a:gd name="connsiteX120" fmla="*/ 396946 w 1090712"/>
              <a:gd name="connsiteY120" fmla="*/ 181995 h 895572"/>
              <a:gd name="connsiteX121" fmla="*/ 389581 w 1090712"/>
              <a:gd name="connsiteY121" fmla="*/ 184371 h 895572"/>
              <a:gd name="connsiteX122" fmla="*/ 381978 w 1090712"/>
              <a:gd name="connsiteY122" fmla="*/ 186984 h 895572"/>
              <a:gd name="connsiteX123" fmla="*/ 375326 w 1090712"/>
              <a:gd name="connsiteY123" fmla="*/ 190548 h 895572"/>
              <a:gd name="connsiteX124" fmla="*/ 368911 w 1090712"/>
              <a:gd name="connsiteY124" fmla="*/ 194112 h 895572"/>
              <a:gd name="connsiteX125" fmla="*/ 363208 w 1090712"/>
              <a:gd name="connsiteY125" fmla="*/ 198626 h 895572"/>
              <a:gd name="connsiteX126" fmla="*/ 357981 w 1090712"/>
              <a:gd name="connsiteY126" fmla="*/ 202903 h 895572"/>
              <a:gd name="connsiteX127" fmla="*/ 352517 w 1090712"/>
              <a:gd name="connsiteY127" fmla="*/ 208367 h 895572"/>
              <a:gd name="connsiteX128" fmla="*/ 348003 w 1090712"/>
              <a:gd name="connsiteY128" fmla="*/ 214070 h 895572"/>
              <a:gd name="connsiteX129" fmla="*/ 343726 w 1090712"/>
              <a:gd name="connsiteY129" fmla="*/ 220247 h 895572"/>
              <a:gd name="connsiteX130" fmla="*/ 339687 w 1090712"/>
              <a:gd name="connsiteY130" fmla="*/ 226662 h 895572"/>
              <a:gd name="connsiteX131" fmla="*/ 335648 w 1090712"/>
              <a:gd name="connsiteY131" fmla="*/ 233790 h 895572"/>
              <a:gd name="connsiteX132" fmla="*/ 332559 w 1090712"/>
              <a:gd name="connsiteY132" fmla="*/ 240917 h 895572"/>
              <a:gd name="connsiteX133" fmla="*/ 328995 w 1090712"/>
              <a:gd name="connsiteY133" fmla="*/ 248758 h 895572"/>
              <a:gd name="connsiteX134" fmla="*/ 325907 w 1090712"/>
              <a:gd name="connsiteY134" fmla="*/ 256836 h 895572"/>
              <a:gd name="connsiteX135" fmla="*/ 325432 w 1090712"/>
              <a:gd name="connsiteY135" fmla="*/ 252797 h 895572"/>
              <a:gd name="connsiteX136" fmla="*/ 324956 w 1090712"/>
              <a:gd name="connsiteY136" fmla="*/ 248283 h 895572"/>
              <a:gd name="connsiteX137" fmla="*/ 323056 w 1090712"/>
              <a:gd name="connsiteY137" fmla="*/ 239492 h 895572"/>
              <a:gd name="connsiteX138" fmla="*/ 320917 w 1090712"/>
              <a:gd name="connsiteY138" fmla="*/ 229275 h 895572"/>
              <a:gd name="connsiteX139" fmla="*/ 320442 w 1090712"/>
              <a:gd name="connsiteY139" fmla="*/ 223811 h 895572"/>
              <a:gd name="connsiteX140" fmla="*/ 319967 w 1090712"/>
              <a:gd name="connsiteY140" fmla="*/ 217633 h 895572"/>
              <a:gd name="connsiteX141" fmla="*/ 314740 w 1090712"/>
              <a:gd name="connsiteY141" fmla="*/ 217633 h 895572"/>
              <a:gd name="connsiteX142" fmla="*/ 302148 w 1090712"/>
              <a:gd name="connsiteY142" fmla="*/ 243056 h 895572"/>
              <a:gd name="connsiteX143" fmla="*/ 289793 w 1090712"/>
              <a:gd name="connsiteY143" fmla="*/ 267528 h 895572"/>
              <a:gd name="connsiteX144" fmla="*/ 277438 w 1090712"/>
              <a:gd name="connsiteY144" fmla="*/ 291049 h 895572"/>
              <a:gd name="connsiteX145" fmla="*/ 264371 w 1090712"/>
              <a:gd name="connsiteY145" fmla="*/ 312907 h 895572"/>
              <a:gd name="connsiteX146" fmla="*/ 267459 w 1090712"/>
              <a:gd name="connsiteY146" fmla="*/ 295088 h 895572"/>
              <a:gd name="connsiteX147" fmla="*/ 271023 w 1090712"/>
              <a:gd name="connsiteY147" fmla="*/ 279170 h 895572"/>
              <a:gd name="connsiteX148" fmla="*/ 274587 w 1090712"/>
              <a:gd name="connsiteY148" fmla="*/ 263964 h 895572"/>
              <a:gd name="connsiteX149" fmla="*/ 279101 w 1090712"/>
              <a:gd name="connsiteY149" fmla="*/ 250183 h 895572"/>
              <a:gd name="connsiteX150" fmla="*/ 284091 w 1090712"/>
              <a:gd name="connsiteY150" fmla="*/ 238066 h 895572"/>
              <a:gd name="connsiteX151" fmla="*/ 289318 w 1090712"/>
              <a:gd name="connsiteY151" fmla="*/ 226900 h 895572"/>
              <a:gd name="connsiteX152" fmla="*/ 292406 w 1090712"/>
              <a:gd name="connsiteY152" fmla="*/ 221673 h 895572"/>
              <a:gd name="connsiteX153" fmla="*/ 295495 w 1090712"/>
              <a:gd name="connsiteY153" fmla="*/ 217158 h 895572"/>
              <a:gd name="connsiteX154" fmla="*/ 298584 w 1090712"/>
              <a:gd name="connsiteY154" fmla="*/ 212406 h 895572"/>
              <a:gd name="connsiteX155" fmla="*/ 302148 w 1090712"/>
              <a:gd name="connsiteY155" fmla="*/ 208367 h 895572"/>
              <a:gd name="connsiteX156" fmla="*/ 305711 w 1090712"/>
              <a:gd name="connsiteY156" fmla="*/ 204328 h 895572"/>
              <a:gd name="connsiteX157" fmla="*/ 309275 w 1090712"/>
              <a:gd name="connsiteY157" fmla="*/ 200765 h 895572"/>
              <a:gd name="connsiteX158" fmla="*/ 313314 w 1090712"/>
              <a:gd name="connsiteY158" fmla="*/ 197201 h 895572"/>
              <a:gd name="connsiteX159" fmla="*/ 317354 w 1090712"/>
              <a:gd name="connsiteY159" fmla="*/ 194112 h 895572"/>
              <a:gd name="connsiteX160" fmla="*/ 321868 w 1090712"/>
              <a:gd name="connsiteY160" fmla="*/ 191498 h 895572"/>
              <a:gd name="connsiteX161" fmla="*/ 326382 w 1090712"/>
              <a:gd name="connsiteY161" fmla="*/ 188647 h 895572"/>
              <a:gd name="connsiteX162" fmla="*/ 330659 w 1090712"/>
              <a:gd name="connsiteY162" fmla="*/ 186509 h 895572"/>
              <a:gd name="connsiteX163" fmla="*/ 335648 w 1090712"/>
              <a:gd name="connsiteY163" fmla="*/ 184371 h 895572"/>
              <a:gd name="connsiteX164" fmla="*/ 340637 w 1090712"/>
              <a:gd name="connsiteY164" fmla="*/ 182470 h 895572"/>
              <a:gd name="connsiteX165" fmla="*/ 345864 w 1090712"/>
              <a:gd name="connsiteY165" fmla="*/ 181282 h 895572"/>
              <a:gd name="connsiteX166" fmla="*/ 351091 w 1090712"/>
              <a:gd name="connsiteY166" fmla="*/ 179856 h 895572"/>
              <a:gd name="connsiteX167" fmla="*/ 357031 w 1090712"/>
              <a:gd name="connsiteY167" fmla="*/ 178431 h 895572"/>
              <a:gd name="connsiteX168" fmla="*/ 368911 w 1090712"/>
              <a:gd name="connsiteY168" fmla="*/ 177243 h 895572"/>
              <a:gd name="connsiteX169" fmla="*/ 381978 w 1090712"/>
              <a:gd name="connsiteY169" fmla="*/ 176768 h 895572"/>
              <a:gd name="connsiteX170" fmla="*/ 609353 w 1090712"/>
              <a:gd name="connsiteY170" fmla="*/ 174629 h 895572"/>
              <a:gd name="connsiteX171" fmla="*/ 602463 w 1090712"/>
              <a:gd name="connsiteY171" fmla="*/ 180807 h 895572"/>
              <a:gd name="connsiteX172" fmla="*/ 596285 w 1090712"/>
              <a:gd name="connsiteY172" fmla="*/ 187459 h 895572"/>
              <a:gd name="connsiteX173" fmla="*/ 583931 w 1090712"/>
              <a:gd name="connsiteY173" fmla="*/ 201715 h 895572"/>
              <a:gd name="connsiteX174" fmla="*/ 571101 w 1090712"/>
              <a:gd name="connsiteY174" fmla="*/ 215495 h 895572"/>
              <a:gd name="connsiteX175" fmla="*/ 564686 w 1090712"/>
              <a:gd name="connsiteY175" fmla="*/ 222148 h 895572"/>
              <a:gd name="connsiteX176" fmla="*/ 558508 w 1090712"/>
              <a:gd name="connsiteY176" fmla="*/ 228325 h 895572"/>
              <a:gd name="connsiteX177" fmla="*/ 557558 w 1090712"/>
              <a:gd name="connsiteY177" fmla="*/ 223335 h 895572"/>
              <a:gd name="connsiteX178" fmla="*/ 557083 w 1090712"/>
              <a:gd name="connsiteY178" fmla="*/ 219059 h 895572"/>
              <a:gd name="connsiteX179" fmla="*/ 557083 w 1090712"/>
              <a:gd name="connsiteY179" fmla="*/ 215020 h 895572"/>
              <a:gd name="connsiteX180" fmla="*/ 557558 w 1090712"/>
              <a:gd name="connsiteY180" fmla="*/ 210981 h 895572"/>
              <a:gd name="connsiteX181" fmla="*/ 558508 w 1090712"/>
              <a:gd name="connsiteY181" fmla="*/ 207417 h 895572"/>
              <a:gd name="connsiteX182" fmla="*/ 560409 w 1090712"/>
              <a:gd name="connsiteY182" fmla="*/ 203853 h 895572"/>
              <a:gd name="connsiteX183" fmla="*/ 562072 w 1090712"/>
              <a:gd name="connsiteY183" fmla="*/ 200764 h 895572"/>
              <a:gd name="connsiteX184" fmla="*/ 564686 w 1090712"/>
              <a:gd name="connsiteY184" fmla="*/ 197676 h 895572"/>
              <a:gd name="connsiteX185" fmla="*/ 567774 w 1090712"/>
              <a:gd name="connsiteY185" fmla="*/ 194587 h 895572"/>
              <a:gd name="connsiteX186" fmla="*/ 571813 w 1090712"/>
              <a:gd name="connsiteY186" fmla="*/ 191973 h 895572"/>
              <a:gd name="connsiteX187" fmla="*/ 576328 w 1090712"/>
              <a:gd name="connsiteY187" fmla="*/ 188647 h 895572"/>
              <a:gd name="connsiteX188" fmla="*/ 581317 w 1090712"/>
              <a:gd name="connsiteY188" fmla="*/ 186034 h 895572"/>
              <a:gd name="connsiteX189" fmla="*/ 587019 w 1090712"/>
              <a:gd name="connsiteY189" fmla="*/ 183420 h 895572"/>
              <a:gd name="connsiteX190" fmla="*/ 593672 w 1090712"/>
              <a:gd name="connsiteY190" fmla="*/ 180332 h 895572"/>
              <a:gd name="connsiteX191" fmla="*/ 586544 w 1090712"/>
              <a:gd name="connsiteY191" fmla="*/ 0 h 895572"/>
              <a:gd name="connsiteX192" fmla="*/ 570150 w 1090712"/>
              <a:gd name="connsiteY192" fmla="*/ 2851 h 895572"/>
              <a:gd name="connsiteX193" fmla="*/ 553519 w 1090712"/>
              <a:gd name="connsiteY193" fmla="*/ 5940 h 895572"/>
              <a:gd name="connsiteX194" fmla="*/ 536650 w 1090712"/>
              <a:gd name="connsiteY194" fmla="*/ 10454 h 895572"/>
              <a:gd name="connsiteX195" fmla="*/ 520256 w 1090712"/>
              <a:gd name="connsiteY195" fmla="*/ 14731 h 895572"/>
              <a:gd name="connsiteX196" fmla="*/ 486993 w 1090712"/>
              <a:gd name="connsiteY196" fmla="*/ 24472 h 895572"/>
              <a:gd name="connsiteX197" fmla="*/ 469887 w 1090712"/>
              <a:gd name="connsiteY197" fmla="*/ 28986 h 895572"/>
              <a:gd name="connsiteX198" fmla="*/ 453493 w 1090712"/>
              <a:gd name="connsiteY198" fmla="*/ 33500 h 895572"/>
              <a:gd name="connsiteX199" fmla="*/ 438762 w 1090712"/>
              <a:gd name="connsiteY199" fmla="*/ 40153 h 895572"/>
              <a:gd name="connsiteX200" fmla="*/ 424507 w 1090712"/>
              <a:gd name="connsiteY200" fmla="*/ 47281 h 895572"/>
              <a:gd name="connsiteX201" fmla="*/ 417379 w 1090712"/>
              <a:gd name="connsiteY201" fmla="*/ 51320 h 895572"/>
              <a:gd name="connsiteX202" fmla="*/ 410727 w 1090712"/>
              <a:gd name="connsiteY202" fmla="*/ 55834 h 895572"/>
              <a:gd name="connsiteX203" fmla="*/ 403599 w 1090712"/>
              <a:gd name="connsiteY203" fmla="*/ 60111 h 895572"/>
              <a:gd name="connsiteX204" fmla="*/ 397422 w 1090712"/>
              <a:gd name="connsiteY204" fmla="*/ 65100 h 895572"/>
              <a:gd name="connsiteX205" fmla="*/ 390769 w 1090712"/>
              <a:gd name="connsiteY205" fmla="*/ 69852 h 895572"/>
              <a:gd name="connsiteX206" fmla="*/ 384592 w 1090712"/>
              <a:gd name="connsiteY206" fmla="*/ 75792 h 895572"/>
              <a:gd name="connsiteX207" fmla="*/ 378889 w 1090712"/>
              <a:gd name="connsiteY207" fmla="*/ 81494 h 895572"/>
              <a:gd name="connsiteX208" fmla="*/ 372950 w 1090712"/>
              <a:gd name="connsiteY208" fmla="*/ 87671 h 895572"/>
              <a:gd name="connsiteX209" fmla="*/ 367723 w 1090712"/>
              <a:gd name="connsiteY209" fmla="*/ 94324 h 895572"/>
              <a:gd name="connsiteX210" fmla="*/ 362733 w 1090712"/>
              <a:gd name="connsiteY210" fmla="*/ 101452 h 895572"/>
              <a:gd name="connsiteX211" fmla="*/ 357981 w 1090712"/>
              <a:gd name="connsiteY211" fmla="*/ 109055 h 895572"/>
              <a:gd name="connsiteX212" fmla="*/ 353467 w 1090712"/>
              <a:gd name="connsiteY212" fmla="*/ 117608 h 895572"/>
              <a:gd name="connsiteX213" fmla="*/ 409064 w 1090712"/>
              <a:gd name="connsiteY213" fmla="*/ 117608 h 895572"/>
              <a:gd name="connsiteX214" fmla="*/ 406925 w 1090712"/>
              <a:gd name="connsiteY214" fmla="*/ 119271 h 895572"/>
              <a:gd name="connsiteX215" fmla="*/ 404074 w 1090712"/>
              <a:gd name="connsiteY215" fmla="*/ 121647 h 895572"/>
              <a:gd name="connsiteX216" fmla="*/ 400510 w 1090712"/>
              <a:gd name="connsiteY216" fmla="*/ 123310 h 895572"/>
              <a:gd name="connsiteX217" fmla="*/ 397422 w 1090712"/>
              <a:gd name="connsiteY217" fmla="*/ 125211 h 895572"/>
              <a:gd name="connsiteX218" fmla="*/ 393383 w 1090712"/>
              <a:gd name="connsiteY218" fmla="*/ 126399 h 895572"/>
              <a:gd name="connsiteX219" fmla="*/ 389581 w 1090712"/>
              <a:gd name="connsiteY219" fmla="*/ 127824 h 895572"/>
              <a:gd name="connsiteX220" fmla="*/ 385542 w 1090712"/>
              <a:gd name="connsiteY220" fmla="*/ 128299 h 895572"/>
              <a:gd name="connsiteX221" fmla="*/ 381503 w 1090712"/>
              <a:gd name="connsiteY221" fmla="*/ 128774 h 895572"/>
              <a:gd name="connsiteX222" fmla="*/ 375326 w 1090712"/>
              <a:gd name="connsiteY222" fmla="*/ 130438 h 895572"/>
              <a:gd name="connsiteX223" fmla="*/ 368435 w 1090712"/>
              <a:gd name="connsiteY223" fmla="*/ 131863 h 895572"/>
              <a:gd name="connsiteX224" fmla="*/ 361783 w 1090712"/>
              <a:gd name="connsiteY224" fmla="*/ 133051 h 895572"/>
              <a:gd name="connsiteX225" fmla="*/ 355606 w 1090712"/>
              <a:gd name="connsiteY225" fmla="*/ 134001 h 895572"/>
              <a:gd name="connsiteX226" fmla="*/ 342300 w 1090712"/>
              <a:gd name="connsiteY226" fmla="*/ 135427 h 895572"/>
              <a:gd name="connsiteX227" fmla="*/ 329471 w 1090712"/>
              <a:gd name="connsiteY227" fmla="*/ 137090 h 895572"/>
              <a:gd name="connsiteX228" fmla="*/ 322818 w 1090712"/>
              <a:gd name="connsiteY228" fmla="*/ 138040 h 895572"/>
              <a:gd name="connsiteX229" fmla="*/ 316403 w 1090712"/>
              <a:gd name="connsiteY229" fmla="*/ 139704 h 895572"/>
              <a:gd name="connsiteX230" fmla="*/ 310226 w 1090712"/>
              <a:gd name="connsiteY230" fmla="*/ 141604 h 895572"/>
              <a:gd name="connsiteX231" fmla="*/ 304048 w 1090712"/>
              <a:gd name="connsiteY231" fmla="*/ 144218 h 895572"/>
              <a:gd name="connsiteX232" fmla="*/ 298346 w 1090712"/>
              <a:gd name="connsiteY232" fmla="*/ 147307 h 895572"/>
              <a:gd name="connsiteX233" fmla="*/ 292406 w 1090712"/>
              <a:gd name="connsiteY233" fmla="*/ 151346 h 895572"/>
              <a:gd name="connsiteX234" fmla="*/ 286704 w 1090712"/>
              <a:gd name="connsiteY234" fmla="*/ 156335 h 895572"/>
              <a:gd name="connsiteX235" fmla="*/ 281240 w 1090712"/>
              <a:gd name="connsiteY235" fmla="*/ 162037 h 895572"/>
              <a:gd name="connsiteX236" fmla="*/ 262232 w 1090712"/>
              <a:gd name="connsiteY236" fmla="*/ 182945 h 895572"/>
              <a:gd name="connsiteX237" fmla="*/ 242987 w 1090712"/>
              <a:gd name="connsiteY237" fmla="*/ 203378 h 895572"/>
              <a:gd name="connsiteX238" fmla="*/ 203547 w 1090712"/>
              <a:gd name="connsiteY238" fmla="*/ 244006 h 895572"/>
              <a:gd name="connsiteX239" fmla="*/ 183827 w 1090712"/>
              <a:gd name="connsiteY239" fmla="*/ 264439 h 895572"/>
              <a:gd name="connsiteX240" fmla="*/ 164345 w 1090712"/>
              <a:gd name="connsiteY240" fmla="*/ 285822 h 895572"/>
              <a:gd name="connsiteX241" fmla="*/ 144862 w 1090712"/>
              <a:gd name="connsiteY241" fmla="*/ 307443 h 895572"/>
              <a:gd name="connsiteX242" fmla="*/ 126093 w 1090712"/>
              <a:gd name="connsiteY242" fmla="*/ 329777 h 895572"/>
              <a:gd name="connsiteX243" fmla="*/ 122054 w 1090712"/>
              <a:gd name="connsiteY243" fmla="*/ 335004 h 895572"/>
              <a:gd name="connsiteX244" fmla="*/ 118015 w 1090712"/>
              <a:gd name="connsiteY244" fmla="*/ 340468 h 895572"/>
              <a:gd name="connsiteX245" fmla="*/ 110887 w 1090712"/>
              <a:gd name="connsiteY245" fmla="*/ 352110 h 895572"/>
              <a:gd name="connsiteX246" fmla="*/ 104709 w 1090712"/>
              <a:gd name="connsiteY246" fmla="*/ 363514 h 895572"/>
              <a:gd name="connsiteX247" fmla="*/ 99007 w 1090712"/>
              <a:gd name="connsiteY247" fmla="*/ 375156 h 895572"/>
              <a:gd name="connsiteX248" fmla="*/ 87840 w 1090712"/>
              <a:gd name="connsiteY248" fmla="*/ 400103 h 895572"/>
              <a:gd name="connsiteX249" fmla="*/ 82138 w 1090712"/>
              <a:gd name="connsiteY249" fmla="*/ 412458 h 895572"/>
              <a:gd name="connsiteX250" fmla="*/ 75723 w 1090712"/>
              <a:gd name="connsiteY250" fmla="*/ 425050 h 895572"/>
              <a:gd name="connsiteX251" fmla="*/ 75723 w 1090712"/>
              <a:gd name="connsiteY251" fmla="*/ 429802 h 895572"/>
              <a:gd name="connsiteX252" fmla="*/ 76674 w 1090712"/>
              <a:gd name="connsiteY252" fmla="*/ 436217 h 895572"/>
              <a:gd name="connsiteX253" fmla="*/ 77149 w 1090712"/>
              <a:gd name="connsiteY253" fmla="*/ 439306 h 895572"/>
              <a:gd name="connsiteX254" fmla="*/ 78574 w 1090712"/>
              <a:gd name="connsiteY254" fmla="*/ 442395 h 895572"/>
              <a:gd name="connsiteX255" fmla="*/ 79762 w 1090712"/>
              <a:gd name="connsiteY255" fmla="*/ 445008 h 895572"/>
              <a:gd name="connsiteX256" fmla="*/ 81663 w 1090712"/>
              <a:gd name="connsiteY256" fmla="*/ 447147 h 895572"/>
              <a:gd name="connsiteX257" fmla="*/ 94018 w 1090712"/>
              <a:gd name="connsiteY257" fmla="*/ 468055 h 895572"/>
              <a:gd name="connsiteX258" fmla="*/ 106848 w 1090712"/>
              <a:gd name="connsiteY258" fmla="*/ 488963 h 895572"/>
              <a:gd name="connsiteX259" fmla="*/ 113975 w 1090712"/>
              <a:gd name="connsiteY259" fmla="*/ 499654 h 895572"/>
              <a:gd name="connsiteX260" fmla="*/ 121103 w 1090712"/>
              <a:gd name="connsiteY260" fmla="*/ 510346 h 895572"/>
              <a:gd name="connsiteX261" fmla="*/ 128706 w 1090712"/>
              <a:gd name="connsiteY261" fmla="*/ 520562 h 895572"/>
              <a:gd name="connsiteX262" fmla="*/ 137259 w 1090712"/>
              <a:gd name="connsiteY262" fmla="*/ 531254 h 895572"/>
              <a:gd name="connsiteX263" fmla="*/ 149614 w 1090712"/>
              <a:gd name="connsiteY263" fmla="*/ 514385 h 895572"/>
              <a:gd name="connsiteX264" fmla="*/ 162206 w 1090712"/>
              <a:gd name="connsiteY264" fmla="*/ 498466 h 895572"/>
              <a:gd name="connsiteX265" fmla="*/ 174561 w 1090712"/>
              <a:gd name="connsiteY265" fmla="*/ 483260 h 895572"/>
              <a:gd name="connsiteX266" fmla="*/ 180739 w 1090712"/>
              <a:gd name="connsiteY266" fmla="*/ 476133 h 895572"/>
              <a:gd name="connsiteX267" fmla="*/ 186916 w 1090712"/>
              <a:gd name="connsiteY267" fmla="*/ 469480 h 895572"/>
              <a:gd name="connsiteX268" fmla="*/ 182639 w 1090712"/>
              <a:gd name="connsiteY268" fmla="*/ 482310 h 895572"/>
              <a:gd name="connsiteX269" fmla="*/ 178125 w 1090712"/>
              <a:gd name="connsiteY269" fmla="*/ 495615 h 895572"/>
              <a:gd name="connsiteX270" fmla="*/ 172423 w 1090712"/>
              <a:gd name="connsiteY270" fmla="*/ 509871 h 895572"/>
              <a:gd name="connsiteX271" fmla="*/ 164820 w 1090712"/>
              <a:gd name="connsiteY271" fmla="*/ 525552 h 895572"/>
              <a:gd name="connsiteX272" fmla="*/ 156267 w 1090712"/>
              <a:gd name="connsiteY272" fmla="*/ 538381 h 895572"/>
              <a:gd name="connsiteX273" fmla="*/ 152703 w 1090712"/>
              <a:gd name="connsiteY273" fmla="*/ 544559 h 895572"/>
              <a:gd name="connsiteX274" fmla="*/ 148664 w 1090712"/>
              <a:gd name="connsiteY274" fmla="*/ 551449 h 895572"/>
              <a:gd name="connsiteX275" fmla="*/ 145100 w 1090712"/>
              <a:gd name="connsiteY275" fmla="*/ 558339 h 895572"/>
              <a:gd name="connsiteX276" fmla="*/ 142011 w 1090712"/>
              <a:gd name="connsiteY276" fmla="*/ 565467 h 895572"/>
              <a:gd name="connsiteX277" fmla="*/ 139398 w 1090712"/>
              <a:gd name="connsiteY277" fmla="*/ 573070 h 895572"/>
              <a:gd name="connsiteX278" fmla="*/ 137259 w 1090712"/>
              <a:gd name="connsiteY278" fmla="*/ 581623 h 895572"/>
              <a:gd name="connsiteX279" fmla="*/ 136309 w 1090712"/>
              <a:gd name="connsiteY279" fmla="*/ 583761 h 895572"/>
              <a:gd name="connsiteX280" fmla="*/ 135359 w 1090712"/>
              <a:gd name="connsiteY280" fmla="*/ 586137 h 895572"/>
              <a:gd name="connsiteX281" fmla="*/ 134883 w 1090712"/>
              <a:gd name="connsiteY281" fmla="*/ 590889 h 895572"/>
              <a:gd name="connsiteX282" fmla="*/ 134883 w 1090712"/>
              <a:gd name="connsiteY282" fmla="*/ 595879 h 895572"/>
              <a:gd name="connsiteX283" fmla="*/ 135359 w 1090712"/>
              <a:gd name="connsiteY283" fmla="*/ 601106 h 895572"/>
              <a:gd name="connsiteX284" fmla="*/ 136784 w 1090712"/>
              <a:gd name="connsiteY284" fmla="*/ 606095 h 895572"/>
              <a:gd name="connsiteX285" fmla="*/ 138447 w 1090712"/>
              <a:gd name="connsiteY285" fmla="*/ 611322 h 895572"/>
              <a:gd name="connsiteX286" fmla="*/ 140348 w 1090712"/>
              <a:gd name="connsiteY286" fmla="*/ 616311 h 895572"/>
              <a:gd name="connsiteX287" fmla="*/ 142486 w 1090712"/>
              <a:gd name="connsiteY287" fmla="*/ 620826 h 895572"/>
              <a:gd name="connsiteX288" fmla="*/ 148664 w 1090712"/>
              <a:gd name="connsiteY288" fmla="*/ 629616 h 895572"/>
              <a:gd name="connsiteX289" fmla="*/ 155554 w 1090712"/>
              <a:gd name="connsiteY289" fmla="*/ 637219 h 895572"/>
              <a:gd name="connsiteX290" fmla="*/ 162444 w 1090712"/>
              <a:gd name="connsiteY290" fmla="*/ 643872 h 895572"/>
              <a:gd name="connsiteX291" fmla="*/ 169572 w 1090712"/>
              <a:gd name="connsiteY291" fmla="*/ 649099 h 895572"/>
              <a:gd name="connsiteX292" fmla="*/ 177175 w 1090712"/>
              <a:gd name="connsiteY292" fmla="*/ 653613 h 895572"/>
              <a:gd name="connsiteX293" fmla="*/ 184778 w 1090712"/>
              <a:gd name="connsiteY293" fmla="*/ 657177 h 895572"/>
              <a:gd name="connsiteX294" fmla="*/ 192856 w 1090712"/>
              <a:gd name="connsiteY294" fmla="*/ 659553 h 895572"/>
              <a:gd name="connsiteX295" fmla="*/ 200934 w 1090712"/>
              <a:gd name="connsiteY295" fmla="*/ 661216 h 895572"/>
              <a:gd name="connsiteX296" fmla="*/ 209250 w 1090712"/>
              <a:gd name="connsiteY296" fmla="*/ 661691 h 895572"/>
              <a:gd name="connsiteX297" fmla="*/ 218278 w 1090712"/>
              <a:gd name="connsiteY297" fmla="*/ 661691 h 895572"/>
              <a:gd name="connsiteX298" fmla="*/ 227069 w 1090712"/>
              <a:gd name="connsiteY298" fmla="*/ 660266 h 895572"/>
              <a:gd name="connsiteX299" fmla="*/ 236335 w 1090712"/>
              <a:gd name="connsiteY299" fmla="*/ 658603 h 895572"/>
              <a:gd name="connsiteX300" fmla="*/ 245838 w 1090712"/>
              <a:gd name="connsiteY300" fmla="*/ 655514 h 895572"/>
              <a:gd name="connsiteX301" fmla="*/ 255580 w 1090712"/>
              <a:gd name="connsiteY301" fmla="*/ 652425 h 895572"/>
              <a:gd name="connsiteX302" fmla="*/ 265321 w 1090712"/>
              <a:gd name="connsiteY302" fmla="*/ 647911 h 895572"/>
              <a:gd name="connsiteX303" fmla="*/ 276013 w 1090712"/>
              <a:gd name="connsiteY303" fmla="*/ 642922 h 895572"/>
              <a:gd name="connsiteX304" fmla="*/ 288367 w 1090712"/>
              <a:gd name="connsiteY304" fmla="*/ 635081 h 895572"/>
              <a:gd name="connsiteX305" fmla="*/ 301910 w 1090712"/>
              <a:gd name="connsiteY305" fmla="*/ 627478 h 895572"/>
              <a:gd name="connsiteX306" fmla="*/ 315215 w 1090712"/>
              <a:gd name="connsiteY306" fmla="*/ 620350 h 895572"/>
              <a:gd name="connsiteX307" fmla="*/ 329471 w 1090712"/>
              <a:gd name="connsiteY307" fmla="*/ 613698 h 895572"/>
              <a:gd name="connsiteX308" fmla="*/ 343726 w 1090712"/>
              <a:gd name="connsiteY308" fmla="*/ 607283 h 895572"/>
              <a:gd name="connsiteX309" fmla="*/ 357981 w 1090712"/>
              <a:gd name="connsiteY309" fmla="*/ 602056 h 895572"/>
              <a:gd name="connsiteX310" fmla="*/ 371999 w 1090712"/>
              <a:gd name="connsiteY310" fmla="*/ 597066 h 895572"/>
              <a:gd name="connsiteX311" fmla="*/ 386730 w 1090712"/>
              <a:gd name="connsiteY311" fmla="*/ 592790 h 895572"/>
              <a:gd name="connsiteX312" fmla="*/ 394808 w 1090712"/>
              <a:gd name="connsiteY312" fmla="*/ 590414 h 895572"/>
              <a:gd name="connsiteX313" fmla="*/ 402411 w 1090712"/>
              <a:gd name="connsiteY313" fmla="*/ 587325 h 895572"/>
              <a:gd name="connsiteX314" fmla="*/ 409064 w 1090712"/>
              <a:gd name="connsiteY314" fmla="*/ 583761 h 895572"/>
              <a:gd name="connsiteX315" fmla="*/ 411677 w 1090712"/>
              <a:gd name="connsiteY315" fmla="*/ 581623 h 895572"/>
              <a:gd name="connsiteX316" fmla="*/ 414766 w 1090712"/>
              <a:gd name="connsiteY316" fmla="*/ 579247 h 895572"/>
              <a:gd name="connsiteX317" fmla="*/ 417142 w 1090712"/>
              <a:gd name="connsiteY317" fmla="*/ 577109 h 895572"/>
              <a:gd name="connsiteX318" fmla="*/ 419280 w 1090712"/>
              <a:gd name="connsiteY318" fmla="*/ 574495 h 895572"/>
              <a:gd name="connsiteX319" fmla="*/ 420943 w 1090712"/>
              <a:gd name="connsiteY319" fmla="*/ 571407 h 895572"/>
              <a:gd name="connsiteX320" fmla="*/ 422844 w 1090712"/>
              <a:gd name="connsiteY320" fmla="*/ 568318 h 895572"/>
              <a:gd name="connsiteX321" fmla="*/ 424269 w 1090712"/>
              <a:gd name="connsiteY321" fmla="*/ 565229 h 895572"/>
              <a:gd name="connsiteX322" fmla="*/ 424982 w 1090712"/>
              <a:gd name="connsiteY322" fmla="*/ 561665 h 895572"/>
              <a:gd name="connsiteX323" fmla="*/ 425457 w 1090712"/>
              <a:gd name="connsiteY323" fmla="*/ 557626 h 895572"/>
              <a:gd name="connsiteX324" fmla="*/ 425932 w 1090712"/>
              <a:gd name="connsiteY324" fmla="*/ 553587 h 895572"/>
              <a:gd name="connsiteX325" fmla="*/ 425932 w 1090712"/>
              <a:gd name="connsiteY325" fmla="*/ 413884 h 895572"/>
              <a:gd name="connsiteX326" fmla="*/ 425932 w 1090712"/>
              <a:gd name="connsiteY326" fmla="*/ 285347 h 895572"/>
              <a:gd name="connsiteX327" fmla="*/ 429496 w 1090712"/>
              <a:gd name="connsiteY327" fmla="*/ 300078 h 895572"/>
              <a:gd name="connsiteX328" fmla="*/ 433060 w 1090712"/>
              <a:gd name="connsiteY328" fmla="*/ 314096 h 895572"/>
              <a:gd name="connsiteX329" fmla="*/ 436149 w 1090712"/>
              <a:gd name="connsiteY329" fmla="*/ 328826 h 895572"/>
              <a:gd name="connsiteX330" fmla="*/ 438762 w 1090712"/>
              <a:gd name="connsiteY330" fmla="*/ 343082 h 895572"/>
              <a:gd name="connsiteX331" fmla="*/ 443752 w 1090712"/>
              <a:gd name="connsiteY331" fmla="*/ 370642 h 895572"/>
              <a:gd name="connsiteX332" fmla="*/ 447791 w 1090712"/>
              <a:gd name="connsiteY332" fmla="*/ 397015 h 895572"/>
              <a:gd name="connsiteX333" fmla="*/ 451830 w 1090712"/>
              <a:gd name="connsiteY333" fmla="*/ 421962 h 895572"/>
              <a:gd name="connsiteX334" fmla="*/ 454919 w 1090712"/>
              <a:gd name="connsiteY334" fmla="*/ 446434 h 895572"/>
              <a:gd name="connsiteX335" fmla="*/ 456106 w 1090712"/>
              <a:gd name="connsiteY335" fmla="*/ 458313 h 895572"/>
              <a:gd name="connsiteX336" fmla="*/ 457057 w 1090712"/>
              <a:gd name="connsiteY336" fmla="*/ 470430 h 895572"/>
              <a:gd name="connsiteX337" fmla="*/ 457532 w 1090712"/>
              <a:gd name="connsiteY337" fmla="*/ 482310 h 895572"/>
              <a:gd name="connsiteX338" fmla="*/ 457532 w 1090712"/>
              <a:gd name="connsiteY338" fmla="*/ 493952 h 895572"/>
              <a:gd name="connsiteX339" fmla="*/ 457532 w 1090712"/>
              <a:gd name="connsiteY339" fmla="*/ 506069 h 895572"/>
              <a:gd name="connsiteX340" fmla="*/ 456582 w 1090712"/>
              <a:gd name="connsiteY340" fmla="*/ 517473 h 895572"/>
              <a:gd name="connsiteX341" fmla="*/ 455869 w 1090712"/>
              <a:gd name="connsiteY341" fmla="*/ 529116 h 895572"/>
              <a:gd name="connsiteX342" fmla="*/ 453968 w 1090712"/>
              <a:gd name="connsiteY342" fmla="*/ 540757 h 895572"/>
              <a:gd name="connsiteX343" fmla="*/ 452305 w 1090712"/>
              <a:gd name="connsiteY343" fmla="*/ 552162 h 895572"/>
              <a:gd name="connsiteX344" fmla="*/ 449454 w 1090712"/>
              <a:gd name="connsiteY344" fmla="*/ 563804 h 895572"/>
              <a:gd name="connsiteX345" fmla="*/ 446365 w 1090712"/>
              <a:gd name="connsiteY345" fmla="*/ 575446 h 895572"/>
              <a:gd name="connsiteX346" fmla="*/ 442326 w 1090712"/>
              <a:gd name="connsiteY346" fmla="*/ 586850 h 895572"/>
              <a:gd name="connsiteX347" fmla="*/ 440188 w 1090712"/>
              <a:gd name="connsiteY347" fmla="*/ 591364 h 895572"/>
              <a:gd name="connsiteX348" fmla="*/ 437574 w 1090712"/>
              <a:gd name="connsiteY348" fmla="*/ 595403 h 895572"/>
              <a:gd name="connsiteX349" fmla="*/ 434486 w 1090712"/>
              <a:gd name="connsiteY349" fmla="*/ 598967 h 895572"/>
              <a:gd name="connsiteX350" fmla="*/ 431397 w 1090712"/>
              <a:gd name="connsiteY350" fmla="*/ 602531 h 895572"/>
              <a:gd name="connsiteX351" fmla="*/ 428071 w 1090712"/>
              <a:gd name="connsiteY351" fmla="*/ 605145 h 895572"/>
              <a:gd name="connsiteX352" fmla="*/ 424982 w 1090712"/>
              <a:gd name="connsiteY352" fmla="*/ 607283 h 895572"/>
              <a:gd name="connsiteX353" fmla="*/ 422369 w 1090712"/>
              <a:gd name="connsiteY353" fmla="*/ 608708 h 895572"/>
              <a:gd name="connsiteX354" fmla="*/ 420230 w 1090712"/>
              <a:gd name="connsiteY354" fmla="*/ 609659 h 895572"/>
              <a:gd name="connsiteX355" fmla="*/ 410727 w 1090712"/>
              <a:gd name="connsiteY355" fmla="*/ 610847 h 895572"/>
              <a:gd name="connsiteX356" fmla="*/ 401461 w 1090712"/>
              <a:gd name="connsiteY356" fmla="*/ 612748 h 895572"/>
              <a:gd name="connsiteX357" fmla="*/ 392670 w 1090712"/>
              <a:gd name="connsiteY357" fmla="*/ 614886 h 895572"/>
              <a:gd name="connsiteX358" fmla="*/ 383641 w 1090712"/>
              <a:gd name="connsiteY358" fmla="*/ 617262 h 895572"/>
              <a:gd name="connsiteX359" fmla="*/ 374850 w 1090712"/>
              <a:gd name="connsiteY359" fmla="*/ 620350 h 895572"/>
              <a:gd name="connsiteX360" fmla="*/ 365822 w 1090712"/>
              <a:gd name="connsiteY360" fmla="*/ 623914 h 895572"/>
              <a:gd name="connsiteX361" fmla="*/ 348478 w 1090712"/>
              <a:gd name="connsiteY361" fmla="*/ 631042 h 895572"/>
              <a:gd name="connsiteX362" fmla="*/ 331609 w 1090712"/>
              <a:gd name="connsiteY362" fmla="*/ 639358 h 895572"/>
              <a:gd name="connsiteX363" fmla="*/ 314740 w 1090712"/>
              <a:gd name="connsiteY363" fmla="*/ 647911 h 895572"/>
              <a:gd name="connsiteX364" fmla="*/ 281240 w 1090712"/>
              <a:gd name="connsiteY364" fmla="*/ 665255 h 895572"/>
              <a:gd name="connsiteX365" fmla="*/ 274587 w 1090712"/>
              <a:gd name="connsiteY365" fmla="*/ 669294 h 895572"/>
              <a:gd name="connsiteX366" fmla="*/ 267935 w 1090712"/>
              <a:gd name="connsiteY366" fmla="*/ 672858 h 895572"/>
              <a:gd name="connsiteX367" fmla="*/ 261757 w 1090712"/>
              <a:gd name="connsiteY367" fmla="*/ 675947 h 895572"/>
              <a:gd name="connsiteX368" fmla="*/ 255105 w 1090712"/>
              <a:gd name="connsiteY368" fmla="*/ 679035 h 895572"/>
              <a:gd name="connsiteX369" fmla="*/ 248927 w 1090712"/>
              <a:gd name="connsiteY369" fmla="*/ 681174 h 895572"/>
              <a:gd name="connsiteX370" fmla="*/ 242987 w 1090712"/>
              <a:gd name="connsiteY370" fmla="*/ 683075 h 895572"/>
              <a:gd name="connsiteX371" fmla="*/ 236810 w 1090712"/>
              <a:gd name="connsiteY371" fmla="*/ 684738 h 895572"/>
              <a:gd name="connsiteX372" fmla="*/ 231108 w 1090712"/>
              <a:gd name="connsiteY372" fmla="*/ 686163 h 895572"/>
              <a:gd name="connsiteX373" fmla="*/ 225406 w 1090712"/>
              <a:gd name="connsiteY373" fmla="*/ 687114 h 895572"/>
              <a:gd name="connsiteX374" fmla="*/ 219466 w 1090712"/>
              <a:gd name="connsiteY374" fmla="*/ 687589 h 895572"/>
              <a:gd name="connsiteX375" fmla="*/ 213764 w 1090712"/>
              <a:gd name="connsiteY375" fmla="*/ 687589 h 895572"/>
              <a:gd name="connsiteX376" fmla="*/ 208299 w 1090712"/>
              <a:gd name="connsiteY376" fmla="*/ 687589 h 895572"/>
              <a:gd name="connsiteX377" fmla="*/ 203072 w 1090712"/>
              <a:gd name="connsiteY377" fmla="*/ 687114 h 895572"/>
              <a:gd name="connsiteX378" fmla="*/ 197607 w 1090712"/>
              <a:gd name="connsiteY378" fmla="*/ 686163 h 895572"/>
              <a:gd name="connsiteX379" fmla="*/ 192380 w 1090712"/>
              <a:gd name="connsiteY379" fmla="*/ 684738 h 895572"/>
              <a:gd name="connsiteX380" fmla="*/ 186916 w 1090712"/>
              <a:gd name="connsiteY380" fmla="*/ 683550 h 895572"/>
              <a:gd name="connsiteX381" fmla="*/ 181689 w 1090712"/>
              <a:gd name="connsiteY381" fmla="*/ 681649 h 895572"/>
              <a:gd name="connsiteX382" fmla="*/ 176699 w 1090712"/>
              <a:gd name="connsiteY382" fmla="*/ 679986 h 895572"/>
              <a:gd name="connsiteX383" fmla="*/ 171472 w 1090712"/>
              <a:gd name="connsiteY383" fmla="*/ 677610 h 895572"/>
              <a:gd name="connsiteX384" fmla="*/ 166483 w 1090712"/>
              <a:gd name="connsiteY384" fmla="*/ 674996 h 895572"/>
              <a:gd name="connsiteX385" fmla="*/ 156742 w 1090712"/>
              <a:gd name="connsiteY385" fmla="*/ 669294 h 895572"/>
              <a:gd name="connsiteX386" fmla="*/ 147001 w 1090712"/>
              <a:gd name="connsiteY386" fmla="*/ 662167 h 895572"/>
              <a:gd name="connsiteX387" fmla="*/ 137735 w 1090712"/>
              <a:gd name="connsiteY387" fmla="*/ 654564 h 895572"/>
              <a:gd name="connsiteX388" fmla="*/ 127756 w 1090712"/>
              <a:gd name="connsiteY388" fmla="*/ 645535 h 895572"/>
              <a:gd name="connsiteX389" fmla="*/ 118490 w 1090712"/>
              <a:gd name="connsiteY389" fmla="*/ 636269 h 895572"/>
              <a:gd name="connsiteX390" fmla="*/ 109224 w 1090712"/>
              <a:gd name="connsiteY390" fmla="*/ 626053 h 895572"/>
              <a:gd name="connsiteX391" fmla="*/ 107323 w 1090712"/>
              <a:gd name="connsiteY391" fmla="*/ 623914 h 895572"/>
              <a:gd name="connsiteX392" fmla="*/ 106135 w 1090712"/>
              <a:gd name="connsiteY392" fmla="*/ 620350 h 895572"/>
              <a:gd name="connsiteX393" fmla="*/ 105185 w 1090712"/>
              <a:gd name="connsiteY393" fmla="*/ 616311 h 895572"/>
              <a:gd name="connsiteX394" fmla="*/ 105185 w 1090712"/>
              <a:gd name="connsiteY394" fmla="*/ 612272 h 895572"/>
              <a:gd name="connsiteX395" fmla="*/ 105185 w 1090712"/>
              <a:gd name="connsiteY395" fmla="*/ 608233 h 895572"/>
              <a:gd name="connsiteX396" fmla="*/ 106135 w 1090712"/>
              <a:gd name="connsiteY396" fmla="*/ 604194 h 895572"/>
              <a:gd name="connsiteX397" fmla="*/ 107323 w 1090712"/>
              <a:gd name="connsiteY397" fmla="*/ 600630 h 895572"/>
              <a:gd name="connsiteX398" fmla="*/ 109224 w 1090712"/>
              <a:gd name="connsiteY398" fmla="*/ 598017 h 895572"/>
              <a:gd name="connsiteX399" fmla="*/ 111837 w 1090712"/>
              <a:gd name="connsiteY399" fmla="*/ 591840 h 895572"/>
              <a:gd name="connsiteX400" fmla="*/ 113975 w 1090712"/>
              <a:gd name="connsiteY400" fmla="*/ 586137 h 895572"/>
              <a:gd name="connsiteX401" fmla="*/ 115401 w 1090712"/>
              <a:gd name="connsiteY401" fmla="*/ 579722 h 895572"/>
              <a:gd name="connsiteX402" fmla="*/ 115876 w 1090712"/>
              <a:gd name="connsiteY402" fmla="*/ 574020 h 895572"/>
              <a:gd name="connsiteX403" fmla="*/ 115876 w 1090712"/>
              <a:gd name="connsiteY403" fmla="*/ 568318 h 895572"/>
              <a:gd name="connsiteX404" fmla="*/ 115401 w 1090712"/>
              <a:gd name="connsiteY404" fmla="*/ 562378 h 895572"/>
              <a:gd name="connsiteX405" fmla="*/ 114451 w 1090712"/>
              <a:gd name="connsiteY405" fmla="*/ 557151 h 895572"/>
              <a:gd name="connsiteX406" fmla="*/ 112788 w 1090712"/>
              <a:gd name="connsiteY406" fmla="*/ 551449 h 895572"/>
              <a:gd name="connsiteX407" fmla="*/ 110412 w 1090712"/>
              <a:gd name="connsiteY407" fmla="*/ 545984 h 895572"/>
              <a:gd name="connsiteX408" fmla="*/ 108273 w 1090712"/>
              <a:gd name="connsiteY408" fmla="*/ 540757 h 895572"/>
              <a:gd name="connsiteX409" fmla="*/ 105185 w 1090712"/>
              <a:gd name="connsiteY409" fmla="*/ 535293 h 895572"/>
              <a:gd name="connsiteX410" fmla="*/ 102096 w 1090712"/>
              <a:gd name="connsiteY410" fmla="*/ 530066 h 895572"/>
              <a:gd name="connsiteX411" fmla="*/ 94968 w 1090712"/>
              <a:gd name="connsiteY411" fmla="*/ 519374 h 895572"/>
              <a:gd name="connsiteX412" fmla="*/ 86890 w 1090712"/>
              <a:gd name="connsiteY412" fmla="*/ 508683 h 895572"/>
              <a:gd name="connsiteX413" fmla="*/ 78812 w 1090712"/>
              <a:gd name="connsiteY413" fmla="*/ 497991 h 895572"/>
              <a:gd name="connsiteX414" fmla="*/ 70972 w 1090712"/>
              <a:gd name="connsiteY414" fmla="*/ 486824 h 895572"/>
              <a:gd name="connsiteX415" fmla="*/ 67408 w 1090712"/>
              <a:gd name="connsiteY415" fmla="*/ 481122 h 895572"/>
              <a:gd name="connsiteX416" fmla="*/ 64319 w 1090712"/>
              <a:gd name="connsiteY416" fmla="*/ 474707 h 895572"/>
              <a:gd name="connsiteX417" fmla="*/ 61230 w 1090712"/>
              <a:gd name="connsiteY417" fmla="*/ 469005 h 895572"/>
              <a:gd name="connsiteX418" fmla="*/ 58379 w 1090712"/>
              <a:gd name="connsiteY418" fmla="*/ 462828 h 895572"/>
              <a:gd name="connsiteX419" fmla="*/ 56716 w 1090712"/>
              <a:gd name="connsiteY419" fmla="*/ 456175 h 895572"/>
              <a:gd name="connsiteX420" fmla="*/ 54815 w 1090712"/>
              <a:gd name="connsiteY420" fmla="*/ 449998 h 895572"/>
              <a:gd name="connsiteX421" fmla="*/ 54103 w 1090712"/>
              <a:gd name="connsiteY421" fmla="*/ 443345 h 895572"/>
              <a:gd name="connsiteX422" fmla="*/ 53627 w 1090712"/>
              <a:gd name="connsiteY422" fmla="*/ 436455 h 895572"/>
              <a:gd name="connsiteX423" fmla="*/ 53627 w 1090712"/>
              <a:gd name="connsiteY423" fmla="*/ 429327 h 895572"/>
              <a:gd name="connsiteX424" fmla="*/ 54815 w 1090712"/>
              <a:gd name="connsiteY424" fmla="*/ 422675 h 895572"/>
              <a:gd name="connsiteX425" fmla="*/ 56716 w 1090712"/>
              <a:gd name="connsiteY425" fmla="*/ 415547 h 895572"/>
              <a:gd name="connsiteX426" fmla="*/ 59330 w 1090712"/>
              <a:gd name="connsiteY426" fmla="*/ 408182 h 895572"/>
              <a:gd name="connsiteX427" fmla="*/ 60280 w 1090712"/>
              <a:gd name="connsiteY427" fmla="*/ 403192 h 895572"/>
              <a:gd name="connsiteX428" fmla="*/ 61943 w 1090712"/>
              <a:gd name="connsiteY428" fmla="*/ 397965 h 895572"/>
              <a:gd name="connsiteX429" fmla="*/ 65507 w 1090712"/>
              <a:gd name="connsiteY429" fmla="*/ 387986 h 895572"/>
              <a:gd name="connsiteX430" fmla="*/ 69546 w 1090712"/>
              <a:gd name="connsiteY430" fmla="*/ 378720 h 895572"/>
              <a:gd name="connsiteX431" fmla="*/ 74535 w 1090712"/>
              <a:gd name="connsiteY431" fmla="*/ 369929 h 895572"/>
              <a:gd name="connsiteX432" fmla="*/ 79762 w 1090712"/>
              <a:gd name="connsiteY432" fmla="*/ 360901 h 895572"/>
              <a:gd name="connsiteX433" fmla="*/ 85940 w 1090712"/>
              <a:gd name="connsiteY433" fmla="*/ 352585 h 895572"/>
              <a:gd name="connsiteX434" fmla="*/ 98057 w 1090712"/>
              <a:gd name="connsiteY434" fmla="*/ 335479 h 895572"/>
              <a:gd name="connsiteX435" fmla="*/ 102571 w 1090712"/>
              <a:gd name="connsiteY435" fmla="*/ 328113 h 895572"/>
              <a:gd name="connsiteX436" fmla="*/ 106848 w 1090712"/>
              <a:gd name="connsiteY436" fmla="*/ 320986 h 895572"/>
              <a:gd name="connsiteX437" fmla="*/ 116827 w 1090712"/>
              <a:gd name="connsiteY437" fmla="*/ 307205 h 895572"/>
              <a:gd name="connsiteX438" fmla="*/ 127043 w 1090712"/>
              <a:gd name="connsiteY438" fmla="*/ 293188 h 895572"/>
              <a:gd name="connsiteX439" fmla="*/ 137735 w 1090712"/>
              <a:gd name="connsiteY439" fmla="*/ 279407 h 895572"/>
              <a:gd name="connsiteX440" fmla="*/ 159831 w 1090712"/>
              <a:gd name="connsiteY440" fmla="*/ 251847 h 895572"/>
              <a:gd name="connsiteX441" fmla="*/ 170522 w 1090712"/>
              <a:gd name="connsiteY441" fmla="*/ 238066 h 895572"/>
              <a:gd name="connsiteX442" fmla="*/ 181214 w 1090712"/>
              <a:gd name="connsiteY442" fmla="*/ 223336 h 895572"/>
              <a:gd name="connsiteX443" fmla="*/ 164820 w 1090712"/>
              <a:gd name="connsiteY443" fmla="*/ 223336 h 895572"/>
              <a:gd name="connsiteX444" fmla="*/ 137972 w 1090712"/>
              <a:gd name="connsiteY444" fmla="*/ 230226 h 895572"/>
              <a:gd name="connsiteX445" fmla="*/ 125142 w 1090712"/>
              <a:gd name="connsiteY445" fmla="*/ 233790 h 895572"/>
              <a:gd name="connsiteX446" fmla="*/ 112788 w 1090712"/>
              <a:gd name="connsiteY446" fmla="*/ 237591 h 895572"/>
              <a:gd name="connsiteX447" fmla="*/ 100195 w 1090712"/>
              <a:gd name="connsiteY447" fmla="*/ 241630 h 895572"/>
              <a:gd name="connsiteX448" fmla="*/ 87840 w 1090712"/>
              <a:gd name="connsiteY448" fmla="*/ 245669 h 895572"/>
              <a:gd name="connsiteX449" fmla="*/ 75723 w 1090712"/>
              <a:gd name="connsiteY449" fmla="*/ 250183 h 895572"/>
              <a:gd name="connsiteX450" fmla="*/ 64319 w 1090712"/>
              <a:gd name="connsiteY450" fmla="*/ 254935 h 895572"/>
              <a:gd name="connsiteX451" fmla="*/ 52677 w 1090712"/>
              <a:gd name="connsiteY451" fmla="*/ 260400 h 895572"/>
              <a:gd name="connsiteX452" fmla="*/ 41035 w 1090712"/>
              <a:gd name="connsiteY452" fmla="*/ 265627 h 895572"/>
              <a:gd name="connsiteX453" fmla="*/ 29868 w 1090712"/>
              <a:gd name="connsiteY453" fmla="*/ 271567 h 895572"/>
              <a:gd name="connsiteX454" fmla="*/ 18939 w 1090712"/>
              <a:gd name="connsiteY454" fmla="*/ 277744 h 895572"/>
              <a:gd name="connsiteX455" fmla="*/ 7772 w 1090712"/>
              <a:gd name="connsiteY455" fmla="*/ 284397 h 895572"/>
              <a:gd name="connsiteX456" fmla="*/ 0 w 1090712"/>
              <a:gd name="connsiteY456" fmla="*/ 289924 h 895572"/>
              <a:gd name="connsiteX457" fmla="*/ 0 w 1090712"/>
              <a:gd name="connsiteY457" fmla="*/ 895572 h 895572"/>
              <a:gd name="connsiteX458" fmla="*/ 125653 w 1090712"/>
              <a:gd name="connsiteY458" fmla="*/ 895572 h 895572"/>
              <a:gd name="connsiteX459" fmla="*/ 127756 w 1090712"/>
              <a:gd name="connsiteY459" fmla="*/ 892155 h 895572"/>
              <a:gd name="connsiteX460" fmla="*/ 131082 w 1090712"/>
              <a:gd name="connsiteY460" fmla="*/ 885502 h 895572"/>
              <a:gd name="connsiteX461" fmla="*/ 133696 w 1090712"/>
              <a:gd name="connsiteY461" fmla="*/ 878374 h 895572"/>
              <a:gd name="connsiteX462" fmla="*/ 135834 w 1090712"/>
              <a:gd name="connsiteY462" fmla="*/ 871722 h 895572"/>
              <a:gd name="connsiteX463" fmla="*/ 137735 w 1090712"/>
              <a:gd name="connsiteY463" fmla="*/ 864594 h 895572"/>
              <a:gd name="connsiteX464" fmla="*/ 138923 w 1090712"/>
              <a:gd name="connsiteY464" fmla="*/ 857466 h 895572"/>
              <a:gd name="connsiteX465" fmla="*/ 140348 w 1090712"/>
              <a:gd name="connsiteY465" fmla="*/ 850339 h 895572"/>
              <a:gd name="connsiteX466" fmla="*/ 141298 w 1090712"/>
              <a:gd name="connsiteY466" fmla="*/ 843211 h 895572"/>
              <a:gd name="connsiteX467" fmla="*/ 142011 w 1090712"/>
              <a:gd name="connsiteY467" fmla="*/ 828955 h 895572"/>
              <a:gd name="connsiteX468" fmla="*/ 142486 w 1090712"/>
              <a:gd name="connsiteY468" fmla="*/ 814225 h 895572"/>
              <a:gd name="connsiteX469" fmla="*/ 142486 w 1090712"/>
              <a:gd name="connsiteY469" fmla="*/ 799494 h 895572"/>
              <a:gd name="connsiteX470" fmla="*/ 142486 w 1090712"/>
              <a:gd name="connsiteY470" fmla="*/ 782625 h 895572"/>
              <a:gd name="connsiteX471" fmla="*/ 142486 w 1090712"/>
              <a:gd name="connsiteY471" fmla="*/ 771458 h 895572"/>
              <a:gd name="connsiteX472" fmla="*/ 143912 w 1090712"/>
              <a:gd name="connsiteY472" fmla="*/ 778586 h 895572"/>
              <a:gd name="connsiteX473" fmla="*/ 145100 w 1090712"/>
              <a:gd name="connsiteY473" fmla="*/ 784526 h 895572"/>
              <a:gd name="connsiteX474" fmla="*/ 147476 w 1090712"/>
              <a:gd name="connsiteY474" fmla="*/ 789753 h 895572"/>
              <a:gd name="connsiteX475" fmla="*/ 149614 w 1090712"/>
              <a:gd name="connsiteY475" fmla="*/ 794267 h 895572"/>
              <a:gd name="connsiteX476" fmla="*/ 152228 w 1090712"/>
              <a:gd name="connsiteY476" fmla="*/ 797831 h 895572"/>
              <a:gd name="connsiteX477" fmla="*/ 155554 w 1090712"/>
              <a:gd name="connsiteY477" fmla="*/ 801395 h 895572"/>
              <a:gd name="connsiteX478" fmla="*/ 158643 w 1090712"/>
              <a:gd name="connsiteY478" fmla="*/ 803533 h 895572"/>
              <a:gd name="connsiteX479" fmla="*/ 162206 w 1090712"/>
              <a:gd name="connsiteY479" fmla="*/ 805909 h 895572"/>
              <a:gd name="connsiteX480" fmla="*/ 165770 w 1090712"/>
              <a:gd name="connsiteY480" fmla="*/ 807572 h 895572"/>
              <a:gd name="connsiteX481" fmla="*/ 169572 w 1090712"/>
              <a:gd name="connsiteY481" fmla="*/ 808523 h 895572"/>
              <a:gd name="connsiteX482" fmla="*/ 174086 w 1090712"/>
              <a:gd name="connsiteY482" fmla="*/ 809473 h 895572"/>
              <a:gd name="connsiteX483" fmla="*/ 178600 w 1090712"/>
              <a:gd name="connsiteY483" fmla="*/ 810186 h 895572"/>
              <a:gd name="connsiteX484" fmla="*/ 187866 w 1090712"/>
              <a:gd name="connsiteY484" fmla="*/ 810661 h 895572"/>
              <a:gd name="connsiteX485" fmla="*/ 198083 w 1090712"/>
              <a:gd name="connsiteY485" fmla="*/ 810661 h 895572"/>
              <a:gd name="connsiteX486" fmla="*/ 236810 w 1090712"/>
              <a:gd name="connsiteY486" fmla="*/ 810661 h 895572"/>
              <a:gd name="connsiteX487" fmla="*/ 249640 w 1090712"/>
              <a:gd name="connsiteY487" fmla="*/ 811136 h 895572"/>
              <a:gd name="connsiteX488" fmla="*/ 263183 w 1090712"/>
              <a:gd name="connsiteY488" fmla="*/ 811611 h 895572"/>
              <a:gd name="connsiteX489" fmla="*/ 270310 w 1090712"/>
              <a:gd name="connsiteY489" fmla="*/ 811611 h 895572"/>
              <a:gd name="connsiteX490" fmla="*/ 276963 w 1090712"/>
              <a:gd name="connsiteY490" fmla="*/ 811136 h 895572"/>
              <a:gd name="connsiteX491" fmla="*/ 283140 w 1090712"/>
              <a:gd name="connsiteY491" fmla="*/ 810186 h 895572"/>
              <a:gd name="connsiteX492" fmla="*/ 289793 w 1090712"/>
              <a:gd name="connsiteY492" fmla="*/ 808523 h 895572"/>
              <a:gd name="connsiteX493" fmla="*/ 295495 w 1090712"/>
              <a:gd name="connsiteY493" fmla="*/ 806147 h 895572"/>
              <a:gd name="connsiteX494" fmla="*/ 301435 w 1090712"/>
              <a:gd name="connsiteY494" fmla="*/ 803058 h 895572"/>
              <a:gd name="connsiteX495" fmla="*/ 304524 w 1090712"/>
              <a:gd name="connsiteY495" fmla="*/ 801395 h 895572"/>
              <a:gd name="connsiteX496" fmla="*/ 307137 w 1090712"/>
              <a:gd name="connsiteY496" fmla="*/ 799256 h 895572"/>
              <a:gd name="connsiteX497" fmla="*/ 309275 w 1090712"/>
              <a:gd name="connsiteY497" fmla="*/ 796881 h 895572"/>
              <a:gd name="connsiteX498" fmla="*/ 312126 w 1090712"/>
              <a:gd name="connsiteY498" fmla="*/ 794267 h 895572"/>
              <a:gd name="connsiteX499" fmla="*/ 314265 w 1090712"/>
              <a:gd name="connsiteY499" fmla="*/ 791178 h 895572"/>
              <a:gd name="connsiteX500" fmla="*/ 316403 w 1090712"/>
              <a:gd name="connsiteY500" fmla="*/ 788090 h 895572"/>
              <a:gd name="connsiteX501" fmla="*/ 318304 w 1090712"/>
              <a:gd name="connsiteY501" fmla="*/ 784051 h 895572"/>
              <a:gd name="connsiteX502" fmla="*/ 319967 w 1090712"/>
              <a:gd name="connsiteY502" fmla="*/ 780012 h 895572"/>
              <a:gd name="connsiteX503" fmla="*/ 321868 w 1090712"/>
              <a:gd name="connsiteY503" fmla="*/ 775973 h 895572"/>
              <a:gd name="connsiteX504" fmla="*/ 323056 w 1090712"/>
              <a:gd name="connsiteY504" fmla="*/ 771221 h 895572"/>
              <a:gd name="connsiteX505" fmla="*/ 324481 w 1090712"/>
              <a:gd name="connsiteY505" fmla="*/ 765756 h 895572"/>
              <a:gd name="connsiteX506" fmla="*/ 325907 w 1090712"/>
              <a:gd name="connsiteY506" fmla="*/ 760529 h 895572"/>
              <a:gd name="connsiteX507" fmla="*/ 325907 w 1090712"/>
              <a:gd name="connsiteY507" fmla="*/ 827530 h 895572"/>
              <a:gd name="connsiteX508" fmla="*/ 310226 w 1090712"/>
              <a:gd name="connsiteY508" fmla="*/ 835608 h 895572"/>
              <a:gd name="connsiteX509" fmla="*/ 295970 w 1090712"/>
              <a:gd name="connsiteY509" fmla="*/ 843686 h 895572"/>
              <a:gd name="connsiteX510" fmla="*/ 282665 w 1090712"/>
              <a:gd name="connsiteY510" fmla="*/ 850339 h 895572"/>
              <a:gd name="connsiteX511" fmla="*/ 276488 w 1090712"/>
              <a:gd name="connsiteY511" fmla="*/ 852952 h 895572"/>
              <a:gd name="connsiteX512" fmla="*/ 270310 w 1090712"/>
              <a:gd name="connsiteY512" fmla="*/ 855565 h 895572"/>
              <a:gd name="connsiteX513" fmla="*/ 266271 w 1090712"/>
              <a:gd name="connsiteY513" fmla="*/ 857942 h 895572"/>
              <a:gd name="connsiteX514" fmla="*/ 262708 w 1090712"/>
              <a:gd name="connsiteY514" fmla="*/ 860080 h 895572"/>
              <a:gd name="connsiteX515" fmla="*/ 259619 w 1090712"/>
              <a:gd name="connsiteY515" fmla="*/ 862693 h 895572"/>
              <a:gd name="connsiteX516" fmla="*/ 256768 w 1090712"/>
              <a:gd name="connsiteY516" fmla="*/ 865544 h 895572"/>
              <a:gd name="connsiteX517" fmla="*/ 254154 w 1090712"/>
              <a:gd name="connsiteY517" fmla="*/ 868633 h 895572"/>
              <a:gd name="connsiteX518" fmla="*/ 252491 w 1090712"/>
              <a:gd name="connsiteY518" fmla="*/ 871722 h 895572"/>
              <a:gd name="connsiteX519" fmla="*/ 250590 w 1090712"/>
              <a:gd name="connsiteY519" fmla="*/ 874810 h 895572"/>
              <a:gd name="connsiteX520" fmla="*/ 249402 w 1090712"/>
              <a:gd name="connsiteY520" fmla="*/ 877899 h 895572"/>
              <a:gd name="connsiteX521" fmla="*/ 248452 w 1090712"/>
              <a:gd name="connsiteY521" fmla="*/ 880988 h 895572"/>
              <a:gd name="connsiteX522" fmla="*/ 247977 w 1090712"/>
              <a:gd name="connsiteY522" fmla="*/ 884076 h 895572"/>
              <a:gd name="connsiteX523" fmla="*/ 247977 w 1090712"/>
              <a:gd name="connsiteY523" fmla="*/ 887165 h 895572"/>
              <a:gd name="connsiteX524" fmla="*/ 248452 w 1090712"/>
              <a:gd name="connsiteY524" fmla="*/ 890016 h 895572"/>
              <a:gd name="connsiteX525" fmla="*/ 249402 w 1090712"/>
              <a:gd name="connsiteY525" fmla="*/ 893105 h 895572"/>
              <a:gd name="connsiteX526" fmla="*/ 250075 w 1090712"/>
              <a:gd name="connsiteY526" fmla="*/ 895572 h 895572"/>
              <a:gd name="connsiteX527" fmla="*/ 474750 w 1090712"/>
              <a:gd name="connsiteY527" fmla="*/ 895572 h 895572"/>
              <a:gd name="connsiteX528" fmla="*/ 475827 w 1090712"/>
              <a:gd name="connsiteY528" fmla="*/ 894768 h 895572"/>
              <a:gd name="connsiteX529" fmla="*/ 486993 w 1090712"/>
              <a:gd name="connsiteY529" fmla="*/ 882889 h 895572"/>
              <a:gd name="connsiteX530" fmla="*/ 497210 w 1090712"/>
              <a:gd name="connsiteY530" fmla="*/ 870296 h 895572"/>
              <a:gd name="connsiteX531" fmla="*/ 506951 w 1090712"/>
              <a:gd name="connsiteY531" fmla="*/ 857942 h 895572"/>
              <a:gd name="connsiteX532" fmla="*/ 515742 w 1090712"/>
              <a:gd name="connsiteY532" fmla="*/ 844636 h 895572"/>
              <a:gd name="connsiteX533" fmla="*/ 523820 w 1090712"/>
              <a:gd name="connsiteY533" fmla="*/ 831094 h 895572"/>
              <a:gd name="connsiteX534" fmla="*/ 531898 w 1090712"/>
              <a:gd name="connsiteY534" fmla="*/ 816838 h 895572"/>
              <a:gd name="connsiteX535" fmla="*/ 539026 w 1090712"/>
              <a:gd name="connsiteY535" fmla="*/ 802583 h 895572"/>
              <a:gd name="connsiteX536" fmla="*/ 545678 w 1090712"/>
              <a:gd name="connsiteY536" fmla="*/ 788565 h 895572"/>
              <a:gd name="connsiteX537" fmla="*/ 552331 w 1090712"/>
              <a:gd name="connsiteY537" fmla="*/ 773359 h 895572"/>
              <a:gd name="connsiteX538" fmla="*/ 558033 w 1090712"/>
              <a:gd name="connsiteY538" fmla="*/ 758628 h 895572"/>
              <a:gd name="connsiteX539" fmla="*/ 563498 w 1090712"/>
              <a:gd name="connsiteY539" fmla="*/ 743185 h 895572"/>
              <a:gd name="connsiteX540" fmla="*/ 568725 w 1090712"/>
              <a:gd name="connsiteY540" fmla="*/ 727979 h 895572"/>
              <a:gd name="connsiteX541" fmla="*/ 573714 w 1090712"/>
              <a:gd name="connsiteY541" fmla="*/ 712298 h 895572"/>
              <a:gd name="connsiteX542" fmla="*/ 577991 w 1090712"/>
              <a:gd name="connsiteY542" fmla="*/ 696855 h 895572"/>
              <a:gd name="connsiteX543" fmla="*/ 586544 w 1090712"/>
              <a:gd name="connsiteY543" fmla="*/ 665255 h 895572"/>
              <a:gd name="connsiteX544" fmla="*/ 586069 w 1090712"/>
              <a:gd name="connsiteY544" fmla="*/ 663117 h 895572"/>
              <a:gd name="connsiteX545" fmla="*/ 584881 w 1090712"/>
              <a:gd name="connsiteY545" fmla="*/ 660266 h 895572"/>
              <a:gd name="connsiteX546" fmla="*/ 582980 w 1090712"/>
              <a:gd name="connsiteY546" fmla="*/ 657177 h 895572"/>
              <a:gd name="connsiteX547" fmla="*/ 580367 w 1090712"/>
              <a:gd name="connsiteY547" fmla="*/ 654088 h 895572"/>
              <a:gd name="connsiteX548" fmla="*/ 574902 w 1090712"/>
              <a:gd name="connsiteY548" fmla="*/ 647911 h 895572"/>
              <a:gd name="connsiteX549" fmla="*/ 570150 w 1090712"/>
              <a:gd name="connsiteY549" fmla="*/ 642922 h 895572"/>
              <a:gd name="connsiteX550" fmla="*/ 565636 w 1090712"/>
              <a:gd name="connsiteY550" fmla="*/ 636744 h 895572"/>
              <a:gd name="connsiteX551" fmla="*/ 560647 w 1090712"/>
              <a:gd name="connsiteY551" fmla="*/ 631517 h 895572"/>
              <a:gd name="connsiteX552" fmla="*/ 555420 w 1090712"/>
              <a:gd name="connsiteY552" fmla="*/ 626053 h 895572"/>
              <a:gd name="connsiteX553" fmla="*/ 550193 w 1090712"/>
              <a:gd name="connsiteY553" fmla="*/ 621301 h 895572"/>
              <a:gd name="connsiteX554" fmla="*/ 544253 w 1090712"/>
              <a:gd name="connsiteY554" fmla="*/ 616787 h 895572"/>
              <a:gd name="connsiteX555" fmla="*/ 538075 w 1090712"/>
              <a:gd name="connsiteY555" fmla="*/ 612272 h 895572"/>
              <a:gd name="connsiteX556" fmla="*/ 525721 w 1090712"/>
              <a:gd name="connsiteY556" fmla="*/ 603719 h 895572"/>
              <a:gd name="connsiteX557" fmla="*/ 563023 w 1090712"/>
              <a:gd name="connsiteY557" fmla="*/ 619875 h 895572"/>
              <a:gd name="connsiteX558" fmla="*/ 581317 w 1090712"/>
              <a:gd name="connsiteY558" fmla="*/ 628191 h 895572"/>
              <a:gd name="connsiteX559" fmla="*/ 599374 w 1090712"/>
              <a:gd name="connsiteY559" fmla="*/ 636744 h 895572"/>
              <a:gd name="connsiteX560" fmla="*/ 607927 w 1090712"/>
              <a:gd name="connsiteY560" fmla="*/ 641259 h 895572"/>
              <a:gd name="connsiteX561" fmla="*/ 616718 w 1090712"/>
              <a:gd name="connsiteY561" fmla="*/ 646010 h 895572"/>
              <a:gd name="connsiteX562" fmla="*/ 625271 w 1090712"/>
              <a:gd name="connsiteY562" fmla="*/ 651000 h 895572"/>
              <a:gd name="connsiteX563" fmla="*/ 633349 w 1090712"/>
              <a:gd name="connsiteY563" fmla="*/ 656227 h 895572"/>
              <a:gd name="connsiteX564" fmla="*/ 641665 w 1090712"/>
              <a:gd name="connsiteY564" fmla="*/ 662167 h 895572"/>
              <a:gd name="connsiteX565" fmla="*/ 649268 w 1090712"/>
              <a:gd name="connsiteY565" fmla="*/ 668344 h 895572"/>
              <a:gd name="connsiteX566" fmla="*/ 656871 w 1090712"/>
              <a:gd name="connsiteY566" fmla="*/ 674996 h 895572"/>
              <a:gd name="connsiteX567" fmla="*/ 664474 w 1090712"/>
              <a:gd name="connsiteY567" fmla="*/ 682124 h 895572"/>
              <a:gd name="connsiteX568" fmla="*/ 668988 w 1090712"/>
              <a:gd name="connsiteY568" fmla="*/ 686163 h 895572"/>
              <a:gd name="connsiteX569" fmla="*/ 672790 w 1090712"/>
              <a:gd name="connsiteY569" fmla="*/ 690202 h 895572"/>
              <a:gd name="connsiteX570" fmla="*/ 677304 w 1090712"/>
              <a:gd name="connsiteY570" fmla="*/ 693291 h 895572"/>
              <a:gd name="connsiteX571" fmla="*/ 682293 w 1090712"/>
              <a:gd name="connsiteY571" fmla="*/ 696855 h 895572"/>
              <a:gd name="connsiteX572" fmla="*/ 686570 w 1090712"/>
              <a:gd name="connsiteY572" fmla="*/ 699468 h 895572"/>
              <a:gd name="connsiteX573" fmla="*/ 691559 w 1090712"/>
              <a:gd name="connsiteY573" fmla="*/ 702082 h 895572"/>
              <a:gd name="connsiteX574" fmla="*/ 696549 w 1090712"/>
              <a:gd name="connsiteY574" fmla="*/ 703983 h 895572"/>
              <a:gd name="connsiteX575" fmla="*/ 701300 w 1090712"/>
              <a:gd name="connsiteY575" fmla="*/ 705646 h 895572"/>
              <a:gd name="connsiteX576" fmla="*/ 706290 w 1090712"/>
              <a:gd name="connsiteY576" fmla="*/ 707071 h 895572"/>
              <a:gd name="connsiteX577" fmla="*/ 711042 w 1090712"/>
              <a:gd name="connsiteY577" fmla="*/ 708497 h 895572"/>
              <a:gd name="connsiteX578" fmla="*/ 716506 w 1090712"/>
              <a:gd name="connsiteY578" fmla="*/ 708734 h 895572"/>
              <a:gd name="connsiteX579" fmla="*/ 721258 w 1090712"/>
              <a:gd name="connsiteY579" fmla="*/ 708734 h 895572"/>
              <a:gd name="connsiteX580" fmla="*/ 726723 w 1090712"/>
              <a:gd name="connsiteY580" fmla="*/ 708497 h 895572"/>
              <a:gd name="connsiteX581" fmla="*/ 731712 w 1090712"/>
              <a:gd name="connsiteY581" fmla="*/ 707546 h 895572"/>
              <a:gd name="connsiteX582" fmla="*/ 736939 w 1090712"/>
              <a:gd name="connsiteY582" fmla="*/ 706121 h 895572"/>
              <a:gd name="connsiteX583" fmla="*/ 742166 w 1090712"/>
              <a:gd name="connsiteY583" fmla="*/ 704458 h 895572"/>
              <a:gd name="connsiteX584" fmla="*/ 749294 w 1090712"/>
              <a:gd name="connsiteY584" fmla="*/ 702082 h 895572"/>
              <a:gd name="connsiteX585" fmla="*/ 756184 w 1090712"/>
              <a:gd name="connsiteY585" fmla="*/ 699468 h 895572"/>
              <a:gd name="connsiteX586" fmla="*/ 762361 w 1090712"/>
              <a:gd name="connsiteY586" fmla="*/ 696380 h 895572"/>
              <a:gd name="connsiteX587" fmla="*/ 768063 w 1090712"/>
              <a:gd name="connsiteY587" fmla="*/ 692816 h 895572"/>
              <a:gd name="connsiteX588" fmla="*/ 773528 w 1090712"/>
              <a:gd name="connsiteY588" fmla="*/ 689252 h 895572"/>
              <a:gd name="connsiteX589" fmla="*/ 778755 w 1090712"/>
              <a:gd name="connsiteY589" fmla="*/ 684738 h 895572"/>
              <a:gd name="connsiteX590" fmla="*/ 783269 w 1090712"/>
              <a:gd name="connsiteY590" fmla="*/ 680461 h 895572"/>
              <a:gd name="connsiteX591" fmla="*/ 787308 w 1090712"/>
              <a:gd name="connsiteY591" fmla="*/ 674996 h 895572"/>
              <a:gd name="connsiteX592" fmla="*/ 791110 w 1090712"/>
              <a:gd name="connsiteY592" fmla="*/ 669769 h 895572"/>
              <a:gd name="connsiteX593" fmla="*/ 794436 w 1090712"/>
              <a:gd name="connsiteY593" fmla="*/ 663830 h 895572"/>
              <a:gd name="connsiteX594" fmla="*/ 797050 w 1090712"/>
              <a:gd name="connsiteY594" fmla="*/ 657652 h 895572"/>
              <a:gd name="connsiteX595" fmla="*/ 799188 w 1090712"/>
              <a:gd name="connsiteY595" fmla="*/ 651000 h 895572"/>
              <a:gd name="connsiteX596" fmla="*/ 801089 w 1090712"/>
              <a:gd name="connsiteY596" fmla="*/ 643872 h 895572"/>
              <a:gd name="connsiteX597" fmla="*/ 802277 w 1090712"/>
              <a:gd name="connsiteY597" fmla="*/ 636744 h 895572"/>
              <a:gd name="connsiteX598" fmla="*/ 803227 w 1090712"/>
              <a:gd name="connsiteY598" fmla="*/ 628666 h 895572"/>
              <a:gd name="connsiteX599" fmla="*/ 803227 w 1090712"/>
              <a:gd name="connsiteY599" fmla="*/ 620826 h 895572"/>
              <a:gd name="connsiteX600" fmla="*/ 801089 w 1090712"/>
              <a:gd name="connsiteY600" fmla="*/ 622489 h 895572"/>
              <a:gd name="connsiteX601" fmla="*/ 798238 w 1090712"/>
              <a:gd name="connsiteY601" fmla="*/ 623914 h 895572"/>
              <a:gd name="connsiteX602" fmla="*/ 793011 w 1090712"/>
              <a:gd name="connsiteY602" fmla="*/ 626053 h 895572"/>
              <a:gd name="connsiteX603" fmla="*/ 790397 w 1090712"/>
              <a:gd name="connsiteY603" fmla="*/ 627478 h 895572"/>
              <a:gd name="connsiteX604" fmla="*/ 788496 w 1090712"/>
              <a:gd name="connsiteY604" fmla="*/ 628191 h 895572"/>
              <a:gd name="connsiteX605" fmla="*/ 787308 w 1090712"/>
              <a:gd name="connsiteY605" fmla="*/ 630092 h 895572"/>
              <a:gd name="connsiteX606" fmla="*/ 786833 w 1090712"/>
              <a:gd name="connsiteY606" fmla="*/ 631755 h 895572"/>
              <a:gd name="connsiteX607" fmla="*/ 785408 w 1090712"/>
              <a:gd name="connsiteY607" fmla="*/ 635794 h 895572"/>
              <a:gd name="connsiteX608" fmla="*/ 784220 w 1090712"/>
              <a:gd name="connsiteY608" fmla="*/ 639833 h 895572"/>
              <a:gd name="connsiteX609" fmla="*/ 780656 w 1090712"/>
              <a:gd name="connsiteY609" fmla="*/ 646485 h 895572"/>
              <a:gd name="connsiteX610" fmla="*/ 776617 w 1090712"/>
              <a:gd name="connsiteY610" fmla="*/ 653138 h 895572"/>
              <a:gd name="connsiteX611" fmla="*/ 772103 w 1090712"/>
              <a:gd name="connsiteY611" fmla="*/ 659078 h 895572"/>
              <a:gd name="connsiteX612" fmla="*/ 762361 w 1090712"/>
              <a:gd name="connsiteY612" fmla="*/ 670007 h 895572"/>
              <a:gd name="connsiteX613" fmla="*/ 757847 w 1090712"/>
              <a:gd name="connsiteY613" fmla="*/ 675947 h 895572"/>
              <a:gd name="connsiteX614" fmla="*/ 753333 w 1090712"/>
              <a:gd name="connsiteY614" fmla="*/ 682124 h 895572"/>
              <a:gd name="connsiteX615" fmla="*/ 750244 w 1090712"/>
              <a:gd name="connsiteY615" fmla="*/ 684738 h 895572"/>
              <a:gd name="connsiteX616" fmla="*/ 747155 w 1090712"/>
              <a:gd name="connsiteY616" fmla="*/ 687589 h 895572"/>
              <a:gd name="connsiteX617" fmla="*/ 744067 w 1090712"/>
              <a:gd name="connsiteY617" fmla="*/ 689252 h 895572"/>
              <a:gd name="connsiteX618" fmla="*/ 740978 w 1090712"/>
              <a:gd name="connsiteY618" fmla="*/ 690915 h 895572"/>
              <a:gd name="connsiteX619" fmla="*/ 737890 w 1090712"/>
              <a:gd name="connsiteY619" fmla="*/ 691865 h 895572"/>
              <a:gd name="connsiteX620" fmla="*/ 734801 w 1090712"/>
              <a:gd name="connsiteY620" fmla="*/ 692816 h 895572"/>
              <a:gd name="connsiteX621" fmla="*/ 731950 w 1090712"/>
              <a:gd name="connsiteY621" fmla="*/ 693291 h 895572"/>
              <a:gd name="connsiteX622" fmla="*/ 728861 w 1090712"/>
              <a:gd name="connsiteY622" fmla="*/ 693291 h 895572"/>
              <a:gd name="connsiteX623" fmla="*/ 723634 w 1090712"/>
              <a:gd name="connsiteY623" fmla="*/ 692816 h 895572"/>
              <a:gd name="connsiteX624" fmla="*/ 718169 w 1090712"/>
              <a:gd name="connsiteY624" fmla="*/ 691390 h 895572"/>
              <a:gd name="connsiteX625" fmla="*/ 713418 w 1090712"/>
              <a:gd name="connsiteY625" fmla="*/ 689727 h 895572"/>
              <a:gd name="connsiteX626" fmla="*/ 708903 w 1090712"/>
              <a:gd name="connsiteY626" fmla="*/ 687826 h 895572"/>
              <a:gd name="connsiteX627" fmla="*/ 706765 w 1090712"/>
              <a:gd name="connsiteY627" fmla="*/ 687589 h 895572"/>
              <a:gd name="connsiteX628" fmla="*/ 704864 w 1090712"/>
              <a:gd name="connsiteY628" fmla="*/ 687114 h 895572"/>
              <a:gd name="connsiteX629" fmla="*/ 703201 w 1090712"/>
              <a:gd name="connsiteY629" fmla="*/ 686163 h 895572"/>
              <a:gd name="connsiteX630" fmla="*/ 701776 w 1090712"/>
              <a:gd name="connsiteY630" fmla="*/ 684738 h 895572"/>
              <a:gd name="connsiteX631" fmla="*/ 698687 w 1090712"/>
              <a:gd name="connsiteY631" fmla="*/ 681649 h 895572"/>
              <a:gd name="connsiteX632" fmla="*/ 696549 w 1090712"/>
              <a:gd name="connsiteY632" fmla="*/ 678085 h 895572"/>
              <a:gd name="connsiteX633" fmla="*/ 694648 w 1090712"/>
              <a:gd name="connsiteY633" fmla="*/ 673571 h 895572"/>
              <a:gd name="connsiteX634" fmla="*/ 693460 w 1090712"/>
              <a:gd name="connsiteY634" fmla="*/ 668819 h 895572"/>
              <a:gd name="connsiteX635" fmla="*/ 692510 w 1090712"/>
              <a:gd name="connsiteY635" fmla="*/ 664305 h 895572"/>
              <a:gd name="connsiteX636" fmla="*/ 692510 w 1090712"/>
              <a:gd name="connsiteY636" fmla="*/ 659790 h 895572"/>
              <a:gd name="connsiteX637" fmla="*/ 692510 w 1090712"/>
              <a:gd name="connsiteY637" fmla="*/ 647436 h 895572"/>
              <a:gd name="connsiteX638" fmla="*/ 693460 w 1090712"/>
              <a:gd name="connsiteY638" fmla="*/ 635319 h 895572"/>
              <a:gd name="connsiteX639" fmla="*/ 694173 w 1090712"/>
              <a:gd name="connsiteY639" fmla="*/ 624389 h 895572"/>
              <a:gd name="connsiteX640" fmla="*/ 695598 w 1090712"/>
              <a:gd name="connsiteY640" fmla="*/ 612748 h 895572"/>
              <a:gd name="connsiteX641" fmla="*/ 699162 w 1090712"/>
              <a:gd name="connsiteY641" fmla="*/ 591364 h 895572"/>
              <a:gd name="connsiteX642" fmla="*/ 703676 w 1090712"/>
              <a:gd name="connsiteY642" fmla="*/ 570456 h 895572"/>
              <a:gd name="connsiteX643" fmla="*/ 720070 w 1090712"/>
              <a:gd name="connsiteY643" fmla="*/ 574971 h 895572"/>
              <a:gd name="connsiteX644" fmla="*/ 736939 w 1090712"/>
              <a:gd name="connsiteY644" fmla="*/ 579247 h 895572"/>
              <a:gd name="connsiteX645" fmla="*/ 770677 w 1090712"/>
              <a:gd name="connsiteY645" fmla="*/ 589226 h 895572"/>
              <a:gd name="connsiteX646" fmla="*/ 788021 w 1090712"/>
              <a:gd name="connsiteY646" fmla="*/ 593503 h 895572"/>
              <a:gd name="connsiteX647" fmla="*/ 805365 w 1090712"/>
              <a:gd name="connsiteY647" fmla="*/ 597542 h 895572"/>
              <a:gd name="connsiteX648" fmla="*/ 823660 w 1090712"/>
              <a:gd name="connsiteY648" fmla="*/ 601106 h 895572"/>
              <a:gd name="connsiteX649" fmla="*/ 841954 w 1090712"/>
              <a:gd name="connsiteY649" fmla="*/ 603719 h 895572"/>
              <a:gd name="connsiteX650" fmla="*/ 861437 w 1090712"/>
              <a:gd name="connsiteY650" fmla="*/ 606570 h 895572"/>
              <a:gd name="connsiteX651" fmla="*/ 880682 w 1090712"/>
              <a:gd name="connsiteY651" fmla="*/ 608233 h 895572"/>
              <a:gd name="connsiteX652" fmla="*/ 889948 w 1090712"/>
              <a:gd name="connsiteY652" fmla="*/ 608708 h 895572"/>
              <a:gd name="connsiteX653" fmla="*/ 898976 w 1090712"/>
              <a:gd name="connsiteY653" fmla="*/ 608708 h 895572"/>
              <a:gd name="connsiteX654" fmla="*/ 908242 w 1090712"/>
              <a:gd name="connsiteY654" fmla="*/ 608708 h 895572"/>
              <a:gd name="connsiteX655" fmla="*/ 916795 w 1090712"/>
              <a:gd name="connsiteY655" fmla="*/ 608233 h 895572"/>
              <a:gd name="connsiteX656" fmla="*/ 925586 w 1090712"/>
              <a:gd name="connsiteY656" fmla="*/ 607283 h 895572"/>
              <a:gd name="connsiteX657" fmla="*/ 934140 w 1090712"/>
              <a:gd name="connsiteY657" fmla="*/ 606095 h 895572"/>
              <a:gd name="connsiteX658" fmla="*/ 942455 w 1090712"/>
              <a:gd name="connsiteY658" fmla="*/ 604669 h 895572"/>
              <a:gd name="connsiteX659" fmla="*/ 950533 w 1090712"/>
              <a:gd name="connsiteY659" fmla="*/ 603006 h 895572"/>
              <a:gd name="connsiteX660" fmla="*/ 958611 w 1090712"/>
              <a:gd name="connsiteY660" fmla="*/ 600630 h 895572"/>
              <a:gd name="connsiteX661" fmla="*/ 966452 w 1090712"/>
              <a:gd name="connsiteY661" fmla="*/ 598017 h 895572"/>
              <a:gd name="connsiteX662" fmla="*/ 974055 w 1090712"/>
              <a:gd name="connsiteY662" fmla="*/ 595403 h 895572"/>
              <a:gd name="connsiteX663" fmla="*/ 981658 w 1090712"/>
              <a:gd name="connsiteY663" fmla="*/ 591840 h 895572"/>
              <a:gd name="connsiteX664" fmla="*/ 989261 w 1090712"/>
              <a:gd name="connsiteY664" fmla="*/ 588276 h 895572"/>
              <a:gd name="connsiteX665" fmla="*/ 996388 w 1090712"/>
              <a:gd name="connsiteY665" fmla="*/ 584237 h 895572"/>
              <a:gd name="connsiteX666" fmla="*/ 1003041 w 1090712"/>
              <a:gd name="connsiteY666" fmla="*/ 579247 h 895572"/>
              <a:gd name="connsiteX667" fmla="*/ 1009694 w 1090712"/>
              <a:gd name="connsiteY667" fmla="*/ 574495 h 895572"/>
              <a:gd name="connsiteX668" fmla="*/ 1016346 w 1090712"/>
              <a:gd name="connsiteY668" fmla="*/ 569031 h 895572"/>
              <a:gd name="connsiteX669" fmla="*/ 1022998 w 1090712"/>
              <a:gd name="connsiteY669" fmla="*/ 562853 h 895572"/>
              <a:gd name="connsiteX670" fmla="*/ 1029176 w 1090712"/>
              <a:gd name="connsiteY670" fmla="*/ 556676 h 895572"/>
              <a:gd name="connsiteX671" fmla="*/ 1035116 w 1090712"/>
              <a:gd name="connsiteY671" fmla="*/ 549548 h 895572"/>
              <a:gd name="connsiteX672" fmla="*/ 1040818 w 1090712"/>
              <a:gd name="connsiteY672" fmla="*/ 541945 h 895572"/>
              <a:gd name="connsiteX673" fmla="*/ 1046520 w 1090712"/>
              <a:gd name="connsiteY673" fmla="*/ 534342 h 895572"/>
              <a:gd name="connsiteX674" fmla="*/ 1051985 w 1090712"/>
              <a:gd name="connsiteY674" fmla="*/ 526027 h 895572"/>
              <a:gd name="connsiteX675" fmla="*/ 1056737 w 1090712"/>
              <a:gd name="connsiteY675" fmla="*/ 516523 h 895572"/>
              <a:gd name="connsiteX676" fmla="*/ 1061726 w 1090712"/>
              <a:gd name="connsiteY676" fmla="*/ 507257 h 895572"/>
              <a:gd name="connsiteX677" fmla="*/ 1066715 w 1090712"/>
              <a:gd name="connsiteY677" fmla="*/ 497041 h 895572"/>
              <a:gd name="connsiteX678" fmla="*/ 1070992 w 1090712"/>
              <a:gd name="connsiteY678" fmla="*/ 486349 h 895572"/>
              <a:gd name="connsiteX679" fmla="*/ 1075506 w 1090712"/>
              <a:gd name="connsiteY679" fmla="*/ 475182 h 895572"/>
              <a:gd name="connsiteX680" fmla="*/ 1079070 w 1090712"/>
              <a:gd name="connsiteY680" fmla="*/ 462828 h 895572"/>
              <a:gd name="connsiteX681" fmla="*/ 1082634 w 1090712"/>
              <a:gd name="connsiteY681" fmla="*/ 449998 h 895572"/>
              <a:gd name="connsiteX682" fmla="*/ 1084772 w 1090712"/>
              <a:gd name="connsiteY682" fmla="*/ 437405 h 895572"/>
              <a:gd name="connsiteX683" fmla="*/ 1087148 w 1090712"/>
              <a:gd name="connsiteY683" fmla="*/ 425050 h 895572"/>
              <a:gd name="connsiteX684" fmla="*/ 1088811 w 1090712"/>
              <a:gd name="connsiteY684" fmla="*/ 411983 h 895572"/>
              <a:gd name="connsiteX685" fmla="*/ 1089762 w 1090712"/>
              <a:gd name="connsiteY685" fmla="*/ 399628 h 895572"/>
              <a:gd name="connsiteX686" fmla="*/ 1090712 w 1090712"/>
              <a:gd name="connsiteY686" fmla="*/ 386798 h 895572"/>
              <a:gd name="connsiteX687" fmla="*/ 1090712 w 1090712"/>
              <a:gd name="connsiteY687" fmla="*/ 373731 h 895572"/>
              <a:gd name="connsiteX688" fmla="*/ 1090712 w 1090712"/>
              <a:gd name="connsiteY688" fmla="*/ 360901 h 895572"/>
              <a:gd name="connsiteX689" fmla="*/ 1089762 w 1090712"/>
              <a:gd name="connsiteY689" fmla="*/ 348071 h 895572"/>
              <a:gd name="connsiteX690" fmla="*/ 1088811 w 1090712"/>
              <a:gd name="connsiteY690" fmla="*/ 335004 h 895572"/>
              <a:gd name="connsiteX691" fmla="*/ 1088099 w 1090712"/>
              <a:gd name="connsiteY691" fmla="*/ 321698 h 895572"/>
              <a:gd name="connsiteX692" fmla="*/ 1084772 w 1090712"/>
              <a:gd name="connsiteY692" fmla="*/ 295563 h 895572"/>
              <a:gd name="connsiteX693" fmla="*/ 1080971 w 1090712"/>
              <a:gd name="connsiteY693" fmla="*/ 268478 h 895572"/>
              <a:gd name="connsiteX694" fmla="*/ 1078595 w 1090712"/>
              <a:gd name="connsiteY694" fmla="*/ 258262 h 895572"/>
              <a:gd name="connsiteX695" fmla="*/ 1075981 w 1090712"/>
              <a:gd name="connsiteY695" fmla="*/ 248283 h 895572"/>
              <a:gd name="connsiteX696" fmla="*/ 1072417 w 1090712"/>
              <a:gd name="connsiteY696" fmla="*/ 238542 h 895572"/>
              <a:gd name="connsiteX697" fmla="*/ 1069329 w 1090712"/>
              <a:gd name="connsiteY697" fmla="*/ 229275 h 895572"/>
              <a:gd name="connsiteX698" fmla="*/ 1061251 w 1090712"/>
              <a:gd name="connsiteY698" fmla="*/ 210031 h 895572"/>
              <a:gd name="connsiteX699" fmla="*/ 1053173 w 1090712"/>
              <a:gd name="connsiteY699" fmla="*/ 190073 h 895572"/>
              <a:gd name="connsiteX700" fmla="*/ 1051034 w 1090712"/>
              <a:gd name="connsiteY700" fmla="*/ 186034 h 895572"/>
              <a:gd name="connsiteX701" fmla="*/ 1048896 w 1090712"/>
              <a:gd name="connsiteY701" fmla="*/ 182470 h 895572"/>
              <a:gd name="connsiteX702" fmla="*/ 1046045 w 1090712"/>
              <a:gd name="connsiteY702" fmla="*/ 179381 h 895572"/>
              <a:gd name="connsiteX703" fmla="*/ 1043906 w 1090712"/>
              <a:gd name="connsiteY703" fmla="*/ 176768 h 895572"/>
              <a:gd name="connsiteX704" fmla="*/ 1041293 w 1090712"/>
              <a:gd name="connsiteY704" fmla="*/ 174630 h 895572"/>
              <a:gd name="connsiteX705" fmla="*/ 1038680 w 1090712"/>
              <a:gd name="connsiteY705" fmla="*/ 172729 h 895572"/>
              <a:gd name="connsiteX706" fmla="*/ 1035828 w 1090712"/>
              <a:gd name="connsiteY706" fmla="*/ 171303 h 895572"/>
              <a:gd name="connsiteX707" fmla="*/ 1032740 w 1090712"/>
              <a:gd name="connsiteY707" fmla="*/ 170591 h 895572"/>
              <a:gd name="connsiteX708" fmla="*/ 1030126 w 1090712"/>
              <a:gd name="connsiteY708" fmla="*/ 170591 h 895572"/>
              <a:gd name="connsiteX709" fmla="*/ 1027038 w 1090712"/>
              <a:gd name="connsiteY709" fmla="*/ 170591 h 895572"/>
              <a:gd name="connsiteX710" fmla="*/ 1024424 w 1090712"/>
              <a:gd name="connsiteY710" fmla="*/ 171303 h 895572"/>
              <a:gd name="connsiteX711" fmla="*/ 1021335 w 1090712"/>
              <a:gd name="connsiteY711" fmla="*/ 172729 h 895572"/>
              <a:gd name="connsiteX712" fmla="*/ 1018247 w 1090712"/>
              <a:gd name="connsiteY712" fmla="*/ 174867 h 895572"/>
              <a:gd name="connsiteX713" fmla="*/ 1014920 w 1090712"/>
              <a:gd name="connsiteY713" fmla="*/ 177718 h 895572"/>
              <a:gd name="connsiteX714" fmla="*/ 1011832 w 1090712"/>
              <a:gd name="connsiteY714" fmla="*/ 180807 h 895572"/>
              <a:gd name="connsiteX715" fmla="*/ 1008743 w 1090712"/>
              <a:gd name="connsiteY715" fmla="*/ 184846 h 895572"/>
              <a:gd name="connsiteX716" fmla="*/ 991874 w 1090712"/>
              <a:gd name="connsiteY716" fmla="*/ 201240 h 895572"/>
              <a:gd name="connsiteX717" fmla="*/ 983321 w 1090712"/>
              <a:gd name="connsiteY717" fmla="*/ 209318 h 895572"/>
              <a:gd name="connsiteX718" fmla="*/ 974530 w 1090712"/>
              <a:gd name="connsiteY718" fmla="*/ 216683 h 895572"/>
              <a:gd name="connsiteX719" fmla="*/ 965739 w 1090712"/>
              <a:gd name="connsiteY719" fmla="*/ 223811 h 895572"/>
              <a:gd name="connsiteX720" fmla="*/ 956236 w 1090712"/>
              <a:gd name="connsiteY720" fmla="*/ 230226 h 895572"/>
              <a:gd name="connsiteX721" fmla="*/ 946494 w 1090712"/>
              <a:gd name="connsiteY721" fmla="*/ 235928 h 895572"/>
              <a:gd name="connsiteX722" fmla="*/ 941505 w 1090712"/>
              <a:gd name="connsiteY722" fmla="*/ 238066 h 895572"/>
              <a:gd name="connsiteX723" fmla="*/ 936753 w 1090712"/>
              <a:gd name="connsiteY723" fmla="*/ 240442 h 895572"/>
              <a:gd name="connsiteX724" fmla="*/ 932239 w 1090712"/>
              <a:gd name="connsiteY724" fmla="*/ 242581 h 895572"/>
              <a:gd name="connsiteX725" fmla="*/ 928675 w 1090712"/>
              <a:gd name="connsiteY725" fmla="*/ 245669 h 895572"/>
              <a:gd name="connsiteX726" fmla="*/ 925111 w 1090712"/>
              <a:gd name="connsiteY726" fmla="*/ 249233 h 895572"/>
              <a:gd name="connsiteX727" fmla="*/ 922022 w 1090712"/>
              <a:gd name="connsiteY727" fmla="*/ 252797 h 895572"/>
              <a:gd name="connsiteX728" fmla="*/ 919884 w 1090712"/>
              <a:gd name="connsiteY728" fmla="*/ 257311 h 895572"/>
              <a:gd name="connsiteX729" fmla="*/ 918934 w 1090712"/>
              <a:gd name="connsiteY729" fmla="*/ 259925 h 895572"/>
              <a:gd name="connsiteX730" fmla="*/ 918459 w 1090712"/>
              <a:gd name="connsiteY730" fmla="*/ 262538 h 895572"/>
              <a:gd name="connsiteX731" fmla="*/ 918459 w 1090712"/>
              <a:gd name="connsiteY731" fmla="*/ 265389 h 895572"/>
              <a:gd name="connsiteX732" fmla="*/ 918459 w 1090712"/>
              <a:gd name="connsiteY732" fmla="*/ 268003 h 895572"/>
              <a:gd name="connsiteX733" fmla="*/ 918934 w 1090712"/>
              <a:gd name="connsiteY733" fmla="*/ 271091 h 895572"/>
              <a:gd name="connsiteX734" fmla="*/ 919884 w 1090712"/>
              <a:gd name="connsiteY734" fmla="*/ 274180 h 895572"/>
              <a:gd name="connsiteX735" fmla="*/ 921547 w 1090712"/>
              <a:gd name="connsiteY735" fmla="*/ 282258 h 895572"/>
              <a:gd name="connsiteX736" fmla="*/ 922973 w 1090712"/>
              <a:gd name="connsiteY736" fmla="*/ 290574 h 895572"/>
              <a:gd name="connsiteX737" fmla="*/ 923923 w 1090712"/>
              <a:gd name="connsiteY737" fmla="*/ 299127 h 895572"/>
              <a:gd name="connsiteX738" fmla="*/ 924161 w 1090712"/>
              <a:gd name="connsiteY738" fmla="*/ 307443 h 895572"/>
              <a:gd name="connsiteX739" fmla="*/ 924161 w 1090712"/>
              <a:gd name="connsiteY739" fmla="*/ 315996 h 895572"/>
              <a:gd name="connsiteX740" fmla="*/ 923923 w 1090712"/>
              <a:gd name="connsiteY740" fmla="*/ 324550 h 895572"/>
              <a:gd name="connsiteX741" fmla="*/ 922973 w 1090712"/>
              <a:gd name="connsiteY741" fmla="*/ 332865 h 895572"/>
              <a:gd name="connsiteX742" fmla="*/ 922022 w 1090712"/>
              <a:gd name="connsiteY742" fmla="*/ 340943 h 895572"/>
              <a:gd name="connsiteX743" fmla="*/ 920597 w 1090712"/>
              <a:gd name="connsiteY743" fmla="*/ 349259 h 895572"/>
              <a:gd name="connsiteX744" fmla="*/ 918934 w 1090712"/>
              <a:gd name="connsiteY744" fmla="*/ 357812 h 895572"/>
              <a:gd name="connsiteX745" fmla="*/ 914420 w 1090712"/>
              <a:gd name="connsiteY745" fmla="*/ 374681 h 895572"/>
              <a:gd name="connsiteX746" fmla="*/ 909192 w 1090712"/>
              <a:gd name="connsiteY746" fmla="*/ 391075 h 895572"/>
              <a:gd name="connsiteX747" fmla="*/ 903253 w 1090712"/>
              <a:gd name="connsiteY747" fmla="*/ 408182 h 895572"/>
              <a:gd name="connsiteX748" fmla="*/ 903253 w 1090712"/>
              <a:gd name="connsiteY748" fmla="*/ 397965 h 895572"/>
              <a:gd name="connsiteX749" fmla="*/ 904203 w 1090712"/>
              <a:gd name="connsiteY749" fmla="*/ 387274 h 895572"/>
              <a:gd name="connsiteX750" fmla="*/ 906104 w 1090712"/>
              <a:gd name="connsiteY750" fmla="*/ 367078 h 895572"/>
              <a:gd name="connsiteX751" fmla="*/ 907767 w 1090712"/>
              <a:gd name="connsiteY751" fmla="*/ 347596 h 895572"/>
              <a:gd name="connsiteX752" fmla="*/ 908717 w 1090712"/>
              <a:gd name="connsiteY752" fmla="*/ 338567 h 895572"/>
              <a:gd name="connsiteX753" fmla="*/ 908717 w 1090712"/>
              <a:gd name="connsiteY753" fmla="*/ 329777 h 895572"/>
              <a:gd name="connsiteX754" fmla="*/ 908717 w 1090712"/>
              <a:gd name="connsiteY754" fmla="*/ 325738 h 895572"/>
              <a:gd name="connsiteX755" fmla="*/ 907767 w 1090712"/>
              <a:gd name="connsiteY755" fmla="*/ 322649 h 895572"/>
              <a:gd name="connsiteX756" fmla="*/ 906817 w 1090712"/>
              <a:gd name="connsiteY756" fmla="*/ 319560 h 895572"/>
              <a:gd name="connsiteX757" fmla="*/ 905154 w 1090712"/>
              <a:gd name="connsiteY757" fmla="*/ 316471 h 895572"/>
              <a:gd name="connsiteX758" fmla="*/ 903728 w 1090712"/>
              <a:gd name="connsiteY758" fmla="*/ 314096 h 895572"/>
              <a:gd name="connsiteX759" fmla="*/ 901590 w 1090712"/>
              <a:gd name="connsiteY759" fmla="*/ 311957 h 895572"/>
              <a:gd name="connsiteX760" fmla="*/ 897551 w 1090712"/>
              <a:gd name="connsiteY760" fmla="*/ 307443 h 895572"/>
              <a:gd name="connsiteX761" fmla="*/ 895412 w 1090712"/>
              <a:gd name="connsiteY761" fmla="*/ 309344 h 895572"/>
              <a:gd name="connsiteX762" fmla="*/ 892561 w 1090712"/>
              <a:gd name="connsiteY762" fmla="*/ 310769 h 895572"/>
              <a:gd name="connsiteX763" fmla="*/ 887334 w 1090712"/>
              <a:gd name="connsiteY763" fmla="*/ 313383 h 895572"/>
              <a:gd name="connsiteX764" fmla="*/ 884721 w 1090712"/>
              <a:gd name="connsiteY764" fmla="*/ 314096 h 895572"/>
              <a:gd name="connsiteX765" fmla="*/ 882820 w 1090712"/>
              <a:gd name="connsiteY765" fmla="*/ 315521 h 895572"/>
              <a:gd name="connsiteX766" fmla="*/ 881632 w 1090712"/>
              <a:gd name="connsiteY766" fmla="*/ 316947 h 895572"/>
              <a:gd name="connsiteX767" fmla="*/ 881157 w 1090712"/>
              <a:gd name="connsiteY767" fmla="*/ 318610 h 895572"/>
              <a:gd name="connsiteX768" fmla="*/ 872604 w 1090712"/>
              <a:gd name="connsiteY768" fmla="*/ 331915 h 895572"/>
              <a:gd name="connsiteX769" fmla="*/ 864288 w 1090712"/>
              <a:gd name="connsiteY769" fmla="*/ 346646 h 895572"/>
              <a:gd name="connsiteX770" fmla="*/ 856210 w 1090712"/>
              <a:gd name="connsiteY770" fmla="*/ 361376 h 895572"/>
              <a:gd name="connsiteX771" fmla="*/ 847656 w 1090712"/>
              <a:gd name="connsiteY771" fmla="*/ 374681 h 895572"/>
              <a:gd name="connsiteX772" fmla="*/ 841954 w 1090712"/>
              <a:gd name="connsiteY772" fmla="*/ 374681 h 895572"/>
              <a:gd name="connsiteX773" fmla="*/ 846468 w 1090712"/>
              <a:gd name="connsiteY773" fmla="*/ 357812 h 895572"/>
              <a:gd name="connsiteX774" fmla="*/ 850508 w 1090712"/>
              <a:gd name="connsiteY774" fmla="*/ 339518 h 895572"/>
              <a:gd name="connsiteX775" fmla="*/ 854784 w 1090712"/>
              <a:gd name="connsiteY775" fmla="*/ 319560 h 895572"/>
              <a:gd name="connsiteX776" fmla="*/ 858823 w 1090712"/>
              <a:gd name="connsiteY776" fmla="*/ 296514 h 895572"/>
              <a:gd name="connsiteX777" fmla="*/ 848132 w 1090712"/>
              <a:gd name="connsiteY777" fmla="*/ 303879 h 895572"/>
              <a:gd name="connsiteX778" fmla="*/ 840054 w 1090712"/>
              <a:gd name="connsiteY778" fmla="*/ 310294 h 895572"/>
              <a:gd name="connsiteX779" fmla="*/ 833163 w 1090712"/>
              <a:gd name="connsiteY779" fmla="*/ 316947 h 895572"/>
              <a:gd name="connsiteX780" fmla="*/ 825560 w 1090712"/>
              <a:gd name="connsiteY780" fmla="*/ 324550 h 895572"/>
              <a:gd name="connsiteX781" fmla="*/ 823185 w 1090712"/>
              <a:gd name="connsiteY781" fmla="*/ 326688 h 895572"/>
              <a:gd name="connsiteX782" fmla="*/ 821522 w 1090712"/>
              <a:gd name="connsiteY782" fmla="*/ 329301 h 895572"/>
              <a:gd name="connsiteX783" fmla="*/ 817007 w 1090712"/>
              <a:gd name="connsiteY783" fmla="*/ 335954 h 895572"/>
              <a:gd name="connsiteX784" fmla="*/ 812968 w 1090712"/>
              <a:gd name="connsiteY784" fmla="*/ 344032 h 895572"/>
              <a:gd name="connsiteX785" fmla="*/ 808929 w 1090712"/>
              <a:gd name="connsiteY785" fmla="*/ 352585 h 895572"/>
              <a:gd name="connsiteX786" fmla="*/ 809880 w 1090712"/>
              <a:gd name="connsiteY786" fmla="*/ 343557 h 895572"/>
              <a:gd name="connsiteX787" fmla="*/ 811305 w 1090712"/>
              <a:gd name="connsiteY787" fmla="*/ 335479 h 895572"/>
              <a:gd name="connsiteX788" fmla="*/ 812493 w 1090712"/>
              <a:gd name="connsiteY788" fmla="*/ 328826 h 895572"/>
              <a:gd name="connsiteX789" fmla="*/ 814394 w 1090712"/>
              <a:gd name="connsiteY789" fmla="*/ 323124 h 895572"/>
              <a:gd name="connsiteX790" fmla="*/ 816532 w 1090712"/>
              <a:gd name="connsiteY790" fmla="*/ 317659 h 895572"/>
              <a:gd name="connsiteX791" fmla="*/ 819146 w 1090712"/>
              <a:gd name="connsiteY791" fmla="*/ 313383 h 895572"/>
              <a:gd name="connsiteX792" fmla="*/ 822709 w 1090712"/>
              <a:gd name="connsiteY792" fmla="*/ 309344 h 895572"/>
              <a:gd name="connsiteX793" fmla="*/ 826748 w 1090712"/>
              <a:gd name="connsiteY793" fmla="*/ 306255 h 895572"/>
              <a:gd name="connsiteX794" fmla="*/ 832213 w 1090712"/>
              <a:gd name="connsiteY794" fmla="*/ 303166 h 895572"/>
              <a:gd name="connsiteX795" fmla="*/ 838390 w 1090712"/>
              <a:gd name="connsiteY795" fmla="*/ 300315 h 895572"/>
              <a:gd name="connsiteX796" fmla="*/ 845518 w 1090712"/>
              <a:gd name="connsiteY796" fmla="*/ 298177 h 895572"/>
              <a:gd name="connsiteX797" fmla="*/ 854071 w 1090712"/>
              <a:gd name="connsiteY797" fmla="*/ 295563 h 895572"/>
              <a:gd name="connsiteX798" fmla="*/ 875217 w 1090712"/>
              <a:gd name="connsiteY798" fmla="*/ 290574 h 895572"/>
              <a:gd name="connsiteX799" fmla="*/ 903253 w 1090712"/>
              <a:gd name="connsiteY799" fmla="*/ 285347 h 895572"/>
              <a:gd name="connsiteX800" fmla="*/ 886384 w 1090712"/>
              <a:gd name="connsiteY800" fmla="*/ 268478 h 895572"/>
              <a:gd name="connsiteX801" fmla="*/ 879731 w 1090712"/>
              <a:gd name="connsiteY801" fmla="*/ 270141 h 895572"/>
              <a:gd name="connsiteX802" fmla="*/ 873079 w 1090712"/>
              <a:gd name="connsiteY802" fmla="*/ 271091 h 895572"/>
              <a:gd name="connsiteX803" fmla="*/ 867376 w 1090712"/>
              <a:gd name="connsiteY803" fmla="*/ 271567 h 895572"/>
              <a:gd name="connsiteX804" fmla="*/ 862387 w 1090712"/>
              <a:gd name="connsiteY804" fmla="*/ 271091 h 895572"/>
              <a:gd name="connsiteX805" fmla="*/ 857398 w 1090712"/>
              <a:gd name="connsiteY805" fmla="*/ 269666 h 895572"/>
              <a:gd name="connsiteX806" fmla="*/ 853596 w 1090712"/>
              <a:gd name="connsiteY806" fmla="*/ 268003 h 895572"/>
              <a:gd name="connsiteX807" fmla="*/ 849557 w 1090712"/>
              <a:gd name="connsiteY807" fmla="*/ 265627 h 895572"/>
              <a:gd name="connsiteX808" fmla="*/ 846468 w 1090712"/>
              <a:gd name="connsiteY808" fmla="*/ 262538 h 895572"/>
              <a:gd name="connsiteX809" fmla="*/ 843380 w 1090712"/>
              <a:gd name="connsiteY809" fmla="*/ 259450 h 895572"/>
              <a:gd name="connsiteX810" fmla="*/ 840529 w 1090712"/>
              <a:gd name="connsiteY810" fmla="*/ 255411 h 895572"/>
              <a:gd name="connsiteX811" fmla="*/ 838390 w 1090712"/>
              <a:gd name="connsiteY811" fmla="*/ 251134 h 895572"/>
              <a:gd name="connsiteX812" fmla="*/ 836490 w 1090712"/>
              <a:gd name="connsiteY812" fmla="*/ 246620 h 895572"/>
              <a:gd name="connsiteX813" fmla="*/ 834827 w 1090712"/>
              <a:gd name="connsiteY813" fmla="*/ 241155 h 895572"/>
              <a:gd name="connsiteX814" fmla="*/ 833401 w 1090712"/>
              <a:gd name="connsiteY814" fmla="*/ 235453 h 895572"/>
              <a:gd name="connsiteX815" fmla="*/ 831263 w 1090712"/>
              <a:gd name="connsiteY815" fmla="*/ 223336 h 895572"/>
              <a:gd name="connsiteX816" fmla="*/ 897551 w 1090712"/>
              <a:gd name="connsiteY816" fmla="*/ 206942 h 895572"/>
              <a:gd name="connsiteX817" fmla="*/ 888997 w 1090712"/>
              <a:gd name="connsiteY817" fmla="*/ 194112 h 895572"/>
              <a:gd name="connsiteX818" fmla="*/ 880682 w 1090712"/>
              <a:gd name="connsiteY818" fmla="*/ 181282 h 895572"/>
              <a:gd name="connsiteX819" fmla="*/ 871416 w 1090712"/>
              <a:gd name="connsiteY819" fmla="*/ 168690 h 895572"/>
              <a:gd name="connsiteX820" fmla="*/ 866901 w 1090712"/>
              <a:gd name="connsiteY820" fmla="*/ 162988 h 895572"/>
              <a:gd name="connsiteX821" fmla="*/ 861437 w 1090712"/>
              <a:gd name="connsiteY821" fmla="*/ 157048 h 895572"/>
              <a:gd name="connsiteX822" fmla="*/ 856210 w 1090712"/>
              <a:gd name="connsiteY822" fmla="*/ 151821 h 895572"/>
              <a:gd name="connsiteX823" fmla="*/ 850745 w 1090712"/>
              <a:gd name="connsiteY823" fmla="*/ 146831 h 895572"/>
              <a:gd name="connsiteX824" fmla="*/ 844568 w 1090712"/>
              <a:gd name="connsiteY824" fmla="*/ 142555 h 895572"/>
              <a:gd name="connsiteX825" fmla="*/ 838390 w 1090712"/>
              <a:gd name="connsiteY825" fmla="*/ 138516 h 895572"/>
              <a:gd name="connsiteX826" fmla="*/ 831738 w 1090712"/>
              <a:gd name="connsiteY826" fmla="*/ 134952 h 895572"/>
              <a:gd name="connsiteX827" fmla="*/ 824610 w 1090712"/>
              <a:gd name="connsiteY827" fmla="*/ 132338 h 895572"/>
              <a:gd name="connsiteX828" fmla="*/ 817007 w 1090712"/>
              <a:gd name="connsiteY828" fmla="*/ 129963 h 895572"/>
              <a:gd name="connsiteX829" fmla="*/ 808929 w 1090712"/>
              <a:gd name="connsiteY829" fmla="*/ 128774 h 895572"/>
              <a:gd name="connsiteX830" fmla="*/ 806791 w 1090712"/>
              <a:gd name="connsiteY830" fmla="*/ 128299 h 895572"/>
              <a:gd name="connsiteX831" fmla="*/ 804652 w 1090712"/>
              <a:gd name="connsiteY831" fmla="*/ 127824 h 895572"/>
              <a:gd name="connsiteX832" fmla="*/ 802752 w 1090712"/>
              <a:gd name="connsiteY832" fmla="*/ 126399 h 895572"/>
              <a:gd name="connsiteX833" fmla="*/ 801089 w 1090712"/>
              <a:gd name="connsiteY833" fmla="*/ 125211 h 895572"/>
              <a:gd name="connsiteX834" fmla="*/ 799663 w 1090712"/>
              <a:gd name="connsiteY834" fmla="*/ 123310 h 895572"/>
              <a:gd name="connsiteX835" fmla="*/ 798713 w 1090712"/>
              <a:gd name="connsiteY835" fmla="*/ 121647 h 895572"/>
              <a:gd name="connsiteX836" fmla="*/ 798000 w 1090712"/>
              <a:gd name="connsiteY836" fmla="*/ 119271 h 895572"/>
              <a:gd name="connsiteX837" fmla="*/ 798000 w 1090712"/>
              <a:gd name="connsiteY837" fmla="*/ 117608 h 895572"/>
              <a:gd name="connsiteX838" fmla="*/ 785408 w 1090712"/>
              <a:gd name="connsiteY838" fmla="*/ 106916 h 895572"/>
              <a:gd name="connsiteX839" fmla="*/ 772578 w 1090712"/>
              <a:gd name="connsiteY839" fmla="*/ 95749 h 895572"/>
              <a:gd name="connsiteX840" fmla="*/ 747155 w 1090712"/>
              <a:gd name="connsiteY840" fmla="*/ 72703 h 895572"/>
              <a:gd name="connsiteX841" fmla="*/ 733850 w 1090712"/>
              <a:gd name="connsiteY841" fmla="*/ 61061 h 895572"/>
              <a:gd name="connsiteX842" fmla="*/ 720545 w 1090712"/>
              <a:gd name="connsiteY842" fmla="*/ 49894 h 895572"/>
              <a:gd name="connsiteX843" fmla="*/ 706765 w 1090712"/>
              <a:gd name="connsiteY843" fmla="*/ 38728 h 895572"/>
              <a:gd name="connsiteX844" fmla="*/ 692510 w 1090712"/>
              <a:gd name="connsiteY844" fmla="*/ 28036 h 895572"/>
              <a:gd name="connsiteX845" fmla="*/ 679442 w 1090712"/>
              <a:gd name="connsiteY845" fmla="*/ 21859 h 895572"/>
              <a:gd name="connsiteX846" fmla="*/ 666137 w 1090712"/>
              <a:gd name="connsiteY846" fmla="*/ 16632 h 895572"/>
              <a:gd name="connsiteX847" fmla="*/ 652832 w 1090712"/>
              <a:gd name="connsiteY847" fmla="*/ 11642 h 895572"/>
              <a:gd name="connsiteX848" fmla="*/ 639527 w 1090712"/>
              <a:gd name="connsiteY848" fmla="*/ 7603 h 895572"/>
              <a:gd name="connsiteX849" fmla="*/ 626222 w 1090712"/>
              <a:gd name="connsiteY849" fmla="*/ 4514 h 895572"/>
              <a:gd name="connsiteX850" fmla="*/ 612917 w 1090712"/>
              <a:gd name="connsiteY850" fmla="*/ 1901 h 895572"/>
              <a:gd name="connsiteX851" fmla="*/ 599374 w 1090712"/>
              <a:gd name="connsiteY851" fmla="*/ 475 h 895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Lst>
            <a:rect l="l" t="t" r="r" b="b"/>
            <a:pathLst>
              <a:path w="1090712" h="895572">
                <a:moveTo>
                  <a:pt x="603413" y="721327"/>
                </a:moveTo>
                <a:lnTo>
                  <a:pt x="578466" y="770746"/>
                </a:lnTo>
                <a:lnTo>
                  <a:pt x="553519" y="818264"/>
                </a:lnTo>
                <a:lnTo>
                  <a:pt x="528334" y="865069"/>
                </a:lnTo>
                <a:lnTo>
                  <a:pt x="511825" y="895572"/>
                </a:lnTo>
                <a:lnTo>
                  <a:pt x="624528" y="895572"/>
                </a:lnTo>
                <a:lnTo>
                  <a:pt x="624796" y="894768"/>
                </a:lnTo>
                <a:lnTo>
                  <a:pt x="625271" y="891679"/>
                </a:lnTo>
                <a:lnTo>
                  <a:pt x="625747" y="889066"/>
                </a:lnTo>
                <a:lnTo>
                  <a:pt x="625747" y="860555"/>
                </a:lnTo>
                <a:lnTo>
                  <a:pt x="624796" y="833945"/>
                </a:lnTo>
                <a:lnTo>
                  <a:pt x="624321" y="820877"/>
                </a:lnTo>
                <a:lnTo>
                  <a:pt x="623608" y="808047"/>
                </a:lnTo>
                <a:lnTo>
                  <a:pt x="621708" y="795218"/>
                </a:lnTo>
                <a:lnTo>
                  <a:pt x="620044" y="782625"/>
                </a:lnTo>
                <a:lnTo>
                  <a:pt x="616005" y="766707"/>
                </a:lnTo>
                <a:lnTo>
                  <a:pt x="611966" y="751976"/>
                </a:lnTo>
                <a:lnTo>
                  <a:pt x="607452" y="737245"/>
                </a:lnTo>
                <a:close/>
                <a:moveTo>
                  <a:pt x="698212" y="530778"/>
                </a:moveTo>
                <a:lnTo>
                  <a:pt x="693460" y="534818"/>
                </a:lnTo>
                <a:lnTo>
                  <a:pt x="688471" y="538857"/>
                </a:lnTo>
                <a:lnTo>
                  <a:pt x="678254" y="546935"/>
                </a:lnTo>
                <a:lnTo>
                  <a:pt x="669226" y="553587"/>
                </a:lnTo>
                <a:lnTo>
                  <a:pt x="663048" y="558814"/>
                </a:lnTo>
                <a:lnTo>
                  <a:pt x="663048" y="556676"/>
                </a:lnTo>
                <a:lnTo>
                  <a:pt x="663523" y="554538"/>
                </a:lnTo>
                <a:lnTo>
                  <a:pt x="665424" y="550498"/>
                </a:lnTo>
                <a:lnTo>
                  <a:pt x="668038" y="546459"/>
                </a:lnTo>
                <a:lnTo>
                  <a:pt x="671602" y="542420"/>
                </a:lnTo>
                <a:lnTo>
                  <a:pt x="676829" y="538857"/>
                </a:lnTo>
                <a:lnTo>
                  <a:pt x="682768" y="535768"/>
                </a:lnTo>
                <a:lnTo>
                  <a:pt x="689896" y="533154"/>
                </a:lnTo>
                <a:close/>
                <a:moveTo>
                  <a:pt x="654257" y="302216"/>
                </a:moveTo>
                <a:lnTo>
                  <a:pt x="651882" y="302691"/>
                </a:lnTo>
                <a:lnTo>
                  <a:pt x="649268" y="303166"/>
                </a:lnTo>
                <a:lnTo>
                  <a:pt x="647130" y="304354"/>
                </a:lnTo>
                <a:lnTo>
                  <a:pt x="644516" y="306255"/>
                </a:lnTo>
                <a:lnTo>
                  <a:pt x="642140" y="307918"/>
                </a:lnTo>
                <a:lnTo>
                  <a:pt x="640002" y="310294"/>
                </a:lnTo>
                <a:lnTo>
                  <a:pt x="638101" y="312432"/>
                </a:lnTo>
                <a:lnTo>
                  <a:pt x="636913" y="314571"/>
                </a:lnTo>
                <a:lnTo>
                  <a:pt x="635963" y="316946"/>
                </a:lnTo>
                <a:lnTo>
                  <a:pt x="635963" y="319085"/>
                </a:lnTo>
                <a:lnTo>
                  <a:pt x="636913" y="321223"/>
                </a:lnTo>
                <a:lnTo>
                  <a:pt x="637626" y="324074"/>
                </a:lnTo>
                <a:lnTo>
                  <a:pt x="639527" y="326688"/>
                </a:lnTo>
                <a:lnTo>
                  <a:pt x="643091" y="331677"/>
                </a:lnTo>
                <a:lnTo>
                  <a:pt x="647130" y="335954"/>
                </a:lnTo>
                <a:lnTo>
                  <a:pt x="655920" y="330727"/>
                </a:lnTo>
                <a:lnTo>
                  <a:pt x="663999" y="324787"/>
                </a:lnTo>
                <a:lnTo>
                  <a:pt x="679917" y="313383"/>
                </a:lnTo>
                <a:lnTo>
                  <a:pt x="676354" y="311007"/>
                </a:lnTo>
                <a:lnTo>
                  <a:pt x="672790" y="308393"/>
                </a:lnTo>
                <a:lnTo>
                  <a:pt x="668988" y="306730"/>
                </a:lnTo>
                <a:lnTo>
                  <a:pt x="664949" y="304829"/>
                </a:lnTo>
                <a:lnTo>
                  <a:pt x="660910" y="303641"/>
                </a:lnTo>
                <a:lnTo>
                  <a:pt x="657346" y="302691"/>
                </a:lnTo>
                <a:close/>
                <a:moveTo>
                  <a:pt x="696549" y="252322"/>
                </a:moveTo>
                <a:lnTo>
                  <a:pt x="696786" y="259925"/>
                </a:lnTo>
                <a:lnTo>
                  <a:pt x="698212" y="266102"/>
                </a:lnTo>
                <a:lnTo>
                  <a:pt x="700113" y="272042"/>
                </a:lnTo>
                <a:lnTo>
                  <a:pt x="701776" y="276794"/>
                </a:lnTo>
                <a:lnTo>
                  <a:pt x="704389" y="280833"/>
                </a:lnTo>
                <a:lnTo>
                  <a:pt x="707240" y="284397"/>
                </a:lnTo>
                <a:lnTo>
                  <a:pt x="710329" y="287010"/>
                </a:lnTo>
                <a:lnTo>
                  <a:pt x="713418" y="289624"/>
                </a:lnTo>
                <a:lnTo>
                  <a:pt x="716506" y="291524"/>
                </a:lnTo>
                <a:lnTo>
                  <a:pt x="719595" y="293187"/>
                </a:lnTo>
                <a:lnTo>
                  <a:pt x="725772" y="295088"/>
                </a:lnTo>
                <a:lnTo>
                  <a:pt x="731237" y="296514"/>
                </a:lnTo>
                <a:lnTo>
                  <a:pt x="734801" y="296751"/>
                </a:lnTo>
                <a:lnTo>
                  <a:pt x="722209" y="303879"/>
                </a:lnTo>
                <a:lnTo>
                  <a:pt x="710804" y="311007"/>
                </a:lnTo>
                <a:lnTo>
                  <a:pt x="688471" y="324787"/>
                </a:lnTo>
                <a:lnTo>
                  <a:pt x="667563" y="339043"/>
                </a:lnTo>
                <a:lnTo>
                  <a:pt x="646179" y="352823"/>
                </a:lnTo>
                <a:lnTo>
                  <a:pt x="620044" y="313383"/>
                </a:lnTo>
                <a:lnTo>
                  <a:pt x="617668" y="312432"/>
                </a:lnTo>
                <a:lnTo>
                  <a:pt x="615055" y="312432"/>
                </a:lnTo>
                <a:lnTo>
                  <a:pt x="612441" y="313383"/>
                </a:lnTo>
                <a:lnTo>
                  <a:pt x="609353" y="314095"/>
                </a:lnTo>
                <a:lnTo>
                  <a:pt x="602938" y="316946"/>
                </a:lnTo>
                <a:lnTo>
                  <a:pt x="599849" y="317659"/>
                </a:lnTo>
                <a:lnTo>
                  <a:pt x="596760" y="318610"/>
                </a:lnTo>
                <a:lnTo>
                  <a:pt x="607927" y="307205"/>
                </a:lnTo>
                <a:lnTo>
                  <a:pt x="618619" y="295088"/>
                </a:lnTo>
                <a:lnTo>
                  <a:pt x="623846" y="289386"/>
                </a:lnTo>
                <a:lnTo>
                  <a:pt x="629786" y="283921"/>
                </a:lnTo>
                <a:lnTo>
                  <a:pt x="635963" y="278694"/>
                </a:lnTo>
                <a:lnTo>
                  <a:pt x="642140" y="273705"/>
                </a:lnTo>
                <a:lnTo>
                  <a:pt x="648793" y="269191"/>
                </a:lnTo>
                <a:lnTo>
                  <a:pt x="655446" y="265627"/>
                </a:lnTo>
                <a:lnTo>
                  <a:pt x="662098" y="263013"/>
                </a:lnTo>
                <a:lnTo>
                  <a:pt x="668988" y="260400"/>
                </a:lnTo>
                <a:lnTo>
                  <a:pt x="682768" y="256361"/>
                </a:lnTo>
                <a:close/>
                <a:moveTo>
                  <a:pt x="1030602" y="200289"/>
                </a:moveTo>
                <a:lnTo>
                  <a:pt x="1027513" y="207892"/>
                </a:lnTo>
                <a:lnTo>
                  <a:pt x="1023949" y="214545"/>
                </a:lnTo>
                <a:lnTo>
                  <a:pt x="1019910" y="221197"/>
                </a:lnTo>
                <a:lnTo>
                  <a:pt x="1015396" y="226899"/>
                </a:lnTo>
                <a:lnTo>
                  <a:pt x="1011119" y="232839"/>
                </a:lnTo>
                <a:lnTo>
                  <a:pt x="1006130" y="237591"/>
                </a:lnTo>
                <a:lnTo>
                  <a:pt x="1001140" y="242105"/>
                </a:lnTo>
                <a:lnTo>
                  <a:pt x="996388" y="246144"/>
                </a:lnTo>
                <a:lnTo>
                  <a:pt x="990924" y="249708"/>
                </a:lnTo>
                <a:lnTo>
                  <a:pt x="985697" y="252797"/>
                </a:lnTo>
                <a:lnTo>
                  <a:pt x="980232" y="254935"/>
                </a:lnTo>
                <a:lnTo>
                  <a:pt x="975005" y="256836"/>
                </a:lnTo>
                <a:lnTo>
                  <a:pt x="969541" y="258262"/>
                </a:lnTo>
                <a:lnTo>
                  <a:pt x="963839" y="258499"/>
                </a:lnTo>
                <a:lnTo>
                  <a:pt x="958612" y="258499"/>
                </a:lnTo>
                <a:lnTo>
                  <a:pt x="953622" y="257786"/>
                </a:lnTo>
                <a:lnTo>
                  <a:pt x="970966" y="244006"/>
                </a:lnTo>
                <a:lnTo>
                  <a:pt x="990211" y="229275"/>
                </a:lnTo>
                <a:lnTo>
                  <a:pt x="1010169" y="214069"/>
                </a:lnTo>
                <a:lnTo>
                  <a:pt x="1020385" y="206942"/>
                </a:lnTo>
                <a:close/>
                <a:moveTo>
                  <a:pt x="389581" y="176768"/>
                </a:moveTo>
                <a:lnTo>
                  <a:pt x="397422" y="177243"/>
                </a:lnTo>
                <a:lnTo>
                  <a:pt x="414766" y="178906"/>
                </a:lnTo>
                <a:lnTo>
                  <a:pt x="405500" y="179856"/>
                </a:lnTo>
                <a:lnTo>
                  <a:pt x="396946" y="181995"/>
                </a:lnTo>
                <a:lnTo>
                  <a:pt x="389581" y="184371"/>
                </a:lnTo>
                <a:lnTo>
                  <a:pt x="381978" y="186984"/>
                </a:lnTo>
                <a:lnTo>
                  <a:pt x="375326" y="190548"/>
                </a:lnTo>
                <a:lnTo>
                  <a:pt x="368911" y="194112"/>
                </a:lnTo>
                <a:lnTo>
                  <a:pt x="363208" y="198626"/>
                </a:lnTo>
                <a:lnTo>
                  <a:pt x="357981" y="202903"/>
                </a:lnTo>
                <a:lnTo>
                  <a:pt x="352517" y="208367"/>
                </a:lnTo>
                <a:lnTo>
                  <a:pt x="348003" y="214070"/>
                </a:lnTo>
                <a:lnTo>
                  <a:pt x="343726" y="220247"/>
                </a:lnTo>
                <a:lnTo>
                  <a:pt x="339687" y="226662"/>
                </a:lnTo>
                <a:lnTo>
                  <a:pt x="335648" y="233790"/>
                </a:lnTo>
                <a:lnTo>
                  <a:pt x="332559" y="240917"/>
                </a:lnTo>
                <a:lnTo>
                  <a:pt x="328995" y="248758"/>
                </a:lnTo>
                <a:lnTo>
                  <a:pt x="325907" y="256836"/>
                </a:lnTo>
                <a:lnTo>
                  <a:pt x="325432" y="252797"/>
                </a:lnTo>
                <a:lnTo>
                  <a:pt x="324956" y="248283"/>
                </a:lnTo>
                <a:lnTo>
                  <a:pt x="323056" y="239492"/>
                </a:lnTo>
                <a:lnTo>
                  <a:pt x="320917" y="229275"/>
                </a:lnTo>
                <a:lnTo>
                  <a:pt x="320442" y="223811"/>
                </a:lnTo>
                <a:lnTo>
                  <a:pt x="319967" y="217633"/>
                </a:lnTo>
                <a:lnTo>
                  <a:pt x="314740" y="217633"/>
                </a:lnTo>
                <a:lnTo>
                  <a:pt x="302148" y="243056"/>
                </a:lnTo>
                <a:lnTo>
                  <a:pt x="289793" y="267528"/>
                </a:lnTo>
                <a:lnTo>
                  <a:pt x="277438" y="291049"/>
                </a:lnTo>
                <a:lnTo>
                  <a:pt x="264371" y="312907"/>
                </a:lnTo>
                <a:lnTo>
                  <a:pt x="267459" y="295088"/>
                </a:lnTo>
                <a:lnTo>
                  <a:pt x="271023" y="279170"/>
                </a:lnTo>
                <a:lnTo>
                  <a:pt x="274587" y="263964"/>
                </a:lnTo>
                <a:lnTo>
                  <a:pt x="279101" y="250183"/>
                </a:lnTo>
                <a:lnTo>
                  <a:pt x="284091" y="238066"/>
                </a:lnTo>
                <a:lnTo>
                  <a:pt x="289318" y="226900"/>
                </a:lnTo>
                <a:lnTo>
                  <a:pt x="292406" y="221673"/>
                </a:lnTo>
                <a:lnTo>
                  <a:pt x="295495" y="217158"/>
                </a:lnTo>
                <a:lnTo>
                  <a:pt x="298584" y="212406"/>
                </a:lnTo>
                <a:lnTo>
                  <a:pt x="302148" y="208367"/>
                </a:lnTo>
                <a:lnTo>
                  <a:pt x="305711" y="204328"/>
                </a:lnTo>
                <a:lnTo>
                  <a:pt x="309275" y="200765"/>
                </a:lnTo>
                <a:lnTo>
                  <a:pt x="313314" y="197201"/>
                </a:lnTo>
                <a:lnTo>
                  <a:pt x="317354" y="194112"/>
                </a:lnTo>
                <a:lnTo>
                  <a:pt x="321868" y="191498"/>
                </a:lnTo>
                <a:lnTo>
                  <a:pt x="326382" y="188647"/>
                </a:lnTo>
                <a:lnTo>
                  <a:pt x="330659" y="186509"/>
                </a:lnTo>
                <a:lnTo>
                  <a:pt x="335648" y="184371"/>
                </a:lnTo>
                <a:lnTo>
                  <a:pt x="340637" y="182470"/>
                </a:lnTo>
                <a:lnTo>
                  <a:pt x="345864" y="181282"/>
                </a:lnTo>
                <a:lnTo>
                  <a:pt x="351091" y="179856"/>
                </a:lnTo>
                <a:lnTo>
                  <a:pt x="357031" y="178431"/>
                </a:lnTo>
                <a:lnTo>
                  <a:pt x="368911" y="177243"/>
                </a:lnTo>
                <a:lnTo>
                  <a:pt x="381978" y="176768"/>
                </a:lnTo>
                <a:close/>
                <a:moveTo>
                  <a:pt x="609353" y="174629"/>
                </a:moveTo>
                <a:lnTo>
                  <a:pt x="602463" y="180807"/>
                </a:lnTo>
                <a:lnTo>
                  <a:pt x="596285" y="187459"/>
                </a:lnTo>
                <a:lnTo>
                  <a:pt x="583931" y="201715"/>
                </a:lnTo>
                <a:lnTo>
                  <a:pt x="571101" y="215495"/>
                </a:lnTo>
                <a:lnTo>
                  <a:pt x="564686" y="222148"/>
                </a:lnTo>
                <a:lnTo>
                  <a:pt x="558508" y="228325"/>
                </a:lnTo>
                <a:lnTo>
                  <a:pt x="557558" y="223335"/>
                </a:lnTo>
                <a:lnTo>
                  <a:pt x="557083" y="219059"/>
                </a:lnTo>
                <a:lnTo>
                  <a:pt x="557083" y="215020"/>
                </a:lnTo>
                <a:lnTo>
                  <a:pt x="557558" y="210981"/>
                </a:lnTo>
                <a:lnTo>
                  <a:pt x="558508" y="207417"/>
                </a:lnTo>
                <a:lnTo>
                  <a:pt x="560409" y="203853"/>
                </a:lnTo>
                <a:lnTo>
                  <a:pt x="562072" y="200764"/>
                </a:lnTo>
                <a:lnTo>
                  <a:pt x="564686" y="197676"/>
                </a:lnTo>
                <a:lnTo>
                  <a:pt x="567774" y="194587"/>
                </a:lnTo>
                <a:lnTo>
                  <a:pt x="571813" y="191973"/>
                </a:lnTo>
                <a:lnTo>
                  <a:pt x="576328" y="188647"/>
                </a:lnTo>
                <a:lnTo>
                  <a:pt x="581317" y="186034"/>
                </a:lnTo>
                <a:lnTo>
                  <a:pt x="587019" y="183420"/>
                </a:lnTo>
                <a:lnTo>
                  <a:pt x="593672" y="180332"/>
                </a:lnTo>
                <a:close/>
                <a:moveTo>
                  <a:pt x="586544" y="0"/>
                </a:moveTo>
                <a:lnTo>
                  <a:pt x="570150" y="2851"/>
                </a:lnTo>
                <a:lnTo>
                  <a:pt x="553519" y="5940"/>
                </a:lnTo>
                <a:lnTo>
                  <a:pt x="536650" y="10454"/>
                </a:lnTo>
                <a:lnTo>
                  <a:pt x="520256" y="14731"/>
                </a:lnTo>
                <a:lnTo>
                  <a:pt x="486993" y="24472"/>
                </a:lnTo>
                <a:lnTo>
                  <a:pt x="469887" y="28986"/>
                </a:lnTo>
                <a:lnTo>
                  <a:pt x="453493" y="33500"/>
                </a:lnTo>
                <a:lnTo>
                  <a:pt x="438762" y="40153"/>
                </a:lnTo>
                <a:lnTo>
                  <a:pt x="424507" y="47281"/>
                </a:lnTo>
                <a:lnTo>
                  <a:pt x="417379" y="51320"/>
                </a:lnTo>
                <a:lnTo>
                  <a:pt x="410727" y="55834"/>
                </a:lnTo>
                <a:lnTo>
                  <a:pt x="403599" y="60111"/>
                </a:lnTo>
                <a:lnTo>
                  <a:pt x="397422" y="65100"/>
                </a:lnTo>
                <a:lnTo>
                  <a:pt x="390769" y="69852"/>
                </a:lnTo>
                <a:lnTo>
                  <a:pt x="384592" y="75792"/>
                </a:lnTo>
                <a:lnTo>
                  <a:pt x="378889" y="81494"/>
                </a:lnTo>
                <a:lnTo>
                  <a:pt x="372950" y="87671"/>
                </a:lnTo>
                <a:lnTo>
                  <a:pt x="367723" y="94324"/>
                </a:lnTo>
                <a:lnTo>
                  <a:pt x="362733" y="101452"/>
                </a:lnTo>
                <a:lnTo>
                  <a:pt x="357981" y="109055"/>
                </a:lnTo>
                <a:lnTo>
                  <a:pt x="353467" y="117608"/>
                </a:lnTo>
                <a:lnTo>
                  <a:pt x="409064" y="117608"/>
                </a:lnTo>
                <a:lnTo>
                  <a:pt x="406925" y="119271"/>
                </a:lnTo>
                <a:lnTo>
                  <a:pt x="404074" y="121647"/>
                </a:lnTo>
                <a:lnTo>
                  <a:pt x="400510" y="123310"/>
                </a:lnTo>
                <a:lnTo>
                  <a:pt x="397422" y="125211"/>
                </a:lnTo>
                <a:lnTo>
                  <a:pt x="393383" y="126399"/>
                </a:lnTo>
                <a:lnTo>
                  <a:pt x="389581" y="127824"/>
                </a:lnTo>
                <a:lnTo>
                  <a:pt x="385542" y="128299"/>
                </a:lnTo>
                <a:lnTo>
                  <a:pt x="381503" y="128774"/>
                </a:lnTo>
                <a:lnTo>
                  <a:pt x="375326" y="130438"/>
                </a:lnTo>
                <a:lnTo>
                  <a:pt x="368435" y="131863"/>
                </a:lnTo>
                <a:lnTo>
                  <a:pt x="361783" y="133051"/>
                </a:lnTo>
                <a:lnTo>
                  <a:pt x="355606" y="134001"/>
                </a:lnTo>
                <a:lnTo>
                  <a:pt x="342300" y="135427"/>
                </a:lnTo>
                <a:lnTo>
                  <a:pt x="329471" y="137090"/>
                </a:lnTo>
                <a:lnTo>
                  <a:pt x="322818" y="138040"/>
                </a:lnTo>
                <a:lnTo>
                  <a:pt x="316403" y="139704"/>
                </a:lnTo>
                <a:lnTo>
                  <a:pt x="310226" y="141604"/>
                </a:lnTo>
                <a:lnTo>
                  <a:pt x="304048" y="144218"/>
                </a:lnTo>
                <a:lnTo>
                  <a:pt x="298346" y="147307"/>
                </a:lnTo>
                <a:lnTo>
                  <a:pt x="292406" y="151346"/>
                </a:lnTo>
                <a:lnTo>
                  <a:pt x="286704" y="156335"/>
                </a:lnTo>
                <a:lnTo>
                  <a:pt x="281240" y="162037"/>
                </a:lnTo>
                <a:lnTo>
                  <a:pt x="262232" y="182945"/>
                </a:lnTo>
                <a:lnTo>
                  <a:pt x="242987" y="203378"/>
                </a:lnTo>
                <a:lnTo>
                  <a:pt x="203547" y="244006"/>
                </a:lnTo>
                <a:lnTo>
                  <a:pt x="183827" y="264439"/>
                </a:lnTo>
                <a:lnTo>
                  <a:pt x="164345" y="285822"/>
                </a:lnTo>
                <a:lnTo>
                  <a:pt x="144862" y="307443"/>
                </a:lnTo>
                <a:lnTo>
                  <a:pt x="126093" y="329777"/>
                </a:lnTo>
                <a:lnTo>
                  <a:pt x="122054" y="335004"/>
                </a:lnTo>
                <a:lnTo>
                  <a:pt x="118015" y="340468"/>
                </a:lnTo>
                <a:lnTo>
                  <a:pt x="110887" y="352110"/>
                </a:lnTo>
                <a:lnTo>
                  <a:pt x="104709" y="363514"/>
                </a:lnTo>
                <a:lnTo>
                  <a:pt x="99007" y="375156"/>
                </a:lnTo>
                <a:lnTo>
                  <a:pt x="87840" y="400103"/>
                </a:lnTo>
                <a:lnTo>
                  <a:pt x="82138" y="412458"/>
                </a:lnTo>
                <a:lnTo>
                  <a:pt x="75723" y="425050"/>
                </a:lnTo>
                <a:lnTo>
                  <a:pt x="75723" y="429802"/>
                </a:lnTo>
                <a:lnTo>
                  <a:pt x="76674" y="436217"/>
                </a:lnTo>
                <a:lnTo>
                  <a:pt x="77149" y="439306"/>
                </a:lnTo>
                <a:lnTo>
                  <a:pt x="78574" y="442395"/>
                </a:lnTo>
                <a:lnTo>
                  <a:pt x="79762" y="445008"/>
                </a:lnTo>
                <a:lnTo>
                  <a:pt x="81663" y="447147"/>
                </a:lnTo>
                <a:lnTo>
                  <a:pt x="94018" y="468055"/>
                </a:lnTo>
                <a:lnTo>
                  <a:pt x="106848" y="488963"/>
                </a:lnTo>
                <a:lnTo>
                  <a:pt x="113975" y="499654"/>
                </a:lnTo>
                <a:lnTo>
                  <a:pt x="121103" y="510346"/>
                </a:lnTo>
                <a:lnTo>
                  <a:pt x="128706" y="520562"/>
                </a:lnTo>
                <a:lnTo>
                  <a:pt x="137259" y="531254"/>
                </a:lnTo>
                <a:lnTo>
                  <a:pt x="149614" y="514385"/>
                </a:lnTo>
                <a:lnTo>
                  <a:pt x="162206" y="498466"/>
                </a:lnTo>
                <a:lnTo>
                  <a:pt x="174561" y="483260"/>
                </a:lnTo>
                <a:lnTo>
                  <a:pt x="180739" y="476133"/>
                </a:lnTo>
                <a:lnTo>
                  <a:pt x="186916" y="469480"/>
                </a:lnTo>
                <a:lnTo>
                  <a:pt x="182639" y="482310"/>
                </a:lnTo>
                <a:lnTo>
                  <a:pt x="178125" y="495615"/>
                </a:lnTo>
                <a:lnTo>
                  <a:pt x="172423" y="509871"/>
                </a:lnTo>
                <a:lnTo>
                  <a:pt x="164820" y="525552"/>
                </a:lnTo>
                <a:lnTo>
                  <a:pt x="156267" y="538381"/>
                </a:lnTo>
                <a:lnTo>
                  <a:pt x="152703" y="544559"/>
                </a:lnTo>
                <a:lnTo>
                  <a:pt x="148664" y="551449"/>
                </a:lnTo>
                <a:lnTo>
                  <a:pt x="145100" y="558339"/>
                </a:lnTo>
                <a:lnTo>
                  <a:pt x="142011" y="565467"/>
                </a:lnTo>
                <a:lnTo>
                  <a:pt x="139398" y="573070"/>
                </a:lnTo>
                <a:lnTo>
                  <a:pt x="137259" y="581623"/>
                </a:lnTo>
                <a:lnTo>
                  <a:pt x="136309" y="583761"/>
                </a:lnTo>
                <a:lnTo>
                  <a:pt x="135359" y="586137"/>
                </a:lnTo>
                <a:lnTo>
                  <a:pt x="134883" y="590889"/>
                </a:lnTo>
                <a:lnTo>
                  <a:pt x="134883" y="595879"/>
                </a:lnTo>
                <a:lnTo>
                  <a:pt x="135359" y="601106"/>
                </a:lnTo>
                <a:lnTo>
                  <a:pt x="136784" y="606095"/>
                </a:lnTo>
                <a:lnTo>
                  <a:pt x="138447" y="611322"/>
                </a:lnTo>
                <a:lnTo>
                  <a:pt x="140348" y="616311"/>
                </a:lnTo>
                <a:lnTo>
                  <a:pt x="142486" y="620826"/>
                </a:lnTo>
                <a:lnTo>
                  <a:pt x="148664" y="629616"/>
                </a:lnTo>
                <a:lnTo>
                  <a:pt x="155554" y="637219"/>
                </a:lnTo>
                <a:lnTo>
                  <a:pt x="162444" y="643872"/>
                </a:lnTo>
                <a:lnTo>
                  <a:pt x="169572" y="649099"/>
                </a:lnTo>
                <a:lnTo>
                  <a:pt x="177175" y="653613"/>
                </a:lnTo>
                <a:lnTo>
                  <a:pt x="184778" y="657177"/>
                </a:lnTo>
                <a:lnTo>
                  <a:pt x="192856" y="659553"/>
                </a:lnTo>
                <a:lnTo>
                  <a:pt x="200934" y="661216"/>
                </a:lnTo>
                <a:lnTo>
                  <a:pt x="209250" y="661691"/>
                </a:lnTo>
                <a:lnTo>
                  <a:pt x="218278" y="661691"/>
                </a:lnTo>
                <a:lnTo>
                  <a:pt x="227069" y="660266"/>
                </a:lnTo>
                <a:lnTo>
                  <a:pt x="236335" y="658603"/>
                </a:lnTo>
                <a:lnTo>
                  <a:pt x="245838" y="655514"/>
                </a:lnTo>
                <a:lnTo>
                  <a:pt x="255580" y="652425"/>
                </a:lnTo>
                <a:lnTo>
                  <a:pt x="265321" y="647911"/>
                </a:lnTo>
                <a:lnTo>
                  <a:pt x="276013" y="642922"/>
                </a:lnTo>
                <a:lnTo>
                  <a:pt x="288367" y="635081"/>
                </a:lnTo>
                <a:lnTo>
                  <a:pt x="301910" y="627478"/>
                </a:lnTo>
                <a:lnTo>
                  <a:pt x="315215" y="620350"/>
                </a:lnTo>
                <a:lnTo>
                  <a:pt x="329471" y="613698"/>
                </a:lnTo>
                <a:lnTo>
                  <a:pt x="343726" y="607283"/>
                </a:lnTo>
                <a:lnTo>
                  <a:pt x="357981" y="602056"/>
                </a:lnTo>
                <a:lnTo>
                  <a:pt x="371999" y="597066"/>
                </a:lnTo>
                <a:lnTo>
                  <a:pt x="386730" y="592790"/>
                </a:lnTo>
                <a:lnTo>
                  <a:pt x="394808" y="590414"/>
                </a:lnTo>
                <a:lnTo>
                  <a:pt x="402411" y="587325"/>
                </a:lnTo>
                <a:lnTo>
                  <a:pt x="409064" y="583761"/>
                </a:lnTo>
                <a:lnTo>
                  <a:pt x="411677" y="581623"/>
                </a:lnTo>
                <a:lnTo>
                  <a:pt x="414766" y="579247"/>
                </a:lnTo>
                <a:lnTo>
                  <a:pt x="417142" y="577109"/>
                </a:lnTo>
                <a:lnTo>
                  <a:pt x="419280" y="574495"/>
                </a:lnTo>
                <a:lnTo>
                  <a:pt x="420943" y="571407"/>
                </a:lnTo>
                <a:lnTo>
                  <a:pt x="422844" y="568318"/>
                </a:lnTo>
                <a:lnTo>
                  <a:pt x="424269" y="565229"/>
                </a:lnTo>
                <a:lnTo>
                  <a:pt x="424982" y="561665"/>
                </a:lnTo>
                <a:lnTo>
                  <a:pt x="425457" y="557626"/>
                </a:lnTo>
                <a:lnTo>
                  <a:pt x="425932" y="553587"/>
                </a:lnTo>
                <a:lnTo>
                  <a:pt x="425932" y="413884"/>
                </a:lnTo>
                <a:lnTo>
                  <a:pt x="425932" y="285347"/>
                </a:lnTo>
                <a:lnTo>
                  <a:pt x="429496" y="300078"/>
                </a:lnTo>
                <a:lnTo>
                  <a:pt x="433060" y="314096"/>
                </a:lnTo>
                <a:lnTo>
                  <a:pt x="436149" y="328826"/>
                </a:lnTo>
                <a:lnTo>
                  <a:pt x="438762" y="343082"/>
                </a:lnTo>
                <a:lnTo>
                  <a:pt x="443752" y="370642"/>
                </a:lnTo>
                <a:lnTo>
                  <a:pt x="447791" y="397015"/>
                </a:lnTo>
                <a:lnTo>
                  <a:pt x="451830" y="421962"/>
                </a:lnTo>
                <a:lnTo>
                  <a:pt x="454919" y="446434"/>
                </a:lnTo>
                <a:lnTo>
                  <a:pt x="456106" y="458313"/>
                </a:lnTo>
                <a:lnTo>
                  <a:pt x="457057" y="470430"/>
                </a:lnTo>
                <a:lnTo>
                  <a:pt x="457532" y="482310"/>
                </a:lnTo>
                <a:lnTo>
                  <a:pt x="457532" y="493952"/>
                </a:lnTo>
                <a:lnTo>
                  <a:pt x="457532" y="506069"/>
                </a:lnTo>
                <a:lnTo>
                  <a:pt x="456582" y="517473"/>
                </a:lnTo>
                <a:lnTo>
                  <a:pt x="455869" y="529116"/>
                </a:lnTo>
                <a:lnTo>
                  <a:pt x="453968" y="540757"/>
                </a:lnTo>
                <a:lnTo>
                  <a:pt x="452305" y="552162"/>
                </a:lnTo>
                <a:lnTo>
                  <a:pt x="449454" y="563804"/>
                </a:lnTo>
                <a:lnTo>
                  <a:pt x="446365" y="575446"/>
                </a:lnTo>
                <a:lnTo>
                  <a:pt x="442326" y="586850"/>
                </a:lnTo>
                <a:lnTo>
                  <a:pt x="440188" y="591364"/>
                </a:lnTo>
                <a:lnTo>
                  <a:pt x="437574" y="595403"/>
                </a:lnTo>
                <a:lnTo>
                  <a:pt x="434486" y="598967"/>
                </a:lnTo>
                <a:lnTo>
                  <a:pt x="431397" y="602531"/>
                </a:lnTo>
                <a:lnTo>
                  <a:pt x="428071" y="605145"/>
                </a:lnTo>
                <a:lnTo>
                  <a:pt x="424982" y="607283"/>
                </a:lnTo>
                <a:lnTo>
                  <a:pt x="422369" y="608708"/>
                </a:lnTo>
                <a:lnTo>
                  <a:pt x="420230" y="609659"/>
                </a:lnTo>
                <a:lnTo>
                  <a:pt x="410727" y="610847"/>
                </a:lnTo>
                <a:lnTo>
                  <a:pt x="401461" y="612748"/>
                </a:lnTo>
                <a:lnTo>
                  <a:pt x="392670" y="614886"/>
                </a:lnTo>
                <a:lnTo>
                  <a:pt x="383641" y="617262"/>
                </a:lnTo>
                <a:lnTo>
                  <a:pt x="374850" y="620350"/>
                </a:lnTo>
                <a:lnTo>
                  <a:pt x="365822" y="623914"/>
                </a:lnTo>
                <a:lnTo>
                  <a:pt x="348478" y="631042"/>
                </a:lnTo>
                <a:lnTo>
                  <a:pt x="331609" y="639358"/>
                </a:lnTo>
                <a:lnTo>
                  <a:pt x="314740" y="647911"/>
                </a:lnTo>
                <a:lnTo>
                  <a:pt x="281240" y="665255"/>
                </a:lnTo>
                <a:lnTo>
                  <a:pt x="274587" y="669294"/>
                </a:lnTo>
                <a:lnTo>
                  <a:pt x="267935" y="672858"/>
                </a:lnTo>
                <a:lnTo>
                  <a:pt x="261757" y="675947"/>
                </a:lnTo>
                <a:lnTo>
                  <a:pt x="255105" y="679035"/>
                </a:lnTo>
                <a:lnTo>
                  <a:pt x="248927" y="681174"/>
                </a:lnTo>
                <a:lnTo>
                  <a:pt x="242987" y="683075"/>
                </a:lnTo>
                <a:lnTo>
                  <a:pt x="236810" y="684738"/>
                </a:lnTo>
                <a:lnTo>
                  <a:pt x="231108" y="686163"/>
                </a:lnTo>
                <a:lnTo>
                  <a:pt x="225406" y="687114"/>
                </a:lnTo>
                <a:lnTo>
                  <a:pt x="219466" y="687589"/>
                </a:lnTo>
                <a:lnTo>
                  <a:pt x="213764" y="687589"/>
                </a:lnTo>
                <a:lnTo>
                  <a:pt x="208299" y="687589"/>
                </a:lnTo>
                <a:lnTo>
                  <a:pt x="203072" y="687114"/>
                </a:lnTo>
                <a:lnTo>
                  <a:pt x="197607" y="686163"/>
                </a:lnTo>
                <a:lnTo>
                  <a:pt x="192380" y="684738"/>
                </a:lnTo>
                <a:lnTo>
                  <a:pt x="186916" y="683550"/>
                </a:lnTo>
                <a:lnTo>
                  <a:pt x="181689" y="681649"/>
                </a:lnTo>
                <a:lnTo>
                  <a:pt x="176699" y="679986"/>
                </a:lnTo>
                <a:lnTo>
                  <a:pt x="171472" y="677610"/>
                </a:lnTo>
                <a:lnTo>
                  <a:pt x="166483" y="674996"/>
                </a:lnTo>
                <a:lnTo>
                  <a:pt x="156742" y="669294"/>
                </a:lnTo>
                <a:lnTo>
                  <a:pt x="147001" y="662167"/>
                </a:lnTo>
                <a:lnTo>
                  <a:pt x="137735" y="654564"/>
                </a:lnTo>
                <a:lnTo>
                  <a:pt x="127756" y="645535"/>
                </a:lnTo>
                <a:lnTo>
                  <a:pt x="118490" y="636269"/>
                </a:lnTo>
                <a:lnTo>
                  <a:pt x="109224" y="626053"/>
                </a:lnTo>
                <a:lnTo>
                  <a:pt x="107323" y="623914"/>
                </a:lnTo>
                <a:lnTo>
                  <a:pt x="106135" y="620350"/>
                </a:lnTo>
                <a:lnTo>
                  <a:pt x="105185" y="616311"/>
                </a:lnTo>
                <a:lnTo>
                  <a:pt x="105185" y="612272"/>
                </a:lnTo>
                <a:lnTo>
                  <a:pt x="105185" y="608233"/>
                </a:lnTo>
                <a:lnTo>
                  <a:pt x="106135" y="604194"/>
                </a:lnTo>
                <a:lnTo>
                  <a:pt x="107323" y="600630"/>
                </a:lnTo>
                <a:lnTo>
                  <a:pt x="109224" y="598017"/>
                </a:lnTo>
                <a:lnTo>
                  <a:pt x="111837" y="591840"/>
                </a:lnTo>
                <a:lnTo>
                  <a:pt x="113975" y="586137"/>
                </a:lnTo>
                <a:lnTo>
                  <a:pt x="115401" y="579722"/>
                </a:lnTo>
                <a:lnTo>
                  <a:pt x="115876" y="574020"/>
                </a:lnTo>
                <a:lnTo>
                  <a:pt x="115876" y="568318"/>
                </a:lnTo>
                <a:lnTo>
                  <a:pt x="115401" y="562378"/>
                </a:lnTo>
                <a:lnTo>
                  <a:pt x="114451" y="557151"/>
                </a:lnTo>
                <a:lnTo>
                  <a:pt x="112788" y="551449"/>
                </a:lnTo>
                <a:lnTo>
                  <a:pt x="110412" y="545984"/>
                </a:lnTo>
                <a:lnTo>
                  <a:pt x="108273" y="540757"/>
                </a:lnTo>
                <a:lnTo>
                  <a:pt x="105185" y="535293"/>
                </a:lnTo>
                <a:lnTo>
                  <a:pt x="102096" y="530066"/>
                </a:lnTo>
                <a:lnTo>
                  <a:pt x="94968" y="519374"/>
                </a:lnTo>
                <a:lnTo>
                  <a:pt x="86890" y="508683"/>
                </a:lnTo>
                <a:lnTo>
                  <a:pt x="78812" y="497991"/>
                </a:lnTo>
                <a:lnTo>
                  <a:pt x="70972" y="486824"/>
                </a:lnTo>
                <a:lnTo>
                  <a:pt x="67408" y="481122"/>
                </a:lnTo>
                <a:lnTo>
                  <a:pt x="64319" y="474707"/>
                </a:lnTo>
                <a:lnTo>
                  <a:pt x="61230" y="469005"/>
                </a:lnTo>
                <a:lnTo>
                  <a:pt x="58379" y="462828"/>
                </a:lnTo>
                <a:lnTo>
                  <a:pt x="56716" y="456175"/>
                </a:lnTo>
                <a:lnTo>
                  <a:pt x="54815" y="449998"/>
                </a:lnTo>
                <a:lnTo>
                  <a:pt x="54103" y="443345"/>
                </a:lnTo>
                <a:lnTo>
                  <a:pt x="53627" y="436455"/>
                </a:lnTo>
                <a:lnTo>
                  <a:pt x="53627" y="429327"/>
                </a:lnTo>
                <a:lnTo>
                  <a:pt x="54815" y="422675"/>
                </a:lnTo>
                <a:lnTo>
                  <a:pt x="56716" y="415547"/>
                </a:lnTo>
                <a:lnTo>
                  <a:pt x="59330" y="408182"/>
                </a:lnTo>
                <a:lnTo>
                  <a:pt x="60280" y="403192"/>
                </a:lnTo>
                <a:lnTo>
                  <a:pt x="61943" y="397965"/>
                </a:lnTo>
                <a:lnTo>
                  <a:pt x="65507" y="387986"/>
                </a:lnTo>
                <a:lnTo>
                  <a:pt x="69546" y="378720"/>
                </a:lnTo>
                <a:lnTo>
                  <a:pt x="74535" y="369929"/>
                </a:lnTo>
                <a:lnTo>
                  <a:pt x="79762" y="360901"/>
                </a:lnTo>
                <a:lnTo>
                  <a:pt x="85940" y="352585"/>
                </a:lnTo>
                <a:lnTo>
                  <a:pt x="98057" y="335479"/>
                </a:lnTo>
                <a:lnTo>
                  <a:pt x="102571" y="328113"/>
                </a:lnTo>
                <a:lnTo>
                  <a:pt x="106848" y="320986"/>
                </a:lnTo>
                <a:lnTo>
                  <a:pt x="116827" y="307205"/>
                </a:lnTo>
                <a:lnTo>
                  <a:pt x="127043" y="293188"/>
                </a:lnTo>
                <a:lnTo>
                  <a:pt x="137735" y="279407"/>
                </a:lnTo>
                <a:lnTo>
                  <a:pt x="159831" y="251847"/>
                </a:lnTo>
                <a:lnTo>
                  <a:pt x="170522" y="238066"/>
                </a:lnTo>
                <a:lnTo>
                  <a:pt x="181214" y="223336"/>
                </a:lnTo>
                <a:lnTo>
                  <a:pt x="164820" y="223336"/>
                </a:lnTo>
                <a:lnTo>
                  <a:pt x="137972" y="230226"/>
                </a:lnTo>
                <a:lnTo>
                  <a:pt x="125142" y="233790"/>
                </a:lnTo>
                <a:lnTo>
                  <a:pt x="112788" y="237591"/>
                </a:lnTo>
                <a:lnTo>
                  <a:pt x="100195" y="241630"/>
                </a:lnTo>
                <a:lnTo>
                  <a:pt x="87840" y="245669"/>
                </a:lnTo>
                <a:lnTo>
                  <a:pt x="75723" y="250183"/>
                </a:lnTo>
                <a:lnTo>
                  <a:pt x="64319" y="254935"/>
                </a:lnTo>
                <a:lnTo>
                  <a:pt x="52677" y="260400"/>
                </a:lnTo>
                <a:lnTo>
                  <a:pt x="41035" y="265627"/>
                </a:lnTo>
                <a:lnTo>
                  <a:pt x="29868" y="271567"/>
                </a:lnTo>
                <a:lnTo>
                  <a:pt x="18939" y="277744"/>
                </a:lnTo>
                <a:lnTo>
                  <a:pt x="7772" y="284397"/>
                </a:lnTo>
                <a:lnTo>
                  <a:pt x="0" y="289924"/>
                </a:lnTo>
                <a:lnTo>
                  <a:pt x="0" y="895572"/>
                </a:lnTo>
                <a:lnTo>
                  <a:pt x="125653" y="895572"/>
                </a:lnTo>
                <a:lnTo>
                  <a:pt x="127756" y="892155"/>
                </a:lnTo>
                <a:lnTo>
                  <a:pt x="131082" y="885502"/>
                </a:lnTo>
                <a:lnTo>
                  <a:pt x="133696" y="878374"/>
                </a:lnTo>
                <a:lnTo>
                  <a:pt x="135834" y="871722"/>
                </a:lnTo>
                <a:lnTo>
                  <a:pt x="137735" y="864594"/>
                </a:lnTo>
                <a:lnTo>
                  <a:pt x="138923" y="857466"/>
                </a:lnTo>
                <a:lnTo>
                  <a:pt x="140348" y="850339"/>
                </a:lnTo>
                <a:lnTo>
                  <a:pt x="141298" y="843211"/>
                </a:lnTo>
                <a:lnTo>
                  <a:pt x="142011" y="828955"/>
                </a:lnTo>
                <a:lnTo>
                  <a:pt x="142486" y="814225"/>
                </a:lnTo>
                <a:lnTo>
                  <a:pt x="142486" y="799494"/>
                </a:lnTo>
                <a:lnTo>
                  <a:pt x="142486" y="782625"/>
                </a:lnTo>
                <a:lnTo>
                  <a:pt x="142486" y="771458"/>
                </a:lnTo>
                <a:lnTo>
                  <a:pt x="143912" y="778586"/>
                </a:lnTo>
                <a:lnTo>
                  <a:pt x="145100" y="784526"/>
                </a:lnTo>
                <a:lnTo>
                  <a:pt x="147476" y="789753"/>
                </a:lnTo>
                <a:lnTo>
                  <a:pt x="149614" y="794267"/>
                </a:lnTo>
                <a:lnTo>
                  <a:pt x="152228" y="797831"/>
                </a:lnTo>
                <a:lnTo>
                  <a:pt x="155554" y="801395"/>
                </a:lnTo>
                <a:lnTo>
                  <a:pt x="158643" y="803533"/>
                </a:lnTo>
                <a:lnTo>
                  <a:pt x="162206" y="805909"/>
                </a:lnTo>
                <a:lnTo>
                  <a:pt x="165770" y="807572"/>
                </a:lnTo>
                <a:lnTo>
                  <a:pt x="169572" y="808523"/>
                </a:lnTo>
                <a:lnTo>
                  <a:pt x="174086" y="809473"/>
                </a:lnTo>
                <a:lnTo>
                  <a:pt x="178600" y="810186"/>
                </a:lnTo>
                <a:lnTo>
                  <a:pt x="187866" y="810661"/>
                </a:lnTo>
                <a:lnTo>
                  <a:pt x="198083" y="810661"/>
                </a:lnTo>
                <a:lnTo>
                  <a:pt x="236810" y="810661"/>
                </a:lnTo>
                <a:lnTo>
                  <a:pt x="249640" y="811136"/>
                </a:lnTo>
                <a:lnTo>
                  <a:pt x="263183" y="811611"/>
                </a:lnTo>
                <a:lnTo>
                  <a:pt x="270310" y="811611"/>
                </a:lnTo>
                <a:lnTo>
                  <a:pt x="276963" y="811136"/>
                </a:lnTo>
                <a:lnTo>
                  <a:pt x="283140" y="810186"/>
                </a:lnTo>
                <a:lnTo>
                  <a:pt x="289793" y="808523"/>
                </a:lnTo>
                <a:lnTo>
                  <a:pt x="295495" y="806147"/>
                </a:lnTo>
                <a:lnTo>
                  <a:pt x="301435" y="803058"/>
                </a:lnTo>
                <a:lnTo>
                  <a:pt x="304524" y="801395"/>
                </a:lnTo>
                <a:lnTo>
                  <a:pt x="307137" y="799256"/>
                </a:lnTo>
                <a:lnTo>
                  <a:pt x="309275" y="796881"/>
                </a:lnTo>
                <a:lnTo>
                  <a:pt x="312126" y="794267"/>
                </a:lnTo>
                <a:lnTo>
                  <a:pt x="314265" y="791178"/>
                </a:lnTo>
                <a:lnTo>
                  <a:pt x="316403" y="788090"/>
                </a:lnTo>
                <a:lnTo>
                  <a:pt x="318304" y="784051"/>
                </a:lnTo>
                <a:lnTo>
                  <a:pt x="319967" y="780012"/>
                </a:lnTo>
                <a:lnTo>
                  <a:pt x="321868" y="775973"/>
                </a:lnTo>
                <a:lnTo>
                  <a:pt x="323056" y="771221"/>
                </a:lnTo>
                <a:lnTo>
                  <a:pt x="324481" y="765756"/>
                </a:lnTo>
                <a:lnTo>
                  <a:pt x="325907" y="760529"/>
                </a:lnTo>
                <a:lnTo>
                  <a:pt x="325907" y="827530"/>
                </a:lnTo>
                <a:lnTo>
                  <a:pt x="310226" y="835608"/>
                </a:lnTo>
                <a:lnTo>
                  <a:pt x="295970" y="843686"/>
                </a:lnTo>
                <a:lnTo>
                  <a:pt x="282665" y="850339"/>
                </a:lnTo>
                <a:lnTo>
                  <a:pt x="276488" y="852952"/>
                </a:lnTo>
                <a:lnTo>
                  <a:pt x="270310" y="855565"/>
                </a:lnTo>
                <a:lnTo>
                  <a:pt x="266271" y="857942"/>
                </a:lnTo>
                <a:lnTo>
                  <a:pt x="262708" y="860080"/>
                </a:lnTo>
                <a:lnTo>
                  <a:pt x="259619" y="862693"/>
                </a:lnTo>
                <a:lnTo>
                  <a:pt x="256768" y="865544"/>
                </a:lnTo>
                <a:lnTo>
                  <a:pt x="254154" y="868633"/>
                </a:lnTo>
                <a:lnTo>
                  <a:pt x="252491" y="871722"/>
                </a:lnTo>
                <a:lnTo>
                  <a:pt x="250590" y="874810"/>
                </a:lnTo>
                <a:lnTo>
                  <a:pt x="249402" y="877899"/>
                </a:lnTo>
                <a:lnTo>
                  <a:pt x="248452" y="880988"/>
                </a:lnTo>
                <a:lnTo>
                  <a:pt x="247977" y="884076"/>
                </a:lnTo>
                <a:lnTo>
                  <a:pt x="247977" y="887165"/>
                </a:lnTo>
                <a:lnTo>
                  <a:pt x="248452" y="890016"/>
                </a:lnTo>
                <a:lnTo>
                  <a:pt x="249402" y="893105"/>
                </a:lnTo>
                <a:lnTo>
                  <a:pt x="250075" y="895572"/>
                </a:lnTo>
                <a:lnTo>
                  <a:pt x="474750" y="895572"/>
                </a:lnTo>
                <a:lnTo>
                  <a:pt x="475827" y="894768"/>
                </a:lnTo>
                <a:lnTo>
                  <a:pt x="486993" y="882889"/>
                </a:lnTo>
                <a:lnTo>
                  <a:pt x="497210" y="870296"/>
                </a:lnTo>
                <a:lnTo>
                  <a:pt x="506951" y="857942"/>
                </a:lnTo>
                <a:lnTo>
                  <a:pt x="515742" y="844636"/>
                </a:lnTo>
                <a:lnTo>
                  <a:pt x="523820" y="831094"/>
                </a:lnTo>
                <a:lnTo>
                  <a:pt x="531898" y="816838"/>
                </a:lnTo>
                <a:lnTo>
                  <a:pt x="539026" y="802583"/>
                </a:lnTo>
                <a:lnTo>
                  <a:pt x="545678" y="788565"/>
                </a:lnTo>
                <a:lnTo>
                  <a:pt x="552331" y="773359"/>
                </a:lnTo>
                <a:lnTo>
                  <a:pt x="558033" y="758628"/>
                </a:lnTo>
                <a:lnTo>
                  <a:pt x="563498" y="743185"/>
                </a:lnTo>
                <a:lnTo>
                  <a:pt x="568725" y="727979"/>
                </a:lnTo>
                <a:lnTo>
                  <a:pt x="573714" y="712298"/>
                </a:lnTo>
                <a:lnTo>
                  <a:pt x="577991" y="696855"/>
                </a:lnTo>
                <a:lnTo>
                  <a:pt x="586544" y="665255"/>
                </a:lnTo>
                <a:lnTo>
                  <a:pt x="586069" y="663117"/>
                </a:lnTo>
                <a:lnTo>
                  <a:pt x="584881" y="660266"/>
                </a:lnTo>
                <a:lnTo>
                  <a:pt x="582980" y="657177"/>
                </a:lnTo>
                <a:lnTo>
                  <a:pt x="580367" y="654088"/>
                </a:lnTo>
                <a:lnTo>
                  <a:pt x="574902" y="647911"/>
                </a:lnTo>
                <a:lnTo>
                  <a:pt x="570150" y="642922"/>
                </a:lnTo>
                <a:lnTo>
                  <a:pt x="565636" y="636744"/>
                </a:lnTo>
                <a:lnTo>
                  <a:pt x="560647" y="631517"/>
                </a:lnTo>
                <a:lnTo>
                  <a:pt x="555420" y="626053"/>
                </a:lnTo>
                <a:lnTo>
                  <a:pt x="550193" y="621301"/>
                </a:lnTo>
                <a:lnTo>
                  <a:pt x="544253" y="616787"/>
                </a:lnTo>
                <a:lnTo>
                  <a:pt x="538075" y="612272"/>
                </a:lnTo>
                <a:lnTo>
                  <a:pt x="525721" y="603719"/>
                </a:lnTo>
                <a:lnTo>
                  <a:pt x="563023" y="619875"/>
                </a:lnTo>
                <a:lnTo>
                  <a:pt x="581317" y="628191"/>
                </a:lnTo>
                <a:lnTo>
                  <a:pt x="599374" y="636744"/>
                </a:lnTo>
                <a:lnTo>
                  <a:pt x="607927" y="641259"/>
                </a:lnTo>
                <a:lnTo>
                  <a:pt x="616718" y="646010"/>
                </a:lnTo>
                <a:lnTo>
                  <a:pt x="625271" y="651000"/>
                </a:lnTo>
                <a:lnTo>
                  <a:pt x="633349" y="656227"/>
                </a:lnTo>
                <a:lnTo>
                  <a:pt x="641665" y="662167"/>
                </a:lnTo>
                <a:lnTo>
                  <a:pt x="649268" y="668344"/>
                </a:lnTo>
                <a:lnTo>
                  <a:pt x="656871" y="674996"/>
                </a:lnTo>
                <a:lnTo>
                  <a:pt x="664474" y="682124"/>
                </a:lnTo>
                <a:lnTo>
                  <a:pt x="668988" y="686163"/>
                </a:lnTo>
                <a:lnTo>
                  <a:pt x="672790" y="690202"/>
                </a:lnTo>
                <a:lnTo>
                  <a:pt x="677304" y="693291"/>
                </a:lnTo>
                <a:lnTo>
                  <a:pt x="682293" y="696855"/>
                </a:lnTo>
                <a:lnTo>
                  <a:pt x="686570" y="699468"/>
                </a:lnTo>
                <a:lnTo>
                  <a:pt x="691559" y="702082"/>
                </a:lnTo>
                <a:lnTo>
                  <a:pt x="696549" y="703983"/>
                </a:lnTo>
                <a:lnTo>
                  <a:pt x="701300" y="705646"/>
                </a:lnTo>
                <a:lnTo>
                  <a:pt x="706290" y="707071"/>
                </a:lnTo>
                <a:lnTo>
                  <a:pt x="711042" y="708497"/>
                </a:lnTo>
                <a:lnTo>
                  <a:pt x="716506" y="708734"/>
                </a:lnTo>
                <a:lnTo>
                  <a:pt x="721258" y="708734"/>
                </a:lnTo>
                <a:lnTo>
                  <a:pt x="726723" y="708497"/>
                </a:lnTo>
                <a:lnTo>
                  <a:pt x="731712" y="707546"/>
                </a:lnTo>
                <a:lnTo>
                  <a:pt x="736939" y="706121"/>
                </a:lnTo>
                <a:lnTo>
                  <a:pt x="742166" y="704458"/>
                </a:lnTo>
                <a:lnTo>
                  <a:pt x="749294" y="702082"/>
                </a:lnTo>
                <a:lnTo>
                  <a:pt x="756184" y="699468"/>
                </a:lnTo>
                <a:lnTo>
                  <a:pt x="762361" y="696380"/>
                </a:lnTo>
                <a:lnTo>
                  <a:pt x="768063" y="692816"/>
                </a:lnTo>
                <a:lnTo>
                  <a:pt x="773528" y="689252"/>
                </a:lnTo>
                <a:lnTo>
                  <a:pt x="778755" y="684738"/>
                </a:lnTo>
                <a:lnTo>
                  <a:pt x="783269" y="680461"/>
                </a:lnTo>
                <a:lnTo>
                  <a:pt x="787308" y="674996"/>
                </a:lnTo>
                <a:lnTo>
                  <a:pt x="791110" y="669769"/>
                </a:lnTo>
                <a:lnTo>
                  <a:pt x="794436" y="663830"/>
                </a:lnTo>
                <a:lnTo>
                  <a:pt x="797050" y="657652"/>
                </a:lnTo>
                <a:lnTo>
                  <a:pt x="799188" y="651000"/>
                </a:lnTo>
                <a:lnTo>
                  <a:pt x="801089" y="643872"/>
                </a:lnTo>
                <a:lnTo>
                  <a:pt x="802277" y="636744"/>
                </a:lnTo>
                <a:lnTo>
                  <a:pt x="803227" y="628666"/>
                </a:lnTo>
                <a:lnTo>
                  <a:pt x="803227" y="620826"/>
                </a:lnTo>
                <a:lnTo>
                  <a:pt x="801089" y="622489"/>
                </a:lnTo>
                <a:lnTo>
                  <a:pt x="798238" y="623914"/>
                </a:lnTo>
                <a:lnTo>
                  <a:pt x="793011" y="626053"/>
                </a:lnTo>
                <a:lnTo>
                  <a:pt x="790397" y="627478"/>
                </a:lnTo>
                <a:lnTo>
                  <a:pt x="788496" y="628191"/>
                </a:lnTo>
                <a:lnTo>
                  <a:pt x="787308" y="630092"/>
                </a:lnTo>
                <a:lnTo>
                  <a:pt x="786833" y="631755"/>
                </a:lnTo>
                <a:lnTo>
                  <a:pt x="785408" y="635794"/>
                </a:lnTo>
                <a:lnTo>
                  <a:pt x="784220" y="639833"/>
                </a:lnTo>
                <a:lnTo>
                  <a:pt x="780656" y="646485"/>
                </a:lnTo>
                <a:lnTo>
                  <a:pt x="776617" y="653138"/>
                </a:lnTo>
                <a:lnTo>
                  <a:pt x="772103" y="659078"/>
                </a:lnTo>
                <a:lnTo>
                  <a:pt x="762361" y="670007"/>
                </a:lnTo>
                <a:lnTo>
                  <a:pt x="757847" y="675947"/>
                </a:lnTo>
                <a:lnTo>
                  <a:pt x="753333" y="682124"/>
                </a:lnTo>
                <a:lnTo>
                  <a:pt x="750244" y="684738"/>
                </a:lnTo>
                <a:lnTo>
                  <a:pt x="747155" y="687589"/>
                </a:lnTo>
                <a:lnTo>
                  <a:pt x="744067" y="689252"/>
                </a:lnTo>
                <a:lnTo>
                  <a:pt x="740978" y="690915"/>
                </a:lnTo>
                <a:lnTo>
                  <a:pt x="737890" y="691865"/>
                </a:lnTo>
                <a:lnTo>
                  <a:pt x="734801" y="692816"/>
                </a:lnTo>
                <a:lnTo>
                  <a:pt x="731950" y="693291"/>
                </a:lnTo>
                <a:lnTo>
                  <a:pt x="728861" y="693291"/>
                </a:lnTo>
                <a:lnTo>
                  <a:pt x="723634" y="692816"/>
                </a:lnTo>
                <a:lnTo>
                  <a:pt x="718169" y="691390"/>
                </a:lnTo>
                <a:lnTo>
                  <a:pt x="713418" y="689727"/>
                </a:lnTo>
                <a:lnTo>
                  <a:pt x="708903" y="687826"/>
                </a:lnTo>
                <a:lnTo>
                  <a:pt x="706765" y="687589"/>
                </a:lnTo>
                <a:lnTo>
                  <a:pt x="704864" y="687114"/>
                </a:lnTo>
                <a:lnTo>
                  <a:pt x="703201" y="686163"/>
                </a:lnTo>
                <a:lnTo>
                  <a:pt x="701776" y="684738"/>
                </a:lnTo>
                <a:lnTo>
                  <a:pt x="698687" y="681649"/>
                </a:lnTo>
                <a:lnTo>
                  <a:pt x="696549" y="678085"/>
                </a:lnTo>
                <a:lnTo>
                  <a:pt x="694648" y="673571"/>
                </a:lnTo>
                <a:lnTo>
                  <a:pt x="693460" y="668819"/>
                </a:lnTo>
                <a:lnTo>
                  <a:pt x="692510" y="664305"/>
                </a:lnTo>
                <a:lnTo>
                  <a:pt x="692510" y="659790"/>
                </a:lnTo>
                <a:lnTo>
                  <a:pt x="692510" y="647436"/>
                </a:lnTo>
                <a:lnTo>
                  <a:pt x="693460" y="635319"/>
                </a:lnTo>
                <a:lnTo>
                  <a:pt x="694173" y="624389"/>
                </a:lnTo>
                <a:lnTo>
                  <a:pt x="695598" y="612748"/>
                </a:lnTo>
                <a:lnTo>
                  <a:pt x="699162" y="591364"/>
                </a:lnTo>
                <a:lnTo>
                  <a:pt x="703676" y="570456"/>
                </a:lnTo>
                <a:lnTo>
                  <a:pt x="720070" y="574971"/>
                </a:lnTo>
                <a:lnTo>
                  <a:pt x="736939" y="579247"/>
                </a:lnTo>
                <a:lnTo>
                  <a:pt x="770677" y="589226"/>
                </a:lnTo>
                <a:lnTo>
                  <a:pt x="788021" y="593503"/>
                </a:lnTo>
                <a:lnTo>
                  <a:pt x="805365" y="597542"/>
                </a:lnTo>
                <a:lnTo>
                  <a:pt x="823660" y="601106"/>
                </a:lnTo>
                <a:lnTo>
                  <a:pt x="841954" y="603719"/>
                </a:lnTo>
                <a:lnTo>
                  <a:pt x="861437" y="606570"/>
                </a:lnTo>
                <a:lnTo>
                  <a:pt x="880682" y="608233"/>
                </a:lnTo>
                <a:lnTo>
                  <a:pt x="889948" y="608708"/>
                </a:lnTo>
                <a:lnTo>
                  <a:pt x="898976" y="608708"/>
                </a:lnTo>
                <a:lnTo>
                  <a:pt x="908242" y="608708"/>
                </a:lnTo>
                <a:lnTo>
                  <a:pt x="916795" y="608233"/>
                </a:lnTo>
                <a:lnTo>
                  <a:pt x="925586" y="607283"/>
                </a:lnTo>
                <a:lnTo>
                  <a:pt x="934140" y="606095"/>
                </a:lnTo>
                <a:lnTo>
                  <a:pt x="942455" y="604669"/>
                </a:lnTo>
                <a:lnTo>
                  <a:pt x="950533" y="603006"/>
                </a:lnTo>
                <a:lnTo>
                  <a:pt x="958611" y="600630"/>
                </a:lnTo>
                <a:lnTo>
                  <a:pt x="966452" y="598017"/>
                </a:lnTo>
                <a:lnTo>
                  <a:pt x="974055" y="595403"/>
                </a:lnTo>
                <a:lnTo>
                  <a:pt x="981658" y="591840"/>
                </a:lnTo>
                <a:lnTo>
                  <a:pt x="989261" y="588276"/>
                </a:lnTo>
                <a:lnTo>
                  <a:pt x="996388" y="584237"/>
                </a:lnTo>
                <a:lnTo>
                  <a:pt x="1003041" y="579247"/>
                </a:lnTo>
                <a:lnTo>
                  <a:pt x="1009694" y="574495"/>
                </a:lnTo>
                <a:lnTo>
                  <a:pt x="1016346" y="569031"/>
                </a:lnTo>
                <a:lnTo>
                  <a:pt x="1022998" y="562853"/>
                </a:lnTo>
                <a:lnTo>
                  <a:pt x="1029176" y="556676"/>
                </a:lnTo>
                <a:lnTo>
                  <a:pt x="1035116" y="549548"/>
                </a:lnTo>
                <a:lnTo>
                  <a:pt x="1040818" y="541945"/>
                </a:lnTo>
                <a:lnTo>
                  <a:pt x="1046520" y="534342"/>
                </a:lnTo>
                <a:lnTo>
                  <a:pt x="1051985" y="526027"/>
                </a:lnTo>
                <a:lnTo>
                  <a:pt x="1056737" y="516523"/>
                </a:lnTo>
                <a:lnTo>
                  <a:pt x="1061726" y="507257"/>
                </a:lnTo>
                <a:lnTo>
                  <a:pt x="1066715" y="497041"/>
                </a:lnTo>
                <a:lnTo>
                  <a:pt x="1070992" y="486349"/>
                </a:lnTo>
                <a:lnTo>
                  <a:pt x="1075506" y="475182"/>
                </a:lnTo>
                <a:lnTo>
                  <a:pt x="1079070" y="462828"/>
                </a:lnTo>
                <a:lnTo>
                  <a:pt x="1082634" y="449998"/>
                </a:lnTo>
                <a:lnTo>
                  <a:pt x="1084772" y="437405"/>
                </a:lnTo>
                <a:lnTo>
                  <a:pt x="1087148" y="425050"/>
                </a:lnTo>
                <a:lnTo>
                  <a:pt x="1088811" y="411983"/>
                </a:lnTo>
                <a:lnTo>
                  <a:pt x="1089762" y="399628"/>
                </a:lnTo>
                <a:lnTo>
                  <a:pt x="1090712" y="386798"/>
                </a:lnTo>
                <a:lnTo>
                  <a:pt x="1090712" y="373731"/>
                </a:lnTo>
                <a:lnTo>
                  <a:pt x="1090712" y="360901"/>
                </a:lnTo>
                <a:lnTo>
                  <a:pt x="1089762" y="348071"/>
                </a:lnTo>
                <a:lnTo>
                  <a:pt x="1088811" y="335004"/>
                </a:lnTo>
                <a:lnTo>
                  <a:pt x="1088099" y="321698"/>
                </a:lnTo>
                <a:lnTo>
                  <a:pt x="1084772" y="295563"/>
                </a:lnTo>
                <a:lnTo>
                  <a:pt x="1080971" y="268478"/>
                </a:lnTo>
                <a:lnTo>
                  <a:pt x="1078595" y="258262"/>
                </a:lnTo>
                <a:lnTo>
                  <a:pt x="1075981" y="248283"/>
                </a:lnTo>
                <a:lnTo>
                  <a:pt x="1072417" y="238542"/>
                </a:lnTo>
                <a:lnTo>
                  <a:pt x="1069329" y="229275"/>
                </a:lnTo>
                <a:lnTo>
                  <a:pt x="1061251" y="210031"/>
                </a:lnTo>
                <a:lnTo>
                  <a:pt x="1053173" y="190073"/>
                </a:lnTo>
                <a:lnTo>
                  <a:pt x="1051034" y="186034"/>
                </a:lnTo>
                <a:lnTo>
                  <a:pt x="1048896" y="182470"/>
                </a:lnTo>
                <a:lnTo>
                  <a:pt x="1046045" y="179381"/>
                </a:lnTo>
                <a:lnTo>
                  <a:pt x="1043906" y="176768"/>
                </a:lnTo>
                <a:lnTo>
                  <a:pt x="1041293" y="174630"/>
                </a:lnTo>
                <a:lnTo>
                  <a:pt x="1038680" y="172729"/>
                </a:lnTo>
                <a:lnTo>
                  <a:pt x="1035828" y="171303"/>
                </a:lnTo>
                <a:lnTo>
                  <a:pt x="1032740" y="170591"/>
                </a:lnTo>
                <a:lnTo>
                  <a:pt x="1030126" y="170591"/>
                </a:lnTo>
                <a:lnTo>
                  <a:pt x="1027038" y="170591"/>
                </a:lnTo>
                <a:lnTo>
                  <a:pt x="1024424" y="171303"/>
                </a:lnTo>
                <a:lnTo>
                  <a:pt x="1021335" y="172729"/>
                </a:lnTo>
                <a:lnTo>
                  <a:pt x="1018247" y="174867"/>
                </a:lnTo>
                <a:lnTo>
                  <a:pt x="1014920" y="177718"/>
                </a:lnTo>
                <a:lnTo>
                  <a:pt x="1011832" y="180807"/>
                </a:lnTo>
                <a:lnTo>
                  <a:pt x="1008743" y="184846"/>
                </a:lnTo>
                <a:lnTo>
                  <a:pt x="991874" y="201240"/>
                </a:lnTo>
                <a:lnTo>
                  <a:pt x="983321" y="209318"/>
                </a:lnTo>
                <a:lnTo>
                  <a:pt x="974530" y="216683"/>
                </a:lnTo>
                <a:lnTo>
                  <a:pt x="965739" y="223811"/>
                </a:lnTo>
                <a:lnTo>
                  <a:pt x="956236" y="230226"/>
                </a:lnTo>
                <a:lnTo>
                  <a:pt x="946494" y="235928"/>
                </a:lnTo>
                <a:lnTo>
                  <a:pt x="941505" y="238066"/>
                </a:lnTo>
                <a:lnTo>
                  <a:pt x="936753" y="240442"/>
                </a:lnTo>
                <a:lnTo>
                  <a:pt x="932239" y="242581"/>
                </a:lnTo>
                <a:lnTo>
                  <a:pt x="928675" y="245669"/>
                </a:lnTo>
                <a:lnTo>
                  <a:pt x="925111" y="249233"/>
                </a:lnTo>
                <a:lnTo>
                  <a:pt x="922022" y="252797"/>
                </a:lnTo>
                <a:lnTo>
                  <a:pt x="919884" y="257311"/>
                </a:lnTo>
                <a:lnTo>
                  <a:pt x="918934" y="259925"/>
                </a:lnTo>
                <a:lnTo>
                  <a:pt x="918459" y="262538"/>
                </a:lnTo>
                <a:lnTo>
                  <a:pt x="918459" y="265389"/>
                </a:lnTo>
                <a:lnTo>
                  <a:pt x="918459" y="268003"/>
                </a:lnTo>
                <a:lnTo>
                  <a:pt x="918934" y="271091"/>
                </a:lnTo>
                <a:lnTo>
                  <a:pt x="919884" y="274180"/>
                </a:lnTo>
                <a:lnTo>
                  <a:pt x="921547" y="282258"/>
                </a:lnTo>
                <a:lnTo>
                  <a:pt x="922973" y="290574"/>
                </a:lnTo>
                <a:lnTo>
                  <a:pt x="923923" y="299127"/>
                </a:lnTo>
                <a:lnTo>
                  <a:pt x="924161" y="307443"/>
                </a:lnTo>
                <a:lnTo>
                  <a:pt x="924161" y="315996"/>
                </a:lnTo>
                <a:lnTo>
                  <a:pt x="923923" y="324550"/>
                </a:lnTo>
                <a:lnTo>
                  <a:pt x="922973" y="332865"/>
                </a:lnTo>
                <a:lnTo>
                  <a:pt x="922022" y="340943"/>
                </a:lnTo>
                <a:lnTo>
                  <a:pt x="920597" y="349259"/>
                </a:lnTo>
                <a:lnTo>
                  <a:pt x="918934" y="357812"/>
                </a:lnTo>
                <a:lnTo>
                  <a:pt x="914420" y="374681"/>
                </a:lnTo>
                <a:lnTo>
                  <a:pt x="909192" y="391075"/>
                </a:lnTo>
                <a:lnTo>
                  <a:pt x="903253" y="408182"/>
                </a:lnTo>
                <a:lnTo>
                  <a:pt x="903253" y="397965"/>
                </a:lnTo>
                <a:lnTo>
                  <a:pt x="904203" y="387274"/>
                </a:lnTo>
                <a:lnTo>
                  <a:pt x="906104" y="367078"/>
                </a:lnTo>
                <a:lnTo>
                  <a:pt x="907767" y="347596"/>
                </a:lnTo>
                <a:lnTo>
                  <a:pt x="908717" y="338567"/>
                </a:lnTo>
                <a:lnTo>
                  <a:pt x="908717" y="329777"/>
                </a:lnTo>
                <a:lnTo>
                  <a:pt x="908717" y="325738"/>
                </a:lnTo>
                <a:lnTo>
                  <a:pt x="907767" y="322649"/>
                </a:lnTo>
                <a:lnTo>
                  <a:pt x="906817" y="319560"/>
                </a:lnTo>
                <a:lnTo>
                  <a:pt x="905154" y="316471"/>
                </a:lnTo>
                <a:lnTo>
                  <a:pt x="903728" y="314096"/>
                </a:lnTo>
                <a:lnTo>
                  <a:pt x="901590" y="311957"/>
                </a:lnTo>
                <a:lnTo>
                  <a:pt x="897551" y="307443"/>
                </a:lnTo>
                <a:lnTo>
                  <a:pt x="895412" y="309344"/>
                </a:lnTo>
                <a:lnTo>
                  <a:pt x="892561" y="310769"/>
                </a:lnTo>
                <a:lnTo>
                  <a:pt x="887334" y="313383"/>
                </a:lnTo>
                <a:lnTo>
                  <a:pt x="884721" y="314096"/>
                </a:lnTo>
                <a:lnTo>
                  <a:pt x="882820" y="315521"/>
                </a:lnTo>
                <a:lnTo>
                  <a:pt x="881632" y="316947"/>
                </a:lnTo>
                <a:lnTo>
                  <a:pt x="881157" y="318610"/>
                </a:lnTo>
                <a:lnTo>
                  <a:pt x="872604" y="331915"/>
                </a:lnTo>
                <a:lnTo>
                  <a:pt x="864288" y="346646"/>
                </a:lnTo>
                <a:lnTo>
                  <a:pt x="856210" y="361376"/>
                </a:lnTo>
                <a:lnTo>
                  <a:pt x="847656" y="374681"/>
                </a:lnTo>
                <a:lnTo>
                  <a:pt x="841954" y="374681"/>
                </a:lnTo>
                <a:lnTo>
                  <a:pt x="846468" y="357812"/>
                </a:lnTo>
                <a:lnTo>
                  <a:pt x="850508" y="339518"/>
                </a:lnTo>
                <a:lnTo>
                  <a:pt x="854784" y="319560"/>
                </a:lnTo>
                <a:lnTo>
                  <a:pt x="858823" y="296514"/>
                </a:lnTo>
                <a:lnTo>
                  <a:pt x="848132" y="303879"/>
                </a:lnTo>
                <a:lnTo>
                  <a:pt x="840054" y="310294"/>
                </a:lnTo>
                <a:lnTo>
                  <a:pt x="833163" y="316947"/>
                </a:lnTo>
                <a:lnTo>
                  <a:pt x="825560" y="324550"/>
                </a:lnTo>
                <a:lnTo>
                  <a:pt x="823185" y="326688"/>
                </a:lnTo>
                <a:lnTo>
                  <a:pt x="821522" y="329301"/>
                </a:lnTo>
                <a:lnTo>
                  <a:pt x="817007" y="335954"/>
                </a:lnTo>
                <a:lnTo>
                  <a:pt x="812968" y="344032"/>
                </a:lnTo>
                <a:lnTo>
                  <a:pt x="808929" y="352585"/>
                </a:lnTo>
                <a:lnTo>
                  <a:pt x="809880" y="343557"/>
                </a:lnTo>
                <a:lnTo>
                  <a:pt x="811305" y="335479"/>
                </a:lnTo>
                <a:lnTo>
                  <a:pt x="812493" y="328826"/>
                </a:lnTo>
                <a:lnTo>
                  <a:pt x="814394" y="323124"/>
                </a:lnTo>
                <a:lnTo>
                  <a:pt x="816532" y="317659"/>
                </a:lnTo>
                <a:lnTo>
                  <a:pt x="819146" y="313383"/>
                </a:lnTo>
                <a:lnTo>
                  <a:pt x="822709" y="309344"/>
                </a:lnTo>
                <a:lnTo>
                  <a:pt x="826748" y="306255"/>
                </a:lnTo>
                <a:lnTo>
                  <a:pt x="832213" y="303166"/>
                </a:lnTo>
                <a:lnTo>
                  <a:pt x="838390" y="300315"/>
                </a:lnTo>
                <a:lnTo>
                  <a:pt x="845518" y="298177"/>
                </a:lnTo>
                <a:lnTo>
                  <a:pt x="854071" y="295563"/>
                </a:lnTo>
                <a:lnTo>
                  <a:pt x="875217" y="290574"/>
                </a:lnTo>
                <a:lnTo>
                  <a:pt x="903253" y="285347"/>
                </a:lnTo>
                <a:lnTo>
                  <a:pt x="886384" y="268478"/>
                </a:lnTo>
                <a:lnTo>
                  <a:pt x="879731" y="270141"/>
                </a:lnTo>
                <a:lnTo>
                  <a:pt x="873079" y="271091"/>
                </a:lnTo>
                <a:lnTo>
                  <a:pt x="867376" y="271567"/>
                </a:lnTo>
                <a:lnTo>
                  <a:pt x="862387" y="271091"/>
                </a:lnTo>
                <a:lnTo>
                  <a:pt x="857398" y="269666"/>
                </a:lnTo>
                <a:lnTo>
                  <a:pt x="853596" y="268003"/>
                </a:lnTo>
                <a:lnTo>
                  <a:pt x="849557" y="265627"/>
                </a:lnTo>
                <a:lnTo>
                  <a:pt x="846468" y="262538"/>
                </a:lnTo>
                <a:lnTo>
                  <a:pt x="843380" y="259450"/>
                </a:lnTo>
                <a:lnTo>
                  <a:pt x="840529" y="255411"/>
                </a:lnTo>
                <a:lnTo>
                  <a:pt x="838390" y="251134"/>
                </a:lnTo>
                <a:lnTo>
                  <a:pt x="836490" y="246620"/>
                </a:lnTo>
                <a:lnTo>
                  <a:pt x="834827" y="241155"/>
                </a:lnTo>
                <a:lnTo>
                  <a:pt x="833401" y="235453"/>
                </a:lnTo>
                <a:lnTo>
                  <a:pt x="831263" y="223336"/>
                </a:lnTo>
                <a:lnTo>
                  <a:pt x="897551" y="206942"/>
                </a:lnTo>
                <a:lnTo>
                  <a:pt x="888997" y="194112"/>
                </a:lnTo>
                <a:lnTo>
                  <a:pt x="880682" y="181282"/>
                </a:lnTo>
                <a:lnTo>
                  <a:pt x="871416" y="168690"/>
                </a:lnTo>
                <a:lnTo>
                  <a:pt x="866901" y="162988"/>
                </a:lnTo>
                <a:lnTo>
                  <a:pt x="861437" y="157048"/>
                </a:lnTo>
                <a:lnTo>
                  <a:pt x="856210" y="151821"/>
                </a:lnTo>
                <a:lnTo>
                  <a:pt x="850745" y="146831"/>
                </a:lnTo>
                <a:lnTo>
                  <a:pt x="844568" y="142555"/>
                </a:lnTo>
                <a:lnTo>
                  <a:pt x="838390" y="138516"/>
                </a:lnTo>
                <a:lnTo>
                  <a:pt x="831738" y="134952"/>
                </a:lnTo>
                <a:lnTo>
                  <a:pt x="824610" y="132338"/>
                </a:lnTo>
                <a:lnTo>
                  <a:pt x="817007" y="129963"/>
                </a:lnTo>
                <a:lnTo>
                  <a:pt x="808929" y="128774"/>
                </a:lnTo>
                <a:lnTo>
                  <a:pt x="806791" y="128299"/>
                </a:lnTo>
                <a:lnTo>
                  <a:pt x="804652" y="127824"/>
                </a:lnTo>
                <a:lnTo>
                  <a:pt x="802752" y="126399"/>
                </a:lnTo>
                <a:lnTo>
                  <a:pt x="801089" y="125211"/>
                </a:lnTo>
                <a:lnTo>
                  <a:pt x="799663" y="123310"/>
                </a:lnTo>
                <a:lnTo>
                  <a:pt x="798713" y="121647"/>
                </a:lnTo>
                <a:lnTo>
                  <a:pt x="798000" y="119271"/>
                </a:lnTo>
                <a:lnTo>
                  <a:pt x="798000" y="117608"/>
                </a:lnTo>
                <a:lnTo>
                  <a:pt x="785408" y="106916"/>
                </a:lnTo>
                <a:lnTo>
                  <a:pt x="772578" y="95749"/>
                </a:lnTo>
                <a:lnTo>
                  <a:pt x="747155" y="72703"/>
                </a:lnTo>
                <a:lnTo>
                  <a:pt x="733850" y="61061"/>
                </a:lnTo>
                <a:lnTo>
                  <a:pt x="720545" y="49894"/>
                </a:lnTo>
                <a:lnTo>
                  <a:pt x="706765" y="38728"/>
                </a:lnTo>
                <a:lnTo>
                  <a:pt x="692510" y="28036"/>
                </a:lnTo>
                <a:lnTo>
                  <a:pt x="679442" y="21859"/>
                </a:lnTo>
                <a:lnTo>
                  <a:pt x="666137" y="16632"/>
                </a:lnTo>
                <a:lnTo>
                  <a:pt x="652832" y="11642"/>
                </a:lnTo>
                <a:lnTo>
                  <a:pt x="639527" y="7603"/>
                </a:lnTo>
                <a:lnTo>
                  <a:pt x="626222" y="4514"/>
                </a:lnTo>
                <a:lnTo>
                  <a:pt x="612917" y="1901"/>
                </a:lnTo>
                <a:lnTo>
                  <a:pt x="599374" y="475"/>
                </a:lnTo>
                <a:close/>
              </a:path>
            </a:pathLst>
          </a:custGeom>
          <a:solidFill>
            <a:schemeClr val="bg1">
              <a:alpha val="25000"/>
            </a:schemeClr>
          </a:solidFill>
          <a:ln>
            <a:noFill/>
          </a:ln>
        </p:spPr>
        <p:txBody>
          <a:bodyPr vert="horz" wrap="square" lIns="89642" tIns="44821" rIns="89642" bIns="44821" numCol="1" anchor="t" anchorCtr="0" compatLnSpc="1">
            <a:prstTxWarp prst="textNoShape">
              <a:avLst/>
            </a:prstTxWarp>
            <a:noAutofit/>
          </a:bodyPr>
          <a:lstStyle/>
          <a:p>
            <a:endParaRPr lang="en-IN" sz="1765"/>
          </a:p>
        </p:txBody>
      </p:sp>
      <p:sp>
        <p:nvSpPr>
          <p:cNvPr id="7" name="Rectangle 6"/>
          <p:cNvSpPr/>
          <p:nvPr/>
        </p:nvSpPr>
        <p:spPr>
          <a:xfrm>
            <a:off x="8929" y="1213304"/>
            <a:ext cx="5220355" cy="3025187"/>
          </a:xfrm>
          <a:prstGeom prst="rect">
            <a:avLst/>
          </a:prstGeom>
        </p:spPr>
        <p:txBody>
          <a:bodyPr wrap="square" lIns="268927">
            <a:spAutoFit/>
          </a:bodyPr>
          <a:lstStyle/>
          <a:p>
            <a:pPr defTabSz="914102" fontAlgn="base">
              <a:lnSpc>
                <a:spcPct val="90000"/>
              </a:lnSpc>
              <a:spcBef>
                <a:spcPct val="0"/>
              </a:spcBef>
              <a:spcAft>
                <a:spcPct val="0"/>
              </a:spcAft>
            </a:pPr>
            <a:r>
              <a:rPr lang="en-US" sz="5294" dirty="0">
                <a:solidFill>
                  <a:schemeClr val="bg1"/>
                </a:solidFill>
                <a:latin typeface="+mj-lt"/>
                <a:ea typeface="Segoe UI" pitchFamily="34" charset="0"/>
                <a:cs typeface="Segoe UI" pitchFamily="34" charset="0"/>
              </a:rPr>
              <a:t>HDInsight on Linux (HDI): Technical Overview</a:t>
            </a:r>
          </a:p>
        </p:txBody>
      </p:sp>
      <p:sp>
        <p:nvSpPr>
          <p:cNvPr id="2" name="Slide Number Placeholder 1"/>
          <p:cNvSpPr>
            <a:spLocks noGrp="1"/>
          </p:cNvSpPr>
          <p:nvPr>
            <p:ph type="sldNum" sz="quarter" idx="11"/>
          </p:nvPr>
        </p:nvSpPr>
        <p:spPr/>
        <p:txBody>
          <a:bodyPr/>
          <a:lstStyle/>
          <a:p>
            <a:pPr>
              <a:defRPr/>
            </a:pPr>
            <a:fld id="{F8A0AC42-AA1D-4944-8D96-660DE70C7E1B}" type="slidenum">
              <a:rPr lang="en-IN" smtClean="0"/>
              <a:pPr>
                <a:defRPr/>
              </a:pPr>
              <a:t>2</a:t>
            </a:fld>
            <a:endParaRPr lang="en-IN" dirty="0"/>
          </a:p>
        </p:txBody>
      </p:sp>
    </p:spTree>
    <p:extLst>
      <p:ext uri="{BB962C8B-B14F-4D97-AF65-F5344CB8AC3E}">
        <p14:creationId xmlns:p14="http://schemas.microsoft.com/office/powerpoint/2010/main" val="3649828898"/>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DInsight – What is it?</a:t>
            </a:r>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20</a:t>
            </a:fld>
            <a:endParaRPr lang="en-US" dirty="0"/>
          </a:p>
        </p:txBody>
      </p:sp>
      <p:sp>
        <p:nvSpPr>
          <p:cNvPr id="4" name="TextBox 3"/>
          <p:cNvSpPr txBox="1"/>
          <p:nvPr/>
        </p:nvSpPr>
        <p:spPr>
          <a:xfrm>
            <a:off x="502920" y="1327465"/>
            <a:ext cx="11183112" cy="530352"/>
          </a:xfrm>
          <a:prstGeom prst="rect">
            <a:avLst/>
          </a:prstGeom>
          <a:solidFill>
            <a:schemeClr val="accent3"/>
          </a:solidFill>
        </p:spPr>
        <p:txBody>
          <a:bodyPr wrap="none" lIns="182880" tIns="146304" rIns="182880" bIns="146304" rtlCol="0">
            <a:noAutofit/>
          </a:bodyPr>
          <a:lstStyle/>
          <a:p>
            <a:pPr algn="ctr">
              <a:lnSpc>
                <a:spcPct val="90000"/>
              </a:lnSpc>
              <a:spcAft>
                <a:spcPts val="600"/>
              </a:spcAft>
            </a:pPr>
            <a:r>
              <a:rPr lang="en-US" sz="2000" dirty="0">
                <a:solidFill>
                  <a:schemeClr val="bg1"/>
                </a:solidFill>
                <a:latin typeface="Segoe UI Semibold" panose="020B0702040204020203" pitchFamily="34" charset="0"/>
                <a:cs typeface="Segoe UI Semibold" panose="020B0702040204020203" pitchFamily="34" charset="0"/>
              </a:rPr>
              <a:t>A standard Apache Hadoop distribution offered as a managed service on Microsoft Azure</a:t>
            </a:r>
          </a:p>
        </p:txBody>
      </p:sp>
      <p:sp>
        <p:nvSpPr>
          <p:cNvPr id="5" name="TextBox 4"/>
          <p:cNvSpPr txBox="1"/>
          <p:nvPr/>
        </p:nvSpPr>
        <p:spPr>
          <a:xfrm>
            <a:off x="459157" y="1904281"/>
            <a:ext cx="7142139" cy="4298649"/>
          </a:xfrm>
          <a:prstGeom prst="rect">
            <a:avLst/>
          </a:prstGeom>
          <a:noFill/>
        </p:spPr>
        <p:txBody>
          <a:bodyPr wrap="square" lIns="182880" tIns="146304" rIns="182880" bIns="146304" rtlCol="0">
            <a:noAutofit/>
          </a:bodyPr>
          <a:lstStyle/>
          <a:p>
            <a:pPr marL="285750" indent="-285750">
              <a:lnSpc>
                <a:spcPts val="2600"/>
              </a:lnSpc>
              <a:spcBef>
                <a:spcPts val="300"/>
              </a:spcBef>
              <a:spcAft>
                <a:spcPts val="300"/>
              </a:spcAft>
              <a:buClr>
                <a:schemeClr val="accent3"/>
              </a:buClr>
              <a:buSzPct val="75000"/>
              <a:buFont typeface="Wingdings" panose="05000000000000000000" pitchFamily="2" charset="2"/>
              <a:buChar char="v"/>
            </a:pPr>
            <a:r>
              <a:rPr lang="en-US" sz="2000" dirty="0">
                <a:solidFill>
                  <a:schemeClr val="tx1">
                    <a:lumMod val="65000"/>
                    <a:lumOff val="35000"/>
                  </a:schemeClr>
                </a:solidFill>
              </a:rPr>
              <a:t>Based on the Hortonworks Data Platform (HDP)</a:t>
            </a:r>
          </a:p>
          <a:p>
            <a:pPr marL="285750" indent="-285750">
              <a:lnSpc>
                <a:spcPts val="2600"/>
              </a:lnSpc>
              <a:spcBef>
                <a:spcPts val="300"/>
              </a:spcBef>
              <a:spcAft>
                <a:spcPts val="300"/>
              </a:spcAft>
              <a:buClr>
                <a:schemeClr val="accent3"/>
              </a:buClr>
              <a:buSzPct val="75000"/>
              <a:buFont typeface="Wingdings" panose="05000000000000000000" pitchFamily="2" charset="2"/>
              <a:buChar char="v"/>
            </a:pPr>
            <a:r>
              <a:rPr lang="en-US" sz="2000" dirty="0">
                <a:solidFill>
                  <a:schemeClr val="tx1">
                    <a:lumMod val="65000"/>
                    <a:lumOff val="35000"/>
                  </a:schemeClr>
                </a:solidFill>
              </a:rPr>
              <a:t>Provisioned as clusters on Azure. Clusters can run on Windows or Linux Servers.</a:t>
            </a:r>
          </a:p>
          <a:p>
            <a:pPr marL="285750" indent="-285750">
              <a:lnSpc>
                <a:spcPts val="2600"/>
              </a:lnSpc>
              <a:spcBef>
                <a:spcPts val="300"/>
              </a:spcBef>
              <a:spcAft>
                <a:spcPts val="300"/>
              </a:spcAft>
              <a:buClr>
                <a:schemeClr val="accent3"/>
              </a:buClr>
              <a:buSzPct val="75000"/>
              <a:buFont typeface="Wingdings" panose="05000000000000000000" pitchFamily="2" charset="2"/>
              <a:buChar char="v"/>
            </a:pPr>
            <a:r>
              <a:rPr lang="en-US" sz="2000" dirty="0">
                <a:solidFill>
                  <a:schemeClr val="tx1">
                    <a:lumMod val="65000"/>
                    <a:lumOff val="35000"/>
                  </a:schemeClr>
                </a:solidFill>
              </a:rPr>
              <a:t>Offers a capacity-on-demand, pay-as-you-go pricing model</a:t>
            </a:r>
          </a:p>
          <a:p>
            <a:pPr marL="285750" indent="-285750">
              <a:lnSpc>
                <a:spcPts val="2600"/>
              </a:lnSpc>
              <a:spcBef>
                <a:spcPts val="300"/>
              </a:spcBef>
              <a:buClr>
                <a:schemeClr val="accent3"/>
              </a:buClr>
              <a:buSzPct val="75000"/>
              <a:buFont typeface="Wingdings" panose="05000000000000000000" pitchFamily="2" charset="2"/>
              <a:buChar char="v"/>
            </a:pPr>
            <a:r>
              <a:rPr lang="en-US" sz="2000" dirty="0">
                <a:solidFill>
                  <a:schemeClr val="tx1">
                    <a:lumMod val="65000"/>
                    <a:lumOff val="35000"/>
                  </a:schemeClr>
                </a:solidFill>
              </a:rPr>
              <a:t>Integrates with:</a:t>
            </a:r>
          </a:p>
          <a:p>
            <a:pPr marL="640080" lvl="1" indent="-342900">
              <a:lnSpc>
                <a:spcPts val="2500"/>
              </a:lnSpc>
              <a:spcBef>
                <a:spcPts val="300"/>
              </a:spcBef>
              <a:buClr>
                <a:schemeClr val="accent3"/>
              </a:buClr>
              <a:buSzPct val="75000"/>
              <a:buFont typeface="Wingdings" panose="05000000000000000000" pitchFamily="2" charset="2"/>
              <a:buChar char="§"/>
            </a:pPr>
            <a:r>
              <a:rPr lang="en-US" dirty="0">
                <a:solidFill>
                  <a:schemeClr val="tx1">
                    <a:lumMod val="65000"/>
                    <a:lumOff val="35000"/>
                  </a:schemeClr>
                </a:solidFill>
              </a:rPr>
              <a:t>Azure Blob Storage and Azure Data Lake Store for the Hadoop File System (HDFS) </a:t>
            </a:r>
          </a:p>
          <a:p>
            <a:pPr marL="640080" lvl="1" indent="-342900">
              <a:lnSpc>
                <a:spcPts val="2500"/>
              </a:lnSpc>
              <a:spcBef>
                <a:spcPts val="300"/>
              </a:spcBef>
              <a:buClr>
                <a:schemeClr val="accent3"/>
              </a:buClr>
              <a:buSzPct val="75000"/>
              <a:buFont typeface="Wingdings" panose="05000000000000000000" pitchFamily="2" charset="2"/>
              <a:buChar char="§"/>
            </a:pPr>
            <a:r>
              <a:rPr lang="en-US" dirty="0">
                <a:solidFill>
                  <a:schemeClr val="tx1">
                    <a:lumMod val="65000"/>
                    <a:lumOff val="35000"/>
                  </a:schemeClr>
                </a:solidFill>
              </a:rPr>
              <a:t>Azure Portal for management and administration</a:t>
            </a:r>
          </a:p>
          <a:p>
            <a:pPr marL="640080" lvl="1" indent="-342900">
              <a:lnSpc>
                <a:spcPts val="2500"/>
              </a:lnSpc>
              <a:spcBef>
                <a:spcPts val="300"/>
              </a:spcBef>
              <a:buClr>
                <a:schemeClr val="accent3"/>
              </a:buClr>
              <a:buSzPct val="75000"/>
              <a:buFont typeface="Wingdings" panose="05000000000000000000" pitchFamily="2" charset="2"/>
              <a:buChar char="§"/>
            </a:pPr>
            <a:r>
              <a:rPr lang="en-US" dirty="0">
                <a:solidFill>
                  <a:schemeClr val="tx1">
                    <a:lumMod val="65000"/>
                    <a:lumOff val="35000"/>
                  </a:schemeClr>
                </a:solidFill>
              </a:rPr>
              <a:t>Visual Studio for application development tooling</a:t>
            </a:r>
          </a:p>
          <a:p>
            <a:pPr marL="285750" indent="-285750">
              <a:lnSpc>
                <a:spcPct val="90000"/>
              </a:lnSpc>
              <a:spcAft>
                <a:spcPts val="600"/>
              </a:spcAft>
              <a:buClr>
                <a:schemeClr val="accent3"/>
              </a:buClr>
              <a:buSzPct val="75000"/>
              <a:buFont typeface="Wingdings" panose="05000000000000000000" pitchFamily="2" charset="2"/>
              <a:buChar char="v"/>
            </a:pPr>
            <a:endParaRPr lang="en-US" dirty="0">
              <a:solidFill>
                <a:schemeClr val="tx1">
                  <a:lumMod val="85000"/>
                  <a:lumOff val="15000"/>
                </a:schemeClr>
              </a:solidFill>
            </a:endParaRPr>
          </a:p>
        </p:txBody>
      </p:sp>
      <p:pic>
        <p:nvPicPr>
          <p:cNvPr id="6" name="Picture 2" descr="https://svn.apache.org/repos/asf/tez/site/images/ApacheTezIcon.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291031" y="2872267"/>
            <a:ext cx="885810" cy="885810"/>
          </a:xfrm>
          <a:prstGeom prst="rect">
            <a:avLst/>
          </a:prstGeom>
          <a:noFill/>
          <a:extLst>
            <a:ext uri="{909E8E84-426E-40DD-AFC4-6F175D3DCCD1}">
              <a14:hiddenFill xmlns:a14="http://schemas.microsoft.com/office/drawing/2010/main">
                <a:solidFill>
                  <a:srgbClr val="FFFFFF"/>
                </a:solidFill>
              </a14:hiddenFill>
            </a:ext>
          </a:extLst>
        </p:spPr>
      </p:pic>
      <p:sp>
        <p:nvSpPr>
          <p:cNvPr id="7" name="Freeform 6"/>
          <p:cNvSpPr>
            <a:spLocks/>
          </p:cNvSpPr>
          <p:nvPr/>
        </p:nvSpPr>
        <p:spPr bwMode="auto">
          <a:xfrm>
            <a:off x="7950111" y="2899242"/>
            <a:ext cx="670559" cy="540058"/>
          </a:xfrm>
          <a:custGeom>
            <a:avLst/>
            <a:gdLst>
              <a:gd name="connsiteX0" fmla="*/ 3283994 w 3907177"/>
              <a:gd name="connsiteY0" fmla="*/ 2199606 h 3033282"/>
              <a:gd name="connsiteX1" fmla="*/ 3216771 w 3907177"/>
              <a:gd name="connsiteY1" fmla="*/ 2237508 h 3033282"/>
              <a:gd name="connsiteX2" fmla="*/ 3176070 w 3907177"/>
              <a:gd name="connsiteY2" fmla="*/ 2287254 h 3033282"/>
              <a:gd name="connsiteX3" fmla="*/ 3157902 w 3907177"/>
              <a:gd name="connsiteY3" fmla="*/ 2304911 h 3033282"/>
              <a:gd name="connsiteX4" fmla="*/ 3148728 w 3907177"/>
              <a:gd name="connsiteY4" fmla="*/ 2311436 h 3033282"/>
              <a:gd name="connsiteX5" fmla="*/ 3136944 w 3907177"/>
              <a:gd name="connsiteY5" fmla="*/ 2319628 h 3033282"/>
              <a:gd name="connsiteX6" fmla="*/ 3154439 w 3907177"/>
              <a:gd name="connsiteY6" fmla="*/ 2308277 h 3033282"/>
              <a:gd name="connsiteX7" fmla="*/ 3157902 w 3907177"/>
              <a:gd name="connsiteY7" fmla="*/ 2304911 h 3033282"/>
              <a:gd name="connsiteX8" fmla="*/ 3176070 w 3907177"/>
              <a:gd name="connsiteY8" fmla="*/ 2291992 h 3033282"/>
              <a:gd name="connsiteX9" fmla="*/ 3229375 w 3907177"/>
              <a:gd name="connsiteY9" fmla="*/ 2250142 h 3033282"/>
              <a:gd name="connsiteX10" fmla="*/ 3317605 w 3907177"/>
              <a:gd name="connsiteY10" fmla="*/ 2231191 h 3033282"/>
              <a:gd name="connsiteX11" fmla="*/ 3378755 w 3907177"/>
              <a:gd name="connsiteY11" fmla="*/ 2245404 h 3033282"/>
              <a:gd name="connsiteX12" fmla="*/ 3382808 w 3907177"/>
              <a:gd name="connsiteY12" fmla="*/ 2247161 h 3033282"/>
              <a:gd name="connsiteX13" fmla="*/ 3351550 w 3907177"/>
              <a:gd name="connsiteY13" fmla="*/ 2248260 h 3033282"/>
              <a:gd name="connsiteX14" fmla="*/ 3315694 w 3907177"/>
              <a:gd name="connsiteY14" fmla="*/ 2268558 h 3033282"/>
              <a:gd name="connsiteX15" fmla="*/ 3248262 w 3907177"/>
              <a:gd name="connsiteY15" fmla="*/ 2369622 h 3033282"/>
              <a:gd name="connsiteX16" fmla="*/ 3195581 w 3907177"/>
              <a:gd name="connsiteY16" fmla="*/ 2443314 h 3033282"/>
              <a:gd name="connsiteX17" fmla="*/ 3288300 w 3907177"/>
              <a:gd name="connsiteY17" fmla="*/ 2346462 h 3033282"/>
              <a:gd name="connsiteX18" fmla="*/ 3334660 w 3907177"/>
              <a:gd name="connsiteY18" fmla="*/ 2295930 h 3033282"/>
              <a:gd name="connsiteX19" fmla="*/ 3404199 w 3907177"/>
              <a:gd name="connsiteY19" fmla="*/ 2281191 h 3033282"/>
              <a:gd name="connsiteX20" fmla="*/ 3442129 w 3907177"/>
              <a:gd name="connsiteY20" fmla="*/ 2291719 h 3033282"/>
              <a:gd name="connsiteX21" fmla="*/ 3448451 w 3907177"/>
              <a:gd name="connsiteY21" fmla="*/ 2258031 h 3033282"/>
              <a:gd name="connsiteX22" fmla="*/ 3432746 w 3907177"/>
              <a:gd name="connsiteY22" fmla="*/ 2253458 h 3033282"/>
              <a:gd name="connsiteX23" fmla="*/ 3399309 w 3907177"/>
              <a:gd name="connsiteY23" fmla="*/ 2247403 h 3033282"/>
              <a:gd name="connsiteX24" fmla="*/ 3406885 w 3907177"/>
              <a:gd name="connsiteY24" fmla="*/ 2246720 h 3033282"/>
              <a:gd name="connsiteX25" fmla="*/ 3422640 w 3907177"/>
              <a:gd name="connsiteY25" fmla="*/ 2231191 h 3033282"/>
              <a:gd name="connsiteX26" fmla="*/ 3370122 w 3907177"/>
              <a:gd name="connsiteY26" fmla="*/ 2208029 h 3033282"/>
              <a:gd name="connsiteX27" fmla="*/ 3283994 w 3907177"/>
              <a:gd name="connsiteY27" fmla="*/ 2199606 h 3033282"/>
              <a:gd name="connsiteX28" fmla="*/ 3868985 w 3907177"/>
              <a:gd name="connsiteY28" fmla="*/ 2136388 h 3033282"/>
              <a:gd name="connsiteX29" fmla="*/ 3734396 w 3907177"/>
              <a:gd name="connsiteY29" fmla="*/ 2199444 h 3033282"/>
              <a:gd name="connsiteX30" fmla="*/ 3559852 w 3907177"/>
              <a:gd name="connsiteY30" fmla="*/ 2182629 h 3033282"/>
              <a:gd name="connsiteX31" fmla="*/ 3641867 w 3907177"/>
              <a:gd name="connsiteY31" fmla="*/ 2241481 h 3033282"/>
              <a:gd name="connsiteX32" fmla="*/ 3702852 w 3907177"/>
              <a:gd name="connsiteY32" fmla="*/ 2239379 h 3033282"/>
              <a:gd name="connsiteX33" fmla="*/ 3831132 w 3907177"/>
              <a:gd name="connsiteY33" fmla="*/ 2178425 h 3033282"/>
              <a:gd name="connsiteX34" fmla="*/ 3868985 w 3907177"/>
              <a:gd name="connsiteY34" fmla="*/ 2136388 h 3033282"/>
              <a:gd name="connsiteX35" fmla="*/ 3385344 w 3907177"/>
              <a:gd name="connsiteY35" fmla="*/ 2089937 h 3033282"/>
              <a:gd name="connsiteX36" fmla="*/ 3403807 w 3907177"/>
              <a:gd name="connsiteY36" fmla="*/ 2092045 h 3033282"/>
              <a:gd name="connsiteX37" fmla="*/ 3420687 w 3907177"/>
              <a:gd name="connsiteY37" fmla="*/ 2119439 h 3033282"/>
              <a:gd name="connsiteX38" fmla="*/ 3410137 w 3907177"/>
              <a:gd name="connsiteY38" fmla="*/ 2151048 h 3033282"/>
              <a:gd name="connsiteX39" fmla="*/ 3380596 w 3907177"/>
              <a:gd name="connsiteY39" fmla="*/ 2144726 h 3033282"/>
              <a:gd name="connsiteX40" fmla="*/ 3353166 w 3907177"/>
              <a:gd name="connsiteY40" fmla="*/ 2146834 h 3033282"/>
              <a:gd name="connsiteX41" fmla="*/ 3353166 w 3907177"/>
              <a:gd name="connsiteY41" fmla="*/ 2113117 h 3033282"/>
              <a:gd name="connsiteX42" fmla="*/ 3370046 w 3907177"/>
              <a:gd name="connsiteY42" fmla="*/ 2094152 h 3033282"/>
              <a:gd name="connsiteX43" fmla="*/ 3385344 w 3907177"/>
              <a:gd name="connsiteY43" fmla="*/ 2089937 h 3033282"/>
              <a:gd name="connsiteX44" fmla="*/ 2921466 w 3907177"/>
              <a:gd name="connsiteY44" fmla="*/ 1940074 h 3033282"/>
              <a:gd name="connsiteX45" fmla="*/ 2876044 w 3907177"/>
              <a:gd name="connsiteY45" fmla="*/ 1945069 h 3033282"/>
              <a:gd name="connsiteX46" fmla="*/ 2796228 w 3907177"/>
              <a:gd name="connsiteY46" fmla="*/ 1980818 h 3033282"/>
              <a:gd name="connsiteX47" fmla="*/ 2716411 w 3907177"/>
              <a:gd name="connsiteY47" fmla="*/ 2018670 h 3033282"/>
              <a:gd name="connsiteX48" fmla="*/ 2773123 w 3907177"/>
              <a:gd name="connsiteY48" fmla="*/ 2014464 h 3033282"/>
              <a:gd name="connsiteX49" fmla="*/ 2813031 w 3907177"/>
              <a:gd name="connsiteY49" fmla="*/ 2008155 h 3033282"/>
              <a:gd name="connsiteX50" fmla="*/ 2810931 w 3907177"/>
              <a:gd name="connsiteY50" fmla="*/ 2075448 h 3033282"/>
              <a:gd name="connsiteX51" fmla="*/ 2825634 w 3907177"/>
              <a:gd name="connsiteY51" fmla="*/ 2117505 h 3033282"/>
              <a:gd name="connsiteX52" fmla="*/ 2817232 w 3907177"/>
              <a:gd name="connsiteY52" fmla="*/ 2123814 h 3033282"/>
              <a:gd name="connsiteX53" fmla="*/ 2773123 w 3907177"/>
              <a:gd name="connsiteY53" fmla="*/ 2157460 h 3033282"/>
              <a:gd name="connsiteX54" fmla="*/ 2848738 w 3907177"/>
              <a:gd name="connsiteY54" fmla="*/ 2125917 h 3033282"/>
              <a:gd name="connsiteX55" fmla="*/ 2941157 w 3907177"/>
              <a:gd name="connsiteY55" fmla="*/ 2104888 h 3033282"/>
              <a:gd name="connsiteX56" fmla="*/ 3111292 w 3907177"/>
              <a:gd name="connsiteY56" fmla="*/ 2106991 h 3033282"/>
              <a:gd name="connsiteX57" fmla="*/ 3056681 w 3907177"/>
              <a:gd name="connsiteY57" fmla="*/ 2085962 h 3033282"/>
              <a:gd name="connsiteX58" fmla="*/ 3016773 w 3907177"/>
              <a:gd name="connsiteY58" fmla="*/ 2081756 h 3033282"/>
              <a:gd name="connsiteX59" fmla="*/ 3023074 w 3907177"/>
              <a:gd name="connsiteY59" fmla="*/ 2027081 h 3033282"/>
              <a:gd name="connsiteX60" fmla="*/ 2995769 w 3907177"/>
              <a:gd name="connsiteY60" fmla="*/ 1970303 h 3033282"/>
              <a:gd name="connsiteX61" fmla="*/ 3018873 w 3907177"/>
              <a:gd name="connsiteY61" fmla="*/ 1966098 h 3033282"/>
              <a:gd name="connsiteX62" fmla="*/ 3065083 w 3907177"/>
              <a:gd name="connsiteY62" fmla="*/ 1957686 h 3033282"/>
              <a:gd name="connsiteX63" fmla="*/ 2968463 w 3907177"/>
              <a:gd name="connsiteY63" fmla="*/ 1942966 h 3033282"/>
              <a:gd name="connsiteX64" fmla="*/ 2921466 w 3907177"/>
              <a:gd name="connsiteY64" fmla="*/ 1940074 h 3033282"/>
              <a:gd name="connsiteX65" fmla="*/ 2882143 w 3907177"/>
              <a:gd name="connsiteY65" fmla="*/ 1689578 h 3033282"/>
              <a:gd name="connsiteX66" fmla="*/ 2779009 w 3907177"/>
              <a:gd name="connsiteY66" fmla="*/ 1700880 h 3033282"/>
              <a:gd name="connsiteX67" fmla="*/ 2720075 w 3907177"/>
              <a:gd name="connsiteY67" fmla="*/ 1810222 h 3033282"/>
              <a:gd name="connsiteX68" fmla="*/ 2806371 w 3907177"/>
              <a:gd name="connsiteY68" fmla="*/ 1730318 h 3033282"/>
              <a:gd name="connsiteX69" fmla="*/ 2953705 w 3907177"/>
              <a:gd name="connsiteY69" fmla="*/ 1692469 h 3033282"/>
              <a:gd name="connsiteX70" fmla="*/ 2882143 w 3907177"/>
              <a:gd name="connsiteY70" fmla="*/ 1689578 h 3033282"/>
              <a:gd name="connsiteX71" fmla="*/ 2751741 w 3907177"/>
              <a:gd name="connsiteY71" fmla="*/ 1152523 h 3033282"/>
              <a:gd name="connsiteX72" fmla="*/ 2752273 w 3907177"/>
              <a:gd name="connsiteY72" fmla="*/ 1154187 h 3033282"/>
              <a:gd name="connsiteX73" fmla="*/ 2764036 w 3907177"/>
              <a:gd name="connsiteY73" fmla="*/ 1192874 h 3033282"/>
              <a:gd name="connsiteX74" fmla="*/ 2787833 w 3907177"/>
              <a:gd name="connsiteY74" fmla="*/ 1274009 h 3033282"/>
              <a:gd name="connsiteX75" fmla="*/ 2819472 w 3907177"/>
              <a:gd name="connsiteY75" fmla="*/ 1283014 h 3033282"/>
              <a:gd name="connsiteX76" fmla="*/ 2820261 w 3907177"/>
              <a:gd name="connsiteY76" fmla="*/ 1283258 h 3033282"/>
              <a:gd name="connsiteX77" fmla="*/ 2825890 w 3907177"/>
              <a:gd name="connsiteY77" fmla="*/ 1283302 h 3033282"/>
              <a:gd name="connsiteX78" fmla="*/ 2903747 w 3907177"/>
              <a:gd name="connsiteY78" fmla="*/ 1291542 h 3033282"/>
              <a:gd name="connsiteX79" fmla="*/ 2899550 w 3907177"/>
              <a:gd name="connsiteY79" fmla="*/ 1288295 h 3033282"/>
              <a:gd name="connsiteX80" fmla="*/ 2806596 w 3907177"/>
              <a:gd name="connsiteY80" fmla="*/ 1216396 h 3033282"/>
              <a:gd name="connsiteX81" fmla="*/ 2775061 w 3907177"/>
              <a:gd name="connsiteY81" fmla="*/ 1179930 h 3033282"/>
              <a:gd name="connsiteX82" fmla="*/ 1695768 w 3907177"/>
              <a:gd name="connsiteY82" fmla="*/ 862876 h 3033282"/>
              <a:gd name="connsiteX83" fmla="*/ 2078780 w 3907177"/>
              <a:gd name="connsiteY83" fmla="*/ 919680 h 3033282"/>
              <a:gd name="connsiteX84" fmla="*/ 2177689 w 3907177"/>
              <a:gd name="connsiteY84" fmla="*/ 938615 h 3033282"/>
              <a:gd name="connsiteX85" fmla="*/ 2274495 w 3907177"/>
              <a:gd name="connsiteY85" fmla="*/ 997523 h 3033282"/>
              <a:gd name="connsiteX86" fmla="*/ 2192421 w 3907177"/>
              <a:gd name="connsiteY86" fmla="*/ 984900 h 3033282"/>
              <a:gd name="connsiteX87" fmla="*/ 2082989 w 3907177"/>
              <a:gd name="connsiteY87" fmla="*/ 1031185 h 3033282"/>
              <a:gd name="connsiteX88" fmla="*/ 2013542 w 3907177"/>
              <a:gd name="connsiteY88" fmla="*/ 1064846 h 3033282"/>
              <a:gd name="connsiteX89" fmla="*/ 2177689 w 3907177"/>
              <a:gd name="connsiteY89" fmla="*/ 1060639 h 3033282"/>
              <a:gd name="connsiteX90" fmla="*/ 2320793 w 3907177"/>
              <a:gd name="connsiteY90" fmla="*/ 1102716 h 3033282"/>
              <a:gd name="connsiteX91" fmla="*/ 2402867 w 3907177"/>
              <a:gd name="connsiteY91" fmla="*/ 1193182 h 3033282"/>
              <a:gd name="connsiteX92" fmla="*/ 2477977 w 3907177"/>
              <a:gd name="connsiteY92" fmla="*/ 1304520 h 3033282"/>
              <a:gd name="connsiteX93" fmla="*/ 2495231 w 3907177"/>
              <a:gd name="connsiteY93" fmla="*/ 1302276 h 3033282"/>
              <a:gd name="connsiteX94" fmla="*/ 2479203 w 3907177"/>
              <a:gd name="connsiteY94" fmla="*/ 1263722 h 3033282"/>
              <a:gd name="connsiteX95" fmla="*/ 2352360 w 3907177"/>
              <a:gd name="connsiteY95" fmla="*/ 974380 h 3033282"/>
              <a:gd name="connsiteX96" fmla="*/ 2194525 w 3907177"/>
              <a:gd name="connsiteY96" fmla="*/ 875499 h 3033282"/>
              <a:gd name="connsiteX97" fmla="*/ 1695768 w 3907177"/>
              <a:gd name="connsiteY97" fmla="*/ 862876 h 3033282"/>
              <a:gd name="connsiteX98" fmla="*/ 2884074 w 3907177"/>
              <a:gd name="connsiteY98" fmla="*/ 435929 h 3033282"/>
              <a:gd name="connsiteX99" fmla="*/ 2987291 w 3907177"/>
              <a:gd name="connsiteY99" fmla="*/ 631716 h 3033282"/>
              <a:gd name="connsiteX100" fmla="*/ 3130531 w 3907177"/>
              <a:gd name="connsiteY100" fmla="*/ 1008552 h 3033282"/>
              <a:gd name="connsiteX101" fmla="*/ 3063124 w 3907177"/>
              <a:gd name="connsiteY101" fmla="*/ 682241 h 3033282"/>
              <a:gd name="connsiteX102" fmla="*/ 2970440 w 3907177"/>
              <a:gd name="connsiteY102" fmla="*/ 520138 h 3033282"/>
              <a:gd name="connsiteX103" fmla="*/ 2884074 w 3907177"/>
              <a:gd name="connsiteY103" fmla="*/ 435929 h 3033282"/>
              <a:gd name="connsiteX104" fmla="*/ 990408 w 3907177"/>
              <a:gd name="connsiteY104" fmla="*/ 698 h 3033282"/>
              <a:gd name="connsiteX105" fmla="*/ 1039550 w 3907177"/>
              <a:gd name="connsiteY105" fmla="*/ 863 h 3033282"/>
              <a:gd name="connsiteX106" fmla="*/ 1348803 w 3907177"/>
              <a:gd name="connsiteY106" fmla="*/ 72387 h 3033282"/>
              <a:gd name="connsiteX107" fmla="*/ 1737998 w 3907177"/>
              <a:gd name="connsiteY107" fmla="*/ 232264 h 3033282"/>
              <a:gd name="connsiteX108" fmla="*/ 2005176 w 3907177"/>
              <a:gd name="connsiteY108" fmla="*/ 371104 h 3033282"/>
              <a:gd name="connsiteX109" fmla="*/ 2203455 w 3907177"/>
              <a:gd name="connsiteY109" fmla="*/ 477601 h 3033282"/>
              <a:gd name="connsiteX110" fmla="*/ 2296994 w 3907177"/>
              <a:gd name="connsiteY110" fmla="*/ 530121 h 3033282"/>
              <a:gd name="connsiteX111" fmla="*/ 2323986 w 3907177"/>
              <a:gd name="connsiteY111" fmla="*/ 546882 h 3033282"/>
              <a:gd name="connsiteX112" fmla="*/ 2357160 w 3907177"/>
              <a:gd name="connsiteY112" fmla="*/ 567482 h 3033282"/>
              <a:gd name="connsiteX113" fmla="*/ 2404890 w 3907177"/>
              <a:gd name="connsiteY113" fmla="*/ 598298 h 3033282"/>
              <a:gd name="connsiteX114" fmla="*/ 2415440 w 3907177"/>
              <a:gd name="connsiteY114" fmla="*/ 605928 h 3033282"/>
              <a:gd name="connsiteX115" fmla="*/ 2362991 w 3907177"/>
              <a:gd name="connsiteY115" fmla="*/ 493093 h 3033282"/>
              <a:gd name="connsiteX116" fmla="*/ 2329266 w 3907177"/>
              <a:gd name="connsiteY116" fmla="*/ 483333 h 3033282"/>
              <a:gd name="connsiteX117" fmla="*/ 2307060 w 3907177"/>
              <a:gd name="connsiteY117" fmla="*/ 476906 h 3033282"/>
              <a:gd name="connsiteX118" fmla="*/ 2313198 w 3907177"/>
              <a:gd name="connsiteY118" fmla="*/ 470584 h 3033282"/>
              <a:gd name="connsiteX119" fmla="*/ 2460566 w 3907177"/>
              <a:gd name="connsiteY119" fmla="*/ 333037 h 3033282"/>
              <a:gd name="connsiteX120" fmla="*/ 2482676 w 3907177"/>
              <a:gd name="connsiteY120" fmla="*/ 317005 h 3033282"/>
              <a:gd name="connsiteX121" fmla="*/ 2522361 w 3907177"/>
              <a:gd name="connsiteY121" fmla="*/ 296868 h 3033282"/>
              <a:gd name="connsiteX122" fmla="*/ 2554579 w 3907177"/>
              <a:gd name="connsiteY122" fmla="*/ 283748 h 3033282"/>
              <a:gd name="connsiteX123" fmla="*/ 2694384 w 3907177"/>
              <a:gd name="connsiteY123" fmla="*/ 254812 h 3033282"/>
              <a:gd name="connsiteX124" fmla="*/ 2798186 w 3907177"/>
              <a:gd name="connsiteY124" fmla="*/ 277829 h 3033282"/>
              <a:gd name="connsiteX125" fmla="*/ 2857052 w 3907177"/>
              <a:gd name="connsiteY125" fmla="*/ 260994 h 3033282"/>
              <a:gd name="connsiteX126" fmla="*/ 2861191 w 3907177"/>
              <a:gd name="connsiteY126" fmla="*/ 261705 h 3033282"/>
              <a:gd name="connsiteX127" fmla="*/ 2866568 w 3907177"/>
              <a:gd name="connsiteY127" fmla="*/ 262766 h 3033282"/>
              <a:gd name="connsiteX128" fmla="*/ 2867847 w 3907177"/>
              <a:gd name="connsiteY128" fmla="*/ 263215 h 3033282"/>
              <a:gd name="connsiteX129" fmla="*/ 2874182 w 3907177"/>
              <a:gd name="connsiteY129" fmla="*/ 265939 h 3033282"/>
              <a:gd name="connsiteX130" fmla="*/ 2878772 w 3907177"/>
              <a:gd name="connsiteY130" fmla="*/ 265783 h 3033282"/>
              <a:gd name="connsiteX131" fmla="*/ 2879970 w 3907177"/>
              <a:gd name="connsiteY131" fmla="*/ 265863 h 3033282"/>
              <a:gd name="connsiteX132" fmla="*/ 2909084 w 3907177"/>
              <a:gd name="connsiteY132" fmla="*/ 273357 h 3033282"/>
              <a:gd name="connsiteX133" fmla="*/ 2989498 w 3907177"/>
              <a:gd name="connsiteY133" fmla="*/ 315709 h 3033282"/>
              <a:gd name="connsiteX134" fmla="*/ 3365815 w 3907177"/>
              <a:gd name="connsiteY134" fmla="*/ 925987 h 3033282"/>
              <a:gd name="connsiteX135" fmla="*/ 3233368 w 3907177"/>
              <a:gd name="connsiteY135" fmla="*/ 1376331 h 3033282"/>
              <a:gd name="connsiteX136" fmla="*/ 3239761 w 3907177"/>
              <a:gd name="connsiteY136" fmla="*/ 1410216 h 3033282"/>
              <a:gd name="connsiteX137" fmla="*/ 3243622 w 3907177"/>
              <a:gd name="connsiteY137" fmla="*/ 1426604 h 3033282"/>
              <a:gd name="connsiteX138" fmla="*/ 3302854 w 3907177"/>
              <a:gd name="connsiteY138" fmla="*/ 1472111 h 3033282"/>
              <a:gd name="connsiteX139" fmla="*/ 3442037 w 3907177"/>
              <a:gd name="connsiteY139" fmla="*/ 1705090 h 3033282"/>
              <a:gd name="connsiteX140" fmla="*/ 3433973 w 3907177"/>
              <a:gd name="connsiteY140" fmla="*/ 1732860 h 3033282"/>
              <a:gd name="connsiteX141" fmla="*/ 3404867 w 3907177"/>
              <a:gd name="connsiteY141" fmla="*/ 1673697 h 3033282"/>
              <a:gd name="connsiteX142" fmla="*/ 3388345 w 3907177"/>
              <a:gd name="connsiteY142" fmla="*/ 1639131 h 3033282"/>
              <a:gd name="connsiteX143" fmla="*/ 3377441 w 3907177"/>
              <a:gd name="connsiteY143" fmla="*/ 1616053 h 3033282"/>
              <a:gd name="connsiteX144" fmla="*/ 3359581 w 3907177"/>
              <a:gd name="connsiteY144" fmla="*/ 1565598 h 3033282"/>
              <a:gd name="connsiteX145" fmla="*/ 3361687 w 3907177"/>
              <a:gd name="connsiteY145" fmla="*/ 1582431 h 3033282"/>
              <a:gd name="connsiteX146" fmla="*/ 3374588 w 3907177"/>
              <a:gd name="connsiteY146" fmla="*/ 1610015 h 3033282"/>
              <a:gd name="connsiteX147" fmla="*/ 3377441 w 3907177"/>
              <a:gd name="connsiteY147" fmla="*/ 1616053 h 3033282"/>
              <a:gd name="connsiteX148" fmla="*/ 3442901 w 3907177"/>
              <a:gd name="connsiteY148" fmla="*/ 1800978 h 3033282"/>
              <a:gd name="connsiteX149" fmla="*/ 3440408 w 3907177"/>
              <a:gd name="connsiteY149" fmla="*/ 1796829 h 3033282"/>
              <a:gd name="connsiteX150" fmla="*/ 3433154 w 3907177"/>
              <a:gd name="connsiteY150" fmla="*/ 1784752 h 3033282"/>
              <a:gd name="connsiteX151" fmla="*/ 3397602 w 3907177"/>
              <a:gd name="connsiteY151" fmla="*/ 1761774 h 3033282"/>
              <a:gd name="connsiteX152" fmla="*/ 3349501 w 3907177"/>
              <a:gd name="connsiteY152" fmla="*/ 1755507 h 3033282"/>
              <a:gd name="connsiteX153" fmla="*/ 3395510 w 3907177"/>
              <a:gd name="connsiteY153" fmla="*/ 1772218 h 3033282"/>
              <a:gd name="connsiteX154" fmla="*/ 3439918 w 3907177"/>
              <a:gd name="connsiteY154" fmla="*/ 1800713 h 3033282"/>
              <a:gd name="connsiteX155" fmla="*/ 3444055 w 3907177"/>
              <a:gd name="connsiteY155" fmla="*/ 1804238 h 3033282"/>
              <a:gd name="connsiteX156" fmla="*/ 3555468 w 3907177"/>
              <a:gd name="connsiteY156" fmla="*/ 2118980 h 3033282"/>
              <a:gd name="connsiteX157" fmla="*/ 3553362 w 3907177"/>
              <a:gd name="connsiteY157" fmla="*/ 2091890 h 3033282"/>
              <a:gd name="connsiteX158" fmla="*/ 3553487 w 3907177"/>
              <a:gd name="connsiteY158" fmla="*/ 2080908 h 3033282"/>
              <a:gd name="connsiteX159" fmla="*/ 3554536 w 3907177"/>
              <a:gd name="connsiteY159" fmla="*/ 2083695 h 3033282"/>
              <a:gd name="connsiteX160" fmla="*/ 3570142 w 3907177"/>
              <a:gd name="connsiteY160" fmla="*/ 2125146 h 3033282"/>
              <a:gd name="connsiteX161" fmla="*/ 3570375 w 3907177"/>
              <a:gd name="connsiteY161" fmla="*/ 2125765 h 3033282"/>
              <a:gd name="connsiteX162" fmla="*/ 3570326 w 3907177"/>
              <a:gd name="connsiteY162" fmla="*/ 2125774 h 3033282"/>
              <a:gd name="connsiteX163" fmla="*/ 3524755 w 3907177"/>
              <a:gd name="connsiteY163" fmla="*/ 2128437 h 3033282"/>
              <a:gd name="connsiteX164" fmla="*/ 3520991 w 3907177"/>
              <a:gd name="connsiteY164" fmla="*/ 2130652 h 3033282"/>
              <a:gd name="connsiteX165" fmla="*/ 3519898 w 3907177"/>
              <a:gd name="connsiteY165" fmla="*/ 2125754 h 3033282"/>
              <a:gd name="connsiteX166" fmla="*/ 3513061 w 3907177"/>
              <a:gd name="connsiteY166" fmla="*/ 2102599 h 3033282"/>
              <a:gd name="connsiteX167" fmla="*/ 3485716 w 3907177"/>
              <a:gd name="connsiteY167" fmla="*/ 2058392 h 3033282"/>
              <a:gd name="connsiteX168" fmla="*/ 3422611 w 3907177"/>
              <a:gd name="connsiteY168" fmla="*/ 2039446 h 3033282"/>
              <a:gd name="connsiteX169" fmla="*/ 3384747 w 3907177"/>
              <a:gd name="connsiteY169" fmla="*/ 2043657 h 3033282"/>
              <a:gd name="connsiteX170" fmla="*/ 3334263 w 3907177"/>
              <a:gd name="connsiteY170" fmla="*/ 2031026 h 3033282"/>
              <a:gd name="connsiteX171" fmla="*/ 3378437 w 3907177"/>
              <a:gd name="connsiteY171" fmla="*/ 2058392 h 3033282"/>
              <a:gd name="connsiteX172" fmla="*/ 3357402 w 3907177"/>
              <a:gd name="connsiteY172" fmla="*/ 2092073 h 3033282"/>
              <a:gd name="connsiteX173" fmla="*/ 3351091 w 3907177"/>
              <a:gd name="connsiteY173" fmla="*/ 2140490 h 3033282"/>
              <a:gd name="connsiteX174" fmla="*/ 3317435 w 3907177"/>
              <a:gd name="connsiteY174" fmla="*/ 2140490 h 3033282"/>
              <a:gd name="connsiteX175" fmla="*/ 3359505 w 3907177"/>
              <a:gd name="connsiteY175" fmla="*/ 2155225 h 3033282"/>
              <a:gd name="connsiteX176" fmla="*/ 3416300 w 3907177"/>
              <a:gd name="connsiteY176" fmla="*/ 2180486 h 3033282"/>
              <a:gd name="connsiteX177" fmla="*/ 3468953 w 3907177"/>
              <a:gd name="connsiteY177" fmla="*/ 2204760 h 3033282"/>
              <a:gd name="connsiteX178" fmla="*/ 3471183 w 3907177"/>
              <a:gd name="connsiteY178" fmla="*/ 2205864 h 3033282"/>
              <a:gd name="connsiteX179" fmla="*/ 3465112 w 3907177"/>
              <a:gd name="connsiteY179" fmla="*/ 2222558 h 3033282"/>
              <a:gd name="connsiteX180" fmla="*/ 3404088 w 3907177"/>
              <a:gd name="connsiteY180" fmla="*/ 2397188 h 3033282"/>
              <a:gd name="connsiteX181" fmla="*/ 3303083 w 3907177"/>
              <a:gd name="connsiteY181" fmla="*/ 2544467 h 3033282"/>
              <a:gd name="connsiteX182" fmla="*/ 3395671 w 3907177"/>
              <a:gd name="connsiteY182" fmla="*/ 2456100 h 3033282"/>
              <a:gd name="connsiteX183" fmla="*/ 3450382 w 3907177"/>
              <a:gd name="connsiteY183" fmla="*/ 2386668 h 3033282"/>
              <a:gd name="connsiteX184" fmla="*/ 3526136 w 3907177"/>
              <a:gd name="connsiteY184" fmla="*/ 2184686 h 3033282"/>
              <a:gd name="connsiteX185" fmla="*/ 3618725 w 3907177"/>
              <a:gd name="connsiteY185" fmla="*/ 2163646 h 3033282"/>
              <a:gd name="connsiteX186" fmla="*/ 3751294 w 3907177"/>
              <a:gd name="connsiteY186" fmla="*/ 2136294 h 3033282"/>
              <a:gd name="connsiteX187" fmla="*/ 3799430 w 3907177"/>
              <a:gd name="connsiteY187" fmla="*/ 2104735 h 3033282"/>
              <a:gd name="connsiteX188" fmla="*/ 3810437 w 3907177"/>
              <a:gd name="connsiteY188" fmla="*/ 2099831 h 3033282"/>
              <a:gd name="connsiteX189" fmla="*/ 3824461 w 3907177"/>
              <a:gd name="connsiteY189" fmla="*/ 2097367 h 3033282"/>
              <a:gd name="connsiteX190" fmla="*/ 3829342 w 3907177"/>
              <a:gd name="connsiteY190" fmla="*/ 2096510 h 3033282"/>
              <a:gd name="connsiteX191" fmla="*/ 3845987 w 3907177"/>
              <a:gd name="connsiteY191" fmla="*/ 2098423 h 3033282"/>
              <a:gd name="connsiteX192" fmla="*/ 3904907 w 3907177"/>
              <a:gd name="connsiteY192" fmla="*/ 2180478 h 3033282"/>
              <a:gd name="connsiteX193" fmla="*/ 3885968 w 3907177"/>
              <a:gd name="connsiteY193" fmla="*/ 2315133 h 3033282"/>
              <a:gd name="connsiteX194" fmla="*/ 3884225 w 3907177"/>
              <a:gd name="connsiteY194" fmla="*/ 2328571 h 3033282"/>
              <a:gd name="connsiteX195" fmla="*/ 3881324 w 3907177"/>
              <a:gd name="connsiteY195" fmla="*/ 2344937 h 3033282"/>
              <a:gd name="connsiteX196" fmla="*/ 3878738 w 3907177"/>
              <a:gd name="connsiteY196" fmla="*/ 2354578 h 3033282"/>
              <a:gd name="connsiteX197" fmla="*/ 3857107 w 3907177"/>
              <a:gd name="connsiteY197" fmla="*/ 2435219 h 3033282"/>
              <a:gd name="connsiteX198" fmla="*/ 3839183 w 3907177"/>
              <a:gd name="connsiteY198" fmla="*/ 2502042 h 3033282"/>
              <a:gd name="connsiteX199" fmla="*/ 3806236 w 3907177"/>
              <a:gd name="connsiteY199" fmla="*/ 2584501 h 3033282"/>
              <a:gd name="connsiteX200" fmla="*/ 3612412 w 3907177"/>
              <a:gd name="connsiteY200" fmla="*/ 2876897 h 3033282"/>
              <a:gd name="connsiteX201" fmla="*/ 3004275 w 3907177"/>
              <a:gd name="connsiteY201" fmla="*/ 2912665 h 3033282"/>
              <a:gd name="connsiteX202" fmla="*/ 2812785 w 3907177"/>
              <a:gd name="connsiteY202" fmla="*/ 2759074 h 3033282"/>
              <a:gd name="connsiteX203" fmla="*/ 2726510 w 3907177"/>
              <a:gd name="connsiteY203" fmla="*/ 2651771 h 3033282"/>
              <a:gd name="connsiteX204" fmla="*/ 2722301 w 3907177"/>
              <a:gd name="connsiteY204" fmla="*/ 2655979 h 3033282"/>
              <a:gd name="connsiteX205" fmla="*/ 2686529 w 3907177"/>
              <a:gd name="connsiteY205" fmla="*/ 2750658 h 3033282"/>
              <a:gd name="connsiteX206" fmla="*/ 2646547 w 3907177"/>
              <a:gd name="connsiteY206" fmla="*/ 2799050 h 3033282"/>
              <a:gd name="connsiteX207" fmla="*/ 2593940 w 3907177"/>
              <a:gd name="connsiteY207" fmla="*/ 2887417 h 3033282"/>
              <a:gd name="connsiteX208" fmla="*/ 2606566 w 3907177"/>
              <a:gd name="connsiteY208" fmla="*/ 2963160 h 3033282"/>
              <a:gd name="connsiteX209" fmla="*/ 2724406 w 3907177"/>
              <a:gd name="connsiteY209" fmla="*/ 3001032 h 3033282"/>
              <a:gd name="connsiteX210" fmla="*/ 2614983 w 3907177"/>
              <a:gd name="connsiteY210" fmla="*/ 2916873 h 3033282"/>
              <a:gd name="connsiteX211" fmla="*/ 2636026 w 3907177"/>
              <a:gd name="connsiteY211" fmla="*/ 2931601 h 3033282"/>
              <a:gd name="connsiteX212" fmla="*/ 2741240 w 3907177"/>
              <a:gd name="connsiteY212" fmla="*/ 2975784 h 3033282"/>
              <a:gd name="connsiteX213" fmla="*/ 2823307 w 3907177"/>
              <a:gd name="connsiteY213" fmla="*/ 2935809 h 3033282"/>
              <a:gd name="connsiteX214" fmla="*/ 2869601 w 3907177"/>
              <a:gd name="connsiteY214" fmla="*/ 2874793 h 3033282"/>
              <a:gd name="connsiteX215" fmla="*/ 2909582 w 3907177"/>
              <a:gd name="connsiteY215" fmla="*/ 2914769 h 3033282"/>
              <a:gd name="connsiteX216" fmla="*/ 2804368 w 3907177"/>
              <a:gd name="connsiteY216" fmla="*/ 3009448 h 3033282"/>
              <a:gd name="connsiteX217" fmla="*/ 2631817 w 3907177"/>
              <a:gd name="connsiteY217" fmla="*/ 3019968 h 3033282"/>
              <a:gd name="connsiteX218" fmla="*/ 2592812 w 3907177"/>
              <a:gd name="connsiteY218" fmla="*/ 2997729 h 3033282"/>
              <a:gd name="connsiteX219" fmla="*/ 2571463 w 3907177"/>
              <a:gd name="connsiteY219" fmla="*/ 2978979 h 3033282"/>
              <a:gd name="connsiteX220" fmla="*/ 2569646 w 3907177"/>
              <a:gd name="connsiteY220" fmla="*/ 2977384 h 3033282"/>
              <a:gd name="connsiteX221" fmla="*/ 2550477 w 3907177"/>
              <a:gd name="connsiteY221" fmla="*/ 2953365 h 3033282"/>
              <a:gd name="connsiteX222" fmla="*/ 2543509 w 3907177"/>
              <a:gd name="connsiteY222" fmla="*/ 2942341 h 3033282"/>
              <a:gd name="connsiteX223" fmla="*/ 2527951 w 3907177"/>
              <a:gd name="connsiteY223" fmla="*/ 2910199 h 3033282"/>
              <a:gd name="connsiteX224" fmla="*/ 2522395 w 3907177"/>
              <a:gd name="connsiteY224" fmla="*/ 2893729 h 3033282"/>
              <a:gd name="connsiteX225" fmla="*/ 2457162 w 3907177"/>
              <a:gd name="connsiteY225" fmla="*/ 2748554 h 3033282"/>
              <a:gd name="connsiteX226" fmla="*/ 2362469 w 3907177"/>
              <a:gd name="connsiteY226" fmla="*/ 2651771 h 3033282"/>
              <a:gd name="connsiteX227" fmla="*/ 2340024 w 3907177"/>
              <a:gd name="connsiteY227" fmla="*/ 2621933 h 3033282"/>
              <a:gd name="connsiteX228" fmla="*/ 2338457 w 3907177"/>
              <a:gd name="connsiteY228" fmla="*/ 2619477 h 3033282"/>
              <a:gd name="connsiteX229" fmla="*/ 2304048 w 3907177"/>
              <a:gd name="connsiteY229" fmla="*/ 2565541 h 3033282"/>
              <a:gd name="connsiteX230" fmla="*/ 2335655 w 3907177"/>
              <a:gd name="connsiteY230" fmla="*/ 2318674 h 3033282"/>
              <a:gd name="connsiteX231" fmla="*/ 2366996 w 3907177"/>
              <a:gd name="connsiteY231" fmla="*/ 2274192 h 3033282"/>
              <a:gd name="connsiteX232" fmla="*/ 2347572 w 3907177"/>
              <a:gd name="connsiteY232" fmla="*/ 2275513 h 3033282"/>
              <a:gd name="connsiteX233" fmla="*/ 2320522 w 3907177"/>
              <a:gd name="connsiteY233" fmla="*/ 2269084 h 3033282"/>
              <a:gd name="connsiteX234" fmla="*/ 2038565 w 3907177"/>
              <a:gd name="connsiteY234" fmla="*/ 2062847 h 3033282"/>
              <a:gd name="connsiteX235" fmla="*/ 2043892 w 3907177"/>
              <a:gd name="connsiteY235" fmla="*/ 1618938 h 3033282"/>
              <a:gd name="connsiteX236" fmla="*/ 2058099 w 3907177"/>
              <a:gd name="connsiteY236" fmla="*/ 1557525 h 3033282"/>
              <a:gd name="connsiteX237" fmla="*/ 2055755 w 3907177"/>
              <a:gd name="connsiteY237" fmla="*/ 1558228 h 3033282"/>
              <a:gd name="connsiteX238" fmla="*/ 2050316 w 3907177"/>
              <a:gd name="connsiteY238" fmla="*/ 1559430 h 3033282"/>
              <a:gd name="connsiteX239" fmla="*/ 1525518 w 3907177"/>
              <a:gd name="connsiteY239" fmla="*/ 1690090 h 3033282"/>
              <a:gd name="connsiteX240" fmla="*/ 946985 w 3907177"/>
              <a:gd name="connsiteY240" fmla="*/ 1875211 h 3033282"/>
              <a:gd name="connsiteX241" fmla="*/ 559893 w 3907177"/>
              <a:gd name="connsiteY241" fmla="*/ 1858382 h 3033282"/>
              <a:gd name="connsiteX242" fmla="*/ 412630 w 3907177"/>
              <a:gd name="connsiteY242" fmla="*/ 1498659 h 3033282"/>
              <a:gd name="connsiteX243" fmla="*/ 46576 w 3907177"/>
              <a:gd name="connsiteY243" fmla="*/ 1063204 h 3033282"/>
              <a:gd name="connsiteX244" fmla="*/ 36057 w 3907177"/>
              <a:gd name="connsiteY244" fmla="*/ 665615 h 3033282"/>
              <a:gd name="connsiteX245" fmla="*/ 191735 w 3907177"/>
              <a:gd name="connsiteY245" fmla="*/ 459457 h 3033282"/>
              <a:gd name="connsiteX246" fmla="*/ 374762 w 3907177"/>
              <a:gd name="connsiteY246" fmla="*/ 465768 h 3033282"/>
              <a:gd name="connsiteX247" fmla="*/ 677704 w 3907177"/>
              <a:gd name="connsiteY247" fmla="*/ 528878 h 3033282"/>
              <a:gd name="connsiteX248" fmla="*/ 1090040 w 3907177"/>
              <a:gd name="connsiteY248" fmla="*/ 713999 h 3033282"/>
              <a:gd name="connsiteX249" fmla="*/ 736609 w 3907177"/>
              <a:gd name="connsiteY249" fmla="*/ 514152 h 3033282"/>
              <a:gd name="connsiteX250" fmla="*/ 503092 w 3907177"/>
              <a:gd name="connsiteY250" fmla="*/ 423695 h 3033282"/>
              <a:gd name="connsiteX251" fmla="*/ 700845 w 3907177"/>
              <a:gd name="connsiteY251" fmla="*/ 246989 h 3033282"/>
              <a:gd name="connsiteX252" fmla="*/ 867042 w 3907177"/>
              <a:gd name="connsiteY252" fmla="*/ 47143 h 3033282"/>
              <a:gd name="connsiteX253" fmla="*/ 990408 w 3907177"/>
              <a:gd name="connsiteY253" fmla="*/ 698 h 3033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Lst>
            <a:rect l="l" t="t" r="r" b="b"/>
            <a:pathLst>
              <a:path w="3907177" h="3033282">
                <a:moveTo>
                  <a:pt x="3283994" y="2199606"/>
                </a:moveTo>
                <a:cubicBezTo>
                  <a:pt x="3260886" y="2199606"/>
                  <a:pt x="3239879" y="2208029"/>
                  <a:pt x="3216771" y="2237508"/>
                </a:cubicBezTo>
                <a:cubicBezTo>
                  <a:pt x="3206268" y="2252247"/>
                  <a:pt x="3191038" y="2271198"/>
                  <a:pt x="3176070" y="2287254"/>
                </a:cubicBezTo>
                <a:lnTo>
                  <a:pt x="3157902" y="2304911"/>
                </a:lnTo>
                <a:lnTo>
                  <a:pt x="3148728" y="2311436"/>
                </a:lnTo>
                <a:cubicBezTo>
                  <a:pt x="3141540" y="2316470"/>
                  <a:pt x="3136944" y="2319628"/>
                  <a:pt x="3136944" y="2319628"/>
                </a:cubicBezTo>
                <a:cubicBezTo>
                  <a:pt x="3141671" y="2318049"/>
                  <a:pt x="3147710" y="2313969"/>
                  <a:pt x="3154439" y="2308277"/>
                </a:cubicBezTo>
                <a:lnTo>
                  <a:pt x="3157902" y="2304911"/>
                </a:lnTo>
                <a:lnTo>
                  <a:pt x="3176070" y="2291992"/>
                </a:lnTo>
                <a:cubicBezTo>
                  <a:pt x="3196815" y="2276989"/>
                  <a:pt x="3219922" y="2259617"/>
                  <a:pt x="3229375" y="2250142"/>
                </a:cubicBezTo>
                <a:cubicBezTo>
                  <a:pt x="3248282" y="2231191"/>
                  <a:pt x="3283994" y="2231191"/>
                  <a:pt x="3317605" y="2231191"/>
                </a:cubicBezTo>
                <a:cubicBezTo>
                  <a:pt x="3341238" y="2231191"/>
                  <a:pt x="3367234" y="2240666"/>
                  <a:pt x="3378755" y="2245404"/>
                </a:cubicBezTo>
                <a:lnTo>
                  <a:pt x="3382808" y="2247161"/>
                </a:lnTo>
                <a:lnTo>
                  <a:pt x="3351550" y="2248260"/>
                </a:lnTo>
                <a:cubicBezTo>
                  <a:pt x="3337425" y="2251320"/>
                  <a:pt x="3324650" y="2257505"/>
                  <a:pt x="3315694" y="2268558"/>
                </a:cubicBezTo>
                <a:cubicBezTo>
                  <a:pt x="3281978" y="2310668"/>
                  <a:pt x="3267228" y="2335934"/>
                  <a:pt x="3248262" y="2369622"/>
                </a:cubicBezTo>
                <a:cubicBezTo>
                  <a:pt x="3229297" y="2403310"/>
                  <a:pt x="3195581" y="2443314"/>
                  <a:pt x="3195581" y="2443314"/>
                </a:cubicBezTo>
                <a:cubicBezTo>
                  <a:pt x="3195581" y="2443314"/>
                  <a:pt x="3273549" y="2363305"/>
                  <a:pt x="3288300" y="2346462"/>
                </a:cubicBezTo>
                <a:cubicBezTo>
                  <a:pt x="3303051" y="2327512"/>
                  <a:pt x="3309372" y="2312774"/>
                  <a:pt x="3334660" y="2295930"/>
                </a:cubicBezTo>
                <a:cubicBezTo>
                  <a:pt x="3357839" y="2279086"/>
                  <a:pt x="3381019" y="2279086"/>
                  <a:pt x="3404199" y="2281191"/>
                </a:cubicBezTo>
                <a:cubicBezTo>
                  <a:pt x="3427378" y="2283297"/>
                  <a:pt x="3442129" y="2291719"/>
                  <a:pt x="3442129" y="2291719"/>
                </a:cubicBezTo>
                <a:lnTo>
                  <a:pt x="3448451" y="2258031"/>
                </a:lnTo>
                <a:cubicBezTo>
                  <a:pt x="3448451" y="2258031"/>
                  <a:pt x="3442393" y="2255926"/>
                  <a:pt x="3432746" y="2253458"/>
                </a:cubicBezTo>
                <a:lnTo>
                  <a:pt x="3399309" y="2247403"/>
                </a:lnTo>
                <a:lnTo>
                  <a:pt x="3406885" y="2246720"/>
                </a:lnTo>
                <a:cubicBezTo>
                  <a:pt x="3417388" y="2244878"/>
                  <a:pt x="3426842" y="2240666"/>
                  <a:pt x="3422640" y="2231191"/>
                </a:cubicBezTo>
                <a:cubicBezTo>
                  <a:pt x="3412137" y="2214346"/>
                  <a:pt x="3391130" y="2216451"/>
                  <a:pt x="3370122" y="2208029"/>
                </a:cubicBezTo>
                <a:cubicBezTo>
                  <a:pt x="3349115" y="2201712"/>
                  <a:pt x="3309202" y="2199606"/>
                  <a:pt x="3283994" y="2199606"/>
                </a:cubicBezTo>
                <a:close/>
                <a:moveTo>
                  <a:pt x="3868985" y="2136388"/>
                </a:moveTo>
                <a:cubicBezTo>
                  <a:pt x="3868985" y="2136388"/>
                  <a:pt x="3778558" y="2193138"/>
                  <a:pt x="3734396" y="2199444"/>
                </a:cubicBezTo>
                <a:cubicBezTo>
                  <a:pt x="3690235" y="2205750"/>
                  <a:pt x="3646073" y="2235176"/>
                  <a:pt x="3559852" y="2182629"/>
                </a:cubicBezTo>
                <a:cubicBezTo>
                  <a:pt x="3555646" y="2180527"/>
                  <a:pt x="3604014" y="2239379"/>
                  <a:pt x="3641867" y="2241481"/>
                </a:cubicBezTo>
                <a:cubicBezTo>
                  <a:pt x="3681823" y="2243583"/>
                  <a:pt x="3702852" y="2239379"/>
                  <a:pt x="3702852" y="2239379"/>
                </a:cubicBezTo>
                <a:cubicBezTo>
                  <a:pt x="3784867" y="2228870"/>
                  <a:pt x="3820617" y="2188935"/>
                  <a:pt x="3831132" y="2178425"/>
                </a:cubicBezTo>
                <a:cubicBezTo>
                  <a:pt x="3843750" y="2170018"/>
                  <a:pt x="3868985" y="2136388"/>
                  <a:pt x="3868985" y="2136388"/>
                </a:cubicBezTo>
                <a:close/>
                <a:moveTo>
                  <a:pt x="3385344" y="2089937"/>
                </a:moveTo>
                <a:cubicBezTo>
                  <a:pt x="3391674" y="2089411"/>
                  <a:pt x="3398532" y="2089937"/>
                  <a:pt x="3403807" y="2092045"/>
                </a:cubicBezTo>
                <a:cubicBezTo>
                  <a:pt x="3412247" y="2096259"/>
                  <a:pt x="3418577" y="2104688"/>
                  <a:pt x="3420687" y="2119439"/>
                </a:cubicBezTo>
                <a:cubicBezTo>
                  <a:pt x="3422797" y="2132083"/>
                  <a:pt x="3410137" y="2151048"/>
                  <a:pt x="3410137" y="2151048"/>
                </a:cubicBezTo>
                <a:cubicBezTo>
                  <a:pt x="3410137" y="2151048"/>
                  <a:pt x="3389037" y="2144726"/>
                  <a:pt x="3380596" y="2144726"/>
                </a:cubicBezTo>
                <a:cubicBezTo>
                  <a:pt x="3374266" y="2142619"/>
                  <a:pt x="3353166" y="2146834"/>
                  <a:pt x="3353166" y="2146834"/>
                </a:cubicBezTo>
                <a:lnTo>
                  <a:pt x="3353166" y="2113117"/>
                </a:lnTo>
                <a:cubicBezTo>
                  <a:pt x="3353166" y="2113117"/>
                  <a:pt x="3365826" y="2096259"/>
                  <a:pt x="3370046" y="2094152"/>
                </a:cubicBezTo>
                <a:cubicBezTo>
                  <a:pt x="3373211" y="2092045"/>
                  <a:pt x="3379014" y="2090464"/>
                  <a:pt x="3385344" y="2089937"/>
                </a:cubicBezTo>
                <a:close/>
                <a:moveTo>
                  <a:pt x="2921466" y="1940074"/>
                </a:moveTo>
                <a:cubicBezTo>
                  <a:pt x="2903875" y="1940863"/>
                  <a:pt x="2886546" y="1942966"/>
                  <a:pt x="2876044" y="1945069"/>
                </a:cubicBezTo>
                <a:cubicBezTo>
                  <a:pt x="2857140" y="1951377"/>
                  <a:pt x="2819332" y="1968200"/>
                  <a:pt x="2796228" y="1980818"/>
                </a:cubicBezTo>
                <a:cubicBezTo>
                  <a:pt x="2773123" y="1995538"/>
                  <a:pt x="2716411" y="2018670"/>
                  <a:pt x="2716411" y="2018670"/>
                </a:cubicBezTo>
                <a:cubicBezTo>
                  <a:pt x="2716411" y="2018670"/>
                  <a:pt x="2756319" y="2016567"/>
                  <a:pt x="2773123" y="2014464"/>
                </a:cubicBezTo>
                <a:cubicBezTo>
                  <a:pt x="2789926" y="2014464"/>
                  <a:pt x="2813031" y="2008155"/>
                  <a:pt x="2813031" y="2008155"/>
                </a:cubicBezTo>
                <a:cubicBezTo>
                  <a:pt x="2813031" y="2008155"/>
                  <a:pt x="2802529" y="2046007"/>
                  <a:pt x="2810931" y="2075448"/>
                </a:cubicBezTo>
                <a:cubicBezTo>
                  <a:pt x="2817232" y="2102785"/>
                  <a:pt x="2825634" y="2117505"/>
                  <a:pt x="2825634" y="2117505"/>
                </a:cubicBezTo>
                <a:cubicBezTo>
                  <a:pt x="2825634" y="2117505"/>
                  <a:pt x="2825634" y="2119608"/>
                  <a:pt x="2817232" y="2123814"/>
                </a:cubicBezTo>
                <a:cubicBezTo>
                  <a:pt x="2810931" y="2125917"/>
                  <a:pt x="2773123" y="2157460"/>
                  <a:pt x="2773123" y="2157460"/>
                </a:cubicBezTo>
                <a:cubicBezTo>
                  <a:pt x="2773123" y="2157460"/>
                  <a:pt x="2831935" y="2132226"/>
                  <a:pt x="2848738" y="2125917"/>
                </a:cubicBezTo>
                <a:cubicBezTo>
                  <a:pt x="2865542" y="2121711"/>
                  <a:pt x="2901249" y="2113300"/>
                  <a:pt x="2941157" y="2104888"/>
                </a:cubicBezTo>
                <a:cubicBezTo>
                  <a:pt x="2981066" y="2096476"/>
                  <a:pt x="3111292" y="2106991"/>
                  <a:pt x="3111292" y="2106991"/>
                </a:cubicBezTo>
                <a:cubicBezTo>
                  <a:pt x="3111292" y="2106991"/>
                  <a:pt x="3073484" y="2092271"/>
                  <a:pt x="3056681" y="2085962"/>
                </a:cubicBezTo>
                <a:cubicBezTo>
                  <a:pt x="3039878" y="2081756"/>
                  <a:pt x="3016773" y="2081756"/>
                  <a:pt x="3016773" y="2081756"/>
                </a:cubicBezTo>
                <a:cubicBezTo>
                  <a:pt x="3016773" y="2081756"/>
                  <a:pt x="3029375" y="2052316"/>
                  <a:pt x="3023074" y="2027081"/>
                </a:cubicBezTo>
                <a:cubicBezTo>
                  <a:pt x="3016773" y="1999744"/>
                  <a:pt x="2995769" y="1970303"/>
                  <a:pt x="2995769" y="1970303"/>
                </a:cubicBezTo>
                <a:cubicBezTo>
                  <a:pt x="2995769" y="1970303"/>
                  <a:pt x="3002070" y="1966098"/>
                  <a:pt x="3018873" y="1966098"/>
                </a:cubicBezTo>
                <a:cubicBezTo>
                  <a:pt x="3035677" y="1963995"/>
                  <a:pt x="3065083" y="1957686"/>
                  <a:pt x="3065083" y="1957686"/>
                </a:cubicBezTo>
                <a:cubicBezTo>
                  <a:pt x="3065083" y="1957686"/>
                  <a:pt x="2991568" y="1949274"/>
                  <a:pt x="2968463" y="1942966"/>
                </a:cubicBezTo>
                <a:cubicBezTo>
                  <a:pt x="2956910" y="1939811"/>
                  <a:pt x="2939057" y="1939286"/>
                  <a:pt x="2921466" y="1940074"/>
                </a:cubicBezTo>
                <a:close/>
                <a:moveTo>
                  <a:pt x="2882143" y="1689578"/>
                </a:moveTo>
                <a:cubicBezTo>
                  <a:pt x="2843731" y="1689315"/>
                  <a:pt x="2800057" y="1691418"/>
                  <a:pt x="2779009" y="1700880"/>
                </a:cubicBezTo>
                <a:cubicBezTo>
                  <a:pt x="2736913" y="1717702"/>
                  <a:pt x="2720075" y="1810222"/>
                  <a:pt x="2720075" y="1810222"/>
                </a:cubicBezTo>
                <a:cubicBezTo>
                  <a:pt x="2720075" y="1810222"/>
                  <a:pt x="2760066" y="1759756"/>
                  <a:pt x="2806371" y="1730318"/>
                </a:cubicBezTo>
                <a:cubicBezTo>
                  <a:pt x="2852676" y="1698777"/>
                  <a:pt x="2953705" y="1692469"/>
                  <a:pt x="2953705" y="1692469"/>
                </a:cubicBezTo>
                <a:cubicBezTo>
                  <a:pt x="2953705" y="1692469"/>
                  <a:pt x="2920555" y="1689840"/>
                  <a:pt x="2882143" y="1689578"/>
                </a:cubicBezTo>
                <a:close/>
                <a:moveTo>
                  <a:pt x="2751741" y="1152523"/>
                </a:moveTo>
                <a:lnTo>
                  <a:pt x="2752273" y="1154187"/>
                </a:lnTo>
                <a:lnTo>
                  <a:pt x="2764036" y="1192874"/>
                </a:lnTo>
                <a:lnTo>
                  <a:pt x="2787833" y="1274009"/>
                </a:lnTo>
                <a:lnTo>
                  <a:pt x="2819472" y="1283014"/>
                </a:lnTo>
                <a:lnTo>
                  <a:pt x="2820261" y="1283258"/>
                </a:lnTo>
                <a:lnTo>
                  <a:pt x="2825890" y="1283302"/>
                </a:lnTo>
                <a:lnTo>
                  <a:pt x="2903747" y="1291542"/>
                </a:lnTo>
                <a:lnTo>
                  <a:pt x="2899550" y="1288295"/>
                </a:lnTo>
                <a:cubicBezTo>
                  <a:pt x="2806596" y="1216396"/>
                  <a:pt x="2806596" y="1216396"/>
                  <a:pt x="2806596" y="1216396"/>
                </a:cubicBezTo>
                <a:cubicBezTo>
                  <a:pt x="2806596" y="1216396"/>
                  <a:pt x="2794376" y="1202454"/>
                  <a:pt x="2775061" y="1179930"/>
                </a:cubicBezTo>
                <a:close/>
                <a:moveTo>
                  <a:pt x="1695768" y="862876"/>
                </a:moveTo>
                <a:cubicBezTo>
                  <a:pt x="2078780" y="919680"/>
                  <a:pt x="2078780" y="919680"/>
                  <a:pt x="2078780" y="919680"/>
                </a:cubicBezTo>
                <a:cubicBezTo>
                  <a:pt x="2078780" y="919680"/>
                  <a:pt x="2137705" y="923888"/>
                  <a:pt x="2177689" y="938615"/>
                </a:cubicBezTo>
                <a:cubicBezTo>
                  <a:pt x="2217674" y="951238"/>
                  <a:pt x="2274495" y="997523"/>
                  <a:pt x="2274495" y="997523"/>
                </a:cubicBezTo>
                <a:cubicBezTo>
                  <a:pt x="2274495" y="997523"/>
                  <a:pt x="2226092" y="984900"/>
                  <a:pt x="2192421" y="984900"/>
                </a:cubicBezTo>
                <a:cubicBezTo>
                  <a:pt x="2160854" y="987004"/>
                  <a:pt x="2101929" y="1026977"/>
                  <a:pt x="2082989" y="1031185"/>
                </a:cubicBezTo>
                <a:cubicBezTo>
                  <a:pt x="2061944" y="1035392"/>
                  <a:pt x="2013542" y="1064846"/>
                  <a:pt x="2013542" y="1064846"/>
                </a:cubicBezTo>
                <a:cubicBezTo>
                  <a:pt x="2013542" y="1064846"/>
                  <a:pt x="2118765" y="1039600"/>
                  <a:pt x="2177689" y="1060639"/>
                </a:cubicBezTo>
                <a:cubicBezTo>
                  <a:pt x="2234510" y="1081677"/>
                  <a:pt x="2276599" y="1062742"/>
                  <a:pt x="2320793" y="1102716"/>
                </a:cubicBezTo>
                <a:cubicBezTo>
                  <a:pt x="2362882" y="1142689"/>
                  <a:pt x="2402867" y="1193182"/>
                  <a:pt x="2402867" y="1193182"/>
                </a:cubicBezTo>
                <a:lnTo>
                  <a:pt x="2477977" y="1304520"/>
                </a:lnTo>
                <a:lnTo>
                  <a:pt x="2495231" y="1302276"/>
                </a:lnTo>
                <a:lnTo>
                  <a:pt x="2479203" y="1263722"/>
                </a:lnTo>
                <a:cubicBezTo>
                  <a:pt x="2435552" y="1159125"/>
                  <a:pt x="2373405" y="1012512"/>
                  <a:pt x="2352360" y="974380"/>
                </a:cubicBezTo>
                <a:cubicBezTo>
                  <a:pt x="2320793" y="913369"/>
                  <a:pt x="2238719" y="886019"/>
                  <a:pt x="2194525" y="875499"/>
                </a:cubicBezTo>
                <a:cubicBezTo>
                  <a:pt x="2150331" y="862876"/>
                  <a:pt x="1695768" y="862876"/>
                  <a:pt x="1695768" y="862876"/>
                </a:cubicBezTo>
                <a:close/>
                <a:moveTo>
                  <a:pt x="2884074" y="435929"/>
                </a:moveTo>
                <a:cubicBezTo>
                  <a:pt x="2884074" y="435929"/>
                  <a:pt x="2919884" y="555927"/>
                  <a:pt x="2987291" y="631716"/>
                </a:cubicBezTo>
                <a:cubicBezTo>
                  <a:pt x="3054698" y="705399"/>
                  <a:pt x="3130531" y="1008552"/>
                  <a:pt x="3130531" y="1008552"/>
                </a:cubicBezTo>
                <a:cubicBezTo>
                  <a:pt x="3130531" y="1008552"/>
                  <a:pt x="3115786" y="812766"/>
                  <a:pt x="3063124" y="682241"/>
                </a:cubicBezTo>
                <a:cubicBezTo>
                  <a:pt x="3063124" y="682241"/>
                  <a:pt x="2993611" y="549612"/>
                  <a:pt x="2970440" y="520138"/>
                </a:cubicBezTo>
                <a:cubicBezTo>
                  <a:pt x="2945162" y="490665"/>
                  <a:pt x="2884074" y="435929"/>
                  <a:pt x="2884074" y="435929"/>
                </a:cubicBezTo>
                <a:close/>
                <a:moveTo>
                  <a:pt x="990408" y="698"/>
                </a:moveTo>
                <a:cubicBezTo>
                  <a:pt x="1005101" y="-321"/>
                  <a:pt x="1021142" y="-189"/>
                  <a:pt x="1039550" y="863"/>
                </a:cubicBezTo>
                <a:cubicBezTo>
                  <a:pt x="1111078" y="5070"/>
                  <a:pt x="1258341" y="38728"/>
                  <a:pt x="1348803" y="72387"/>
                </a:cubicBezTo>
                <a:cubicBezTo>
                  <a:pt x="1439264" y="103941"/>
                  <a:pt x="1653848" y="181776"/>
                  <a:pt x="1737998" y="232264"/>
                </a:cubicBezTo>
                <a:cubicBezTo>
                  <a:pt x="1830564" y="284855"/>
                  <a:pt x="1914714" y="318513"/>
                  <a:pt x="2005176" y="371104"/>
                </a:cubicBezTo>
                <a:cubicBezTo>
                  <a:pt x="2051459" y="397400"/>
                  <a:pt x="2127194" y="436317"/>
                  <a:pt x="2203455" y="477601"/>
                </a:cubicBezTo>
                <a:lnTo>
                  <a:pt x="2296994" y="530121"/>
                </a:lnTo>
                <a:lnTo>
                  <a:pt x="2323986" y="546882"/>
                </a:lnTo>
                <a:lnTo>
                  <a:pt x="2357160" y="567482"/>
                </a:lnTo>
                <a:lnTo>
                  <a:pt x="2404890" y="598298"/>
                </a:lnTo>
                <a:lnTo>
                  <a:pt x="2415440" y="605928"/>
                </a:lnTo>
                <a:lnTo>
                  <a:pt x="2362991" y="493093"/>
                </a:lnTo>
                <a:cubicBezTo>
                  <a:pt x="2362991" y="493093"/>
                  <a:pt x="2362991" y="493093"/>
                  <a:pt x="2329266" y="483333"/>
                </a:cubicBezTo>
                <a:lnTo>
                  <a:pt x="2307060" y="476906"/>
                </a:lnTo>
                <a:lnTo>
                  <a:pt x="2313198" y="470584"/>
                </a:lnTo>
                <a:cubicBezTo>
                  <a:pt x="2335494" y="447752"/>
                  <a:pt x="2406858" y="375701"/>
                  <a:pt x="2460566" y="333037"/>
                </a:cubicBezTo>
                <a:lnTo>
                  <a:pt x="2482676" y="317005"/>
                </a:lnTo>
                <a:lnTo>
                  <a:pt x="2522361" y="296868"/>
                </a:lnTo>
                <a:lnTo>
                  <a:pt x="2554579" y="283748"/>
                </a:lnTo>
                <a:cubicBezTo>
                  <a:pt x="2588217" y="269017"/>
                  <a:pt x="2633417" y="251656"/>
                  <a:pt x="2694384" y="254812"/>
                </a:cubicBezTo>
                <a:cubicBezTo>
                  <a:pt x="2724868" y="256391"/>
                  <a:pt x="2759293" y="263098"/>
                  <a:pt x="2798186" y="277829"/>
                </a:cubicBezTo>
                <a:cubicBezTo>
                  <a:pt x="2951656" y="336753"/>
                  <a:pt x="2857052" y="260994"/>
                  <a:pt x="2857052" y="260994"/>
                </a:cubicBezTo>
                <a:cubicBezTo>
                  <a:pt x="2857052" y="260994"/>
                  <a:pt x="2858530" y="261224"/>
                  <a:pt x="2861191" y="261705"/>
                </a:cubicBezTo>
                <a:lnTo>
                  <a:pt x="2866568" y="262766"/>
                </a:lnTo>
                <a:lnTo>
                  <a:pt x="2867847" y="263215"/>
                </a:lnTo>
                <a:cubicBezTo>
                  <a:pt x="2872013" y="264887"/>
                  <a:pt x="2874182" y="265939"/>
                  <a:pt x="2874182" y="265939"/>
                </a:cubicBezTo>
                <a:cubicBezTo>
                  <a:pt x="2874182" y="265939"/>
                  <a:pt x="2875760" y="265775"/>
                  <a:pt x="2878772" y="265783"/>
                </a:cubicBezTo>
                <a:lnTo>
                  <a:pt x="2879970" y="265863"/>
                </a:lnTo>
                <a:lnTo>
                  <a:pt x="2909084" y="273357"/>
                </a:lnTo>
                <a:cubicBezTo>
                  <a:pt x="2937466" y="282038"/>
                  <a:pt x="2970577" y="295717"/>
                  <a:pt x="2989498" y="315709"/>
                </a:cubicBezTo>
                <a:cubicBezTo>
                  <a:pt x="3027340" y="357797"/>
                  <a:pt x="3391043" y="702920"/>
                  <a:pt x="3365815" y="925987"/>
                </a:cubicBezTo>
                <a:cubicBezTo>
                  <a:pt x="3351098" y="1060670"/>
                  <a:pt x="3227061" y="1315303"/>
                  <a:pt x="3233368" y="1376331"/>
                </a:cubicBezTo>
                <a:cubicBezTo>
                  <a:pt x="3234682" y="1385538"/>
                  <a:pt x="3236920" y="1397159"/>
                  <a:pt x="3239761" y="1410216"/>
                </a:cubicBezTo>
                <a:lnTo>
                  <a:pt x="3243622" y="1426604"/>
                </a:lnTo>
                <a:lnTo>
                  <a:pt x="3302854" y="1472111"/>
                </a:lnTo>
                <a:cubicBezTo>
                  <a:pt x="3370331" y="1532754"/>
                  <a:pt x="3422311" y="1609600"/>
                  <a:pt x="3442037" y="1705090"/>
                </a:cubicBezTo>
                <a:lnTo>
                  <a:pt x="3433973" y="1732860"/>
                </a:lnTo>
                <a:lnTo>
                  <a:pt x="3404867" y="1673697"/>
                </a:lnTo>
                <a:cubicBezTo>
                  <a:pt x="3399074" y="1661664"/>
                  <a:pt x="3393479" y="1649944"/>
                  <a:pt x="3388345" y="1639131"/>
                </a:cubicBezTo>
                <a:lnTo>
                  <a:pt x="3377441" y="1616053"/>
                </a:lnTo>
                <a:lnTo>
                  <a:pt x="3359581" y="1565598"/>
                </a:lnTo>
                <a:cubicBezTo>
                  <a:pt x="3359581" y="1565598"/>
                  <a:pt x="3359581" y="1565598"/>
                  <a:pt x="3361687" y="1582431"/>
                </a:cubicBezTo>
                <a:cubicBezTo>
                  <a:pt x="3361687" y="1582431"/>
                  <a:pt x="3366690" y="1593215"/>
                  <a:pt x="3374588" y="1610015"/>
                </a:cubicBezTo>
                <a:lnTo>
                  <a:pt x="3377441" y="1616053"/>
                </a:lnTo>
                <a:lnTo>
                  <a:pt x="3442901" y="1800978"/>
                </a:lnTo>
                <a:lnTo>
                  <a:pt x="3440408" y="1796829"/>
                </a:lnTo>
                <a:cubicBezTo>
                  <a:pt x="3438644" y="1793891"/>
                  <a:pt x="3436291" y="1789974"/>
                  <a:pt x="3433154" y="1784752"/>
                </a:cubicBezTo>
                <a:cubicBezTo>
                  <a:pt x="3433154" y="1784752"/>
                  <a:pt x="3414332" y="1768041"/>
                  <a:pt x="3397602" y="1761774"/>
                </a:cubicBezTo>
                <a:cubicBezTo>
                  <a:pt x="3380871" y="1753418"/>
                  <a:pt x="3349501" y="1755507"/>
                  <a:pt x="3349501" y="1755507"/>
                </a:cubicBezTo>
                <a:cubicBezTo>
                  <a:pt x="3349501" y="1755507"/>
                  <a:pt x="3380871" y="1768041"/>
                  <a:pt x="3395510" y="1772218"/>
                </a:cubicBezTo>
                <a:cubicBezTo>
                  <a:pt x="3406489" y="1773785"/>
                  <a:pt x="3429233" y="1791802"/>
                  <a:pt x="3439918" y="1800713"/>
                </a:cubicBezTo>
                <a:lnTo>
                  <a:pt x="3444055" y="1804238"/>
                </a:lnTo>
                <a:lnTo>
                  <a:pt x="3555468" y="2118980"/>
                </a:lnTo>
                <a:cubicBezTo>
                  <a:pt x="3555468" y="2118980"/>
                  <a:pt x="3553888" y="2108460"/>
                  <a:pt x="3553362" y="2091890"/>
                </a:cubicBezTo>
                <a:lnTo>
                  <a:pt x="3553487" y="2080908"/>
                </a:lnTo>
                <a:lnTo>
                  <a:pt x="3554536" y="2083695"/>
                </a:lnTo>
                <a:cubicBezTo>
                  <a:pt x="3566426" y="2115277"/>
                  <a:pt x="3569399" y="2123172"/>
                  <a:pt x="3570142" y="2125146"/>
                </a:cubicBezTo>
                <a:lnTo>
                  <a:pt x="3570375" y="2125765"/>
                </a:lnTo>
                <a:lnTo>
                  <a:pt x="3570326" y="2125774"/>
                </a:lnTo>
                <a:cubicBezTo>
                  <a:pt x="3545075" y="2130508"/>
                  <a:pt x="3536395" y="2124591"/>
                  <a:pt x="3524755" y="2128437"/>
                </a:cubicBezTo>
                <a:lnTo>
                  <a:pt x="3520991" y="2130652"/>
                </a:lnTo>
                <a:lnTo>
                  <a:pt x="3519898" y="2125754"/>
                </a:lnTo>
                <a:cubicBezTo>
                  <a:pt x="3517794" y="2116808"/>
                  <a:pt x="3515165" y="2106809"/>
                  <a:pt x="3513061" y="2102599"/>
                </a:cubicBezTo>
                <a:cubicBezTo>
                  <a:pt x="3510958" y="2096283"/>
                  <a:pt x="3498337" y="2064707"/>
                  <a:pt x="3485716" y="2058392"/>
                </a:cubicBezTo>
                <a:cubicBezTo>
                  <a:pt x="3475198" y="2052077"/>
                  <a:pt x="3435232" y="2037341"/>
                  <a:pt x="3422611" y="2039446"/>
                </a:cubicBezTo>
                <a:cubicBezTo>
                  <a:pt x="3409989" y="2039446"/>
                  <a:pt x="3397368" y="2045762"/>
                  <a:pt x="3384747" y="2043657"/>
                </a:cubicBezTo>
                <a:cubicBezTo>
                  <a:pt x="3372126" y="2041551"/>
                  <a:pt x="3334263" y="2031026"/>
                  <a:pt x="3334263" y="2031026"/>
                </a:cubicBezTo>
                <a:cubicBezTo>
                  <a:pt x="3378437" y="2058392"/>
                  <a:pt x="3378437" y="2058392"/>
                  <a:pt x="3378437" y="2058392"/>
                </a:cubicBezTo>
                <a:cubicBezTo>
                  <a:pt x="3378437" y="2058392"/>
                  <a:pt x="3359505" y="2079443"/>
                  <a:pt x="3357402" y="2092073"/>
                </a:cubicBezTo>
                <a:cubicBezTo>
                  <a:pt x="3348988" y="2111019"/>
                  <a:pt x="3351091" y="2140490"/>
                  <a:pt x="3351091" y="2140490"/>
                </a:cubicBezTo>
                <a:cubicBezTo>
                  <a:pt x="3317435" y="2140490"/>
                  <a:pt x="3317435" y="2140490"/>
                  <a:pt x="3317435" y="2140490"/>
                </a:cubicBezTo>
                <a:cubicBezTo>
                  <a:pt x="3317435" y="2140490"/>
                  <a:pt x="3348988" y="2148910"/>
                  <a:pt x="3359505" y="2155225"/>
                </a:cubicBezTo>
                <a:cubicBezTo>
                  <a:pt x="3370023" y="2161541"/>
                  <a:pt x="3395265" y="2172066"/>
                  <a:pt x="3416300" y="2180486"/>
                </a:cubicBezTo>
                <a:cubicBezTo>
                  <a:pt x="3432076" y="2186801"/>
                  <a:pt x="3457318" y="2199037"/>
                  <a:pt x="3468953" y="2204760"/>
                </a:cubicBezTo>
                <a:lnTo>
                  <a:pt x="3471183" y="2205864"/>
                </a:lnTo>
                <a:lnTo>
                  <a:pt x="3465112" y="2222558"/>
                </a:lnTo>
                <a:cubicBezTo>
                  <a:pt x="3458799" y="2247805"/>
                  <a:pt x="3418818" y="2359317"/>
                  <a:pt x="3404088" y="2397188"/>
                </a:cubicBezTo>
                <a:cubicBezTo>
                  <a:pt x="3389358" y="2435060"/>
                  <a:pt x="3303083" y="2544467"/>
                  <a:pt x="3303083" y="2544467"/>
                </a:cubicBezTo>
                <a:cubicBezTo>
                  <a:pt x="3303083" y="2544467"/>
                  <a:pt x="3383045" y="2468724"/>
                  <a:pt x="3395671" y="2456100"/>
                </a:cubicBezTo>
                <a:cubicBezTo>
                  <a:pt x="3410401" y="2443476"/>
                  <a:pt x="3429339" y="2411916"/>
                  <a:pt x="3450382" y="2386668"/>
                </a:cubicBezTo>
                <a:cubicBezTo>
                  <a:pt x="3469321" y="2363525"/>
                  <a:pt x="3515615" y="2209934"/>
                  <a:pt x="3526136" y="2184686"/>
                </a:cubicBezTo>
                <a:cubicBezTo>
                  <a:pt x="3538762" y="2157334"/>
                  <a:pt x="3574535" y="2159438"/>
                  <a:pt x="3618725" y="2163646"/>
                </a:cubicBezTo>
                <a:cubicBezTo>
                  <a:pt x="3665019" y="2167854"/>
                  <a:pt x="3707104" y="2155230"/>
                  <a:pt x="3751294" y="2136294"/>
                </a:cubicBezTo>
                <a:cubicBezTo>
                  <a:pt x="3772337" y="2126826"/>
                  <a:pt x="3786015" y="2113676"/>
                  <a:pt x="3799430" y="2104735"/>
                </a:cubicBezTo>
                <a:lnTo>
                  <a:pt x="3810437" y="2099831"/>
                </a:lnTo>
                <a:lnTo>
                  <a:pt x="3824461" y="2097367"/>
                </a:lnTo>
                <a:lnTo>
                  <a:pt x="3829342" y="2096510"/>
                </a:lnTo>
                <a:lnTo>
                  <a:pt x="3845987" y="2098423"/>
                </a:lnTo>
                <a:cubicBezTo>
                  <a:pt x="3885968" y="2111046"/>
                  <a:pt x="3894385" y="2134190"/>
                  <a:pt x="3904907" y="2180478"/>
                </a:cubicBezTo>
                <a:cubicBezTo>
                  <a:pt x="3915428" y="2226766"/>
                  <a:pt x="3885968" y="2315133"/>
                  <a:pt x="3885968" y="2315133"/>
                </a:cubicBezTo>
                <a:cubicBezTo>
                  <a:pt x="3885968" y="2315133"/>
                  <a:pt x="3885508" y="2319834"/>
                  <a:pt x="3884225" y="2328571"/>
                </a:cubicBezTo>
                <a:lnTo>
                  <a:pt x="3881324" y="2344937"/>
                </a:lnTo>
                <a:lnTo>
                  <a:pt x="3878738" y="2354578"/>
                </a:lnTo>
                <a:cubicBezTo>
                  <a:pt x="3870987" y="2383473"/>
                  <a:pt x="3863790" y="2410304"/>
                  <a:pt x="3857107" y="2435219"/>
                </a:cubicBezTo>
                <a:lnTo>
                  <a:pt x="3839183" y="2502042"/>
                </a:lnTo>
                <a:lnTo>
                  <a:pt x="3806236" y="2584501"/>
                </a:lnTo>
                <a:cubicBezTo>
                  <a:pt x="3765301" y="2675605"/>
                  <a:pt x="3703948" y="2779062"/>
                  <a:pt x="3612412" y="2876897"/>
                </a:cubicBezTo>
                <a:cubicBezTo>
                  <a:pt x="3370419" y="3137791"/>
                  <a:pt x="3046360" y="2935809"/>
                  <a:pt x="3004275" y="2912665"/>
                </a:cubicBezTo>
                <a:cubicBezTo>
                  <a:pt x="2962189" y="2889521"/>
                  <a:pt x="2852767" y="2792738"/>
                  <a:pt x="2812785" y="2759074"/>
                </a:cubicBezTo>
                <a:cubicBezTo>
                  <a:pt x="2770700" y="2725410"/>
                  <a:pt x="2726510" y="2651771"/>
                  <a:pt x="2726510" y="2651771"/>
                </a:cubicBezTo>
                <a:cubicBezTo>
                  <a:pt x="2726510" y="2651771"/>
                  <a:pt x="2724406" y="2649667"/>
                  <a:pt x="2722301" y="2655979"/>
                </a:cubicBezTo>
                <a:cubicBezTo>
                  <a:pt x="2720197" y="2662291"/>
                  <a:pt x="2699154" y="2727514"/>
                  <a:pt x="2686529" y="2750658"/>
                </a:cubicBezTo>
                <a:cubicBezTo>
                  <a:pt x="2676007" y="2771698"/>
                  <a:pt x="2661277" y="2782218"/>
                  <a:pt x="2646547" y="2799050"/>
                </a:cubicBezTo>
                <a:cubicBezTo>
                  <a:pt x="2633922" y="2817986"/>
                  <a:pt x="2612879" y="2845337"/>
                  <a:pt x="2593940" y="2887417"/>
                </a:cubicBezTo>
                <a:cubicBezTo>
                  <a:pt x="2575002" y="2929497"/>
                  <a:pt x="2606566" y="2963160"/>
                  <a:pt x="2606566" y="2963160"/>
                </a:cubicBezTo>
                <a:cubicBezTo>
                  <a:pt x="2627609" y="2988408"/>
                  <a:pt x="2697050" y="3005240"/>
                  <a:pt x="2724406" y="3001032"/>
                </a:cubicBezTo>
                <a:cubicBezTo>
                  <a:pt x="2654964" y="2986304"/>
                  <a:pt x="2614983" y="2916873"/>
                  <a:pt x="2614983" y="2916873"/>
                </a:cubicBezTo>
                <a:cubicBezTo>
                  <a:pt x="2614983" y="2916873"/>
                  <a:pt x="2614983" y="2916873"/>
                  <a:pt x="2636026" y="2931601"/>
                </a:cubicBezTo>
                <a:cubicBezTo>
                  <a:pt x="2654964" y="2946329"/>
                  <a:pt x="2688633" y="2969472"/>
                  <a:pt x="2741240" y="2975784"/>
                </a:cubicBezTo>
                <a:cubicBezTo>
                  <a:pt x="2793847" y="2982096"/>
                  <a:pt x="2823307" y="2935809"/>
                  <a:pt x="2823307" y="2935809"/>
                </a:cubicBezTo>
                <a:cubicBezTo>
                  <a:pt x="2823307" y="2935809"/>
                  <a:pt x="2823307" y="2935809"/>
                  <a:pt x="2869601" y="2874793"/>
                </a:cubicBezTo>
                <a:cubicBezTo>
                  <a:pt x="2869601" y="2874793"/>
                  <a:pt x="2869601" y="2874793"/>
                  <a:pt x="2909582" y="2914769"/>
                </a:cubicBezTo>
                <a:cubicBezTo>
                  <a:pt x="2909582" y="2914769"/>
                  <a:pt x="2838037" y="2988408"/>
                  <a:pt x="2804368" y="3009448"/>
                </a:cubicBezTo>
                <a:cubicBezTo>
                  <a:pt x="2770700" y="3030488"/>
                  <a:pt x="2715988" y="3045216"/>
                  <a:pt x="2631817" y="3019968"/>
                </a:cubicBezTo>
                <a:lnTo>
                  <a:pt x="2592812" y="2997729"/>
                </a:lnTo>
                <a:lnTo>
                  <a:pt x="2571463" y="2978979"/>
                </a:lnTo>
                <a:lnTo>
                  <a:pt x="2569646" y="2977384"/>
                </a:lnTo>
                <a:lnTo>
                  <a:pt x="2550477" y="2953365"/>
                </a:lnTo>
                <a:lnTo>
                  <a:pt x="2543509" y="2942341"/>
                </a:lnTo>
                <a:lnTo>
                  <a:pt x="2527951" y="2910199"/>
                </a:lnTo>
                <a:cubicBezTo>
                  <a:pt x="2524104" y="2900173"/>
                  <a:pt x="2522395" y="2893729"/>
                  <a:pt x="2522395" y="2893729"/>
                </a:cubicBezTo>
                <a:cubicBezTo>
                  <a:pt x="2522395" y="2893729"/>
                  <a:pt x="2522395" y="2893729"/>
                  <a:pt x="2457162" y="2748554"/>
                </a:cubicBezTo>
                <a:cubicBezTo>
                  <a:pt x="2457162" y="2748554"/>
                  <a:pt x="2396138" y="2689642"/>
                  <a:pt x="2362469" y="2651771"/>
                </a:cubicBezTo>
                <a:lnTo>
                  <a:pt x="2340024" y="2621933"/>
                </a:lnTo>
                <a:lnTo>
                  <a:pt x="2338457" y="2619477"/>
                </a:lnTo>
                <a:cubicBezTo>
                  <a:pt x="2304048" y="2565541"/>
                  <a:pt x="2304048" y="2565541"/>
                  <a:pt x="2304048" y="2565541"/>
                </a:cubicBezTo>
                <a:cubicBezTo>
                  <a:pt x="2304048" y="2565541"/>
                  <a:pt x="2271838" y="2433449"/>
                  <a:pt x="2335655" y="2318674"/>
                </a:cubicBezTo>
                <a:lnTo>
                  <a:pt x="2366996" y="2274192"/>
                </a:lnTo>
                <a:lnTo>
                  <a:pt x="2347572" y="2275513"/>
                </a:lnTo>
                <a:cubicBezTo>
                  <a:pt x="2338243" y="2274970"/>
                  <a:pt x="2329202" y="2273030"/>
                  <a:pt x="2320522" y="2269084"/>
                </a:cubicBezTo>
                <a:cubicBezTo>
                  <a:pt x="2253189" y="2237517"/>
                  <a:pt x="2057503" y="2182801"/>
                  <a:pt x="2038565" y="2062847"/>
                </a:cubicBezTo>
                <a:cubicBezTo>
                  <a:pt x="2024363" y="1972882"/>
                  <a:pt x="2014894" y="1779929"/>
                  <a:pt x="2043892" y="1618938"/>
                </a:cubicBezTo>
                <a:lnTo>
                  <a:pt x="2058099" y="1557525"/>
                </a:lnTo>
                <a:lnTo>
                  <a:pt x="2055755" y="1558228"/>
                </a:lnTo>
                <a:lnTo>
                  <a:pt x="2050316" y="1559430"/>
                </a:lnTo>
                <a:cubicBezTo>
                  <a:pt x="1969609" y="1577348"/>
                  <a:pt x="1639648" y="1651436"/>
                  <a:pt x="1525518" y="1690090"/>
                </a:cubicBezTo>
                <a:cubicBezTo>
                  <a:pt x="1395085" y="1734267"/>
                  <a:pt x="1087937" y="1875211"/>
                  <a:pt x="946985" y="1875211"/>
                </a:cubicBezTo>
                <a:cubicBezTo>
                  <a:pt x="751335" y="1873108"/>
                  <a:pt x="559893" y="1858382"/>
                  <a:pt x="559893" y="1858382"/>
                </a:cubicBezTo>
                <a:cubicBezTo>
                  <a:pt x="559893" y="1858382"/>
                  <a:pt x="488365" y="1593323"/>
                  <a:pt x="412630" y="1498659"/>
                </a:cubicBezTo>
                <a:cubicBezTo>
                  <a:pt x="334791" y="1403995"/>
                  <a:pt x="94962" y="1208355"/>
                  <a:pt x="46576" y="1063204"/>
                </a:cubicBezTo>
                <a:cubicBezTo>
                  <a:pt x="293" y="915949"/>
                  <a:pt x="-24952" y="798144"/>
                  <a:pt x="36057" y="665615"/>
                </a:cubicBezTo>
                <a:cubicBezTo>
                  <a:pt x="94962" y="535189"/>
                  <a:pt x="191735" y="459457"/>
                  <a:pt x="191735" y="459457"/>
                </a:cubicBezTo>
                <a:cubicBezTo>
                  <a:pt x="191735" y="459457"/>
                  <a:pt x="294819" y="455250"/>
                  <a:pt x="374762" y="465768"/>
                </a:cubicBezTo>
                <a:cubicBezTo>
                  <a:pt x="456809" y="476287"/>
                  <a:pt x="587242" y="499427"/>
                  <a:pt x="677704" y="528878"/>
                </a:cubicBezTo>
                <a:cubicBezTo>
                  <a:pt x="766061" y="558329"/>
                  <a:pt x="1090040" y="713999"/>
                  <a:pt x="1090040" y="713999"/>
                </a:cubicBezTo>
                <a:cubicBezTo>
                  <a:pt x="736609" y="514152"/>
                  <a:pt x="736609" y="514152"/>
                  <a:pt x="736609" y="514152"/>
                </a:cubicBezTo>
                <a:cubicBezTo>
                  <a:pt x="503092" y="423695"/>
                  <a:pt x="503092" y="423695"/>
                  <a:pt x="503092" y="423695"/>
                </a:cubicBezTo>
                <a:cubicBezTo>
                  <a:pt x="503092" y="423695"/>
                  <a:pt x="606176" y="362690"/>
                  <a:pt x="700845" y="246989"/>
                </a:cubicBezTo>
                <a:cubicBezTo>
                  <a:pt x="795514" y="131289"/>
                  <a:pt x="803929" y="89216"/>
                  <a:pt x="867042" y="47143"/>
                </a:cubicBezTo>
                <a:cubicBezTo>
                  <a:pt x="914377" y="17166"/>
                  <a:pt x="946327" y="3755"/>
                  <a:pt x="990408" y="698"/>
                </a:cubicBezTo>
                <a:close/>
              </a:path>
            </a:pathLst>
          </a:custGeom>
          <a:noFill/>
          <a:ln w="3175">
            <a:noFill/>
          </a:ln>
        </p:spPr>
        <p:txBody>
          <a:bodyPr vert="horz" wrap="square" lIns="89642" tIns="44821" rIns="89642" bIns="44821" numCol="1" anchor="t" anchorCtr="0" compatLnSpc="1">
            <a:prstTxWarp prst="textNoShape">
              <a:avLst/>
            </a:prstTxWarp>
            <a:noAutofit/>
          </a:bodyPr>
          <a:lstStyle/>
          <a:p>
            <a:pPr defTabSz="914367"/>
            <a:endParaRPr lang="en-IN" sz="1765">
              <a:solidFill>
                <a:srgbClr val="505050"/>
              </a:solidFill>
            </a:endParaRPr>
          </a:p>
        </p:txBody>
      </p:sp>
      <p:grpSp>
        <p:nvGrpSpPr>
          <p:cNvPr id="12" name="Group 11"/>
          <p:cNvGrpSpPr/>
          <p:nvPr/>
        </p:nvGrpSpPr>
        <p:grpSpPr>
          <a:xfrm>
            <a:off x="9143600" y="4103715"/>
            <a:ext cx="1085345" cy="1085344"/>
            <a:chOff x="8618618" y="4718304"/>
            <a:chExt cx="1085345" cy="1085344"/>
          </a:xfrm>
        </p:grpSpPr>
        <p:sp>
          <p:nvSpPr>
            <p:cNvPr id="9" name="Oval 8"/>
            <p:cNvSpPr/>
            <p:nvPr/>
          </p:nvSpPr>
          <p:spPr bwMode="auto">
            <a:xfrm>
              <a:off x="8618618" y="4718304"/>
              <a:ext cx="1085345" cy="1085344"/>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spcBef>
                  <a:spcPct val="0"/>
                </a:spcBef>
                <a:spcAft>
                  <a:spcPct val="0"/>
                </a:spcAft>
              </a:pPr>
              <a:r>
                <a:rPr lang="en-IN" sz="1176" dirty="0">
                  <a:solidFill>
                    <a:srgbClr val="FFFFFF"/>
                  </a:solidFill>
                  <a:latin typeface="Segoe UI Semibold" panose="020B0702040204020203" pitchFamily="34" charset="0"/>
                  <a:ea typeface="Segoe UI" pitchFamily="34" charset="0"/>
                  <a:cs typeface="Segoe UI Semibold" panose="020B0702040204020203" pitchFamily="34" charset="0"/>
                </a:rPr>
                <a:t>Hive</a:t>
              </a:r>
            </a:p>
          </p:txBody>
        </p:sp>
        <p:sp>
          <p:nvSpPr>
            <p:cNvPr id="10" name="Freeform 9"/>
            <p:cNvSpPr>
              <a:spLocks/>
            </p:cNvSpPr>
            <p:nvPr/>
          </p:nvSpPr>
          <p:spPr bwMode="auto">
            <a:xfrm>
              <a:off x="8967355" y="5403212"/>
              <a:ext cx="328975" cy="336856"/>
            </a:xfrm>
            <a:custGeom>
              <a:avLst/>
              <a:gdLst>
                <a:gd name="connsiteX0" fmla="*/ 1222186 w 2129049"/>
                <a:gd name="connsiteY0" fmla="*/ 1839320 h 2180047"/>
                <a:gd name="connsiteX1" fmla="*/ 1208400 w 2129049"/>
                <a:gd name="connsiteY1" fmla="*/ 1841119 h 2180047"/>
                <a:gd name="connsiteX2" fmla="*/ 1186099 w 2129049"/>
                <a:gd name="connsiteY2" fmla="*/ 1843640 h 2180047"/>
                <a:gd name="connsiteX3" fmla="*/ 1188379 w 2129049"/>
                <a:gd name="connsiteY3" fmla="*/ 1844841 h 2180047"/>
                <a:gd name="connsiteX4" fmla="*/ 1243194 w 2129049"/>
                <a:gd name="connsiteY4" fmla="*/ 1939957 h 2180047"/>
                <a:gd name="connsiteX5" fmla="*/ 1223702 w 2129049"/>
                <a:gd name="connsiteY5" fmla="*/ 1853174 h 2180047"/>
                <a:gd name="connsiteX6" fmla="*/ 1222569 w 2129049"/>
                <a:gd name="connsiteY6" fmla="*/ 1839342 h 2180047"/>
                <a:gd name="connsiteX7" fmla="*/ 441891 w 2129049"/>
                <a:gd name="connsiteY7" fmla="*/ 1746105 h 2180047"/>
                <a:gd name="connsiteX8" fmla="*/ 450977 w 2129049"/>
                <a:gd name="connsiteY8" fmla="*/ 1757606 h 2180047"/>
                <a:gd name="connsiteX9" fmla="*/ 707370 w 2129049"/>
                <a:gd name="connsiteY9" fmla="*/ 1976776 h 2180047"/>
                <a:gd name="connsiteX10" fmla="*/ 766453 w 2129049"/>
                <a:gd name="connsiteY10" fmla="*/ 2010648 h 2180047"/>
                <a:gd name="connsiteX11" fmla="*/ 831225 w 2129049"/>
                <a:gd name="connsiteY11" fmla="*/ 2015356 h 2180047"/>
                <a:gd name="connsiteX12" fmla="*/ 999836 w 2129049"/>
                <a:gd name="connsiteY12" fmla="*/ 2014732 h 2180047"/>
                <a:gd name="connsiteX13" fmla="*/ 1033552 w 2129049"/>
                <a:gd name="connsiteY13" fmla="*/ 2011934 h 2180047"/>
                <a:gd name="connsiteX14" fmla="*/ 1030508 w 2129049"/>
                <a:gd name="connsiteY14" fmla="*/ 1991231 h 2180047"/>
                <a:gd name="connsiteX15" fmla="*/ 1069280 w 2129049"/>
                <a:gd name="connsiteY15" fmla="*/ 1869985 h 2180047"/>
                <a:gd name="connsiteX16" fmla="*/ 1086998 w 2129049"/>
                <a:gd name="connsiteY16" fmla="*/ 1852207 h 2180047"/>
                <a:gd name="connsiteX17" fmla="*/ 1040249 w 2129049"/>
                <a:gd name="connsiteY17" fmla="*/ 1855089 h 2180047"/>
                <a:gd name="connsiteX18" fmla="*/ 700561 w 2129049"/>
                <a:gd name="connsiteY18" fmla="*/ 1833012 h 2180047"/>
                <a:gd name="connsiteX19" fmla="*/ 442094 w 2129049"/>
                <a:gd name="connsiteY19" fmla="*/ 1746192 h 2180047"/>
                <a:gd name="connsiteX20" fmla="*/ 1059954 w 2129049"/>
                <a:gd name="connsiteY20" fmla="*/ 1504433 h 2180047"/>
                <a:gd name="connsiteX21" fmla="*/ 1137935 w 2129049"/>
                <a:gd name="connsiteY21" fmla="*/ 1553560 h 2180047"/>
                <a:gd name="connsiteX22" fmla="*/ 1232714 w 2129049"/>
                <a:gd name="connsiteY22" fmla="*/ 1597039 h 2180047"/>
                <a:gd name="connsiteX23" fmla="*/ 1498003 w 2129049"/>
                <a:gd name="connsiteY23" fmla="*/ 1620193 h 2180047"/>
                <a:gd name="connsiteX24" fmla="*/ 1417995 w 2129049"/>
                <a:gd name="connsiteY24" fmla="*/ 1660186 h 2180047"/>
                <a:gd name="connsiteX25" fmla="*/ 1260085 w 2129049"/>
                <a:gd name="connsiteY25" fmla="*/ 1660186 h 2180047"/>
                <a:gd name="connsiteX26" fmla="*/ 1110597 w 2129049"/>
                <a:gd name="connsiteY26" fmla="*/ 1640189 h 2180047"/>
                <a:gd name="connsiteX27" fmla="*/ 1099046 w 2129049"/>
                <a:gd name="connsiteY27" fmla="*/ 1638682 h 2180047"/>
                <a:gd name="connsiteX28" fmla="*/ 251840 w 2129049"/>
                <a:gd name="connsiteY28" fmla="*/ 316333 h 2180047"/>
                <a:gd name="connsiteX29" fmla="*/ 246796 w 2129049"/>
                <a:gd name="connsiteY29" fmla="*/ 329846 h 2180047"/>
                <a:gd name="connsiteX30" fmla="*/ 161902 w 2129049"/>
                <a:gd name="connsiteY30" fmla="*/ 686152 h 2180047"/>
                <a:gd name="connsiteX31" fmla="*/ 163319 w 2129049"/>
                <a:gd name="connsiteY31" fmla="*/ 765157 h 2180047"/>
                <a:gd name="connsiteX32" fmla="*/ 168120 w 2129049"/>
                <a:gd name="connsiteY32" fmla="*/ 772124 h 2180047"/>
                <a:gd name="connsiteX33" fmla="*/ 462568 w 2129049"/>
                <a:gd name="connsiteY33" fmla="*/ 1054574 h 2180047"/>
                <a:gd name="connsiteX34" fmla="*/ 1083519 w 2129049"/>
                <a:gd name="connsiteY34" fmla="*/ 1296666 h 2180047"/>
                <a:gd name="connsiteX35" fmla="*/ 1112988 w 2129049"/>
                <a:gd name="connsiteY35" fmla="*/ 1212460 h 2180047"/>
                <a:gd name="connsiteX36" fmla="*/ 635171 w 2129049"/>
                <a:gd name="connsiteY36" fmla="*/ 913528 h 2180047"/>
                <a:gd name="connsiteX37" fmla="*/ 256327 w 2129049"/>
                <a:gd name="connsiteY37" fmla="*/ 344726 h 2180047"/>
                <a:gd name="connsiteX38" fmla="*/ 203697 w 2129049"/>
                <a:gd name="connsiteY38" fmla="*/ 216555 h 2180047"/>
                <a:gd name="connsiteX39" fmla="*/ 195507 w 2129049"/>
                <a:gd name="connsiteY39" fmla="*/ 224152 h 2180047"/>
                <a:gd name="connsiteX40" fmla="*/ 153435 w 2129049"/>
                <a:gd name="connsiteY40" fmla="*/ 280530 h 2180047"/>
                <a:gd name="connsiteX41" fmla="*/ 119142 w 2129049"/>
                <a:gd name="connsiteY41" fmla="*/ 338248 h 2180047"/>
                <a:gd name="connsiteX42" fmla="*/ 162420 w 2129049"/>
                <a:gd name="connsiteY42" fmla="*/ 270250 h 2180047"/>
                <a:gd name="connsiteX43" fmla="*/ 200473 w 2129049"/>
                <a:gd name="connsiteY43" fmla="*/ 220227 h 2180047"/>
                <a:gd name="connsiteX44" fmla="*/ 545326 w 2129049"/>
                <a:gd name="connsiteY44" fmla="*/ 37476 h 2180047"/>
                <a:gd name="connsiteX45" fmla="*/ 541800 w 2129049"/>
                <a:gd name="connsiteY45" fmla="*/ 40991 h 2180047"/>
                <a:gd name="connsiteX46" fmla="*/ 536701 w 2129049"/>
                <a:gd name="connsiteY46" fmla="*/ 46149 h 2180047"/>
                <a:gd name="connsiteX47" fmla="*/ 940947 w 2129049"/>
                <a:gd name="connsiteY47" fmla="*/ 939893 h 2180047"/>
                <a:gd name="connsiteX48" fmla="*/ 978333 w 2129049"/>
                <a:gd name="connsiteY48" fmla="*/ 993267 h 2180047"/>
                <a:gd name="connsiteX49" fmla="*/ 1095859 w 2129049"/>
                <a:gd name="connsiteY49" fmla="*/ 1039243 h 2180047"/>
                <a:gd name="connsiteX50" fmla="*/ 1131484 w 2129049"/>
                <a:gd name="connsiteY50" fmla="*/ 1124187 h 2180047"/>
                <a:gd name="connsiteX51" fmla="*/ 1146506 w 2129049"/>
                <a:gd name="connsiteY51" fmla="*/ 1133109 h 2180047"/>
                <a:gd name="connsiteX52" fmla="*/ 1148541 w 2129049"/>
                <a:gd name="connsiteY52" fmla="*/ 1133748 h 2180047"/>
                <a:gd name="connsiteX53" fmla="*/ 1141842 w 2129049"/>
                <a:gd name="connsiteY53" fmla="*/ 1144915 h 2180047"/>
                <a:gd name="connsiteX54" fmla="*/ 1141505 w 2129049"/>
                <a:gd name="connsiteY54" fmla="*/ 1145660 h 2180047"/>
                <a:gd name="connsiteX55" fmla="*/ 1187973 w 2129049"/>
                <a:gd name="connsiteY55" fmla="*/ 1232630 h 2180047"/>
                <a:gd name="connsiteX56" fmla="*/ 1289562 w 2129049"/>
                <a:gd name="connsiteY56" fmla="*/ 1373921 h 2180047"/>
                <a:gd name="connsiteX57" fmla="*/ 1531690 w 2129049"/>
                <a:gd name="connsiteY57" fmla="*/ 1481270 h 2180047"/>
                <a:gd name="connsiteX58" fmla="*/ 1426417 w 2129049"/>
                <a:gd name="connsiteY58" fmla="*/ 1496004 h 2180047"/>
                <a:gd name="connsiteX59" fmla="*/ 1194816 w 2129049"/>
                <a:gd name="connsiteY59" fmla="*/ 1399179 h 2180047"/>
                <a:gd name="connsiteX60" fmla="*/ 1145436 w 2129049"/>
                <a:gd name="connsiteY60" fmla="*/ 1340670 h 2180047"/>
                <a:gd name="connsiteX61" fmla="*/ 1091189 w 2129049"/>
                <a:gd name="connsiteY61" fmla="*/ 1275923 h 2180047"/>
                <a:gd name="connsiteX62" fmla="*/ 1064249 w 2129049"/>
                <a:gd name="connsiteY62" fmla="*/ 1369079 h 2180047"/>
                <a:gd name="connsiteX63" fmla="*/ 1046007 w 2129049"/>
                <a:gd name="connsiteY63" fmla="*/ 1483657 h 2180047"/>
                <a:gd name="connsiteX64" fmla="*/ 1046013 w 2129049"/>
                <a:gd name="connsiteY64" fmla="*/ 1495461 h 2180047"/>
                <a:gd name="connsiteX65" fmla="*/ 1012870 w 2129049"/>
                <a:gd name="connsiteY65" fmla="*/ 1487283 h 2180047"/>
                <a:gd name="connsiteX66" fmla="*/ 561761 w 2129049"/>
                <a:gd name="connsiteY66" fmla="*/ 1355377 h 2180047"/>
                <a:gd name="connsiteX67" fmla="*/ 245802 w 2129049"/>
                <a:gd name="connsiteY67" fmla="*/ 1165644 h 2180047"/>
                <a:gd name="connsiteX68" fmla="*/ 203985 w 2129049"/>
                <a:gd name="connsiteY68" fmla="*/ 1132152 h 2180047"/>
                <a:gd name="connsiteX69" fmla="*/ 234345 w 2129049"/>
                <a:gd name="connsiteY69" fmla="*/ 1297625 h 2180047"/>
                <a:gd name="connsiteX70" fmla="*/ 260418 w 2129049"/>
                <a:gd name="connsiteY70" fmla="*/ 1401636 h 2180047"/>
                <a:gd name="connsiteX71" fmla="*/ 276086 w 2129049"/>
                <a:gd name="connsiteY71" fmla="*/ 1451374 h 2180047"/>
                <a:gd name="connsiteX72" fmla="*/ 305709 w 2129049"/>
                <a:gd name="connsiteY72" fmla="*/ 1466895 h 2180047"/>
                <a:gd name="connsiteX73" fmla="*/ 561761 w 2129049"/>
                <a:gd name="connsiteY73" fmla="*/ 1572001 h 2180047"/>
                <a:gd name="connsiteX74" fmla="*/ 1106575 w 2129049"/>
                <a:gd name="connsiteY74" fmla="*/ 1664539 h 2180047"/>
                <a:gd name="connsiteX75" fmla="*/ 1106413 w 2129049"/>
                <a:gd name="connsiteY75" fmla="*/ 1663981 h 2180047"/>
                <a:gd name="connsiteX76" fmla="*/ 1109394 w 2129049"/>
                <a:gd name="connsiteY76" fmla="*/ 1669032 h 2180047"/>
                <a:gd name="connsiteX77" fmla="*/ 1145872 w 2129049"/>
                <a:gd name="connsiteY77" fmla="*/ 1724864 h 2180047"/>
                <a:gd name="connsiteX78" fmla="*/ 1151390 w 2129049"/>
                <a:gd name="connsiteY78" fmla="*/ 1728726 h 2180047"/>
                <a:gd name="connsiteX79" fmla="*/ 1244657 w 2129049"/>
                <a:gd name="connsiteY79" fmla="*/ 1793994 h 2180047"/>
                <a:gd name="connsiteX80" fmla="*/ 1255282 w 2129049"/>
                <a:gd name="connsiteY80" fmla="*/ 1801430 h 2180047"/>
                <a:gd name="connsiteX81" fmla="*/ 1259765 w 2129049"/>
                <a:gd name="connsiteY81" fmla="*/ 1803273 h 2180047"/>
                <a:gd name="connsiteX82" fmla="*/ 1262425 w 2129049"/>
                <a:gd name="connsiteY82" fmla="*/ 1805592 h 2180047"/>
                <a:gd name="connsiteX83" fmla="*/ 1274330 w 2129049"/>
                <a:gd name="connsiteY83" fmla="*/ 1811179 h 2180047"/>
                <a:gd name="connsiteX84" fmla="*/ 1470632 w 2129049"/>
                <a:gd name="connsiteY84" fmla="*/ 1851731 h 2180047"/>
                <a:gd name="connsiteX85" fmla="*/ 1337987 w 2129049"/>
                <a:gd name="connsiteY85" fmla="*/ 1879094 h 2180047"/>
                <a:gd name="connsiteX86" fmla="*/ 1331095 w 2129049"/>
                <a:gd name="connsiteY86" fmla="*/ 1878426 h 2180047"/>
                <a:gd name="connsiteX87" fmla="*/ 1337882 w 2129049"/>
                <a:gd name="connsiteY87" fmla="*/ 1887387 h 2180047"/>
                <a:gd name="connsiteX88" fmla="*/ 2129049 w 2129049"/>
                <a:gd name="connsiteY88" fmla="*/ 1929443 h 2180047"/>
                <a:gd name="connsiteX89" fmla="*/ 1413632 w 2129049"/>
                <a:gd name="connsiteY89" fmla="*/ 2169166 h 2180047"/>
                <a:gd name="connsiteX90" fmla="*/ 1301496 w 2129049"/>
                <a:gd name="connsiteY90" fmla="*/ 2177335 h 2180047"/>
                <a:gd name="connsiteX91" fmla="*/ 1281595 w 2129049"/>
                <a:gd name="connsiteY91" fmla="*/ 2175656 h 2180047"/>
                <a:gd name="connsiteX92" fmla="*/ 1272759 w 2129049"/>
                <a:gd name="connsiteY92" fmla="*/ 2177928 h 2180047"/>
                <a:gd name="connsiteX93" fmla="*/ 1063402 w 2129049"/>
                <a:gd name="connsiteY93" fmla="*/ 2155016 h 2180047"/>
                <a:gd name="connsiteX94" fmla="*/ 994039 w 2129049"/>
                <a:gd name="connsiteY94" fmla="*/ 2133739 h 2180047"/>
                <a:gd name="connsiteX95" fmla="*/ 954380 w 2129049"/>
                <a:gd name="connsiteY95" fmla="*/ 2125140 h 2180047"/>
                <a:gd name="connsiteX96" fmla="*/ 485181 w 2129049"/>
                <a:gd name="connsiteY96" fmla="*/ 1869194 h 2180047"/>
                <a:gd name="connsiteX97" fmla="*/ 424111 w 2129049"/>
                <a:gd name="connsiteY97" fmla="*/ 1817746 h 2180047"/>
                <a:gd name="connsiteX98" fmla="*/ 407264 w 2129049"/>
                <a:gd name="connsiteY98" fmla="*/ 1804650 h 2180047"/>
                <a:gd name="connsiteX99" fmla="*/ 400242 w 2129049"/>
                <a:gd name="connsiteY99" fmla="*/ 1797638 h 2180047"/>
                <a:gd name="connsiteX100" fmla="*/ 373060 w 2129049"/>
                <a:gd name="connsiteY100" fmla="*/ 1774739 h 2180047"/>
                <a:gd name="connsiteX101" fmla="*/ 178723 w 2129049"/>
                <a:gd name="connsiteY101" fmla="*/ 1546546 h 2180047"/>
                <a:gd name="connsiteX102" fmla="*/ 0 w 2129049"/>
                <a:gd name="connsiteY102" fmla="*/ 780817 h 2180047"/>
                <a:gd name="connsiteX103" fmla="*/ 75177 w 2129049"/>
                <a:gd name="connsiteY103" fmla="*/ 424975 h 2180047"/>
                <a:gd name="connsiteX104" fmla="*/ 118668 w 2129049"/>
                <a:gd name="connsiteY104" fmla="*/ 339046 h 2180047"/>
                <a:gd name="connsiteX105" fmla="*/ 116953 w 2129049"/>
                <a:gd name="connsiteY105" fmla="*/ 341932 h 2180047"/>
                <a:gd name="connsiteX106" fmla="*/ 93993 w 2129049"/>
                <a:gd name="connsiteY106" fmla="*/ 385485 h 2180047"/>
                <a:gd name="connsiteX107" fmla="*/ 93509 w 2129049"/>
                <a:gd name="connsiteY107" fmla="*/ 386464 h 2180047"/>
                <a:gd name="connsiteX108" fmla="*/ 95671 w 2129049"/>
                <a:gd name="connsiteY108" fmla="*/ 380966 h 2180047"/>
                <a:gd name="connsiteX109" fmla="*/ 182624 w 2129049"/>
                <a:gd name="connsiteY109" fmla="*/ 235436 h 2180047"/>
                <a:gd name="connsiteX110" fmla="*/ 478385 w 2129049"/>
                <a:gd name="connsiteY110" fmla="*/ 56179 h 2180047"/>
                <a:gd name="connsiteX111" fmla="*/ 999928 w 2129049"/>
                <a:gd name="connsiteY111" fmla="*/ 0 h 2180047"/>
                <a:gd name="connsiteX112" fmla="*/ 1676449 w 2129049"/>
                <a:gd name="connsiteY112" fmla="*/ 525838 h 2180047"/>
                <a:gd name="connsiteX113" fmla="*/ 1579666 w 2129049"/>
                <a:gd name="connsiteY113" fmla="*/ 999319 h 2180047"/>
                <a:gd name="connsiteX114" fmla="*/ 1467605 w 2129049"/>
                <a:gd name="connsiteY114" fmla="*/ 1154947 h 2180047"/>
                <a:gd name="connsiteX115" fmla="*/ 1464597 w 2129049"/>
                <a:gd name="connsiteY115" fmla="*/ 1153889 h 2180047"/>
                <a:gd name="connsiteX116" fmla="*/ 1452025 w 2129049"/>
                <a:gd name="connsiteY116" fmla="*/ 1125910 h 2180047"/>
                <a:gd name="connsiteX117" fmla="*/ 1421781 w 2129049"/>
                <a:gd name="connsiteY117" fmla="*/ 1058603 h 2180047"/>
                <a:gd name="connsiteX118" fmla="*/ 1327088 w 2129049"/>
                <a:gd name="connsiteY118" fmla="*/ 961820 h 2180047"/>
                <a:gd name="connsiteX119" fmla="*/ 1304643 w 2129049"/>
                <a:gd name="connsiteY119" fmla="*/ 931982 h 2180047"/>
                <a:gd name="connsiteX120" fmla="*/ 1303076 w 2129049"/>
                <a:gd name="connsiteY120" fmla="*/ 929526 h 2180047"/>
                <a:gd name="connsiteX121" fmla="*/ 1268667 w 2129049"/>
                <a:gd name="connsiteY121" fmla="*/ 875590 h 2180047"/>
                <a:gd name="connsiteX122" fmla="*/ 1300274 w 2129049"/>
                <a:gd name="connsiteY122" fmla="*/ 628723 h 2180047"/>
                <a:gd name="connsiteX123" fmla="*/ 1307563 w 2129049"/>
                <a:gd name="connsiteY123" fmla="*/ 618378 h 2180047"/>
                <a:gd name="connsiteX124" fmla="*/ 1298642 w 2129049"/>
                <a:gd name="connsiteY124" fmla="*/ 596988 h 2180047"/>
                <a:gd name="connsiteX125" fmla="*/ 1292154 w 2129049"/>
                <a:gd name="connsiteY125" fmla="*/ 580800 h 2180047"/>
                <a:gd name="connsiteX126" fmla="*/ 1285141 w 2129049"/>
                <a:gd name="connsiteY126" fmla="*/ 579133 h 2180047"/>
                <a:gd name="connsiteX127" fmla="*/ 1003184 w 2129049"/>
                <a:gd name="connsiteY127" fmla="*/ 372896 h 2180047"/>
                <a:gd name="connsiteX128" fmla="*/ 993448 w 2129049"/>
                <a:gd name="connsiteY128" fmla="*/ 53615 h 2180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Lst>
              <a:rect l="l" t="t" r="r" b="b"/>
              <a:pathLst>
                <a:path w="2129049" h="2180047">
                  <a:moveTo>
                    <a:pt x="1222186" y="1839320"/>
                  </a:moveTo>
                  <a:cubicBezTo>
                    <a:pt x="1222186" y="1839320"/>
                    <a:pt x="1217322" y="1840010"/>
                    <a:pt x="1208400" y="1841119"/>
                  </a:cubicBezTo>
                  <a:lnTo>
                    <a:pt x="1186099" y="1843640"/>
                  </a:lnTo>
                  <a:lnTo>
                    <a:pt x="1188379" y="1844841"/>
                  </a:lnTo>
                  <a:cubicBezTo>
                    <a:pt x="1208837" y="1862152"/>
                    <a:pt x="1227939" y="1892644"/>
                    <a:pt x="1243194" y="1939957"/>
                  </a:cubicBezTo>
                  <a:cubicBezTo>
                    <a:pt x="1232936" y="1903158"/>
                    <a:pt x="1226723" y="1874737"/>
                    <a:pt x="1223702" y="1853174"/>
                  </a:cubicBezTo>
                  <a:lnTo>
                    <a:pt x="1222569" y="1839342"/>
                  </a:lnTo>
                  <a:close/>
                  <a:moveTo>
                    <a:pt x="441891" y="1746105"/>
                  </a:moveTo>
                  <a:lnTo>
                    <a:pt x="450977" y="1757606"/>
                  </a:lnTo>
                  <a:cubicBezTo>
                    <a:pt x="523579" y="1840277"/>
                    <a:pt x="612111" y="1915885"/>
                    <a:pt x="707370" y="1976776"/>
                  </a:cubicBezTo>
                  <a:lnTo>
                    <a:pt x="766453" y="2010648"/>
                  </a:lnTo>
                  <a:lnTo>
                    <a:pt x="831225" y="2015356"/>
                  </a:lnTo>
                  <a:cubicBezTo>
                    <a:pt x="884464" y="2017808"/>
                    <a:pt x="942877" y="2017788"/>
                    <a:pt x="999836" y="2014732"/>
                  </a:cubicBezTo>
                  <a:lnTo>
                    <a:pt x="1033552" y="2011934"/>
                  </a:lnTo>
                  <a:lnTo>
                    <a:pt x="1030508" y="1991231"/>
                  </a:lnTo>
                  <a:cubicBezTo>
                    <a:pt x="1029673" y="1945751"/>
                    <a:pt x="1045399" y="1901238"/>
                    <a:pt x="1069280" y="1869985"/>
                  </a:cubicBezTo>
                  <a:lnTo>
                    <a:pt x="1086998" y="1852207"/>
                  </a:lnTo>
                  <a:lnTo>
                    <a:pt x="1040249" y="1855089"/>
                  </a:lnTo>
                  <a:cubicBezTo>
                    <a:pt x="936134" y="1859819"/>
                    <a:pt x="805728" y="1858242"/>
                    <a:pt x="700561" y="1833012"/>
                  </a:cubicBezTo>
                  <a:cubicBezTo>
                    <a:pt x="607620" y="1810016"/>
                    <a:pt x="515887" y="1776557"/>
                    <a:pt x="442094" y="1746192"/>
                  </a:cubicBezTo>
                  <a:close/>
                  <a:moveTo>
                    <a:pt x="1059954" y="1504433"/>
                  </a:moveTo>
                  <a:lnTo>
                    <a:pt x="1137935" y="1553560"/>
                  </a:lnTo>
                  <a:cubicBezTo>
                    <a:pt x="1171787" y="1572701"/>
                    <a:pt x="1204817" y="1588620"/>
                    <a:pt x="1232714" y="1597039"/>
                  </a:cubicBezTo>
                  <a:cubicBezTo>
                    <a:pt x="1361148" y="1634927"/>
                    <a:pt x="1457999" y="1643347"/>
                    <a:pt x="1498003" y="1620193"/>
                  </a:cubicBezTo>
                  <a:cubicBezTo>
                    <a:pt x="1498003" y="1620193"/>
                    <a:pt x="1462210" y="1649661"/>
                    <a:pt x="1417995" y="1660186"/>
                  </a:cubicBezTo>
                  <a:cubicBezTo>
                    <a:pt x="1373780" y="1668605"/>
                    <a:pt x="1319038" y="1668605"/>
                    <a:pt x="1260085" y="1660186"/>
                  </a:cubicBezTo>
                  <a:cubicBezTo>
                    <a:pt x="1230609" y="1655976"/>
                    <a:pt x="1166918" y="1647556"/>
                    <a:pt x="1110597" y="1640189"/>
                  </a:cubicBezTo>
                  <a:lnTo>
                    <a:pt x="1099046" y="1638682"/>
                  </a:lnTo>
                  <a:close/>
                  <a:moveTo>
                    <a:pt x="251840" y="316333"/>
                  </a:moveTo>
                  <a:lnTo>
                    <a:pt x="246796" y="329846"/>
                  </a:lnTo>
                  <a:cubicBezTo>
                    <a:pt x="205006" y="446862"/>
                    <a:pt x="162954" y="588333"/>
                    <a:pt x="161902" y="686152"/>
                  </a:cubicBezTo>
                  <a:lnTo>
                    <a:pt x="163319" y="765157"/>
                  </a:lnTo>
                  <a:lnTo>
                    <a:pt x="168120" y="772124"/>
                  </a:lnTo>
                  <a:cubicBezTo>
                    <a:pt x="237177" y="866056"/>
                    <a:pt x="334563" y="972605"/>
                    <a:pt x="462568" y="1054574"/>
                  </a:cubicBezTo>
                  <a:cubicBezTo>
                    <a:pt x="755152" y="1239827"/>
                    <a:pt x="1083519" y="1296666"/>
                    <a:pt x="1083519" y="1296666"/>
                  </a:cubicBezTo>
                  <a:cubicBezTo>
                    <a:pt x="1112988" y="1212460"/>
                    <a:pt x="1112988" y="1212460"/>
                    <a:pt x="1112988" y="1212460"/>
                  </a:cubicBezTo>
                  <a:cubicBezTo>
                    <a:pt x="1112988" y="1212460"/>
                    <a:pt x="1058260" y="1208250"/>
                    <a:pt x="635171" y="913528"/>
                  </a:cubicBezTo>
                  <a:cubicBezTo>
                    <a:pt x="372057" y="730643"/>
                    <a:pt x="286544" y="495129"/>
                    <a:pt x="256327" y="344726"/>
                  </a:cubicBezTo>
                  <a:close/>
                  <a:moveTo>
                    <a:pt x="203697" y="216555"/>
                  </a:moveTo>
                  <a:lnTo>
                    <a:pt x="195507" y="224152"/>
                  </a:lnTo>
                  <a:cubicBezTo>
                    <a:pt x="181433" y="239566"/>
                    <a:pt x="166968" y="259629"/>
                    <a:pt x="153435" y="280530"/>
                  </a:cubicBezTo>
                  <a:lnTo>
                    <a:pt x="119142" y="338248"/>
                  </a:lnTo>
                  <a:lnTo>
                    <a:pt x="162420" y="270250"/>
                  </a:lnTo>
                  <a:cubicBezTo>
                    <a:pt x="176342" y="250442"/>
                    <a:pt x="189335" y="233719"/>
                    <a:pt x="200473" y="220227"/>
                  </a:cubicBezTo>
                  <a:close/>
                  <a:moveTo>
                    <a:pt x="545326" y="37476"/>
                  </a:moveTo>
                  <a:lnTo>
                    <a:pt x="541800" y="40991"/>
                  </a:lnTo>
                  <a:cubicBezTo>
                    <a:pt x="538494" y="44318"/>
                    <a:pt x="536701" y="46149"/>
                    <a:pt x="536701" y="46149"/>
                  </a:cubicBezTo>
                  <a:cubicBezTo>
                    <a:pt x="536701" y="131636"/>
                    <a:pt x="760164" y="665826"/>
                    <a:pt x="940947" y="939893"/>
                  </a:cubicBezTo>
                  <a:lnTo>
                    <a:pt x="978333" y="993267"/>
                  </a:lnTo>
                  <a:lnTo>
                    <a:pt x="1095859" y="1039243"/>
                  </a:lnTo>
                  <a:lnTo>
                    <a:pt x="1131484" y="1124187"/>
                  </a:lnTo>
                  <a:lnTo>
                    <a:pt x="1146506" y="1133109"/>
                  </a:lnTo>
                  <a:lnTo>
                    <a:pt x="1148541" y="1133748"/>
                  </a:lnTo>
                  <a:lnTo>
                    <a:pt x="1141842" y="1144915"/>
                  </a:lnTo>
                  <a:lnTo>
                    <a:pt x="1141505" y="1145660"/>
                  </a:lnTo>
                  <a:lnTo>
                    <a:pt x="1187973" y="1232630"/>
                  </a:lnTo>
                  <a:cubicBezTo>
                    <a:pt x="1223766" y="1293409"/>
                    <a:pt x="1261138" y="1345505"/>
                    <a:pt x="1289562" y="1373921"/>
                  </a:cubicBezTo>
                  <a:cubicBezTo>
                    <a:pt x="1344304" y="1428648"/>
                    <a:pt x="1426417" y="1496004"/>
                    <a:pt x="1531690" y="1481270"/>
                  </a:cubicBezTo>
                  <a:cubicBezTo>
                    <a:pt x="1531690" y="1481270"/>
                    <a:pt x="1476948" y="1504424"/>
                    <a:pt x="1426417" y="1496004"/>
                  </a:cubicBezTo>
                  <a:cubicBezTo>
                    <a:pt x="1377991" y="1485480"/>
                    <a:pt x="1245347" y="1456011"/>
                    <a:pt x="1194816" y="1399179"/>
                  </a:cubicBezTo>
                  <a:cubicBezTo>
                    <a:pt x="1182709" y="1384971"/>
                    <a:pt x="1165076" y="1364054"/>
                    <a:pt x="1145436" y="1340670"/>
                  </a:cubicBezTo>
                  <a:lnTo>
                    <a:pt x="1091189" y="1275923"/>
                  </a:lnTo>
                  <a:lnTo>
                    <a:pt x="1064249" y="1369079"/>
                  </a:lnTo>
                  <a:cubicBezTo>
                    <a:pt x="1054868" y="1409695"/>
                    <a:pt x="1048279" y="1449238"/>
                    <a:pt x="1046007" y="1483657"/>
                  </a:cubicBezTo>
                  <a:lnTo>
                    <a:pt x="1046013" y="1495461"/>
                  </a:lnTo>
                  <a:lnTo>
                    <a:pt x="1012870" y="1487283"/>
                  </a:lnTo>
                  <a:cubicBezTo>
                    <a:pt x="926987" y="1465792"/>
                    <a:pt x="733725" y="1415316"/>
                    <a:pt x="561761" y="1355377"/>
                  </a:cubicBezTo>
                  <a:cubicBezTo>
                    <a:pt x="461449" y="1320412"/>
                    <a:pt x="345032" y="1242374"/>
                    <a:pt x="245802" y="1165644"/>
                  </a:cubicBezTo>
                  <a:lnTo>
                    <a:pt x="203985" y="1132152"/>
                  </a:lnTo>
                  <a:lnTo>
                    <a:pt x="234345" y="1297625"/>
                  </a:lnTo>
                  <a:cubicBezTo>
                    <a:pt x="242410" y="1333469"/>
                    <a:pt x="251108" y="1368352"/>
                    <a:pt x="260418" y="1401636"/>
                  </a:cubicBezTo>
                  <a:lnTo>
                    <a:pt x="276086" y="1451374"/>
                  </a:lnTo>
                  <a:lnTo>
                    <a:pt x="305709" y="1466895"/>
                  </a:lnTo>
                  <a:cubicBezTo>
                    <a:pt x="373741" y="1500727"/>
                    <a:pt x="458919" y="1537496"/>
                    <a:pt x="561761" y="1572001"/>
                  </a:cubicBezTo>
                  <a:cubicBezTo>
                    <a:pt x="875187" y="1675055"/>
                    <a:pt x="1106575" y="1664539"/>
                    <a:pt x="1106575" y="1664539"/>
                  </a:cubicBezTo>
                  <a:lnTo>
                    <a:pt x="1106413" y="1663981"/>
                  </a:lnTo>
                  <a:lnTo>
                    <a:pt x="1109394" y="1669032"/>
                  </a:lnTo>
                  <a:lnTo>
                    <a:pt x="1145872" y="1724864"/>
                  </a:lnTo>
                  <a:lnTo>
                    <a:pt x="1151390" y="1728726"/>
                  </a:lnTo>
                  <a:cubicBezTo>
                    <a:pt x="1204685" y="1766022"/>
                    <a:pt x="1231333" y="1784670"/>
                    <a:pt x="1244657" y="1793994"/>
                  </a:cubicBezTo>
                  <a:lnTo>
                    <a:pt x="1255282" y="1801430"/>
                  </a:lnTo>
                  <a:lnTo>
                    <a:pt x="1259765" y="1803273"/>
                  </a:lnTo>
                  <a:lnTo>
                    <a:pt x="1262425" y="1805592"/>
                  </a:lnTo>
                  <a:lnTo>
                    <a:pt x="1274330" y="1811179"/>
                  </a:lnTo>
                  <a:cubicBezTo>
                    <a:pt x="1306011" y="1825288"/>
                    <a:pt x="1380623" y="1853310"/>
                    <a:pt x="1470632" y="1851731"/>
                  </a:cubicBezTo>
                  <a:cubicBezTo>
                    <a:pt x="1470632" y="1851731"/>
                    <a:pt x="1375886" y="1881199"/>
                    <a:pt x="1337987" y="1879094"/>
                  </a:cubicBezTo>
                  <a:lnTo>
                    <a:pt x="1331095" y="1878426"/>
                  </a:lnTo>
                  <a:lnTo>
                    <a:pt x="1337882" y="1887387"/>
                  </a:lnTo>
                  <a:cubicBezTo>
                    <a:pt x="1419945" y="2013557"/>
                    <a:pt x="2129049" y="1929443"/>
                    <a:pt x="2129049" y="1929443"/>
                  </a:cubicBezTo>
                  <a:cubicBezTo>
                    <a:pt x="2129049" y="1929443"/>
                    <a:pt x="2129049" y="1929443"/>
                    <a:pt x="1413632" y="2169166"/>
                  </a:cubicBezTo>
                  <a:cubicBezTo>
                    <a:pt x="1372338" y="2174818"/>
                    <a:pt x="1335063" y="2177389"/>
                    <a:pt x="1301496" y="2177335"/>
                  </a:cubicBezTo>
                  <a:lnTo>
                    <a:pt x="1281595" y="2175656"/>
                  </a:lnTo>
                  <a:lnTo>
                    <a:pt x="1272759" y="2177928"/>
                  </a:lnTo>
                  <a:cubicBezTo>
                    <a:pt x="1225811" y="2184118"/>
                    <a:pt x="1152027" y="2176826"/>
                    <a:pt x="1063402" y="2155016"/>
                  </a:cubicBezTo>
                  <a:lnTo>
                    <a:pt x="994039" y="2133739"/>
                  </a:lnTo>
                  <a:lnTo>
                    <a:pt x="954380" y="2125140"/>
                  </a:lnTo>
                  <a:cubicBezTo>
                    <a:pt x="795130" y="2082053"/>
                    <a:pt x="625466" y="1978945"/>
                    <a:pt x="485181" y="1869194"/>
                  </a:cubicBezTo>
                  <a:lnTo>
                    <a:pt x="424111" y="1817746"/>
                  </a:lnTo>
                  <a:lnTo>
                    <a:pt x="407264" y="1804650"/>
                  </a:lnTo>
                  <a:lnTo>
                    <a:pt x="400242" y="1797638"/>
                  </a:lnTo>
                  <a:lnTo>
                    <a:pt x="373060" y="1774739"/>
                  </a:lnTo>
                  <a:cubicBezTo>
                    <a:pt x="269990" y="1681147"/>
                    <a:pt x="196858" y="1593878"/>
                    <a:pt x="178723" y="1546546"/>
                  </a:cubicBezTo>
                  <a:cubicBezTo>
                    <a:pt x="92516" y="1378254"/>
                    <a:pt x="0" y="1054291"/>
                    <a:pt x="0" y="780817"/>
                  </a:cubicBezTo>
                  <a:cubicBezTo>
                    <a:pt x="0" y="639609"/>
                    <a:pt x="33412" y="519701"/>
                    <a:pt x="75177" y="424975"/>
                  </a:cubicBezTo>
                  <a:lnTo>
                    <a:pt x="118668" y="339046"/>
                  </a:lnTo>
                  <a:lnTo>
                    <a:pt x="116953" y="341932"/>
                  </a:lnTo>
                  <a:cubicBezTo>
                    <a:pt x="106605" y="360695"/>
                    <a:pt x="98512" y="376484"/>
                    <a:pt x="93993" y="385485"/>
                  </a:cubicBezTo>
                  <a:lnTo>
                    <a:pt x="93509" y="386464"/>
                  </a:lnTo>
                  <a:lnTo>
                    <a:pt x="95671" y="380966"/>
                  </a:lnTo>
                  <a:cubicBezTo>
                    <a:pt x="123713" y="321057"/>
                    <a:pt x="154747" y="273315"/>
                    <a:pt x="182624" y="235436"/>
                  </a:cubicBezTo>
                  <a:cubicBezTo>
                    <a:pt x="241010" y="154155"/>
                    <a:pt x="355019" y="96548"/>
                    <a:pt x="478385" y="56179"/>
                  </a:cubicBezTo>
                  <a:close/>
                  <a:moveTo>
                    <a:pt x="999928" y="0"/>
                  </a:moveTo>
                  <a:lnTo>
                    <a:pt x="1676449" y="525838"/>
                  </a:lnTo>
                  <a:cubicBezTo>
                    <a:pt x="1676449" y="525838"/>
                    <a:pt x="1594394" y="780465"/>
                    <a:pt x="1579666" y="999319"/>
                  </a:cubicBezTo>
                  <a:cubicBezTo>
                    <a:pt x="1570461" y="1136103"/>
                    <a:pt x="1517697" y="1165202"/>
                    <a:pt x="1467605" y="1154947"/>
                  </a:cubicBezTo>
                  <a:lnTo>
                    <a:pt x="1464597" y="1153889"/>
                  </a:lnTo>
                  <a:lnTo>
                    <a:pt x="1452025" y="1125910"/>
                  </a:lnTo>
                  <a:cubicBezTo>
                    <a:pt x="1443951" y="1107940"/>
                    <a:pt x="1434013" y="1085824"/>
                    <a:pt x="1421781" y="1058603"/>
                  </a:cubicBezTo>
                  <a:cubicBezTo>
                    <a:pt x="1421781" y="1058603"/>
                    <a:pt x="1360757" y="999691"/>
                    <a:pt x="1327088" y="961820"/>
                  </a:cubicBezTo>
                  <a:lnTo>
                    <a:pt x="1304643" y="931982"/>
                  </a:lnTo>
                  <a:lnTo>
                    <a:pt x="1303076" y="929526"/>
                  </a:lnTo>
                  <a:cubicBezTo>
                    <a:pt x="1268667" y="875590"/>
                    <a:pt x="1268667" y="875590"/>
                    <a:pt x="1268667" y="875590"/>
                  </a:cubicBezTo>
                  <a:cubicBezTo>
                    <a:pt x="1268667" y="875590"/>
                    <a:pt x="1236457" y="743498"/>
                    <a:pt x="1300274" y="628723"/>
                  </a:cubicBezTo>
                  <a:lnTo>
                    <a:pt x="1307563" y="618378"/>
                  </a:lnTo>
                  <a:lnTo>
                    <a:pt x="1298642" y="596988"/>
                  </a:lnTo>
                  <a:lnTo>
                    <a:pt x="1292154" y="580800"/>
                  </a:lnTo>
                  <a:lnTo>
                    <a:pt x="1285141" y="579133"/>
                  </a:lnTo>
                  <a:cubicBezTo>
                    <a:pt x="1217808" y="547566"/>
                    <a:pt x="1022122" y="492850"/>
                    <a:pt x="1003184" y="372896"/>
                  </a:cubicBezTo>
                  <a:cubicBezTo>
                    <a:pt x="992533" y="305422"/>
                    <a:pt x="984544" y="180018"/>
                    <a:pt x="993448" y="53615"/>
                  </a:cubicBezTo>
                  <a:close/>
                </a:path>
              </a:pathLst>
            </a:custGeom>
            <a:solidFill>
              <a:schemeClr val="bg1"/>
            </a:solidFill>
            <a:ln w="3175" cap="flat">
              <a:noFill/>
              <a:prstDash val="solid"/>
              <a:miter lim="800000"/>
              <a:headEnd/>
              <a:tailEnd/>
            </a:ln>
          </p:spPr>
          <p:txBody>
            <a:bodyPr vert="horz" wrap="square" lIns="89642" tIns="44821" rIns="89642" bIns="44821" numCol="1" anchor="t" anchorCtr="0" compatLnSpc="1">
              <a:prstTxWarp prst="textNoShape">
                <a:avLst/>
              </a:prstTxWarp>
              <a:noAutofit/>
            </a:bodyPr>
            <a:lstStyle/>
            <a:p>
              <a:pPr defTabSz="914367"/>
              <a:endParaRPr lang="en-IN" sz="1765">
                <a:solidFill>
                  <a:srgbClr val="505050"/>
                </a:solidFill>
              </a:endParaRPr>
            </a:p>
          </p:txBody>
        </p:sp>
        <p:sp>
          <p:nvSpPr>
            <p:cNvPr id="11" name="Freeform 10"/>
            <p:cNvSpPr>
              <a:spLocks/>
            </p:cNvSpPr>
            <p:nvPr/>
          </p:nvSpPr>
          <p:spPr bwMode="auto">
            <a:xfrm>
              <a:off x="8766049" y="5124616"/>
              <a:ext cx="603726" cy="434894"/>
            </a:xfrm>
            <a:custGeom>
              <a:avLst/>
              <a:gdLst>
                <a:gd name="connsiteX0" fmla="*/ 3283994 w 3907177"/>
                <a:gd name="connsiteY0" fmla="*/ 2199606 h 3033282"/>
                <a:gd name="connsiteX1" fmla="*/ 3216771 w 3907177"/>
                <a:gd name="connsiteY1" fmla="*/ 2237508 h 3033282"/>
                <a:gd name="connsiteX2" fmla="*/ 3176070 w 3907177"/>
                <a:gd name="connsiteY2" fmla="*/ 2287254 h 3033282"/>
                <a:gd name="connsiteX3" fmla="*/ 3157902 w 3907177"/>
                <a:gd name="connsiteY3" fmla="*/ 2304911 h 3033282"/>
                <a:gd name="connsiteX4" fmla="*/ 3148728 w 3907177"/>
                <a:gd name="connsiteY4" fmla="*/ 2311436 h 3033282"/>
                <a:gd name="connsiteX5" fmla="*/ 3136944 w 3907177"/>
                <a:gd name="connsiteY5" fmla="*/ 2319628 h 3033282"/>
                <a:gd name="connsiteX6" fmla="*/ 3154439 w 3907177"/>
                <a:gd name="connsiteY6" fmla="*/ 2308277 h 3033282"/>
                <a:gd name="connsiteX7" fmla="*/ 3157902 w 3907177"/>
                <a:gd name="connsiteY7" fmla="*/ 2304911 h 3033282"/>
                <a:gd name="connsiteX8" fmla="*/ 3176070 w 3907177"/>
                <a:gd name="connsiteY8" fmla="*/ 2291992 h 3033282"/>
                <a:gd name="connsiteX9" fmla="*/ 3229375 w 3907177"/>
                <a:gd name="connsiteY9" fmla="*/ 2250142 h 3033282"/>
                <a:gd name="connsiteX10" fmla="*/ 3317605 w 3907177"/>
                <a:gd name="connsiteY10" fmla="*/ 2231191 h 3033282"/>
                <a:gd name="connsiteX11" fmla="*/ 3378755 w 3907177"/>
                <a:gd name="connsiteY11" fmla="*/ 2245404 h 3033282"/>
                <a:gd name="connsiteX12" fmla="*/ 3382808 w 3907177"/>
                <a:gd name="connsiteY12" fmla="*/ 2247161 h 3033282"/>
                <a:gd name="connsiteX13" fmla="*/ 3351550 w 3907177"/>
                <a:gd name="connsiteY13" fmla="*/ 2248260 h 3033282"/>
                <a:gd name="connsiteX14" fmla="*/ 3315694 w 3907177"/>
                <a:gd name="connsiteY14" fmla="*/ 2268558 h 3033282"/>
                <a:gd name="connsiteX15" fmla="*/ 3248262 w 3907177"/>
                <a:gd name="connsiteY15" fmla="*/ 2369622 h 3033282"/>
                <a:gd name="connsiteX16" fmla="*/ 3195581 w 3907177"/>
                <a:gd name="connsiteY16" fmla="*/ 2443314 h 3033282"/>
                <a:gd name="connsiteX17" fmla="*/ 3288300 w 3907177"/>
                <a:gd name="connsiteY17" fmla="*/ 2346462 h 3033282"/>
                <a:gd name="connsiteX18" fmla="*/ 3334660 w 3907177"/>
                <a:gd name="connsiteY18" fmla="*/ 2295930 h 3033282"/>
                <a:gd name="connsiteX19" fmla="*/ 3404199 w 3907177"/>
                <a:gd name="connsiteY19" fmla="*/ 2281191 h 3033282"/>
                <a:gd name="connsiteX20" fmla="*/ 3442129 w 3907177"/>
                <a:gd name="connsiteY20" fmla="*/ 2291719 h 3033282"/>
                <a:gd name="connsiteX21" fmla="*/ 3448451 w 3907177"/>
                <a:gd name="connsiteY21" fmla="*/ 2258031 h 3033282"/>
                <a:gd name="connsiteX22" fmla="*/ 3432746 w 3907177"/>
                <a:gd name="connsiteY22" fmla="*/ 2253458 h 3033282"/>
                <a:gd name="connsiteX23" fmla="*/ 3399309 w 3907177"/>
                <a:gd name="connsiteY23" fmla="*/ 2247403 h 3033282"/>
                <a:gd name="connsiteX24" fmla="*/ 3406885 w 3907177"/>
                <a:gd name="connsiteY24" fmla="*/ 2246720 h 3033282"/>
                <a:gd name="connsiteX25" fmla="*/ 3422640 w 3907177"/>
                <a:gd name="connsiteY25" fmla="*/ 2231191 h 3033282"/>
                <a:gd name="connsiteX26" fmla="*/ 3370122 w 3907177"/>
                <a:gd name="connsiteY26" fmla="*/ 2208029 h 3033282"/>
                <a:gd name="connsiteX27" fmla="*/ 3283994 w 3907177"/>
                <a:gd name="connsiteY27" fmla="*/ 2199606 h 3033282"/>
                <a:gd name="connsiteX28" fmla="*/ 3868985 w 3907177"/>
                <a:gd name="connsiteY28" fmla="*/ 2136388 h 3033282"/>
                <a:gd name="connsiteX29" fmla="*/ 3734396 w 3907177"/>
                <a:gd name="connsiteY29" fmla="*/ 2199444 h 3033282"/>
                <a:gd name="connsiteX30" fmla="*/ 3559852 w 3907177"/>
                <a:gd name="connsiteY30" fmla="*/ 2182629 h 3033282"/>
                <a:gd name="connsiteX31" fmla="*/ 3641867 w 3907177"/>
                <a:gd name="connsiteY31" fmla="*/ 2241481 h 3033282"/>
                <a:gd name="connsiteX32" fmla="*/ 3702852 w 3907177"/>
                <a:gd name="connsiteY32" fmla="*/ 2239379 h 3033282"/>
                <a:gd name="connsiteX33" fmla="*/ 3831132 w 3907177"/>
                <a:gd name="connsiteY33" fmla="*/ 2178425 h 3033282"/>
                <a:gd name="connsiteX34" fmla="*/ 3868985 w 3907177"/>
                <a:gd name="connsiteY34" fmla="*/ 2136388 h 3033282"/>
                <a:gd name="connsiteX35" fmla="*/ 3385344 w 3907177"/>
                <a:gd name="connsiteY35" fmla="*/ 2089937 h 3033282"/>
                <a:gd name="connsiteX36" fmla="*/ 3403807 w 3907177"/>
                <a:gd name="connsiteY36" fmla="*/ 2092045 h 3033282"/>
                <a:gd name="connsiteX37" fmla="*/ 3420687 w 3907177"/>
                <a:gd name="connsiteY37" fmla="*/ 2119439 h 3033282"/>
                <a:gd name="connsiteX38" fmla="*/ 3410137 w 3907177"/>
                <a:gd name="connsiteY38" fmla="*/ 2151048 h 3033282"/>
                <a:gd name="connsiteX39" fmla="*/ 3380596 w 3907177"/>
                <a:gd name="connsiteY39" fmla="*/ 2144726 h 3033282"/>
                <a:gd name="connsiteX40" fmla="*/ 3353166 w 3907177"/>
                <a:gd name="connsiteY40" fmla="*/ 2146834 h 3033282"/>
                <a:gd name="connsiteX41" fmla="*/ 3353166 w 3907177"/>
                <a:gd name="connsiteY41" fmla="*/ 2113117 h 3033282"/>
                <a:gd name="connsiteX42" fmla="*/ 3370046 w 3907177"/>
                <a:gd name="connsiteY42" fmla="*/ 2094152 h 3033282"/>
                <a:gd name="connsiteX43" fmla="*/ 3385344 w 3907177"/>
                <a:gd name="connsiteY43" fmla="*/ 2089937 h 3033282"/>
                <a:gd name="connsiteX44" fmla="*/ 2921466 w 3907177"/>
                <a:gd name="connsiteY44" fmla="*/ 1940074 h 3033282"/>
                <a:gd name="connsiteX45" fmla="*/ 2876044 w 3907177"/>
                <a:gd name="connsiteY45" fmla="*/ 1945069 h 3033282"/>
                <a:gd name="connsiteX46" fmla="*/ 2796228 w 3907177"/>
                <a:gd name="connsiteY46" fmla="*/ 1980818 h 3033282"/>
                <a:gd name="connsiteX47" fmla="*/ 2716411 w 3907177"/>
                <a:gd name="connsiteY47" fmla="*/ 2018670 h 3033282"/>
                <a:gd name="connsiteX48" fmla="*/ 2773123 w 3907177"/>
                <a:gd name="connsiteY48" fmla="*/ 2014464 h 3033282"/>
                <a:gd name="connsiteX49" fmla="*/ 2813031 w 3907177"/>
                <a:gd name="connsiteY49" fmla="*/ 2008155 h 3033282"/>
                <a:gd name="connsiteX50" fmla="*/ 2810931 w 3907177"/>
                <a:gd name="connsiteY50" fmla="*/ 2075448 h 3033282"/>
                <a:gd name="connsiteX51" fmla="*/ 2825634 w 3907177"/>
                <a:gd name="connsiteY51" fmla="*/ 2117505 h 3033282"/>
                <a:gd name="connsiteX52" fmla="*/ 2817232 w 3907177"/>
                <a:gd name="connsiteY52" fmla="*/ 2123814 h 3033282"/>
                <a:gd name="connsiteX53" fmla="*/ 2773123 w 3907177"/>
                <a:gd name="connsiteY53" fmla="*/ 2157460 h 3033282"/>
                <a:gd name="connsiteX54" fmla="*/ 2848738 w 3907177"/>
                <a:gd name="connsiteY54" fmla="*/ 2125917 h 3033282"/>
                <a:gd name="connsiteX55" fmla="*/ 2941157 w 3907177"/>
                <a:gd name="connsiteY55" fmla="*/ 2104888 h 3033282"/>
                <a:gd name="connsiteX56" fmla="*/ 3111292 w 3907177"/>
                <a:gd name="connsiteY56" fmla="*/ 2106991 h 3033282"/>
                <a:gd name="connsiteX57" fmla="*/ 3056681 w 3907177"/>
                <a:gd name="connsiteY57" fmla="*/ 2085962 h 3033282"/>
                <a:gd name="connsiteX58" fmla="*/ 3016773 w 3907177"/>
                <a:gd name="connsiteY58" fmla="*/ 2081756 h 3033282"/>
                <a:gd name="connsiteX59" fmla="*/ 3023074 w 3907177"/>
                <a:gd name="connsiteY59" fmla="*/ 2027081 h 3033282"/>
                <a:gd name="connsiteX60" fmla="*/ 2995769 w 3907177"/>
                <a:gd name="connsiteY60" fmla="*/ 1970303 h 3033282"/>
                <a:gd name="connsiteX61" fmla="*/ 3018873 w 3907177"/>
                <a:gd name="connsiteY61" fmla="*/ 1966098 h 3033282"/>
                <a:gd name="connsiteX62" fmla="*/ 3065083 w 3907177"/>
                <a:gd name="connsiteY62" fmla="*/ 1957686 h 3033282"/>
                <a:gd name="connsiteX63" fmla="*/ 2968463 w 3907177"/>
                <a:gd name="connsiteY63" fmla="*/ 1942966 h 3033282"/>
                <a:gd name="connsiteX64" fmla="*/ 2921466 w 3907177"/>
                <a:gd name="connsiteY64" fmla="*/ 1940074 h 3033282"/>
                <a:gd name="connsiteX65" fmla="*/ 2882143 w 3907177"/>
                <a:gd name="connsiteY65" fmla="*/ 1689578 h 3033282"/>
                <a:gd name="connsiteX66" fmla="*/ 2779009 w 3907177"/>
                <a:gd name="connsiteY66" fmla="*/ 1700880 h 3033282"/>
                <a:gd name="connsiteX67" fmla="*/ 2720075 w 3907177"/>
                <a:gd name="connsiteY67" fmla="*/ 1810222 h 3033282"/>
                <a:gd name="connsiteX68" fmla="*/ 2806371 w 3907177"/>
                <a:gd name="connsiteY68" fmla="*/ 1730318 h 3033282"/>
                <a:gd name="connsiteX69" fmla="*/ 2953705 w 3907177"/>
                <a:gd name="connsiteY69" fmla="*/ 1692469 h 3033282"/>
                <a:gd name="connsiteX70" fmla="*/ 2882143 w 3907177"/>
                <a:gd name="connsiteY70" fmla="*/ 1689578 h 3033282"/>
                <a:gd name="connsiteX71" fmla="*/ 2751741 w 3907177"/>
                <a:gd name="connsiteY71" fmla="*/ 1152523 h 3033282"/>
                <a:gd name="connsiteX72" fmla="*/ 2752273 w 3907177"/>
                <a:gd name="connsiteY72" fmla="*/ 1154187 h 3033282"/>
                <a:gd name="connsiteX73" fmla="*/ 2764036 w 3907177"/>
                <a:gd name="connsiteY73" fmla="*/ 1192874 h 3033282"/>
                <a:gd name="connsiteX74" fmla="*/ 2787833 w 3907177"/>
                <a:gd name="connsiteY74" fmla="*/ 1274009 h 3033282"/>
                <a:gd name="connsiteX75" fmla="*/ 2819472 w 3907177"/>
                <a:gd name="connsiteY75" fmla="*/ 1283014 h 3033282"/>
                <a:gd name="connsiteX76" fmla="*/ 2820261 w 3907177"/>
                <a:gd name="connsiteY76" fmla="*/ 1283258 h 3033282"/>
                <a:gd name="connsiteX77" fmla="*/ 2825890 w 3907177"/>
                <a:gd name="connsiteY77" fmla="*/ 1283302 h 3033282"/>
                <a:gd name="connsiteX78" fmla="*/ 2903747 w 3907177"/>
                <a:gd name="connsiteY78" fmla="*/ 1291542 h 3033282"/>
                <a:gd name="connsiteX79" fmla="*/ 2899550 w 3907177"/>
                <a:gd name="connsiteY79" fmla="*/ 1288295 h 3033282"/>
                <a:gd name="connsiteX80" fmla="*/ 2806596 w 3907177"/>
                <a:gd name="connsiteY80" fmla="*/ 1216396 h 3033282"/>
                <a:gd name="connsiteX81" fmla="*/ 2775061 w 3907177"/>
                <a:gd name="connsiteY81" fmla="*/ 1179930 h 3033282"/>
                <a:gd name="connsiteX82" fmla="*/ 1695768 w 3907177"/>
                <a:gd name="connsiteY82" fmla="*/ 862876 h 3033282"/>
                <a:gd name="connsiteX83" fmla="*/ 2078780 w 3907177"/>
                <a:gd name="connsiteY83" fmla="*/ 919680 h 3033282"/>
                <a:gd name="connsiteX84" fmla="*/ 2177689 w 3907177"/>
                <a:gd name="connsiteY84" fmla="*/ 938615 h 3033282"/>
                <a:gd name="connsiteX85" fmla="*/ 2274495 w 3907177"/>
                <a:gd name="connsiteY85" fmla="*/ 997523 h 3033282"/>
                <a:gd name="connsiteX86" fmla="*/ 2192421 w 3907177"/>
                <a:gd name="connsiteY86" fmla="*/ 984900 h 3033282"/>
                <a:gd name="connsiteX87" fmla="*/ 2082989 w 3907177"/>
                <a:gd name="connsiteY87" fmla="*/ 1031185 h 3033282"/>
                <a:gd name="connsiteX88" fmla="*/ 2013542 w 3907177"/>
                <a:gd name="connsiteY88" fmla="*/ 1064846 h 3033282"/>
                <a:gd name="connsiteX89" fmla="*/ 2177689 w 3907177"/>
                <a:gd name="connsiteY89" fmla="*/ 1060639 h 3033282"/>
                <a:gd name="connsiteX90" fmla="*/ 2320793 w 3907177"/>
                <a:gd name="connsiteY90" fmla="*/ 1102716 h 3033282"/>
                <a:gd name="connsiteX91" fmla="*/ 2402867 w 3907177"/>
                <a:gd name="connsiteY91" fmla="*/ 1193182 h 3033282"/>
                <a:gd name="connsiteX92" fmla="*/ 2477977 w 3907177"/>
                <a:gd name="connsiteY92" fmla="*/ 1304520 h 3033282"/>
                <a:gd name="connsiteX93" fmla="*/ 2495231 w 3907177"/>
                <a:gd name="connsiteY93" fmla="*/ 1302276 h 3033282"/>
                <a:gd name="connsiteX94" fmla="*/ 2479203 w 3907177"/>
                <a:gd name="connsiteY94" fmla="*/ 1263722 h 3033282"/>
                <a:gd name="connsiteX95" fmla="*/ 2352360 w 3907177"/>
                <a:gd name="connsiteY95" fmla="*/ 974380 h 3033282"/>
                <a:gd name="connsiteX96" fmla="*/ 2194525 w 3907177"/>
                <a:gd name="connsiteY96" fmla="*/ 875499 h 3033282"/>
                <a:gd name="connsiteX97" fmla="*/ 1695768 w 3907177"/>
                <a:gd name="connsiteY97" fmla="*/ 862876 h 3033282"/>
                <a:gd name="connsiteX98" fmla="*/ 2884074 w 3907177"/>
                <a:gd name="connsiteY98" fmla="*/ 435929 h 3033282"/>
                <a:gd name="connsiteX99" fmla="*/ 2987291 w 3907177"/>
                <a:gd name="connsiteY99" fmla="*/ 631716 h 3033282"/>
                <a:gd name="connsiteX100" fmla="*/ 3130531 w 3907177"/>
                <a:gd name="connsiteY100" fmla="*/ 1008552 h 3033282"/>
                <a:gd name="connsiteX101" fmla="*/ 3063124 w 3907177"/>
                <a:gd name="connsiteY101" fmla="*/ 682241 h 3033282"/>
                <a:gd name="connsiteX102" fmla="*/ 2970440 w 3907177"/>
                <a:gd name="connsiteY102" fmla="*/ 520138 h 3033282"/>
                <a:gd name="connsiteX103" fmla="*/ 2884074 w 3907177"/>
                <a:gd name="connsiteY103" fmla="*/ 435929 h 3033282"/>
                <a:gd name="connsiteX104" fmla="*/ 990408 w 3907177"/>
                <a:gd name="connsiteY104" fmla="*/ 698 h 3033282"/>
                <a:gd name="connsiteX105" fmla="*/ 1039550 w 3907177"/>
                <a:gd name="connsiteY105" fmla="*/ 863 h 3033282"/>
                <a:gd name="connsiteX106" fmla="*/ 1348803 w 3907177"/>
                <a:gd name="connsiteY106" fmla="*/ 72387 h 3033282"/>
                <a:gd name="connsiteX107" fmla="*/ 1737998 w 3907177"/>
                <a:gd name="connsiteY107" fmla="*/ 232264 h 3033282"/>
                <a:gd name="connsiteX108" fmla="*/ 2005176 w 3907177"/>
                <a:gd name="connsiteY108" fmla="*/ 371104 h 3033282"/>
                <a:gd name="connsiteX109" fmla="*/ 2203455 w 3907177"/>
                <a:gd name="connsiteY109" fmla="*/ 477601 h 3033282"/>
                <a:gd name="connsiteX110" fmla="*/ 2296994 w 3907177"/>
                <a:gd name="connsiteY110" fmla="*/ 530121 h 3033282"/>
                <a:gd name="connsiteX111" fmla="*/ 2323986 w 3907177"/>
                <a:gd name="connsiteY111" fmla="*/ 546882 h 3033282"/>
                <a:gd name="connsiteX112" fmla="*/ 2357160 w 3907177"/>
                <a:gd name="connsiteY112" fmla="*/ 567482 h 3033282"/>
                <a:gd name="connsiteX113" fmla="*/ 2404890 w 3907177"/>
                <a:gd name="connsiteY113" fmla="*/ 598298 h 3033282"/>
                <a:gd name="connsiteX114" fmla="*/ 2415440 w 3907177"/>
                <a:gd name="connsiteY114" fmla="*/ 605928 h 3033282"/>
                <a:gd name="connsiteX115" fmla="*/ 2362991 w 3907177"/>
                <a:gd name="connsiteY115" fmla="*/ 493093 h 3033282"/>
                <a:gd name="connsiteX116" fmla="*/ 2329266 w 3907177"/>
                <a:gd name="connsiteY116" fmla="*/ 483333 h 3033282"/>
                <a:gd name="connsiteX117" fmla="*/ 2307060 w 3907177"/>
                <a:gd name="connsiteY117" fmla="*/ 476906 h 3033282"/>
                <a:gd name="connsiteX118" fmla="*/ 2313198 w 3907177"/>
                <a:gd name="connsiteY118" fmla="*/ 470584 h 3033282"/>
                <a:gd name="connsiteX119" fmla="*/ 2460566 w 3907177"/>
                <a:gd name="connsiteY119" fmla="*/ 333037 h 3033282"/>
                <a:gd name="connsiteX120" fmla="*/ 2482676 w 3907177"/>
                <a:gd name="connsiteY120" fmla="*/ 317005 h 3033282"/>
                <a:gd name="connsiteX121" fmla="*/ 2522361 w 3907177"/>
                <a:gd name="connsiteY121" fmla="*/ 296868 h 3033282"/>
                <a:gd name="connsiteX122" fmla="*/ 2554579 w 3907177"/>
                <a:gd name="connsiteY122" fmla="*/ 283748 h 3033282"/>
                <a:gd name="connsiteX123" fmla="*/ 2694384 w 3907177"/>
                <a:gd name="connsiteY123" fmla="*/ 254812 h 3033282"/>
                <a:gd name="connsiteX124" fmla="*/ 2798186 w 3907177"/>
                <a:gd name="connsiteY124" fmla="*/ 277829 h 3033282"/>
                <a:gd name="connsiteX125" fmla="*/ 2857052 w 3907177"/>
                <a:gd name="connsiteY125" fmla="*/ 260994 h 3033282"/>
                <a:gd name="connsiteX126" fmla="*/ 2861191 w 3907177"/>
                <a:gd name="connsiteY126" fmla="*/ 261705 h 3033282"/>
                <a:gd name="connsiteX127" fmla="*/ 2866568 w 3907177"/>
                <a:gd name="connsiteY127" fmla="*/ 262766 h 3033282"/>
                <a:gd name="connsiteX128" fmla="*/ 2867847 w 3907177"/>
                <a:gd name="connsiteY128" fmla="*/ 263215 h 3033282"/>
                <a:gd name="connsiteX129" fmla="*/ 2874182 w 3907177"/>
                <a:gd name="connsiteY129" fmla="*/ 265939 h 3033282"/>
                <a:gd name="connsiteX130" fmla="*/ 2878772 w 3907177"/>
                <a:gd name="connsiteY130" fmla="*/ 265783 h 3033282"/>
                <a:gd name="connsiteX131" fmla="*/ 2879970 w 3907177"/>
                <a:gd name="connsiteY131" fmla="*/ 265863 h 3033282"/>
                <a:gd name="connsiteX132" fmla="*/ 2909084 w 3907177"/>
                <a:gd name="connsiteY132" fmla="*/ 273357 h 3033282"/>
                <a:gd name="connsiteX133" fmla="*/ 2989498 w 3907177"/>
                <a:gd name="connsiteY133" fmla="*/ 315709 h 3033282"/>
                <a:gd name="connsiteX134" fmla="*/ 3365815 w 3907177"/>
                <a:gd name="connsiteY134" fmla="*/ 925987 h 3033282"/>
                <a:gd name="connsiteX135" fmla="*/ 3233368 w 3907177"/>
                <a:gd name="connsiteY135" fmla="*/ 1376331 h 3033282"/>
                <a:gd name="connsiteX136" fmla="*/ 3239761 w 3907177"/>
                <a:gd name="connsiteY136" fmla="*/ 1410216 h 3033282"/>
                <a:gd name="connsiteX137" fmla="*/ 3243622 w 3907177"/>
                <a:gd name="connsiteY137" fmla="*/ 1426604 h 3033282"/>
                <a:gd name="connsiteX138" fmla="*/ 3302854 w 3907177"/>
                <a:gd name="connsiteY138" fmla="*/ 1472111 h 3033282"/>
                <a:gd name="connsiteX139" fmla="*/ 3442037 w 3907177"/>
                <a:gd name="connsiteY139" fmla="*/ 1705090 h 3033282"/>
                <a:gd name="connsiteX140" fmla="*/ 3433973 w 3907177"/>
                <a:gd name="connsiteY140" fmla="*/ 1732860 h 3033282"/>
                <a:gd name="connsiteX141" fmla="*/ 3404867 w 3907177"/>
                <a:gd name="connsiteY141" fmla="*/ 1673697 h 3033282"/>
                <a:gd name="connsiteX142" fmla="*/ 3388345 w 3907177"/>
                <a:gd name="connsiteY142" fmla="*/ 1639131 h 3033282"/>
                <a:gd name="connsiteX143" fmla="*/ 3377441 w 3907177"/>
                <a:gd name="connsiteY143" fmla="*/ 1616053 h 3033282"/>
                <a:gd name="connsiteX144" fmla="*/ 3359581 w 3907177"/>
                <a:gd name="connsiteY144" fmla="*/ 1565598 h 3033282"/>
                <a:gd name="connsiteX145" fmla="*/ 3361687 w 3907177"/>
                <a:gd name="connsiteY145" fmla="*/ 1582431 h 3033282"/>
                <a:gd name="connsiteX146" fmla="*/ 3374588 w 3907177"/>
                <a:gd name="connsiteY146" fmla="*/ 1610015 h 3033282"/>
                <a:gd name="connsiteX147" fmla="*/ 3377441 w 3907177"/>
                <a:gd name="connsiteY147" fmla="*/ 1616053 h 3033282"/>
                <a:gd name="connsiteX148" fmla="*/ 3442901 w 3907177"/>
                <a:gd name="connsiteY148" fmla="*/ 1800978 h 3033282"/>
                <a:gd name="connsiteX149" fmla="*/ 3440408 w 3907177"/>
                <a:gd name="connsiteY149" fmla="*/ 1796829 h 3033282"/>
                <a:gd name="connsiteX150" fmla="*/ 3433154 w 3907177"/>
                <a:gd name="connsiteY150" fmla="*/ 1784752 h 3033282"/>
                <a:gd name="connsiteX151" fmla="*/ 3397602 w 3907177"/>
                <a:gd name="connsiteY151" fmla="*/ 1761774 h 3033282"/>
                <a:gd name="connsiteX152" fmla="*/ 3349501 w 3907177"/>
                <a:gd name="connsiteY152" fmla="*/ 1755507 h 3033282"/>
                <a:gd name="connsiteX153" fmla="*/ 3395510 w 3907177"/>
                <a:gd name="connsiteY153" fmla="*/ 1772218 h 3033282"/>
                <a:gd name="connsiteX154" fmla="*/ 3439918 w 3907177"/>
                <a:gd name="connsiteY154" fmla="*/ 1800713 h 3033282"/>
                <a:gd name="connsiteX155" fmla="*/ 3444055 w 3907177"/>
                <a:gd name="connsiteY155" fmla="*/ 1804238 h 3033282"/>
                <a:gd name="connsiteX156" fmla="*/ 3555468 w 3907177"/>
                <a:gd name="connsiteY156" fmla="*/ 2118980 h 3033282"/>
                <a:gd name="connsiteX157" fmla="*/ 3553362 w 3907177"/>
                <a:gd name="connsiteY157" fmla="*/ 2091890 h 3033282"/>
                <a:gd name="connsiteX158" fmla="*/ 3553487 w 3907177"/>
                <a:gd name="connsiteY158" fmla="*/ 2080908 h 3033282"/>
                <a:gd name="connsiteX159" fmla="*/ 3554536 w 3907177"/>
                <a:gd name="connsiteY159" fmla="*/ 2083695 h 3033282"/>
                <a:gd name="connsiteX160" fmla="*/ 3570142 w 3907177"/>
                <a:gd name="connsiteY160" fmla="*/ 2125146 h 3033282"/>
                <a:gd name="connsiteX161" fmla="*/ 3570375 w 3907177"/>
                <a:gd name="connsiteY161" fmla="*/ 2125765 h 3033282"/>
                <a:gd name="connsiteX162" fmla="*/ 3570326 w 3907177"/>
                <a:gd name="connsiteY162" fmla="*/ 2125774 h 3033282"/>
                <a:gd name="connsiteX163" fmla="*/ 3524755 w 3907177"/>
                <a:gd name="connsiteY163" fmla="*/ 2128437 h 3033282"/>
                <a:gd name="connsiteX164" fmla="*/ 3520991 w 3907177"/>
                <a:gd name="connsiteY164" fmla="*/ 2130652 h 3033282"/>
                <a:gd name="connsiteX165" fmla="*/ 3519898 w 3907177"/>
                <a:gd name="connsiteY165" fmla="*/ 2125754 h 3033282"/>
                <a:gd name="connsiteX166" fmla="*/ 3513061 w 3907177"/>
                <a:gd name="connsiteY166" fmla="*/ 2102599 h 3033282"/>
                <a:gd name="connsiteX167" fmla="*/ 3485716 w 3907177"/>
                <a:gd name="connsiteY167" fmla="*/ 2058392 h 3033282"/>
                <a:gd name="connsiteX168" fmla="*/ 3422611 w 3907177"/>
                <a:gd name="connsiteY168" fmla="*/ 2039446 h 3033282"/>
                <a:gd name="connsiteX169" fmla="*/ 3384747 w 3907177"/>
                <a:gd name="connsiteY169" fmla="*/ 2043657 h 3033282"/>
                <a:gd name="connsiteX170" fmla="*/ 3334263 w 3907177"/>
                <a:gd name="connsiteY170" fmla="*/ 2031026 h 3033282"/>
                <a:gd name="connsiteX171" fmla="*/ 3378437 w 3907177"/>
                <a:gd name="connsiteY171" fmla="*/ 2058392 h 3033282"/>
                <a:gd name="connsiteX172" fmla="*/ 3357402 w 3907177"/>
                <a:gd name="connsiteY172" fmla="*/ 2092073 h 3033282"/>
                <a:gd name="connsiteX173" fmla="*/ 3351091 w 3907177"/>
                <a:gd name="connsiteY173" fmla="*/ 2140490 h 3033282"/>
                <a:gd name="connsiteX174" fmla="*/ 3317435 w 3907177"/>
                <a:gd name="connsiteY174" fmla="*/ 2140490 h 3033282"/>
                <a:gd name="connsiteX175" fmla="*/ 3359505 w 3907177"/>
                <a:gd name="connsiteY175" fmla="*/ 2155225 h 3033282"/>
                <a:gd name="connsiteX176" fmla="*/ 3416300 w 3907177"/>
                <a:gd name="connsiteY176" fmla="*/ 2180486 h 3033282"/>
                <a:gd name="connsiteX177" fmla="*/ 3468953 w 3907177"/>
                <a:gd name="connsiteY177" fmla="*/ 2204760 h 3033282"/>
                <a:gd name="connsiteX178" fmla="*/ 3471183 w 3907177"/>
                <a:gd name="connsiteY178" fmla="*/ 2205864 h 3033282"/>
                <a:gd name="connsiteX179" fmla="*/ 3465112 w 3907177"/>
                <a:gd name="connsiteY179" fmla="*/ 2222558 h 3033282"/>
                <a:gd name="connsiteX180" fmla="*/ 3404088 w 3907177"/>
                <a:gd name="connsiteY180" fmla="*/ 2397188 h 3033282"/>
                <a:gd name="connsiteX181" fmla="*/ 3303083 w 3907177"/>
                <a:gd name="connsiteY181" fmla="*/ 2544467 h 3033282"/>
                <a:gd name="connsiteX182" fmla="*/ 3395671 w 3907177"/>
                <a:gd name="connsiteY182" fmla="*/ 2456100 h 3033282"/>
                <a:gd name="connsiteX183" fmla="*/ 3450382 w 3907177"/>
                <a:gd name="connsiteY183" fmla="*/ 2386668 h 3033282"/>
                <a:gd name="connsiteX184" fmla="*/ 3526136 w 3907177"/>
                <a:gd name="connsiteY184" fmla="*/ 2184686 h 3033282"/>
                <a:gd name="connsiteX185" fmla="*/ 3618725 w 3907177"/>
                <a:gd name="connsiteY185" fmla="*/ 2163646 h 3033282"/>
                <a:gd name="connsiteX186" fmla="*/ 3751294 w 3907177"/>
                <a:gd name="connsiteY186" fmla="*/ 2136294 h 3033282"/>
                <a:gd name="connsiteX187" fmla="*/ 3799430 w 3907177"/>
                <a:gd name="connsiteY187" fmla="*/ 2104735 h 3033282"/>
                <a:gd name="connsiteX188" fmla="*/ 3810437 w 3907177"/>
                <a:gd name="connsiteY188" fmla="*/ 2099831 h 3033282"/>
                <a:gd name="connsiteX189" fmla="*/ 3824461 w 3907177"/>
                <a:gd name="connsiteY189" fmla="*/ 2097367 h 3033282"/>
                <a:gd name="connsiteX190" fmla="*/ 3829342 w 3907177"/>
                <a:gd name="connsiteY190" fmla="*/ 2096510 h 3033282"/>
                <a:gd name="connsiteX191" fmla="*/ 3845987 w 3907177"/>
                <a:gd name="connsiteY191" fmla="*/ 2098423 h 3033282"/>
                <a:gd name="connsiteX192" fmla="*/ 3904907 w 3907177"/>
                <a:gd name="connsiteY192" fmla="*/ 2180478 h 3033282"/>
                <a:gd name="connsiteX193" fmla="*/ 3885968 w 3907177"/>
                <a:gd name="connsiteY193" fmla="*/ 2315133 h 3033282"/>
                <a:gd name="connsiteX194" fmla="*/ 3884225 w 3907177"/>
                <a:gd name="connsiteY194" fmla="*/ 2328571 h 3033282"/>
                <a:gd name="connsiteX195" fmla="*/ 3881324 w 3907177"/>
                <a:gd name="connsiteY195" fmla="*/ 2344937 h 3033282"/>
                <a:gd name="connsiteX196" fmla="*/ 3878738 w 3907177"/>
                <a:gd name="connsiteY196" fmla="*/ 2354578 h 3033282"/>
                <a:gd name="connsiteX197" fmla="*/ 3857107 w 3907177"/>
                <a:gd name="connsiteY197" fmla="*/ 2435219 h 3033282"/>
                <a:gd name="connsiteX198" fmla="*/ 3839183 w 3907177"/>
                <a:gd name="connsiteY198" fmla="*/ 2502042 h 3033282"/>
                <a:gd name="connsiteX199" fmla="*/ 3806236 w 3907177"/>
                <a:gd name="connsiteY199" fmla="*/ 2584501 h 3033282"/>
                <a:gd name="connsiteX200" fmla="*/ 3612412 w 3907177"/>
                <a:gd name="connsiteY200" fmla="*/ 2876897 h 3033282"/>
                <a:gd name="connsiteX201" fmla="*/ 3004275 w 3907177"/>
                <a:gd name="connsiteY201" fmla="*/ 2912665 h 3033282"/>
                <a:gd name="connsiteX202" fmla="*/ 2812785 w 3907177"/>
                <a:gd name="connsiteY202" fmla="*/ 2759074 h 3033282"/>
                <a:gd name="connsiteX203" fmla="*/ 2726510 w 3907177"/>
                <a:gd name="connsiteY203" fmla="*/ 2651771 h 3033282"/>
                <a:gd name="connsiteX204" fmla="*/ 2722301 w 3907177"/>
                <a:gd name="connsiteY204" fmla="*/ 2655979 h 3033282"/>
                <a:gd name="connsiteX205" fmla="*/ 2686529 w 3907177"/>
                <a:gd name="connsiteY205" fmla="*/ 2750658 h 3033282"/>
                <a:gd name="connsiteX206" fmla="*/ 2646547 w 3907177"/>
                <a:gd name="connsiteY206" fmla="*/ 2799050 h 3033282"/>
                <a:gd name="connsiteX207" fmla="*/ 2593940 w 3907177"/>
                <a:gd name="connsiteY207" fmla="*/ 2887417 h 3033282"/>
                <a:gd name="connsiteX208" fmla="*/ 2606566 w 3907177"/>
                <a:gd name="connsiteY208" fmla="*/ 2963160 h 3033282"/>
                <a:gd name="connsiteX209" fmla="*/ 2724406 w 3907177"/>
                <a:gd name="connsiteY209" fmla="*/ 3001032 h 3033282"/>
                <a:gd name="connsiteX210" fmla="*/ 2614983 w 3907177"/>
                <a:gd name="connsiteY210" fmla="*/ 2916873 h 3033282"/>
                <a:gd name="connsiteX211" fmla="*/ 2636026 w 3907177"/>
                <a:gd name="connsiteY211" fmla="*/ 2931601 h 3033282"/>
                <a:gd name="connsiteX212" fmla="*/ 2741240 w 3907177"/>
                <a:gd name="connsiteY212" fmla="*/ 2975784 h 3033282"/>
                <a:gd name="connsiteX213" fmla="*/ 2823307 w 3907177"/>
                <a:gd name="connsiteY213" fmla="*/ 2935809 h 3033282"/>
                <a:gd name="connsiteX214" fmla="*/ 2869601 w 3907177"/>
                <a:gd name="connsiteY214" fmla="*/ 2874793 h 3033282"/>
                <a:gd name="connsiteX215" fmla="*/ 2909582 w 3907177"/>
                <a:gd name="connsiteY215" fmla="*/ 2914769 h 3033282"/>
                <a:gd name="connsiteX216" fmla="*/ 2804368 w 3907177"/>
                <a:gd name="connsiteY216" fmla="*/ 3009448 h 3033282"/>
                <a:gd name="connsiteX217" fmla="*/ 2631817 w 3907177"/>
                <a:gd name="connsiteY217" fmla="*/ 3019968 h 3033282"/>
                <a:gd name="connsiteX218" fmla="*/ 2592812 w 3907177"/>
                <a:gd name="connsiteY218" fmla="*/ 2997729 h 3033282"/>
                <a:gd name="connsiteX219" fmla="*/ 2571463 w 3907177"/>
                <a:gd name="connsiteY219" fmla="*/ 2978979 h 3033282"/>
                <a:gd name="connsiteX220" fmla="*/ 2569646 w 3907177"/>
                <a:gd name="connsiteY220" fmla="*/ 2977384 h 3033282"/>
                <a:gd name="connsiteX221" fmla="*/ 2550477 w 3907177"/>
                <a:gd name="connsiteY221" fmla="*/ 2953365 h 3033282"/>
                <a:gd name="connsiteX222" fmla="*/ 2543509 w 3907177"/>
                <a:gd name="connsiteY222" fmla="*/ 2942341 h 3033282"/>
                <a:gd name="connsiteX223" fmla="*/ 2527951 w 3907177"/>
                <a:gd name="connsiteY223" fmla="*/ 2910199 h 3033282"/>
                <a:gd name="connsiteX224" fmla="*/ 2522395 w 3907177"/>
                <a:gd name="connsiteY224" fmla="*/ 2893729 h 3033282"/>
                <a:gd name="connsiteX225" fmla="*/ 2457162 w 3907177"/>
                <a:gd name="connsiteY225" fmla="*/ 2748554 h 3033282"/>
                <a:gd name="connsiteX226" fmla="*/ 2362469 w 3907177"/>
                <a:gd name="connsiteY226" fmla="*/ 2651771 h 3033282"/>
                <a:gd name="connsiteX227" fmla="*/ 2340024 w 3907177"/>
                <a:gd name="connsiteY227" fmla="*/ 2621933 h 3033282"/>
                <a:gd name="connsiteX228" fmla="*/ 2338457 w 3907177"/>
                <a:gd name="connsiteY228" fmla="*/ 2619477 h 3033282"/>
                <a:gd name="connsiteX229" fmla="*/ 2304048 w 3907177"/>
                <a:gd name="connsiteY229" fmla="*/ 2565541 h 3033282"/>
                <a:gd name="connsiteX230" fmla="*/ 2335655 w 3907177"/>
                <a:gd name="connsiteY230" fmla="*/ 2318674 h 3033282"/>
                <a:gd name="connsiteX231" fmla="*/ 2366996 w 3907177"/>
                <a:gd name="connsiteY231" fmla="*/ 2274192 h 3033282"/>
                <a:gd name="connsiteX232" fmla="*/ 2347572 w 3907177"/>
                <a:gd name="connsiteY232" fmla="*/ 2275513 h 3033282"/>
                <a:gd name="connsiteX233" fmla="*/ 2320522 w 3907177"/>
                <a:gd name="connsiteY233" fmla="*/ 2269084 h 3033282"/>
                <a:gd name="connsiteX234" fmla="*/ 2038565 w 3907177"/>
                <a:gd name="connsiteY234" fmla="*/ 2062847 h 3033282"/>
                <a:gd name="connsiteX235" fmla="*/ 2043892 w 3907177"/>
                <a:gd name="connsiteY235" fmla="*/ 1618938 h 3033282"/>
                <a:gd name="connsiteX236" fmla="*/ 2058099 w 3907177"/>
                <a:gd name="connsiteY236" fmla="*/ 1557525 h 3033282"/>
                <a:gd name="connsiteX237" fmla="*/ 2055755 w 3907177"/>
                <a:gd name="connsiteY237" fmla="*/ 1558228 h 3033282"/>
                <a:gd name="connsiteX238" fmla="*/ 2050316 w 3907177"/>
                <a:gd name="connsiteY238" fmla="*/ 1559430 h 3033282"/>
                <a:gd name="connsiteX239" fmla="*/ 1525518 w 3907177"/>
                <a:gd name="connsiteY239" fmla="*/ 1690090 h 3033282"/>
                <a:gd name="connsiteX240" fmla="*/ 946985 w 3907177"/>
                <a:gd name="connsiteY240" fmla="*/ 1875211 h 3033282"/>
                <a:gd name="connsiteX241" fmla="*/ 559893 w 3907177"/>
                <a:gd name="connsiteY241" fmla="*/ 1858382 h 3033282"/>
                <a:gd name="connsiteX242" fmla="*/ 412630 w 3907177"/>
                <a:gd name="connsiteY242" fmla="*/ 1498659 h 3033282"/>
                <a:gd name="connsiteX243" fmla="*/ 46576 w 3907177"/>
                <a:gd name="connsiteY243" fmla="*/ 1063204 h 3033282"/>
                <a:gd name="connsiteX244" fmla="*/ 36057 w 3907177"/>
                <a:gd name="connsiteY244" fmla="*/ 665615 h 3033282"/>
                <a:gd name="connsiteX245" fmla="*/ 191735 w 3907177"/>
                <a:gd name="connsiteY245" fmla="*/ 459457 h 3033282"/>
                <a:gd name="connsiteX246" fmla="*/ 374762 w 3907177"/>
                <a:gd name="connsiteY246" fmla="*/ 465768 h 3033282"/>
                <a:gd name="connsiteX247" fmla="*/ 677704 w 3907177"/>
                <a:gd name="connsiteY247" fmla="*/ 528878 h 3033282"/>
                <a:gd name="connsiteX248" fmla="*/ 1090040 w 3907177"/>
                <a:gd name="connsiteY248" fmla="*/ 713999 h 3033282"/>
                <a:gd name="connsiteX249" fmla="*/ 736609 w 3907177"/>
                <a:gd name="connsiteY249" fmla="*/ 514152 h 3033282"/>
                <a:gd name="connsiteX250" fmla="*/ 503092 w 3907177"/>
                <a:gd name="connsiteY250" fmla="*/ 423695 h 3033282"/>
                <a:gd name="connsiteX251" fmla="*/ 700845 w 3907177"/>
                <a:gd name="connsiteY251" fmla="*/ 246989 h 3033282"/>
                <a:gd name="connsiteX252" fmla="*/ 867042 w 3907177"/>
                <a:gd name="connsiteY252" fmla="*/ 47143 h 3033282"/>
                <a:gd name="connsiteX253" fmla="*/ 990408 w 3907177"/>
                <a:gd name="connsiteY253" fmla="*/ 698 h 3033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Lst>
              <a:rect l="l" t="t" r="r" b="b"/>
              <a:pathLst>
                <a:path w="3907177" h="3033282">
                  <a:moveTo>
                    <a:pt x="3283994" y="2199606"/>
                  </a:moveTo>
                  <a:cubicBezTo>
                    <a:pt x="3260886" y="2199606"/>
                    <a:pt x="3239879" y="2208029"/>
                    <a:pt x="3216771" y="2237508"/>
                  </a:cubicBezTo>
                  <a:cubicBezTo>
                    <a:pt x="3206268" y="2252247"/>
                    <a:pt x="3191038" y="2271198"/>
                    <a:pt x="3176070" y="2287254"/>
                  </a:cubicBezTo>
                  <a:lnTo>
                    <a:pt x="3157902" y="2304911"/>
                  </a:lnTo>
                  <a:lnTo>
                    <a:pt x="3148728" y="2311436"/>
                  </a:lnTo>
                  <a:cubicBezTo>
                    <a:pt x="3141540" y="2316470"/>
                    <a:pt x="3136944" y="2319628"/>
                    <a:pt x="3136944" y="2319628"/>
                  </a:cubicBezTo>
                  <a:cubicBezTo>
                    <a:pt x="3141671" y="2318049"/>
                    <a:pt x="3147710" y="2313969"/>
                    <a:pt x="3154439" y="2308277"/>
                  </a:cubicBezTo>
                  <a:lnTo>
                    <a:pt x="3157902" y="2304911"/>
                  </a:lnTo>
                  <a:lnTo>
                    <a:pt x="3176070" y="2291992"/>
                  </a:lnTo>
                  <a:cubicBezTo>
                    <a:pt x="3196815" y="2276989"/>
                    <a:pt x="3219922" y="2259617"/>
                    <a:pt x="3229375" y="2250142"/>
                  </a:cubicBezTo>
                  <a:cubicBezTo>
                    <a:pt x="3248282" y="2231191"/>
                    <a:pt x="3283994" y="2231191"/>
                    <a:pt x="3317605" y="2231191"/>
                  </a:cubicBezTo>
                  <a:cubicBezTo>
                    <a:pt x="3341238" y="2231191"/>
                    <a:pt x="3367234" y="2240666"/>
                    <a:pt x="3378755" y="2245404"/>
                  </a:cubicBezTo>
                  <a:lnTo>
                    <a:pt x="3382808" y="2247161"/>
                  </a:lnTo>
                  <a:lnTo>
                    <a:pt x="3351550" y="2248260"/>
                  </a:lnTo>
                  <a:cubicBezTo>
                    <a:pt x="3337425" y="2251320"/>
                    <a:pt x="3324650" y="2257505"/>
                    <a:pt x="3315694" y="2268558"/>
                  </a:cubicBezTo>
                  <a:cubicBezTo>
                    <a:pt x="3281978" y="2310668"/>
                    <a:pt x="3267228" y="2335934"/>
                    <a:pt x="3248262" y="2369622"/>
                  </a:cubicBezTo>
                  <a:cubicBezTo>
                    <a:pt x="3229297" y="2403310"/>
                    <a:pt x="3195581" y="2443314"/>
                    <a:pt x="3195581" y="2443314"/>
                  </a:cubicBezTo>
                  <a:cubicBezTo>
                    <a:pt x="3195581" y="2443314"/>
                    <a:pt x="3273549" y="2363305"/>
                    <a:pt x="3288300" y="2346462"/>
                  </a:cubicBezTo>
                  <a:cubicBezTo>
                    <a:pt x="3303051" y="2327512"/>
                    <a:pt x="3309372" y="2312774"/>
                    <a:pt x="3334660" y="2295930"/>
                  </a:cubicBezTo>
                  <a:cubicBezTo>
                    <a:pt x="3357839" y="2279086"/>
                    <a:pt x="3381019" y="2279086"/>
                    <a:pt x="3404199" y="2281191"/>
                  </a:cubicBezTo>
                  <a:cubicBezTo>
                    <a:pt x="3427378" y="2283297"/>
                    <a:pt x="3442129" y="2291719"/>
                    <a:pt x="3442129" y="2291719"/>
                  </a:cubicBezTo>
                  <a:lnTo>
                    <a:pt x="3448451" y="2258031"/>
                  </a:lnTo>
                  <a:cubicBezTo>
                    <a:pt x="3448451" y="2258031"/>
                    <a:pt x="3442393" y="2255926"/>
                    <a:pt x="3432746" y="2253458"/>
                  </a:cubicBezTo>
                  <a:lnTo>
                    <a:pt x="3399309" y="2247403"/>
                  </a:lnTo>
                  <a:lnTo>
                    <a:pt x="3406885" y="2246720"/>
                  </a:lnTo>
                  <a:cubicBezTo>
                    <a:pt x="3417388" y="2244878"/>
                    <a:pt x="3426842" y="2240666"/>
                    <a:pt x="3422640" y="2231191"/>
                  </a:cubicBezTo>
                  <a:cubicBezTo>
                    <a:pt x="3412137" y="2214346"/>
                    <a:pt x="3391130" y="2216451"/>
                    <a:pt x="3370122" y="2208029"/>
                  </a:cubicBezTo>
                  <a:cubicBezTo>
                    <a:pt x="3349115" y="2201712"/>
                    <a:pt x="3309202" y="2199606"/>
                    <a:pt x="3283994" y="2199606"/>
                  </a:cubicBezTo>
                  <a:close/>
                  <a:moveTo>
                    <a:pt x="3868985" y="2136388"/>
                  </a:moveTo>
                  <a:cubicBezTo>
                    <a:pt x="3868985" y="2136388"/>
                    <a:pt x="3778558" y="2193138"/>
                    <a:pt x="3734396" y="2199444"/>
                  </a:cubicBezTo>
                  <a:cubicBezTo>
                    <a:pt x="3690235" y="2205750"/>
                    <a:pt x="3646073" y="2235176"/>
                    <a:pt x="3559852" y="2182629"/>
                  </a:cubicBezTo>
                  <a:cubicBezTo>
                    <a:pt x="3555646" y="2180527"/>
                    <a:pt x="3604014" y="2239379"/>
                    <a:pt x="3641867" y="2241481"/>
                  </a:cubicBezTo>
                  <a:cubicBezTo>
                    <a:pt x="3681823" y="2243583"/>
                    <a:pt x="3702852" y="2239379"/>
                    <a:pt x="3702852" y="2239379"/>
                  </a:cubicBezTo>
                  <a:cubicBezTo>
                    <a:pt x="3784867" y="2228870"/>
                    <a:pt x="3820617" y="2188935"/>
                    <a:pt x="3831132" y="2178425"/>
                  </a:cubicBezTo>
                  <a:cubicBezTo>
                    <a:pt x="3843750" y="2170018"/>
                    <a:pt x="3868985" y="2136388"/>
                    <a:pt x="3868985" y="2136388"/>
                  </a:cubicBezTo>
                  <a:close/>
                  <a:moveTo>
                    <a:pt x="3385344" y="2089937"/>
                  </a:moveTo>
                  <a:cubicBezTo>
                    <a:pt x="3391674" y="2089411"/>
                    <a:pt x="3398532" y="2089937"/>
                    <a:pt x="3403807" y="2092045"/>
                  </a:cubicBezTo>
                  <a:cubicBezTo>
                    <a:pt x="3412247" y="2096259"/>
                    <a:pt x="3418577" y="2104688"/>
                    <a:pt x="3420687" y="2119439"/>
                  </a:cubicBezTo>
                  <a:cubicBezTo>
                    <a:pt x="3422797" y="2132083"/>
                    <a:pt x="3410137" y="2151048"/>
                    <a:pt x="3410137" y="2151048"/>
                  </a:cubicBezTo>
                  <a:cubicBezTo>
                    <a:pt x="3410137" y="2151048"/>
                    <a:pt x="3389037" y="2144726"/>
                    <a:pt x="3380596" y="2144726"/>
                  </a:cubicBezTo>
                  <a:cubicBezTo>
                    <a:pt x="3374266" y="2142619"/>
                    <a:pt x="3353166" y="2146834"/>
                    <a:pt x="3353166" y="2146834"/>
                  </a:cubicBezTo>
                  <a:lnTo>
                    <a:pt x="3353166" y="2113117"/>
                  </a:lnTo>
                  <a:cubicBezTo>
                    <a:pt x="3353166" y="2113117"/>
                    <a:pt x="3365826" y="2096259"/>
                    <a:pt x="3370046" y="2094152"/>
                  </a:cubicBezTo>
                  <a:cubicBezTo>
                    <a:pt x="3373211" y="2092045"/>
                    <a:pt x="3379014" y="2090464"/>
                    <a:pt x="3385344" y="2089937"/>
                  </a:cubicBezTo>
                  <a:close/>
                  <a:moveTo>
                    <a:pt x="2921466" y="1940074"/>
                  </a:moveTo>
                  <a:cubicBezTo>
                    <a:pt x="2903875" y="1940863"/>
                    <a:pt x="2886546" y="1942966"/>
                    <a:pt x="2876044" y="1945069"/>
                  </a:cubicBezTo>
                  <a:cubicBezTo>
                    <a:pt x="2857140" y="1951377"/>
                    <a:pt x="2819332" y="1968200"/>
                    <a:pt x="2796228" y="1980818"/>
                  </a:cubicBezTo>
                  <a:cubicBezTo>
                    <a:pt x="2773123" y="1995538"/>
                    <a:pt x="2716411" y="2018670"/>
                    <a:pt x="2716411" y="2018670"/>
                  </a:cubicBezTo>
                  <a:cubicBezTo>
                    <a:pt x="2716411" y="2018670"/>
                    <a:pt x="2756319" y="2016567"/>
                    <a:pt x="2773123" y="2014464"/>
                  </a:cubicBezTo>
                  <a:cubicBezTo>
                    <a:pt x="2789926" y="2014464"/>
                    <a:pt x="2813031" y="2008155"/>
                    <a:pt x="2813031" y="2008155"/>
                  </a:cubicBezTo>
                  <a:cubicBezTo>
                    <a:pt x="2813031" y="2008155"/>
                    <a:pt x="2802529" y="2046007"/>
                    <a:pt x="2810931" y="2075448"/>
                  </a:cubicBezTo>
                  <a:cubicBezTo>
                    <a:pt x="2817232" y="2102785"/>
                    <a:pt x="2825634" y="2117505"/>
                    <a:pt x="2825634" y="2117505"/>
                  </a:cubicBezTo>
                  <a:cubicBezTo>
                    <a:pt x="2825634" y="2117505"/>
                    <a:pt x="2825634" y="2119608"/>
                    <a:pt x="2817232" y="2123814"/>
                  </a:cubicBezTo>
                  <a:cubicBezTo>
                    <a:pt x="2810931" y="2125917"/>
                    <a:pt x="2773123" y="2157460"/>
                    <a:pt x="2773123" y="2157460"/>
                  </a:cubicBezTo>
                  <a:cubicBezTo>
                    <a:pt x="2773123" y="2157460"/>
                    <a:pt x="2831935" y="2132226"/>
                    <a:pt x="2848738" y="2125917"/>
                  </a:cubicBezTo>
                  <a:cubicBezTo>
                    <a:pt x="2865542" y="2121711"/>
                    <a:pt x="2901249" y="2113300"/>
                    <a:pt x="2941157" y="2104888"/>
                  </a:cubicBezTo>
                  <a:cubicBezTo>
                    <a:pt x="2981066" y="2096476"/>
                    <a:pt x="3111292" y="2106991"/>
                    <a:pt x="3111292" y="2106991"/>
                  </a:cubicBezTo>
                  <a:cubicBezTo>
                    <a:pt x="3111292" y="2106991"/>
                    <a:pt x="3073484" y="2092271"/>
                    <a:pt x="3056681" y="2085962"/>
                  </a:cubicBezTo>
                  <a:cubicBezTo>
                    <a:pt x="3039878" y="2081756"/>
                    <a:pt x="3016773" y="2081756"/>
                    <a:pt x="3016773" y="2081756"/>
                  </a:cubicBezTo>
                  <a:cubicBezTo>
                    <a:pt x="3016773" y="2081756"/>
                    <a:pt x="3029375" y="2052316"/>
                    <a:pt x="3023074" y="2027081"/>
                  </a:cubicBezTo>
                  <a:cubicBezTo>
                    <a:pt x="3016773" y="1999744"/>
                    <a:pt x="2995769" y="1970303"/>
                    <a:pt x="2995769" y="1970303"/>
                  </a:cubicBezTo>
                  <a:cubicBezTo>
                    <a:pt x="2995769" y="1970303"/>
                    <a:pt x="3002070" y="1966098"/>
                    <a:pt x="3018873" y="1966098"/>
                  </a:cubicBezTo>
                  <a:cubicBezTo>
                    <a:pt x="3035677" y="1963995"/>
                    <a:pt x="3065083" y="1957686"/>
                    <a:pt x="3065083" y="1957686"/>
                  </a:cubicBezTo>
                  <a:cubicBezTo>
                    <a:pt x="3065083" y="1957686"/>
                    <a:pt x="2991568" y="1949274"/>
                    <a:pt x="2968463" y="1942966"/>
                  </a:cubicBezTo>
                  <a:cubicBezTo>
                    <a:pt x="2956910" y="1939811"/>
                    <a:pt x="2939057" y="1939286"/>
                    <a:pt x="2921466" y="1940074"/>
                  </a:cubicBezTo>
                  <a:close/>
                  <a:moveTo>
                    <a:pt x="2882143" y="1689578"/>
                  </a:moveTo>
                  <a:cubicBezTo>
                    <a:pt x="2843731" y="1689315"/>
                    <a:pt x="2800057" y="1691418"/>
                    <a:pt x="2779009" y="1700880"/>
                  </a:cubicBezTo>
                  <a:cubicBezTo>
                    <a:pt x="2736913" y="1717702"/>
                    <a:pt x="2720075" y="1810222"/>
                    <a:pt x="2720075" y="1810222"/>
                  </a:cubicBezTo>
                  <a:cubicBezTo>
                    <a:pt x="2720075" y="1810222"/>
                    <a:pt x="2760066" y="1759756"/>
                    <a:pt x="2806371" y="1730318"/>
                  </a:cubicBezTo>
                  <a:cubicBezTo>
                    <a:pt x="2852676" y="1698777"/>
                    <a:pt x="2953705" y="1692469"/>
                    <a:pt x="2953705" y="1692469"/>
                  </a:cubicBezTo>
                  <a:cubicBezTo>
                    <a:pt x="2953705" y="1692469"/>
                    <a:pt x="2920555" y="1689840"/>
                    <a:pt x="2882143" y="1689578"/>
                  </a:cubicBezTo>
                  <a:close/>
                  <a:moveTo>
                    <a:pt x="2751741" y="1152523"/>
                  </a:moveTo>
                  <a:lnTo>
                    <a:pt x="2752273" y="1154187"/>
                  </a:lnTo>
                  <a:lnTo>
                    <a:pt x="2764036" y="1192874"/>
                  </a:lnTo>
                  <a:lnTo>
                    <a:pt x="2787833" y="1274009"/>
                  </a:lnTo>
                  <a:lnTo>
                    <a:pt x="2819472" y="1283014"/>
                  </a:lnTo>
                  <a:lnTo>
                    <a:pt x="2820261" y="1283258"/>
                  </a:lnTo>
                  <a:lnTo>
                    <a:pt x="2825890" y="1283302"/>
                  </a:lnTo>
                  <a:lnTo>
                    <a:pt x="2903747" y="1291542"/>
                  </a:lnTo>
                  <a:lnTo>
                    <a:pt x="2899550" y="1288295"/>
                  </a:lnTo>
                  <a:cubicBezTo>
                    <a:pt x="2806596" y="1216396"/>
                    <a:pt x="2806596" y="1216396"/>
                    <a:pt x="2806596" y="1216396"/>
                  </a:cubicBezTo>
                  <a:cubicBezTo>
                    <a:pt x="2806596" y="1216396"/>
                    <a:pt x="2794376" y="1202454"/>
                    <a:pt x="2775061" y="1179930"/>
                  </a:cubicBezTo>
                  <a:close/>
                  <a:moveTo>
                    <a:pt x="1695768" y="862876"/>
                  </a:moveTo>
                  <a:cubicBezTo>
                    <a:pt x="2078780" y="919680"/>
                    <a:pt x="2078780" y="919680"/>
                    <a:pt x="2078780" y="919680"/>
                  </a:cubicBezTo>
                  <a:cubicBezTo>
                    <a:pt x="2078780" y="919680"/>
                    <a:pt x="2137705" y="923888"/>
                    <a:pt x="2177689" y="938615"/>
                  </a:cubicBezTo>
                  <a:cubicBezTo>
                    <a:pt x="2217674" y="951238"/>
                    <a:pt x="2274495" y="997523"/>
                    <a:pt x="2274495" y="997523"/>
                  </a:cubicBezTo>
                  <a:cubicBezTo>
                    <a:pt x="2274495" y="997523"/>
                    <a:pt x="2226092" y="984900"/>
                    <a:pt x="2192421" y="984900"/>
                  </a:cubicBezTo>
                  <a:cubicBezTo>
                    <a:pt x="2160854" y="987004"/>
                    <a:pt x="2101929" y="1026977"/>
                    <a:pt x="2082989" y="1031185"/>
                  </a:cubicBezTo>
                  <a:cubicBezTo>
                    <a:pt x="2061944" y="1035392"/>
                    <a:pt x="2013542" y="1064846"/>
                    <a:pt x="2013542" y="1064846"/>
                  </a:cubicBezTo>
                  <a:cubicBezTo>
                    <a:pt x="2013542" y="1064846"/>
                    <a:pt x="2118765" y="1039600"/>
                    <a:pt x="2177689" y="1060639"/>
                  </a:cubicBezTo>
                  <a:cubicBezTo>
                    <a:pt x="2234510" y="1081677"/>
                    <a:pt x="2276599" y="1062742"/>
                    <a:pt x="2320793" y="1102716"/>
                  </a:cubicBezTo>
                  <a:cubicBezTo>
                    <a:pt x="2362882" y="1142689"/>
                    <a:pt x="2402867" y="1193182"/>
                    <a:pt x="2402867" y="1193182"/>
                  </a:cubicBezTo>
                  <a:lnTo>
                    <a:pt x="2477977" y="1304520"/>
                  </a:lnTo>
                  <a:lnTo>
                    <a:pt x="2495231" y="1302276"/>
                  </a:lnTo>
                  <a:lnTo>
                    <a:pt x="2479203" y="1263722"/>
                  </a:lnTo>
                  <a:cubicBezTo>
                    <a:pt x="2435552" y="1159125"/>
                    <a:pt x="2373405" y="1012512"/>
                    <a:pt x="2352360" y="974380"/>
                  </a:cubicBezTo>
                  <a:cubicBezTo>
                    <a:pt x="2320793" y="913369"/>
                    <a:pt x="2238719" y="886019"/>
                    <a:pt x="2194525" y="875499"/>
                  </a:cubicBezTo>
                  <a:cubicBezTo>
                    <a:pt x="2150331" y="862876"/>
                    <a:pt x="1695768" y="862876"/>
                    <a:pt x="1695768" y="862876"/>
                  </a:cubicBezTo>
                  <a:close/>
                  <a:moveTo>
                    <a:pt x="2884074" y="435929"/>
                  </a:moveTo>
                  <a:cubicBezTo>
                    <a:pt x="2884074" y="435929"/>
                    <a:pt x="2919884" y="555927"/>
                    <a:pt x="2987291" y="631716"/>
                  </a:cubicBezTo>
                  <a:cubicBezTo>
                    <a:pt x="3054698" y="705399"/>
                    <a:pt x="3130531" y="1008552"/>
                    <a:pt x="3130531" y="1008552"/>
                  </a:cubicBezTo>
                  <a:cubicBezTo>
                    <a:pt x="3130531" y="1008552"/>
                    <a:pt x="3115786" y="812766"/>
                    <a:pt x="3063124" y="682241"/>
                  </a:cubicBezTo>
                  <a:cubicBezTo>
                    <a:pt x="3063124" y="682241"/>
                    <a:pt x="2993611" y="549612"/>
                    <a:pt x="2970440" y="520138"/>
                  </a:cubicBezTo>
                  <a:cubicBezTo>
                    <a:pt x="2945162" y="490665"/>
                    <a:pt x="2884074" y="435929"/>
                    <a:pt x="2884074" y="435929"/>
                  </a:cubicBezTo>
                  <a:close/>
                  <a:moveTo>
                    <a:pt x="990408" y="698"/>
                  </a:moveTo>
                  <a:cubicBezTo>
                    <a:pt x="1005101" y="-321"/>
                    <a:pt x="1021142" y="-189"/>
                    <a:pt x="1039550" y="863"/>
                  </a:cubicBezTo>
                  <a:cubicBezTo>
                    <a:pt x="1111078" y="5070"/>
                    <a:pt x="1258341" y="38728"/>
                    <a:pt x="1348803" y="72387"/>
                  </a:cubicBezTo>
                  <a:cubicBezTo>
                    <a:pt x="1439264" y="103941"/>
                    <a:pt x="1653848" y="181776"/>
                    <a:pt x="1737998" y="232264"/>
                  </a:cubicBezTo>
                  <a:cubicBezTo>
                    <a:pt x="1830564" y="284855"/>
                    <a:pt x="1914714" y="318513"/>
                    <a:pt x="2005176" y="371104"/>
                  </a:cubicBezTo>
                  <a:cubicBezTo>
                    <a:pt x="2051459" y="397400"/>
                    <a:pt x="2127194" y="436317"/>
                    <a:pt x="2203455" y="477601"/>
                  </a:cubicBezTo>
                  <a:lnTo>
                    <a:pt x="2296994" y="530121"/>
                  </a:lnTo>
                  <a:lnTo>
                    <a:pt x="2323986" y="546882"/>
                  </a:lnTo>
                  <a:lnTo>
                    <a:pt x="2357160" y="567482"/>
                  </a:lnTo>
                  <a:lnTo>
                    <a:pt x="2404890" y="598298"/>
                  </a:lnTo>
                  <a:lnTo>
                    <a:pt x="2415440" y="605928"/>
                  </a:lnTo>
                  <a:lnTo>
                    <a:pt x="2362991" y="493093"/>
                  </a:lnTo>
                  <a:cubicBezTo>
                    <a:pt x="2362991" y="493093"/>
                    <a:pt x="2362991" y="493093"/>
                    <a:pt x="2329266" y="483333"/>
                  </a:cubicBezTo>
                  <a:lnTo>
                    <a:pt x="2307060" y="476906"/>
                  </a:lnTo>
                  <a:lnTo>
                    <a:pt x="2313198" y="470584"/>
                  </a:lnTo>
                  <a:cubicBezTo>
                    <a:pt x="2335494" y="447752"/>
                    <a:pt x="2406858" y="375701"/>
                    <a:pt x="2460566" y="333037"/>
                  </a:cubicBezTo>
                  <a:lnTo>
                    <a:pt x="2482676" y="317005"/>
                  </a:lnTo>
                  <a:lnTo>
                    <a:pt x="2522361" y="296868"/>
                  </a:lnTo>
                  <a:lnTo>
                    <a:pt x="2554579" y="283748"/>
                  </a:lnTo>
                  <a:cubicBezTo>
                    <a:pt x="2588217" y="269017"/>
                    <a:pt x="2633417" y="251656"/>
                    <a:pt x="2694384" y="254812"/>
                  </a:cubicBezTo>
                  <a:cubicBezTo>
                    <a:pt x="2724868" y="256391"/>
                    <a:pt x="2759293" y="263098"/>
                    <a:pt x="2798186" y="277829"/>
                  </a:cubicBezTo>
                  <a:cubicBezTo>
                    <a:pt x="2951656" y="336753"/>
                    <a:pt x="2857052" y="260994"/>
                    <a:pt x="2857052" y="260994"/>
                  </a:cubicBezTo>
                  <a:cubicBezTo>
                    <a:pt x="2857052" y="260994"/>
                    <a:pt x="2858530" y="261224"/>
                    <a:pt x="2861191" y="261705"/>
                  </a:cubicBezTo>
                  <a:lnTo>
                    <a:pt x="2866568" y="262766"/>
                  </a:lnTo>
                  <a:lnTo>
                    <a:pt x="2867847" y="263215"/>
                  </a:lnTo>
                  <a:cubicBezTo>
                    <a:pt x="2872013" y="264887"/>
                    <a:pt x="2874182" y="265939"/>
                    <a:pt x="2874182" y="265939"/>
                  </a:cubicBezTo>
                  <a:cubicBezTo>
                    <a:pt x="2874182" y="265939"/>
                    <a:pt x="2875760" y="265775"/>
                    <a:pt x="2878772" y="265783"/>
                  </a:cubicBezTo>
                  <a:lnTo>
                    <a:pt x="2879970" y="265863"/>
                  </a:lnTo>
                  <a:lnTo>
                    <a:pt x="2909084" y="273357"/>
                  </a:lnTo>
                  <a:cubicBezTo>
                    <a:pt x="2937466" y="282038"/>
                    <a:pt x="2970577" y="295717"/>
                    <a:pt x="2989498" y="315709"/>
                  </a:cubicBezTo>
                  <a:cubicBezTo>
                    <a:pt x="3027340" y="357797"/>
                    <a:pt x="3391043" y="702920"/>
                    <a:pt x="3365815" y="925987"/>
                  </a:cubicBezTo>
                  <a:cubicBezTo>
                    <a:pt x="3351098" y="1060670"/>
                    <a:pt x="3227061" y="1315303"/>
                    <a:pt x="3233368" y="1376331"/>
                  </a:cubicBezTo>
                  <a:cubicBezTo>
                    <a:pt x="3234682" y="1385538"/>
                    <a:pt x="3236920" y="1397159"/>
                    <a:pt x="3239761" y="1410216"/>
                  </a:cubicBezTo>
                  <a:lnTo>
                    <a:pt x="3243622" y="1426604"/>
                  </a:lnTo>
                  <a:lnTo>
                    <a:pt x="3302854" y="1472111"/>
                  </a:lnTo>
                  <a:cubicBezTo>
                    <a:pt x="3370331" y="1532754"/>
                    <a:pt x="3422311" y="1609600"/>
                    <a:pt x="3442037" y="1705090"/>
                  </a:cubicBezTo>
                  <a:lnTo>
                    <a:pt x="3433973" y="1732860"/>
                  </a:lnTo>
                  <a:lnTo>
                    <a:pt x="3404867" y="1673697"/>
                  </a:lnTo>
                  <a:cubicBezTo>
                    <a:pt x="3399074" y="1661664"/>
                    <a:pt x="3393479" y="1649944"/>
                    <a:pt x="3388345" y="1639131"/>
                  </a:cubicBezTo>
                  <a:lnTo>
                    <a:pt x="3377441" y="1616053"/>
                  </a:lnTo>
                  <a:lnTo>
                    <a:pt x="3359581" y="1565598"/>
                  </a:lnTo>
                  <a:cubicBezTo>
                    <a:pt x="3359581" y="1565598"/>
                    <a:pt x="3359581" y="1565598"/>
                    <a:pt x="3361687" y="1582431"/>
                  </a:cubicBezTo>
                  <a:cubicBezTo>
                    <a:pt x="3361687" y="1582431"/>
                    <a:pt x="3366690" y="1593215"/>
                    <a:pt x="3374588" y="1610015"/>
                  </a:cubicBezTo>
                  <a:lnTo>
                    <a:pt x="3377441" y="1616053"/>
                  </a:lnTo>
                  <a:lnTo>
                    <a:pt x="3442901" y="1800978"/>
                  </a:lnTo>
                  <a:lnTo>
                    <a:pt x="3440408" y="1796829"/>
                  </a:lnTo>
                  <a:cubicBezTo>
                    <a:pt x="3438644" y="1793891"/>
                    <a:pt x="3436291" y="1789974"/>
                    <a:pt x="3433154" y="1784752"/>
                  </a:cubicBezTo>
                  <a:cubicBezTo>
                    <a:pt x="3433154" y="1784752"/>
                    <a:pt x="3414332" y="1768041"/>
                    <a:pt x="3397602" y="1761774"/>
                  </a:cubicBezTo>
                  <a:cubicBezTo>
                    <a:pt x="3380871" y="1753418"/>
                    <a:pt x="3349501" y="1755507"/>
                    <a:pt x="3349501" y="1755507"/>
                  </a:cubicBezTo>
                  <a:cubicBezTo>
                    <a:pt x="3349501" y="1755507"/>
                    <a:pt x="3380871" y="1768041"/>
                    <a:pt x="3395510" y="1772218"/>
                  </a:cubicBezTo>
                  <a:cubicBezTo>
                    <a:pt x="3406489" y="1773785"/>
                    <a:pt x="3429233" y="1791802"/>
                    <a:pt x="3439918" y="1800713"/>
                  </a:cubicBezTo>
                  <a:lnTo>
                    <a:pt x="3444055" y="1804238"/>
                  </a:lnTo>
                  <a:lnTo>
                    <a:pt x="3555468" y="2118980"/>
                  </a:lnTo>
                  <a:cubicBezTo>
                    <a:pt x="3555468" y="2118980"/>
                    <a:pt x="3553888" y="2108460"/>
                    <a:pt x="3553362" y="2091890"/>
                  </a:cubicBezTo>
                  <a:lnTo>
                    <a:pt x="3553487" y="2080908"/>
                  </a:lnTo>
                  <a:lnTo>
                    <a:pt x="3554536" y="2083695"/>
                  </a:lnTo>
                  <a:cubicBezTo>
                    <a:pt x="3566426" y="2115277"/>
                    <a:pt x="3569399" y="2123172"/>
                    <a:pt x="3570142" y="2125146"/>
                  </a:cubicBezTo>
                  <a:lnTo>
                    <a:pt x="3570375" y="2125765"/>
                  </a:lnTo>
                  <a:lnTo>
                    <a:pt x="3570326" y="2125774"/>
                  </a:lnTo>
                  <a:cubicBezTo>
                    <a:pt x="3545075" y="2130508"/>
                    <a:pt x="3536395" y="2124591"/>
                    <a:pt x="3524755" y="2128437"/>
                  </a:cubicBezTo>
                  <a:lnTo>
                    <a:pt x="3520991" y="2130652"/>
                  </a:lnTo>
                  <a:lnTo>
                    <a:pt x="3519898" y="2125754"/>
                  </a:lnTo>
                  <a:cubicBezTo>
                    <a:pt x="3517794" y="2116808"/>
                    <a:pt x="3515165" y="2106809"/>
                    <a:pt x="3513061" y="2102599"/>
                  </a:cubicBezTo>
                  <a:cubicBezTo>
                    <a:pt x="3510958" y="2096283"/>
                    <a:pt x="3498337" y="2064707"/>
                    <a:pt x="3485716" y="2058392"/>
                  </a:cubicBezTo>
                  <a:cubicBezTo>
                    <a:pt x="3475198" y="2052077"/>
                    <a:pt x="3435232" y="2037341"/>
                    <a:pt x="3422611" y="2039446"/>
                  </a:cubicBezTo>
                  <a:cubicBezTo>
                    <a:pt x="3409989" y="2039446"/>
                    <a:pt x="3397368" y="2045762"/>
                    <a:pt x="3384747" y="2043657"/>
                  </a:cubicBezTo>
                  <a:cubicBezTo>
                    <a:pt x="3372126" y="2041551"/>
                    <a:pt x="3334263" y="2031026"/>
                    <a:pt x="3334263" y="2031026"/>
                  </a:cubicBezTo>
                  <a:cubicBezTo>
                    <a:pt x="3378437" y="2058392"/>
                    <a:pt x="3378437" y="2058392"/>
                    <a:pt x="3378437" y="2058392"/>
                  </a:cubicBezTo>
                  <a:cubicBezTo>
                    <a:pt x="3378437" y="2058392"/>
                    <a:pt x="3359505" y="2079443"/>
                    <a:pt x="3357402" y="2092073"/>
                  </a:cubicBezTo>
                  <a:cubicBezTo>
                    <a:pt x="3348988" y="2111019"/>
                    <a:pt x="3351091" y="2140490"/>
                    <a:pt x="3351091" y="2140490"/>
                  </a:cubicBezTo>
                  <a:cubicBezTo>
                    <a:pt x="3317435" y="2140490"/>
                    <a:pt x="3317435" y="2140490"/>
                    <a:pt x="3317435" y="2140490"/>
                  </a:cubicBezTo>
                  <a:cubicBezTo>
                    <a:pt x="3317435" y="2140490"/>
                    <a:pt x="3348988" y="2148910"/>
                    <a:pt x="3359505" y="2155225"/>
                  </a:cubicBezTo>
                  <a:cubicBezTo>
                    <a:pt x="3370023" y="2161541"/>
                    <a:pt x="3395265" y="2172066"/>
                    <a:pt x="3416300" y="2180486"/>
                  </a:cubicBezTo>
                  <a:cubicBezTo>
                    <a:pt x="3432076" y="2186801"/>
                    <a:pt x="3457318" y="2199037"/>
                    <a:pt x="3468953" y="2204760"/>
                  </a:cubicBezTo>
                  <a:lnTo>
                    <a:pt x="3471183" y="2205864"/>
                  </a:lnTo>
                  <a:lnTo>
                    <a:pt x="3465112" y="2222558"/>
                  </a:lnTo>
                  <a:cubicBezTo>
                    <a:pt x="3458799" y="2247805"/>
                    <a:pt x="3418818" y="2359317"/>
                    <a:pt x="3404088" y="2397188"/>
                  </a:cubicBezTo>
                  <a:cubicBezTo>
                    <a:pt x="3389358" y="2435060"/>
                    <a:pt x="3303083" y="2544467"/>
                    <a:pt x="3303083" y="2544467"/>
                  </a:cubicBezTo>
                  <a:cubicBezTo>
                    <a:pt x="3303083" y="2544467"/>
                    <a:pt x="3383045" y="2468724"/>
                    <a:pt x="3395671" y="2456100"/>
                  </a:cubicBezTo>
                  <a:cubicBezTo>
                    <a:pt x="3410401" y="2443476"/>
                    <a:pt x="3429339" y="2411916"/>
                    <a:pt x="3450382" y="2386668"/>
                  </a:cubicBezTo>
                  <a:cubicBezTo>
                    <a:pt x="3469321" y="2363525"/>
                    <a:pt x="3515615" y="2209934"/>
                    <a:pt x="3526136" y="2184686"/>
                  </a:cubicBezTo>
                  <a:cubicBezTo>
                    <a:pt x="3538762" y="2157334"/>
                    <a:pt x="3574535" y="2159438"/>
                    <a:pt x="3618725" y="2163646"/>
                  </a:cubicBezTo>
                  <a:cubicBezTo>
                    <a:pt x="3665019" y="2167854"/>
                    <a:pt x="3707104" y="2155230"/>
                    <a:pt x="3751294" y="2136294"/>
                  </a:cubicBezTo>
                  <a:cubicBezTo>
                    <a:pt x="3772337" y="2126826"/>
                    <a:pt x="3786015" y="2113676"/>
                    <a:pt x="3799430" y="2104735"/>
                  </a:cubicBezTo>
                  <a:lnTo>
                    <a:pt x="3810437" y="2099831"/>
                  </a:lnTo>
                  <a:lnTo>
                    <a:pt x="3824461" y="2097367"/>
                  </a:lnTo>
                  <a:lnTo>
                    <a:pt x="3829342" y="2096510"/>
                  </a:lnTo>
                  <a:lnTo>
                    <a:pt x="3845987" y="2098423"/>
                  </a:lnTo>
                  <a:cubicBezTo>
                    <a:pt x="3885968" y="2111046"/>
                    <a:pt x="3894385" y="2134190"/>
                    <a:pt x="3904907" y="2180478"/>
                  </a:cubicBezTo>
                  <a:cubicBezTo>
                    <a:pt x="3915428" y="2226766"/>
                    <a:pt x="3885968" y="2315133"/>
                    <a:pt x="3885968" y="2315133"/>
                  </a:cubicBezTo>
                  <a:cubicBezTo>
                    <a:pt x="3885968" y="2315133"/>
                    <a:pt x="3885508" y="2319834"/>
                    <a:pt x="3884225" y="2328571"/>
                  </a:cubicBezTo>
                  <a:lnTo>
                    <a:pt x="3881324" y="2344937"/>
                  </a:lnTo>
                  <a:lnTo>
                    <a:pt x="3878738" y="2354578"/>
                  </a:lnTo>
                  <a:cubicBezTo>
                    <a:pt x="3870987" y="2383473"/>
                    <a:pt x="3863790" y="2410304"/>
                    <a:pt x="3857107" y="2435219"/>
                  </a:cubicBezTo>
                  <a:lnTo>
                    <a:pt x="3839183" y="2502042"/>
                  </a:lnTo>
                  <a:lnTo>
                    <a:pt x="3806236" y="2584501"/>
                  </a:lnTo>
                  <a:cubicBezTo>
                    <a:pt x="3765301" y="2675605"/>
                    <a:pt x="3703948" y="2779062"/>
                    <a:pt x="3612412" y="2876897"/>
                  </a:cubicBezTo>
                  <a:cubicBezTo>
                    <a:pt x="3370419" y="3137791"/>
                    <a:pt x="3046360" y="2935809"/>
                    <a:pt x="3004275" y="2912665"/>
                  </a:cubicBezTo>
                  <a:cubicBezTo>
                    <a:pt x="2962189" y="2889521"/>
                    <a:pt x="2852767" y="2792738"/>
                    <a:pt x="2812785" y="2759074"/>
                  </a:cubicBezTo>
                  <a:cubicBezTo>
                    <a:pt x="2770700" y="2725410"/>
                    <a:pt x="2726510" y="2651771"/>
                    <a:pt x="2726510" y="2651771"/>
                  </a:cubicBezTo>
                  <a:cubicBezTo>
                    <a:pt x="2726510" y="2651771"/>
                    <a:pt x="2724406" y="2649667"/>
                    <a:pt x="2722301" y="2655979"/>
                  </a:cubicBezTo>
                  <a:cubicBezTo>
                    <a:pt x="2720197" y="2662291"/>
                    <a:pt x="2699154" y="2727514"/>
                    <a:pt x="2686529" y="2750658"/>
                  </a:cubicBezTo>
                  <a:cubicBezTo>
                    <a:pt x="2676007" y="2771698"/>
                    <a:pt x="2661277" y="2782218"/>
                    <a:pt x="2646547" y="2799050"/>
                  </a:cubicBezTo>
                  <a:cubicBezTo>
                    <a:pt x="2633922" y="2817986"/>
                    <a:pt x="2612879" y="2845337"/>
                    <a:pt x="2593940" y="2887417"/>
                  </a:cubicBezTo>
                  <a:cubicBezTo>
                    <a:pt x="2575002" y="2929497"/>
                    <a:pt x="2606566" y="2963160"/>
                    <a:pt x="2606566" y="2963160"/>
                  </a:cubicBezTo>
                  <a:cubicBezTo>
                    <a:pt x="2627609" y="2988408"/>
                    <a:pt x="2697050" y="3005240"/>
                    <a:pt x="2724406" y="3001032"/>
                  </a:cubicBezTo>
                  <a:cubicBezTo>
                    <a:pt x="2654964" y="2986304"/>
                    <a:pt x="2614983" y="2916873"/>
                    <a:pt x="2614983" y="2916873"/>
                  </a:cubicBezTo>
                  <a:cubicBezTo>
                    <a:pt x="2614983" y="2916873"/>
                    <a:pt x="2614983" y="2916873"/>
                    <a:pt x="2636026" y="2931601"/>
                  </a:cubicBezTo>
                  <a:cubicBezTo>
                    <a:pt x="2654964" y="2946329"/>
                    <a:pt x="2688633" y="2969472"/>
                    <a:pt x="2741240" y="2975784"/>
                  </a:cubicBezTo>
                  <a:cubicBezTo>
                    <a:pt x="2793847" y="2982096"/>
                    <a:pt x="2823307" y="2935809"/>
                    <a:pt x="2823307" y="2935809"/>
                  </a:cubicBezTo>
                  <a:cubicBezTo>
                    <a:pt x="2823307" y="2935809"/>
                    <a:pt x="2823307" y="2935809"/>
                    <a:pt x="2869601" y="2874793"/>
                  </a:cubicBezTo>
                  <a:cubicBezTo>
                    <a:pt x="2869601" y="2874793"/>
                    <a:pt x="2869601" y="2874793"/>
                    <a:pt x="2909582" y="2914769"/>
                  </a:cubicBezTo>
                  <a:cubicBezTo>
                    <a:pt x="2909582" y="2914769"/>
                    <a:pt x="2838037" y="2988408"/>
                    <a:pt x="2804368" y="3009448"/>
                  </a:cubicBezTo>
                  <a:cubicBezTo>
                    <a:pt x="2770700" y="3030488"/>
                    <a:pt x="2715988" y="3045216"/>
                    <a:pt x="2631817" y="3019968"/>
                  </a:cubicBezTo>
                  <a:lnTo>
                    <a:pt x="2592812" y="2997729"/>
                  </a:lnTo>
                  <a:lnTo>
                    <a:pt x="2571463" y="2978979"/>
                  </a:lnTo>
                  <a:lnTo>
                    <a:pt x="2569646" y="2977384"/>
                  </a:lnTo>
                  <a:lnTo>
                    <a:pt x="2550477" y="2953365"/>
                  </a:lnTo>
                  <a:lnTo>
                    <a:pt x="2543509" y="2942341"/>
                  </a:lnTo>
                  <a:lnTo>
                    <a:pt x="2527951" y="2910199"/>
                  </a:lnTo>
                  <a:cubicBezTo>
                    <a:pt x="2524104" y="2900173"/>
                    <a:pt x="2522395" y="2893729"/>
                    <a:pt x="2522395" y="2893729"/>
                  </a:cubicBezTo>
                  <a:cubicBezTo>
                    <a:pt x="2522395" y="2893729"/>
                    <a:pt x="2522395" y="2893729"/>
                    <a:pt x="2457162" y="2748554"/>
                  </a:cubicBezTo>
                  <a:cubicBezTo>
                    <a:pt x="2457162" y="2748554"/>
                    <a:pt x="2396138" y="2689642"/>
                    <a:pt x="2362469" y="2651771"/>
                  </a:cubicBezTo>
                  <a:lnTo>
                    <a:pt x="2340024" y="2621933"/>
                  </a:lnTo>
                  <a:lnTo>
                    <a:pt x="2338457" y="2619477"/>
                  </a:lnTo>
                  <a:cubicBezTo>
                    <a:pt x="2304048" y="2565541"/>
                    <a:pt x="2304048" y="2565541"/>
                    <a:pt x="2304048" y="2565541"/>
                  </a:cubicBezTo>
                  <a:cubicBezTo>
                    <a:pt x="2304048" y="2565541"/>
                    <a:pt x="2271838" y="2433449"/>
                    <a:pt x="2335655" y="2318674"/>
                  </a:cubicBezTo>
                  <a:lnTo>
                    <a:pt x="2366996" y="2274192"/>
                  </a:lnTo>
                  <a:lnTo>
                    <a:pt x="2347572" y="2275513"/>
                  </a:lnTo>
                  <a:cubicBezTo>
                    <a:pt x="2338243" y="2274970"/>
                    <a:pt x="2329202" y="2273030"/>
                    <a:pt x="2320522" y="2269084"/>
                  </a:cubicBezTo>
                  <a:cubicBezTo>
                    <a:pt x="2253189" y="2237517"/>
                    <a:pt x="2057503" y="2182801"/>
                    <a:pt x="2038565" y="2062847"/>
                  </a:cubicBezTo>
                  <a:cubicBezTo>
                    <a:pt x="2024363" y="1972882"/>
                    <a:pt x="2014894" y="1779929"/>
                    <a:pt x="2043892" y="1618938"/>
                  </a:cubicBezTo>
                  <a:lnTo>
                    <a:pt x="2058099" y="1557525"/>
                  </a:lnTo>
                  <a:lnTo>
                    <a:pt x="2055755" y="1558228"/>
                  </a:lnTo>
                  <a:lnTo>
                    <a:pt x="2050316" y="1559430"/>
                  </a:lnTo>
                  <a:cubicBezTo>
                    <a:pt x="1969609" y="1577348"/>
                    <a:pt x="1639648" y="1651436"/>
                    <a:pt x="1525518" y="1690090"/>
                  </a:cubicBezTo>
                  <a:cubicBezTo>
                    <a:pt x="1395085" y="1734267"/>
                    <a:pt x="1087937" y="1875211"/>
                    <a:pt x="946985" y="1875211"/>
                  </a:cubicBezTo>
                  <a:cubicBezTo>
                    <a:pt x="751335" y="1873108"/>
                    <a:pt x="559893" y="1858382"/>
                    <a:pt x="559893" y="1858382"/>
                  </a:cubicBezTo>
                  <a:cubicBezTo>
                    <a:pt x="559893" y="1858382"/>
                    <a:pt x="488365" y="1593323"/>
                    <a:pt x="412630" y="1498659"/>
                  </a:cubicBezTo>
                  <a:cubicBezTo>
                    <a:pt x="334791" y="1403995"/>
                    <a:pt x="94962" y="1208355"/>
                    <a:pt x="46576" y="1063204"/>
                  </a:cubicBezTo>
                  <a:cubicBezTo>
                    <a:pt x="293" y="915949"/>
                    <a:pt x="-24952" y="798144"/>
                    <a:pt x="36057" y="665615"/>
                  </a:cubicBezTo>
                  <a:cubicBezTo>
                    <a:pt x="94962" y="535189"/>
                    <a:pt x="191735" y="459457"/>
                    <a:pt x="191735" y="459457"/>
                  </a:cubicBezTo>
                  <a:cubicBezTo>
                    <a:pt x="191735" y="459457"/>
                    <a:pt x="294819" y="455250"/>
                    <a:pt x="374762" y="465768"/>
                  </a:cubicBezTo>
                  <a:cubicBezTo>
                    <a:pt x="456809" y="476287"/>
                    <a:pt x="587242" y="499427"/>
                    <a:pt x="677704" y="528878"/>
                  </a:cubicBezTo>
                  <a:cubicBezTo>
                    <a:pt x="766061" y="558329"/>
                    <a:pt x="1090040" y="713999"/>
                    <a:pt x="1090040" y="713999"/>
                  </a:cubicBezTo>
                  <a:cubicBezTo>
                    <a:pt x="736609" y="514152"/>
                    <a:pt x="736609" y="514152"/>
                    <a:pt x="736609" y="514152"/>
                  </a:cubicBezTo>
                  <a:cubicBezTo>
                    <a:pt x="503092" y="423695"/>
                    <a:pt x="503092" y="423695"/>
                    <a:pt x="503092" y="423695"/>
                  </a:cubicBezTo>
                  <a:cubicBezTo>
                    <a:pt x="503092" y="423695"/>
                    <a:pt x="606176" y="362690"/>
                    <a:pt x="700845" y="246989"/>
                  </a:cubicBezTo>
                  <a:cubicBezTo>
                    <a:pt x="795514" y="131289"/>
                    <a:pt x="803929" y="89216"/>
                    <a:pt x="867042" y="47143"/>
                  </a:cubicBezTo>
                  <a:cubicBezTo>
                    <a:pt x="914377" y="17166"/>
                    <a:pt x="946327" y="3755"/>
                    <a:pt x="990408" y="698"/>
                  </a:cubicBezTo>
                  <a:close/>
                </a:path>
              </a:pathLst>
            </a:custGeom>
            <a:solidFill>
              <a:schemeClr val="bg1"/>
            </a:solidFill>
            <a:ln w="3175">
              <a:noFill/>
            </a:ln>
          </p:spPr>
          <p:txBody>
            <a:bodyPr vert="horz" wrap="square" lIns="89642" tIns="44821" rIns="89642" bIns="44821" numCol="1" anchor="t" anchorCtr="0" compatLnSpc="1">
              <a:prstTxWarp prst="textNoShape">
                <a:avLst/>
              </a:prstTxWarp>
              <a:noAutofit/>
            </a:bodyPr>
            <a:lstStyle/>
            <a:p>
              <a:pPr defTabSz="914367"/>
              <a:endParaRPr lang="en-IN" sz="1765">
                <a:solidFill>
                  <a:srgbClr val="505050"/>
                </a:solidFill>
              </a:endParaRPr>
            </a:p>
          </p:txBody>
        </p:sp>
      </p:grpSp>
      <p:pic>
        <p:nvPicPr>
          <p:cNvPr id="19" name="Picture 4" descr="http://www.thebhwgroup.com/blog/wp-content/uploads/2014/10/pig-logo.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057514" y="4163717"/>
            <a:ext cx="647979" cy="974405"/>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p:cNvPicPr>
            <a:picLocks noChangeAspect="1"/>
          </p:cNvPicPr>
          <p:nvPr/>
        </p:nvPicPr>
        <p:blipFill>
          <a:blip r:embed="rId4"/>
          <a:stretch>
            <a:fillRect/>
          </a:stretch>
        </p:blipFill>
        <p:spPr>
          <a:xfrm>
            <a:off x="7385787" y="4102809"/>
            <a:ext cx="1128491" cy="1035313"/>
          </a:xfrm>
          <a:prstGeom prst="rect">
            <a:avLst/>
          </a:prstGeom>
          <a:solidFill>
            <a:schemeClr val="accent3"/>
          </a:solidFill>
        </p:spPr>
      </p:pic>
      <p:pic>
        <p:nvPicPr>
          <p:cNvPr id="27650" name="Picture 2" descr="https://zeppelin.incubator.apache.org/assets/themes/zeppelin/img/spark_logo.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983903" y="2987725"/>
            <a:ext cx="1025398" cy="1025398"/>
          </a:xfrm>
          <a:prstGeom prst="rect">
            <a:avLst/>
          </a:prstGeom>
          <a:noFill/>
          <a:extLst>
            <a:ext uri="{909E8E84-426E-40DD-AFC4-6F175D3DCCD1}">
              <a14:hiddenFill xmlns:a14="http://schemas.microsoft.com/office/drawing/2010/main">
                <a:solidFill>
                  <a:srgbClr val="FFFFFF"/>
                </a:solidFill>
              </a14:hiddenFill>
            </a:ext>
          </a:extLst>
        </p:spPr>
      </p:pic>
      <p:pic>
        <p:nvPicPr>
          <p:cNvPr id="27652" name="Picture 4" descr="https://www.mapr.com/sites/default/files/squoop-image.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856520" y="5453772"/>
            <a:ext cx="1796566" cy="598856"/>
          </a:xfrm>
          <a:prstGeom prst="rect">
            <a:avLst/>
          </a:prstGeom>
          <a:noFill/>
          <a:extLst>
            <a:ext uri="{909E8E84-426E-40DD-AFC4-6F175D3DCCD1}">
              <a14:hiddenFill xmlns:a14="http://schemas.microsoft.com/office/drawing/2010/main">
                <a:solidFill>
                  <a:srgbClr val="FFFFFF"/>
                </a:solidFill>
              </a14:hiddenFill>
            </a:ext>
          </a:extLst>
        </p:spPr>
      </p:pic>
      <p:pic>
        <p:nvPicPr>
          <p:cNvPr id="27654" name="Picture 6" descr="https://cwiki.apache.org/confluence/download/attachments/30737784/oozie_282x1178.png?version=1&amp;modificationDate=1349284899000&amp;api=v2"/>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862502" y="5529188"/>
            <a:ext cx="1871537" cy="448025"/>
          </a:xfrm>
          <a:prstGeom prst="rect">
            <a:avLst/>
          </a:prstGeom>
          <a:noFill/>
          <a:extLst>
            <a:ext uri="{909E8E84-426E-40DD-AFC4-6F175D3DCCD1}">
              <a14:hiddenFill xmlns:a14="http://schemas.microsoft.com/office/drawing/2010/main">
                <a:solidFill>
                  <a:srgbClr val="FFFFFF"/>
                </a:solidFill>
              </a14:hiddenFill>
            </a:ext>
          </a:extLst>
        </p:spPr>
      </p:pic>
      <p:sp>
        <p:nvSpPr>
          <p:cNvPr id="21" name="TextBox 20"/>
          <p:cNvSpPr txBox="1"/>
          <p:nvPr/>
        </p:nvSpPr>
        <p:spPr>
          <a:xfrm flipH="1">
            <a:off x="7760477" y="2058143"/>
            <a:ext cx="4026008" cy="640079"/>
          </a:xfrm>
          <a:prstGeom prst="rect">
            <a:avLst/>
          </a:prstGeom>
          <a:noFill/>
        </p:spPr>
        <p:txBody>
          <a:bodyPr wrap="square" lIns="182880" tIns="91440" rIns="182880" bIns="91440" rtlCol="0">
            <a:noAutofit/>
          </a:bodyPr>
          <a:lstStyle/>
          <a:p>
            <a:pPr>
              <a:lnSpc>
                <a:spcPct val="90000"/>
              </a:lnSpc>
              <a:spcAft>
                <a:spcPts val="600"/>
              </a:spcAft>
            </a:pPr>
            <a:r>
              <a:rPr lang="en-US" dirty="0">
                <a:solidFill>
                  <a:schemeClr val="tx1">
                    <a:lumMod val="65000"/>
                    <a:lumOff val="35000"/>
                  </a:schemeClr>
                </a:solidFill>
              </a:rPr>
              <a:t>In addition to the core, HDInsight supports the Hadoop Ecosystem</a:t>
            </a:r>
          </a:p>
        </p:txBody>
      </p:sp>
      <p:pic>
        <p:nvPicPr>
          <p:cNvPr id="27656" name="Picture 8" descr="Apache HBase"/>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241851" y="3316328"/>
            <a:ext cx="1468114" cy="374838"/>
          </a:xfrm>
          <a:prstGeom prst="rect">
            <a:avLst/>
          </a:prstGeom>
          <a:noFill/>
          <a:extLst>
            <a:ext uri="{909E8E84-426E-40DD-AFC4-6F175D3DCCD1}">
              <a14:hiddenFill xmlns:a14="http://schemas.microsoft.com/office/drawing/2010/main">
                <a:solidFill>
                  <a:srgbClr val="FFFFFF"/>
                </a:solidFill>
              </a14:hiddenFill>
            </a:ext>
          </a:extLst>
        </p:spPr>
      </p:pic>
      <p:sp>
        <p:nvSpPr>
          <p:cNvPr id="23" name="Oval 22"/>
          <p:cNvSpPr/>
          <p:nvPr/>
        </p:nvSpPr>
        <p:spPr bwMode="auto">
          <a:xfrm>
            <a:off x="8165732" y="3161770"/>
            <a:ext cx="3032617" cy="2969233"/>
          </a:xfrm>
          <a:prstGeom prst="ellipse">
            <a:avLst/>
          </a:prstGeom>
          <a:noFill/>
          <a:ln>
            <a:solidFill>
              <a:schemeClr val="bg1">
                <a:lumMod val="9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Tree>
    <p:extLst>
      <p:ext uri="{BB962C8B-B14F-4D97-AF65-F5344CB8AC3E}">
        <p14:creationId xmlns:p14="http://schemas.microsoft.com/office/powerpoint/2010/main" val="2400191639"/>
      </p:ext>
    </p:extLst>
  </p:cSld>
  <p:clrMapOvr>
    <a:masterClrMapping/>
  </p:clrMapOvr>
  <p:transition spd="med">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678730" y="886120"/>
            <a:ext cx="7946796" cy="5505254"/>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2" name="Title 1"/>
          <p:cNvSpPr>
            <a:spLocks noGrp="1"/>
          </p:cNvSpPr>
          <p:nvPr>
            <p:ph type="title"/>
          </p:nvPr>
        </p:nvSpPr>
        <p:spPr>
          <a:xfrm>
            <a:off x="892173" y="61355"/>
            <a:ext cx="10389377" cy="920409"/>
          </a:xfrm>
        </p:spPr>
        <p:txBody>
          <a:bodyPr vert="horz" wrap="square" lIns="146304" tIns="91440" rIns="146304" bIns="91440" rtlCol="0" anchor="t">
            <a:noAutofit/>
          </a:bodyPr>
          <a:lstStyle/>
          <a:p>
            <a:r>
              <a:rPr lang="en-US" dirty="0"/>
              <a:t>HDInsight: How/Where it fits?</a:t>
            </a:r>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21</a:t>
            </a:fld>
            <a:endParaRPr lang="en-US" dirty="0"/>
          </a:p>
        </p:txBody>
      </p:sp>
      <p:sp>
        <p:nvSpPr>
          <p:cNvPr id="15" name="Rectangle 14"/>
          <p:cNvSpPr/>
          <p:nvPr/>
        </p:nvSpPr>
        <p:spPr bwMode="auto">
          <a:xfrm>
            <a:off x="1101969" y="4326944"/>
            <a:ext cx="7162799" cy="188370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2" name="Rectangle 11"/>
          <p:cNvSpPr/>
          <p:nvPr/>
        </p:nvSpPr>
        <p:spPr bwMode="auto">
          <a:xfrm>
            <a:off x="1101969" y="3224781"/>
            <a:ext cx="7162799" cy="6199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5" name="Rectangle 4"/>
          <p:cNvSpPr/>
          <p:nvPr/>
        </p:nvSpPr>
        <p:spPr bwMode="auto">
          <a:xfrm>
            <a:off x="1101969" y="1300666"/>
            <a:ext cx="7162799" cy="193583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6" name="TextBox 5"/>
          <p:cNvSpPr txBox="1"/>
          <p:nvPr/>
        </p:nvSpPr>
        <p:spPr>
          <a:xfrm>
            <a:off x="1101574" y="1767438"/>
            <a:ext cx="1822422" cy="517065"/>
          </a:xfrm>
          <a:prstGeom prst="rect">
            <a:avLst/>
          </a:prstGeom>
          <a:noFill/>
        </p:spPr>
        <p:txBody>
          <a:bodyPr wrap="none" lIns="182880" tIns="146304" rIns="182880" bIns="146304" rtlCol="0">
            <a:spAutoFit/>
          </a:bodyPr>
          <a:lstStyle/>
          <a:p>
            <a:pPr>
              <a:lnSpc>
                <a:spcPct val="90000"/>
              </a:lnSpc>
              <a:spcAft>
                <a:spcPts val="600"/>
              </a:spcAft>
            </a:pPr>
            <a:r>
              <a:rPr lang="en-US" sz="1600" dirty="0">
                <a:solidFill>
                  <a:schemeClr val="bg1"/>
                </a:solidFill>
              </a:rPr>
              <a:t>analytics service</a:t>
            </a:r>
          </a:p>
        </p:txBody>
      </p:sp>
      <p:sp>
        <p:nvSpPr>
          <p:cNvPr id="8" name="TextBox 7"/>
          <p:cNvSpPr txBox="1"/>
          <p:nvPr/>
        </p:nvSpPr>
        <p:spPr>
          <a:xfrm>
            <a:off x="1124068" y="2547483"/>
            <a:ext cx="1273547" cy="461665"/>
          </a:xfrm>
          <a:prstGeom prst="rect">
            <a:avLst/>
          </a:prstGeom>
          <a:noFill/>
          <a:ln>
            <a:noFill/>
          </a:ln>
        </p:spPr>
        <p:txBody>
          <a:bodyPr wrap="square" lIns="182880" tIns="91440" rIns="182880" bIns="91440" rtlCol="0">
            <a:spAutoFit/>
          </a:bodyPr>
          <a:lstStyle/>
          <a:p>
            <a:pPr>
              <a:lnSpc>
                <a:spcPct val="90000"/>
              </a:lnSpc>
              <a:spcAft>
                <a:spcPts val="600"/>
              </a:spcAft>
            </a:pPr>
            <a:r>
              <a:rPr lang="en-US" sz="2000" dirty="0">
                <a:solidFill>
                  <a:schemeClr val="bg1"/>
                </a:solidFill>
              </a:rPr>
              <a:t>U-SQL</a:t>
            </a:r>
          </a:p>
        </p:txBody>
      </p:sp>
      <p:pic>
        <p:nvPicPr>
          <p:cNvPr id="5122" name="Picture 2" descr="http://www.ebaytechblog.com/wp-content/uploads/2014/05/spark_logo.png"/>
          <p:cNvPicPr>
            <a:picLocks noChangeAspect="1" noChangeArrowheads="1"/>
          </p:cNvPicPr>
          <p:nvPr/>
        </p:nvPicPr>
        <p:blipFill>
          <a:blip r:embed="rId10" cstate="print">
            <a:lum bright="70000" contrast="-70000"/>
            <a:extLst>
              <a:ext uri="{28A0092B-C50C-407E-A947-70E740481C1C}">
                <a14:useLocalDpi xmlns:a14="http://schemas.microsoft.com/office/drawing/2010/main" val="0"/>
              </a:ext>
            </a:extLst>
          </a:blip>
          <a:srcRect/>
          <a:stretch>
            <a:fillRect/>
          </a:stretch>
        </p:blipFill>
        <p:spPr bwMode="auto">
          <a:xfrm>
            <a:off x="4065884" y="2488952"/>
            <a:ext cx="721087" cy="382903"/>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5124" name="Picture 4" descr="https://storm.apache.org/images/logo.png"/>
          <p:cNvPicPr>
            <a:picLocks noChangeAspect="1" noChangeArrowheads="1"/>
          </p:cNvPicPr>
          <p:nvPr/>
        </p:nvPicPr>
        <p:blipFill>
          <a:blip r:embed="rId11">
            <a:lum bright="70000" contrast="-70000"/>
            <a:extLst>
              <a:ext uri="{28A0092B-C50C-407E-A947-70E740481C1C}">
                <a14:useLocalDpi xmlns:a14="http://schemas.microsoft.com/office/drawing/2010/main" val="0"/>
              </a:ext>
            </a:extLst>
          </a:blip>
          <a:srcRect/>
          <a:stretch>
            <a:fillRect/>
          </a:stretch>
        </p:blipFill>
        <p:spPr bwMode="auto">
          <a:xfrm>
            <a:off x="5313592" y="2515605"/>
            <a:ext cx="1220503" cy="38290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6" name="Rectangle 15"/>
          <p:cNvSpPr/>
          <p:nvPr/>
        </p:nvSpPr>
        <p:spPr bwMode="auto">
          <a:xfrm>
            <a:off x="1101969" y="3844769"/>
            <a:ext cx="7162799" cy="48217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000" b="1" dirty="0">
              <a:solidFill>
                <a:schemeClr val="tx1"/>
              </a:solidFill>
              <a:ea typeface="Segoe UI" pitchFamily="34" charset="0"/>
              <a:cs typeface="Segoe UI" pitchFamily="34" charset="0"/>
            </a:endParaRPr>
          </a:p>
        </p:txBody>
      </p:sp>
      <p:sp>
        <p:nvSpPr>
          <p:cNvPr id="13" name="Trapezoid 12"/>
          <p:cNvSpPr/>
          <p:nvPr/>
        </p:nvSpPr>
        <p:spPr bwMode="auto">
          <a:xfrm flipV="1">
            <a:off x="2553678" y="3142081"/>
            <a:ext cx="1484611" cy="375139"/>
          </a:xfrm>
          <a:prstGeom prst="trapezoid">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8" name="Trapezoid 17"/>
          <p:cNvSpPr/>
          <p:nvPr/>
        </p:nvSpPr>
        <p:spPr bwMode="auto">
          <a:xfrm flipV="1">
            <a:off x="5367216" y="3142081"/>
            <a:ext cx="1484611" cy="375139"/>
          </a:xfrm>
          <a:prstGeom prst="trapezoid">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4" name="TextBox 13"/>
          <p:cNvSpPr txBox="1"/>
          <p:nvPr/>
        </p:nvSpPr>
        <p:spPr>
          <a:xfrm>
            <a:off x="4263368" y="3233361"/>
            <a:ext cx="1001941" cy="572464"/>
          </a:xfrm>
          <a:prstGeom prst="rect">
            <a:avLst/>
          </a:prstGeom>
          <a:noFill/>
        </p:spPr>
        <p:txBody>
          <a:bodyPr wrap="none" lIns="182880" tIns="146304" rIns="182880" bIns="146304" rtlCol="0">
            <a:spAutoFit/>
          </a:bodyPr>
          <a:lstStyle/>
          <a:p>
            <a:pPr>
              <a:lnSpc>
                <a:spcPct val="90000"/>
              </a:lnSpc>
              <a:spcAft>
                <a:spcPts val="600"/>
              </a:spcAft>
            </a:pPr>
            <a:r>
              <a:rPr lang="en-US" sz="2000" dirty="0">
                <a:solidFill>
                  <a:schemeClr val="bg1"/>
                </a:solidFill>
              </a:rPr>
              <a:t>YARN</a:t>
            </a:r>
          </a:p>
        </p:txBody>
      </p:sp>
      <p:sp>
        <p:nvSpPr>
          <p:cNvPr id="20" name="TextBox 19"/>
          <p:cNvSpPr txBox="1"/>
          <p:nvPr/>
        </p:nvSpPr>
        <p:spPr>
          <a:xfrm>
            <a:off x="4300653" y="3842958"/>
            <a:ext cx="927370" cy="544765"/>
          </a:xfrm>
          <a:prstGeom prst="rect">
            <a:avLst/>
          </a:prstGeom>
          <a:noFill/>
        </p:spPr>
        <p:txBody>
          <a:bodyPr wrap="none" lIns="182880" tIns="146304" rIns="182880" bIns="146304" rtlCol="0">
            <a:spAutoFit/>
          </a:bodyPr>
          <a:lstStyle/>
          <a:p>
            <a:pPr>
              <a:lnSpc>
                <a:spcPct val="90000"/>
              </a:lnSpc>
              <a:spcAft>
                <a:spcPts val="600"/>
              </a:spcAft>
            </a:pPr>
            <a:r>
              <a:rPr lang="en-US" dirty="0">
                <a:solidFill>
                  <a:schemeClr val="bg1"/>
                </a:solidFill>
              </a:rPr>
              <a:t>HDFS</a:t>
            </a:r>
          </a:p>
        </p:txBody>
      </p:sp>
      <p:grpSp>
        <p:nvGrpSpPr>
          <p:cNvPr id="21" name="Group 20"/>
          <p:cNvGrpSpPr/>
          <p:nvPr/>
        </p:nvGrpSpPr>
        <p:grpSpPr>
          <a:xfrm>
            <a:off x="3176120" y="4468676"/>
            <a:ext cx="795144" cy="639638"/>
            <a:chOff x="372628" y="2473035"/>
            <a:chExt cx="691781" cy="691781"/>
          </a:xfrm>
        </p:grpSpPr>
        <p:sp>
          <p:nvSpPr>
            <p:cNvPr id="22" name="Rectangle 21"/>
            <p:cNvSpPr/>
            <p:nvPr>
              <p:custDataLst>
                <p:tags r:id="rId8"/>
              </p:custDataLst>
            </p:nvPr>
          </p:nvSpPr>
          <p:spPr bwMode="auto">
            <a:xfrm>
              <a:off x="372628" y="2473035"/>
              <a:ext cx="691781" cy="69178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45720" rIns="68580" bIns="45720" numCol="1" spcCol="0" rtlCol="0" fromWordArt="0" anchor="b" anchorCtr="0" forceAA="0" compatLnSpc="1">
              <a:prstTxWarp prst="textNoShape">
                <a:avLst/>
              </a:prstTxWarp>
              <a:noAutofit/>
            </a:bodyPr>
            <a:lstStyle/>
            <a:p>
              <a:pPr algn="ctr" defTabSz="932472">
                <a:lnSpc>
                  <a:spcPct val="90000"/>
                </a:lnSpc>
              </a:pPr>
              <a:r>
                <a:rPr lang="en-US" sz="1000" dirty="0">
                  <a:ln>
                    <a:solidFill>
                      <a:schemeClr val="bg1">
                        <a:alpha val="0"/>
                      </a:schemeClr>
                    </a:solidFill>
                  </a:ln>
                  <a:solidFill>
                    <a:schemeClr val="tx1"/>
                  </a:solidFill>
                </a:rPr>
                <a:t>Devices</a:t>
              </a:r>
            </a:p>
          </p:txBody>
        </p:sp>
        <p:grpSp>
          <p:nvGrpSpPr>
            <p:cNvPr id="23" name="Group 22"/>
            <p:cNvGrpSpPr/>
            <p:nvPr/>
          </p:nvGrpSpPr>
          <p:grpSpPr>
            <a:xfrm>
              <a:off x="476130" y="2594121"/>
              <a:ext cx="496449" cy="266646"/>
              <a:chOff x="2769908" y="1409697"/>
              <a:chExt cx="1965320" cy="1055586"/>
            </a:xfrm>
          </p:grpSpPr>
          <p:sp>
            <p:nvSpPr>
              <p:cNvPr id="24" name="Round Same Side Corner Rectangle 11"/>
              <p:cNvSpPr/>
              <p:nvPr/>
            </p:nvSpPr>
            <p:spPr>
              <a:xfrm>
                <a:off x="3138523" y="1744049"/>
                <a:ext cx="998085" cy="721234"/>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solidFill>
                <a:schemeClr val="bg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effectLst/>
                  <a:uLnTx/>
                  <a:uFillTx/>
                </a:endParaRPr>
              </a:p>
            </p:txBody>
          </p:sp>
          <p:sp>
            <p:nvSpPr>
              <p:cNvPr id="25" name="Rounded Rectangle 223"/>
              <p:cNvSpPr/>
              <p:nvPr/>
            </p:nvSpPr>
            <p:spPr bwMode="auto">
              <a:xfrm>
                <a:off x="2769908" y="1409697"/>
                <a:ext cx="368615" cy="648352"/>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000" spc="-50" dirty="0">
                  <a:solidFill>
                    <a:schemeClr val="tx1"/>
                  </a:solidFill>
                  <a:ea typeface="Segoe UI" pitchFamily="34" charset="0"/>
                  <a:cs typeface="Segoe UI" pitchFamily="34" charset="0"/>
                </a:endParaRPr>
              </a:p>
            </p:txBody>
          </p:sp>
          <p:sp>
            <p:nvSpPr>
              <p:cNvPr id="26" name="Rounded Rectangle 6"/>
              <p:cNvSpPr/>
              <p:nvPr/>
            </p:nvSpPr>
            <p:spPr bwMode="auto">
              <a:xfrm rot="16200000">
                <a:off x="4229657" y="1440678"/>
                <a:ext cx="404402" cy="606741"/>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chemeClr val="bg2"/>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822953"/>
                <a:endParaRPr lang="en-US" sz="1000" spc="-135" dirty="0">
                  <a:solidFill>
                    <a:schemeClr val="tx1"/>
                  </a:solidFill>
                </a:endParaRPr>
              </a:p>
            </p:txBody>
          </p:sp>
        </p:grpSp>
      </p:grpSp>
      <p:grpSp>
        <p:nvGrpSpPr>
          <p:cNvPr id="27" name="Group 26"/>
          <p:cNvGrpSpPr/>
          <p:nvPr/>
        </p:nvGrpSpPr>
        <p:grpSpPr>
          <a:xfrm>
            <a:off x="1726026" y="5460594"/>
            <a:ext cx="726222" cy="639638"/>
            <a:chOff x="1103397" y="3187789"/>
            <a:chExt cx="785423" cy="691781"/>
          </a:xfrm>
        </p:grpSpPr>
        <p:sp>
          <p:nvSpPr>
            <p:cNvPr id="28" name="Rectangle 27"/>
            <p:cNvSpPr/>
            <p:nvPr>
              <p:custDataLst>
                <p:tags r:id="rId7"/>
              </p:custDataLst>
            </p:nvPr>
          </p:nvSpPr>
          <p:spPr bwMode="auto">
            <a:xfrm>
              <a:off x="1103397" y="3187789"/>
              <a:ext cx="785423" cy="69178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45720" rIns="68580" bIns="45720" numCol="1" spcCol="0" rtlCol="0" fromWordArt="0" anchor="b" anchorCtr="0" forceAA="0" compatLnSpc="1">
              <a:prstTxWarp prst="textNoShape">
                <a:avLst/>
              </a:prstTxWarp>
              <a:noAutofit/>
            </a:bodyPr>
            <a:lstStyle/>
            <a:p>
              <a:pPr algn="ctr" defTabSz="932472">
                <a:lnSpc>
                  <a:spcPct val="90000"/>
                </a:lnSpc>
              </a:pPr>
              <a:r>
                <a:rPr lang="en-US" sz="1000" dirty="0">
                  <a:ln>
                    <a:solidFill>
                      <a:schemeClr val="bg1">
                        <a:alpha val="0"/>
                      </a:schemeClr>
                    </a:solidFill>
                  </a:ln>
                  <a:solidFill>
                    <a:schemeClr val="tx1"/>
                  </a:solidFill>
                </a:rPr>
                <a:t>Relational</a:t>
              </a:r>
              <a:endParaRPr lang="en-US" sz="1000" dirty="0">
                <a:solidFill>
                  <a:schemeClr val="tx1"/>
                </a:solidFill>
                <a:ea typeface="Segoe UI" pitchFamily="34" charset="0"/>
                <a:cs typeface="Segoe UI" pitchFamily="34" charset="0"/>
              </a:endParaRPr>
            </a:p>
          </p:txBody>
        </p:sp>
        <p:grpSp>
          <p:nvGrpSpPr>
            <p:cNvPr id="29" name="Group 28"/>
            <p:cNvGrpSpPr/>
            <p:nvPr/>
          </p:nvGrpSpPr>
          <p:grpSpPr>
            <a:xfrm>
              <a:off x="1304674" y="3262655"/>
              <a:ext cx="289229" cy="318346"/>
              <a:chOff x="9677938" y="4380341"/>
              <a:chExt cx="180750" cy="203154"/>
            </a:xfrm>
            <a:solidFill>
              <a:schemeClr val="bg1"/>
            </a:solidFill>
          </p:grpSpPr>
          <p:sp>
            <p:nvSpPr>
              <p:cNvPr id="30" name="Freeform 29"/>
              <p:cNvSpPr/>
              <p:nvPr/>
            </p:nvSpPr>
            <p:spPr>
              <a:xfrm>
                <a:off x="9677938" y="4380341"/>
                <a:ext cx="180750" cy="203154"/>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2"/>
              </a:solidFill>
              <a:ln w="12700" cap="flat" cmpd="sng" algn="ctr">
                <a:noFill/>
                <a:prstDash val="solid"/>
                <a:miter lim="800000"/>
              </a:ln>
              <a:effectLst/>
            </p:spPr>
            <p:txBody>
              <a:bodyPr rtlCol="0" anchor="ctr"/>
              <a:lstStyle/>
              <a:p>
                <a:pPr algn="ctr" defTabSz="932330">
                  <a:defRPr/>
                </a:pPr>
                <a:endParaRPr lang="en-US" sz="1000" kern="0" dirty="0"/>
              </a:p>
            </p:txBody>
          </p:sp>
          <p:sp>
            <p:nvSpPr>
              <p:cNvPr id="31" name="Oval 30"/>
              <p:cNvSpPr/>
              <p:nvPr/>
            </p:nvSpPr>
            <p:spPr>
              <a:xfrm>
                <a:off x="9692924" y="4389921"/>
                <a:ext cx="146753" cy="40388"/>
              </a:xfrm>
              <a:prstGeom prst="ellipse">
                <a:avLst/>
              </a:prstGeom>
              <a:solidFill>
                <a:schemeClr val="accent4"/>
              </a:solidFill>
              <a:ln w="12700" cap="flat" cmpd="sng" algn="ctr">
                <a:noFill/>
                <a:prstDash val="solid"/>
                <a:miter lim="800000"/>
              </a:ln>
              <a:effectLst/>
            </p:spPr>
            <p:txBody>
              <a:bodyPr rtlCol="0" anchor="ctr"/>
              <a:lstStyle/>
              <a:p>
                <a:pPr algn="ctr" defTabSz="932330">
                  <a:defRPr/>
                </a:pPr>
                <a:endParaRPr lang="en-US" sz="1000" kern="0" dirty="0"/>
              </a:p>
            </p:txBody>
          </p:sp>
        </p:grpSp>
      </p:grpSp>
      <p:grpSp>
        <p:nvGrpSpPr>
          <p:cNvPr id="32" name="Group 31"/>
          <p:cNvGrpSpPr/>
          <p:nvPr/>
        </p:nvGrpSpPr>
        <p:grpSpPr>
          <a:xfrm>
            <a:off x="5741250" y="4468675"/>
            <a:ext cx="846490" cy="719457"/>
            <a:chOff x="2551230" y="2464452"/>
            <a:chExt cx="691781" cy="691781"/>
          </a:xfrm>
        </p:grpSpPr>
        <p:sp>
          <p:nvSpPr>
            <p:cNvPr id="33" name="Rectangle 32"/>
            <p:cNvSpPr/>
            <p:nvPr>
              <p:custDataLst>
                <p:tags r:id="rId6"/>
              </p:custDataLst>
            </p:nvPr>
          </p:nvSpPr>
          <p:spPr bwMode="auto">
            <a:xfrm>
              <a:off x="2551230" y="2464452"/>
              <a:ext cx="691781" cy="69178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45720" rIns="68580" bIns="45720" numCol="1" spcCol="0" rtlCol="0" fromWordArt="0" anchor="b" anchorCtr="0" forceAA="0" compatLnSpc="1">
              <a:prstTxWarp prst="textNoShape">
                <a:avLst/>
              </a:prstTxWarp>
              <a:noAutofit/>
            </a:bodyPr>
            <a:lstStyle/>
            <a:p>
              <a:pPr algn="ctr" defTabSz="932472">
                <a:lnSpc>
                  <a:spcPct val="90000"/>
                </a:lnSpc>
              </a:pPr>
              <a:r>
                <a:rPr lang="en-US" sz="1000" dirty="0">
                  <a:ln>
                    <a:solidFill>
                      <a:schemeClr val="bg1">
                        <a:alpha val="0"/>
                      </a:schemeClr>
                    </a:solidFill>
                  </a:ln>
                  <a:solidFill>
                    <a:schemeClr val="tx1"/>
                  </a:solidFill>
                </a:rPr>
                <a:t>Sensors</a:t>
              </a:r>
              <a:endParaRPr lang="en-US" sz="1000" dirty="0">
                <a:solidFill>
                  <a:schemeClr val="tx1"/>
                </a:solidFill>
                <a:ea typeface="Segoe UI" pitchFamily="34" charset="0"/>
                <a:cs typeface="Segoe UI" pitchFamily="34" charset="0"/>
              </a:endParaRPr>
            </a:p>
          </p:txBody>
        </p:sp>
        <p:sp>
          <p:nvSpPr>
            <p:cNvPr id="34" name="Frame 5"/>
            <p:cNvSpPr>
              <a:spLocks noChangeAspect="1"/>
            </p:cNvSpPr>
            <p:nvPr/>
          </p:nvSpPr>
          <p:spPr bwMode="auto">
            <a:xfrm>
              <a:off x="2761691" y="2548139"/>
              <a:ext cx="270860" cy="270787"/>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07555" tIns="53778" rIns="53778" bIns="107555" numCol="1" spcCol="0" rtlCol="0" fromWordArt="0" anchor="b" anchorCtr="0" forceAA="0" compatLnSpc="1">
              <a:prstTxWarp prst="textNoShape">
                <a:avLst/>
              </a:prstTxWarp>
              <a:noAutofit/>
            </a:bodyPr>
            <a:lstStyle/>
            <a:p>
              <a:pPr algn="ctr" defTabSz="1075103" fontAlgn="base">
                <a:spcBef>
                  <a:spcPct val="0"/>
                </a:spcBef>
                <a:spcAft>
                  <a:spcPct val="0"/>
                </a:spcAft>
                <a:defRPr/>
              </a:pPr>
              <a:endParaRPr lang="en-US" sz="1000" kern="0" spc="-59" dirty="0">
                <a:ea typeface="Segoe UI" pitchFamily="34" charset="0"/>
                <a:cs typeface="Segoe UI" pitchFamily="34" charset="0"/>
              </a:endParaRPr>
            </a:p>
          </p:txBody>
        </p:sp>
      </p:grpSp>
      <p:grpSp>
        <p:nvGrpSpPr>
          <p:cNvPr id="35" name="Group 34"/>
          <p:cNvGrpSpPr/>
          <p:nvPr/>
        </p:nvGrpSpPr>
        <p:grpSpPr>
          <a:xfrm>
            <a:off x="7130342" y="5460594"/>
            <a:ext cx="892177" cy="639638"/>
            <a:chOff x="1822857" y="3187789"/>
            <a:chExt cx="691781" cy="691781"/>
          </a:xfrm>
        </p:grpSpPr>
        <p:sp>
          <p:nvSpPr>
            <p:cNvPr id="36" name="Rectangle 35"/>
            <p:cNvSpPr/>
            <p:nvPr>
              <p:custDataLst>
                <p:tags r:id="rId5"/>
              </p:custDataLst>
            </p:nvPr>
          </p:nvSpPr>
          <p:spPr bwMode="auto">
            <a:xfrm>
              <a:off x="1822857" y="3187789"/>
              <a:ext cx="691781" cy="69178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45720" rIns="68580" bIns="45720" numCol="1" spcCol="0" rtlCol="0" fromWordArt="0" anchor="b" anchorCtr="0" forceAA="0" compatLnSpc="1">
              <a:prstTxWarp prst="textNoShape">
                <a:avLst/>
              </a:prstTxWarp>
              <a:noAutofit/>
            </a:bodyPr>
            <a:lstStyle/>
            <a:p>
              <a:pPr algn="ctr" defTabSz="932472">
                <a:lnSpc>
                  <a:spcPct val="90000"/>
                </a:lnSpc>
              </a:pPr>
              <a:r>
                <a:rPr lang="en-US" sz="1000" dirty="0">
                  <a:ln>
                    <a:solidFill>
                      <a:schemeClr val="bg1">
                        <a:alpha val="0"/>
                      </a:schemeClr>
                    </a:solidFill>
                  </a:ln>
                  <a:solidFill>
                    <a:schemeClr val="tx1"/>
                  </a:solidFill>
                </a:rPr>
                <a:t>Video</a:t>
              </a:r>
              <a:endParaRPr lang="en-US" sz="1000" dirty="0">
                <a:solidFill>
                  <a:schemeClr val="tx1"/>
                </a:solidFill>
                <a:ea typeface="Segoe UI" pitchFamily="34" charset="0"/>
                <a:cs typeface="Segoe UI" pitchFamily="34" charset="0"/>
              </a:endParaRPr>
            </a:p>
          </p:txBody>
        </p:sp>
        <p:sp>
          <p:nvSpPr>
            <p:cNvPr id="37" name="Freeform 7"/>
            <p:cNvSpPr>
              <a:spLocks noEditPoints="1"/>
            </p:cNvSpPr>
            <p:nvPr/>
          </p:nvSpPr>
          <p:spPr bwMode="auto">
            <a:xfrm>
              <a:off x="2019832" y="3275280"/>
              <a:ext cx="297830" cy="319992"/>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bg2"/>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822953"/>
              <a:endParaRPr lang="en-US" sz="1000" spc="-135" dirty="0">
                <a:solidFill>
                  <a:schemeClr val="tx1"/>
                </a:solidFill>
              </a:endParaRPr>
            </a:p>
          </p:txBody>
        </p:sp>
      </p:grpSp>
      <p:grpSp>
        <p:nvGrpSpPr>
          <p:cNvPr id="38" name="Group 37"/>
          <p:cNvGrpSpPr/>
          <p:nvPr/>
        </p:nvGrpSpPr>
        <p:grpSpPr>
          <a:xfrm>
            <a:off x="1682538" y="4468676"/>
            <a:ext cx="826714" cy="639638"/>
            <a:chOff x="291276" y="3187789"/>
            <a:chExt cx="894107" cy="691781"/>
          </a:xfrm>
        </p:grpSpPr>
        <p:sp>
          <p:nvSpPr>
            <p:cNvPr id="39" name="Rectangle 38"/>
            <p:cNvSpPr/>
            <p:nvPr>
              <p:custDataLst>
                <p:tags r:id="rId4"/>
              </p:custDataLst>
            </p:nvPr>
          </p:nvSpPr>
          <p:spPr bwMode="auto">
            <a:xfrm>
              <a:off x="291276" y="3187789"/>
              <a:ext cx="894107" cy="69178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45720" rIns="68580" bIns="45720" numCol="1" spcCol="0" rtlCol="0" fromWordArt="0" anchor="b" anchorCtr="0" forceAA="0" compatLnSpc="1">
              <a:prstTxWarp prst="textNoShape">
                <a:avLst/>
              </a:prstTxWarp>
              <a:noAutofit/>
            </a:bodyPr>
            <a:lstStyle/>
            <a:p>
              <a:pPr algn="ctr" defTabSz="932330">
                <a:lnSpc>
                  <a:spcPct val="90000"/>
                </a:lnSpc>
              </a:pPr>
              <a:r>
                <a:rPr lang="en-US" sz="1000" dirty="0">
                  <a:ln>
                    <a:solidFill>
                      <a:schemeClr val="bg1">
                        <a:alpha val="0"/>
                      </a:schemeClr>
                    </a:solidFill>
                  </a:ln>
                  <a:solidFill>
                    <a:schemeClr val="tx1"/>
                  </a:solidFill>
                </a:rPr>
                <a:t>Applications</a:t>
              </a:r>
            </a:p>
          </p:txBody>
        </p:sp>
        <p:sp>
          <p:nvSpPr>
            <p:cNvPr id="40" name="Donut 59"/>
            <p:cNvSpPr>
              <a:spLocks noChangeAspect="1"/>
            </p:cNvSpPr>
            <p:nvPr/>
          </p:nvSpPr>
          <p:spPr bwMode="auto">
            <a:xfrm>
              <a:off x="587672" y="3258426"/>
              <a:ext cx="256656" cy="276958"/>
            </a:xfrm>
            <a:custGeom>
              <a:avLst/>
              <a:gdLst/>
              <a:ahLst/>
              <a:cxnLst/>
              <a:rect l="l" t="t" r="r" b="b"/>
              <a:pathLst>
                <a:path w="1872166" h="2020785">
                  <a:moveTo>
                    <a:pt x="930606" y="1257014"/>
                  </a:moveTo>
                  <a:cubicBezTo>
                    <a:pt x="968577" y="1257014"/>
                    <a:pt x="999359" y="1287795"/>
                    <a:pt x="999359" y="1325766"/>
                  </a:cubicBezTo>
                  <a:cubicBezTo>
                    <a:pt x="999359" y="1363737"/>
                    <a:pt x="968577" y="1394519"/>
                    <a:pt x="930606" y="1394519"/>
                  </a:cubicBezTo>
                  <a:cubicBezTo>
                    <a:pt x="892635" y="1394519"/>
                    <a:pt x="861853" y="1363737"/>
                    <a:pt x="861853" y="1325766"/>
                  </a:cubicBezTo>
                  <a:cubicBezTo>
                    <a:pt x="861853" y="1287795"/>
                    <a:pt x="892635" y="1257014"/>
                    <a:pt x="930606" y="1257014"/>
                  </a:cubicBezTo>
                  <a:close/>
                  <a:moveTo>
                    <a:pt x="930606" y="1188261"/>
                  </a:moveTo>
                  <a:cubicBezTo>
                    <a:pt x="854664" y="1188261"/>
                    <a:pt x="793100" y="1249824"/>
                    <a:pt x="793100" y="1325766"/>
                  </a:cubicBezTo>
                  <a:cubicBezTo>
                    <a:pt x="793100" y="1401709"/>
                    <a:pt x="854664" y="1463272"/>
                    <a:pt x="930606" y="1463272"/>
                  </a:cubicBezTo>
                  <a:cubicBezTo>
                    <a:pt x="1006548" y="1463272"/>
                    <a:pt x="1068111" y="1401709"/>
                    <a:pt x="1068111" y="1325766"/>
                  </a:cubicBezTo>
                  <a:cubicBezTo>
                    <a:pt x="1068111" y="1249824"/>
                    <a:pt x="1006548" y="1188261"/>
                    <a:pt x="930606" y="1188261"/>
                  </a:cubicBezTo>
                  <a:close/>
                  <a:moveTo>
                    <a:pt x="971250" y="956702"/>
                  </a:moveTo>
                  <a:lnTo>
                    <a:pt x="986880" y="1028990"/>
                  </a:lnTo>
                  <a:lnTo>
                    <a:pt x="1061122" y="1054389"/>
                  </a:lnTo>
                  <a:lnTo>
                    <a:pt x="1106057" y="1005545"/>
                  </a:lnTo>
                  <a:lnTo>
                    <a:pt x="1174438" y="1052435"/>
                  </a:lnTo>
                  <a:lnTo>
                    <a:pt x="1149040" y="1120816"/>
                  </a:lnTo>
                  <a:lnTo>
                    <a:pt x="1186160" y="1175520"/>
                  </a:lnTo>
                  <a:lnTo>
                    <a:pt x="1262356" y="1175520"/>
                  </a:lnTo>
                  <a:lnTo>
                    <a:pt x="1285801" y="1261484"/>
                  </a:lnTo>
                  <a:lnTo>
                    <a:pt x="1233050" y="1302513"/>
                  </a:lnTo>
                  <a:lnTo>
                    <a:pt x="1233050" y="1366986"/>
                  </a:lnTo>
                  <a:lnTo>
                    <a:pt x="1281894" y="1411922"/>
                  </a:lnTo>
                  <a:lnTo>
                    <a:pt x="1264310" y="1490071"/>
                  </a:lnTo>
                  <a:lnTo>
                    <a:pt x="1180299" y="1492025"/>
                  </a:lnTo>
                  <a:lnTo>
                    <a:pt x="1150993" y="1538914"/>
                  </a:lnTo>
                  <a:lnTo>
                    <a:pt x="1168577" y="1611202"/>
                  </a:lnTo>
                  <a:lnTo>
                    <a:pt x="1106057" y="1658092"/>
                  </a:lnTo>
                  <a:lnTo>
                    <a:pt x="1049399" y="1613156"/>
                  </a:lnTo>
                  <a:lnTo>
                    <a:pt x="986880" y="1640508"/>
                  </a:lnTo>
                  <a:lnTo>
                    <a:pt x="973203" y="1708889"/>
                  </a:lnTo>
                  <a:lnTo>
                    <a:pt x="893100" y="1716704"/>
                  </a:lnTo>
                  <a:lnTo>
                    <a:pt x="873563" y="1632694"/>
                  </a:lnTo>
                  <a:lnTo>
                    <a:pt x="809090" y="1613156"/>
                  </a:lnTo>
                  <a:lnTo>
                    <a:pt x="754385" y="1658092"/>
                  </a:lnTo>
                  <a:lnTo>
                    <a:pt x="699681" y="1609249"/>
                  </a:lnTo>
                  <a:lnTo>
                    <a:pt x="719218" y="1544776"/>
                  </a:lnTo>
                  <a:lnTo>
                    <a:pt x="678190" y="1490071"/>
                  </a:lnTo>
                  <a:lnTo>
                    <a:pt x="601994" y="1488117"/>
                  </a:lnTo>
                  <a:lnTo>
                    <a:pt x="586364" y="1411922"/>
                  </a:lnTo>
                  <a:lnTo>
                    <a:pt x="646930" y="1380662"/>
                  </a:lnTo>
                  <a:lnTo>
                    <a:pt x="644976" y="1304466"/>
                  </a:lnTo>
                  <a:lnTo>
                    <a:pt x="586364" y="1255623"/>
                  </a:lnTo>
                  <a:lnTo>
                    <a:pt x="607855" y="1183335"/>
                  </a:lnTo>
                  <a:lnTo>
                    <a:pt x="680143" y="1185289"/>
                  </a:lnTo>
                  <a:lnTo>
                    <a:pt x="721172" y="1140353"/>
                  </a:lnTo>
                  <a:lnTo>
                    <a:pt x="695773" y="1052435"/>
                  </a:lnTo>
                  <a:lnTo>
                    <a:pt x="752431" y="1007499"/>
                  </a:lnTo>
                  <a:lnTo>
                    <a:pt x="818858" y="1052435"/>
                  </a:lnTo>
                  <a:lnTo>
                    <a:pt x="873563" y="1032898"/>
                  </a:lnTo>
                  <a:lnTo>
                    <a:pt x="895054" y="958656"/>
                  </a:lnTo>
                  <a:close/>
                  <a:moveTo>
                    <a:pt x="966353" y="561544"/>
                  </a:moveTo>
                  <a:lnTo>
                    <a:pt x="1484176" y="561544"/>
                  </a:lnTo>
                  <a:cubicBezTo>
                    <a:pt x="1519876" y="561544"/>
                    <a:pt x="1548815" y="590484"/>
                    <a:pt x="1548815" y="626184"/>
                  </a:cubicBezTo>
                  <a:cubicBezTo>
                    <a:pt x="1548815" y="661883"/>
                    <a:pt x="1519875" y="690823"/>
                    <a:pt x="1484175" y="690823"/>
                  </a:cubicBezTo>
                  <a:lnTo>
                    <a:pt x="966353" y="690822"/>
                  </a:lnTo>
                  <a:cubicBezTo>
                    <a:pt x="930653" y="690822"/>
                    <a:pt x="901714" y="661883"/>
                    <a:pt x="901714" y="626184"/>
                  </a:cubicBezTo>
                  <a:cubicBezTo>
                    <a:pt x="901714" y="590484"/>
                    <a:pt x="930653" y="561544"/>
                    <a:pt x="966353" y="561544"/>
                  </a:cubicBezTo>
                  <a:close/>
                  <a:moveTo>
                    <a:pt x="590322" y="106687"/>
                  </a:moveTo>
                  <a:cubicBezTo>
                    <a:pt x="590332" y="226008"/>
                    <a:pt x="591688" y="375662"/>
                    <a:pt x="590317" y="464513"/>
                  </a:cubicBezTo>
                  <a:cubicBezTo>
                    <a:pt x="588940" y="553814"/>
                    <a:pt x="569467" y="576664"/>
                    <a:pt x="482849" y="576882"/>
                  </a:cubicBezTo>
                  <a:lnTo>
                    <a:pt x="101828" y="577428"/>
                  </a:lnTo>
                  <a:cubicBezTo>
                    <a:pt x="94937" y="958413"/>
                    <a:pt x="101760" y="1616638"/>
                    <a:pt x="104708" y="1753748"/>
                  </a:cubicBezTo>
                  <a:cubicBezTo>
                    <a:pt x="107681" y="1892031"/>
                    <a:pt x="168011" y="1914803"/>
                    <a:pt x="277215" y="1914081"/>
                  </a:cubicBezTo>
                  <a:lnTo>
                    <a:pt x="1773325" y="1910255"/>
                  </a:lnTo>
                  <a:cubicBezTo>
                    <a:pt x="1759000" y="1375795"/>
                    <a:pt x="1765208" y="446089"/>
                    <a:pt x="1768691" y="339408"/>
                  </a:cubicBezTo>
                  <a:cubicBezTo>
                    <a:pt x="1772174" y="232725"/>
                    <a:pt x="1746468" y="112940"/>
                    <a:pt x="1588386" y="110513"/>
                  </a:cubicBezTo>
                  <a:cubicBezTo>
                    <a:pt x="1430337" y="108086"/>
                    <a:pt x="851841" y="106688"/>
                    <a:pt x="590322" y="106687"/>
                  </a:cubicBezTo>
                  <a:close/>
                  <a:moveTo>
                    <a:pt x="549320" y="0"/>
                  </a:moveTo>
                  <a:cubicBezTo>
                    <a:pt x="841627" y="0"/>
                    <a:pt x="1488650" y="1563"/>
                    <a:pt x="1665394" y="4277"/>
                  </a:cubicBezTo>
                  <a:cubicBezTo>
                    <a:pt x="1842137" y="6992"/>
                    <a:pt x="1870878" y="140918"/>
                    <a:pt x="1866984" y="260194"/>
                  </a:cubicBezTo>
                  <a:cubicBezTo>
                    <a:pt x="1863090" y="379470"/>
                    <a:pt x="1856150" y="1418933"/>
                    <a:pt x="1872166" y="2016489"/>
                  </a:cubicBezTo>
                  <a:lnTo>
                    <a:pt x="199432" y="2020767"/>
                  </a:lnTo>
                  <a:cubicBezTo>
                    <a:pt x="77336" y="2021574"/>
                    <a:pt x="9884" y="1996114"/>
                    <a:pt x="6560" y="1841505"/>
                  </a:cubicBezTo>
                  <a:cubicBezTo>
                    <a:pt x="3235" y="1686896"/>
                    <a:pt x="-4497" y="939636"/>
                    <a:pt x="3513" y="515446"/>
                  </a:cubicBez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000" spc="-50" dirty="0">
                <a:solidFill>
                  <a:schemeClr val="tx1"/>
                </a:solidFill>
                <a:ea typeface="Segoe UI" pitchFamily="34" charset="0"/>
                <a:cs typeface="Segoe UI" pitchFamily="34" charset="0"/>
              </a:endParaRPr>
            </a:p>
          </p:txBody>
        </p:sp>
      </p:grpSp>
      <p:grpSp>
        <p:nvGrpSpPr>
          <p:cNvPr id="41" name="Group 40"/>
          <p:cNvGrpSpPr/>
          <p:nvPr/>
        </p:nvGrpSpPr>
        <p:grpSpPr>
          <a:xfrm>
            <a:off x="3190082" y="5460594"/>
            <a:ext cx="781182" cy="639638"/>
            <a:chOff x="1103397" y="2464452"/>
            <a:chExt cx="691781" cy="691781"/>
          </a:xfrm>
        </p:grpSpPr>
        <p:sp>
          <p:nvSpPr>
            <p:cNvPr id="42" name="Rectangle 41"/>
            <p:cNvSpPr/>
            <p:nvPr>
              <p:custDataLst>
                <p:tags r:id="rId3"/>
              </p:custDataLst>
            </p:nvPr>
          </p:nvSpPr>
          <p:spPr bwMode="auto">
            <a:xfrm>
              <a:off x="1103397" y="2464452"/>
              <a:ext cx="691781" cy="69178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45720" rIns="68580" bIns="45720" numCol="1" spcCol="0" rtlCol="0" fromWordArt="0" anchor="b" anchorCtr="0" forceAA="0" compatLnSpc="1">
              <a:prstTxWarp prst="textNoShape">
                <a:avLst/>
              </a:prstTxWarp>
              <a:noAutofit/>
            </a:bodyPr>
            <a:lstStyle/>
            <a:p>
              <a:pPr algn="ctr" defTabSz="932472">
                <a:lnSpc>
                  <a:spcPct val="90000"/>
                </a:lnSpc>
              </a:pPr>
              <a:r>
                <a:rPr lang="en-US" sz="1000" dirty="0">
                  <a:ln>
                    <a:solidFill>
                      <a:schemeClr val="bg1">
                        <a:alpha val="0"/>
                      </a:schemeClr>
                    </a:solidFill>
                  </a:ln>
                  <a:solidFill>
                    <a:schemeClr val="tx1"/>
                  </a:solidFill>
                </a:rPr>
                <a:t>Web</a:t>
              </a:r>
              <a:endParaRPr lang="en-US" sz="1000" dirty="0">
                <a:solidFill>
                  <a:schemeClr val="tx1"/>
                </a:solidFill>
                <a:ea typeface="Segoe UI" pitchFamily="34" charset="0"/>
                <a:cs typeface="Segoe UI" pitchFamily="34" charset="0"/>
              </a:endParaRPr>
            </a:p>
          </p:txBody>
        </p:sp>
        <p:sp>
          <p:nvSpPr>
            <p:cNvPr id="43" name="Rounded Rectangle 18"/>
            <p:cNvSpPr/>
            <p:nvPr/>
          </p:nvSpPr>
          <p:spPr bwMode="auto">
            <a:xfrm>
              <a:off x="1331186" y="2561849"/>
              <a:ext cx="236204" cy="243353"/>
            </a:xfrm>
            <a:custGeom>
              <a:avLst/>
              <a:gdLst/>
              <a:ahLst/>
              <a:cxnLst/>
              <a:rect l="l" t="t" r="r" b="b"/>
              <a:pathLst>
                <a:path w="759909" h="783113">
                  <a:moveTo>
                    <a:pt x="428313" y="198314"/>
                  </a:moveTo>
                  <a:cubicBezTo>
                    <a:pt x="508468" y="198313"/>
                    <a:pt x="573445" y="263292"/>
                    <a:pt x="573446" y="343446"/>
                  </a:cubicBezTo>
                  <a:cubicBezTo>
                    <a:pt x="573445" y="423600"/>
                    <a:pt x="508468" y="488578"/>
                    <a:pt x="428313" y="488578"/>
                  </a:cubicBezTo>
                  <a:cubicBezTo>
                    <a:pt x="348160" y="488577"/>
                    <a:pt x="283181" y="423600"/>
                    <a:pt x="283181" y="343446"/>
                  </a:cubicBezTo>
                  <a:cubicBezTo>
                    <a:pt x="283182" y="263291"/>
                    <a:pt x="348159" y="198314"/>
                    <a:pt x="428313" y="198314"/>
                  </a:cubicBezTo>
                  <a:close/>
                  <a:moveTo>
                    <a:pt x="428313" y="131753"/>
                  </a:moveTo>
                  <a:cubicBezTo>
                    <a:pt x="311398" y="131753"/>
                    <a:pt x="216620" y="226531"/>
                    <a:pt x="216620" y="343446"/>
                  </a:cubicBezTo>
                  <a:cubicBezTo>
                    <a:pt x="216620" y="384187"/>
                    <a:pt x="228129" y="422239"/>
                    <a:pt x="251266" y="452558"/>
                  </a:cubicBezTo>
                  <a:lnTo>
                    <a:pt x="128069" y="575549"/>
                  </a:lnTo>
                  <a:cubicBezTo>
                    <a:pt x="109922" y="593667"/>
                    <a:pt x="109898" y="623064"/>
                    <a:pt x="128015" y="641211"/>
                  </a:cubicBezTo>
                  <a:cubicBezTo>
                    <a:pt x="146132" y="659359"/>
                    <a:pt x="175529" y="659383"/>
                    <a:pt x="193677" y="641266"/>
                  </a:cubicBezTo>
                  <a:lnTo>
                    <a:pt x="316485" y="518662"/>
                  </a:lnTo>
                  <a:cubicBezTo>
                    <a:pt x="347293" y="542946"/>
                    <a:pt x="386379" y="555139"/>
                    <a:pt x="428313" y="555138"/>
                  </a:cubicBezTo>
                  <a:cubicBezTo>
                    <a:pt x="545229" y="555139"/>
                    <a:pt x="640006" y="460361"/>
                    <a:pt x="640007" y="343445"/>
                  </a:cubicBezTo>
                  <a:cubicBezTo>
                    <a:pt x="640006" y="226531"/>
                    <a:pt x="545229" y="131753"/>
                    <a:pt x="428313" y="131753"/>
                  </a:cubicBezTo>
                  <a:close/>
                  <a:moveTo>
                    <a:pt x="126654" y="0"/>
                  </a:moveTo>
                  <a:lnTo>
                    <a:pt x="633255" y="0"/>
                  </a:lnTo>
                  <a:cubicBezTo>
                    <a:pt x="703204" y="0"/>
                    <a:pt x="759909" y="56705"/>
                    <a:pt x="759909" y="126654"/>
                  </a:cubicBezTo>
                  <a:lnTo>
                    <a:pt x="759909" y="656459"/>
                  </a:lnTo>
                  <a:cubicBezTo>
                    <a:pt x="759909" y="726408"/>
                    <a:pt x="703204" y="783113"/>
                    <a:pt x="633255" y="783113"/>
                  </a:cubicBezTo>
                  <a:lnTo>
                    <a:pt x="126654" y="783113"/>
                  </a:lnTo>
                  <a:cubicBezTo>
                    <a:pt x="56705" y="783113"/>
                    <a:pt x="0" y="726408"/>
                    <a:pt x="0" y="656459"/>
                  </a:cubicBezTo>
                  <a:lnTo>
                    <a:pt x="0" y="126654"/>
                  </a:lnTo>
                  <a:cubicBezTo>
                    <a:pt x="0" y="56705"/>
                    <a:pt x="56705" y="0"/>
                    <a:pt x="126654" y="0"/>
                  </a:cubicBez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defTabSz="914099" fontAlgn="base">
                <a:spcBef>
                  <a:spcPct val="0"/>
                </a:spcBef>
                <a:spcAft>
                  <a:spcPct val="0"/>
                </a:spcAft>
              </a:pPr>
              <a:endParaRPr lang="en-US" sz="1000" spc="-50" dirty="0">
                <a:solidFill>
                  <a:schemeClr val="tx1"/>
                </a:solidFill>
                <a:ea typeface="Segoe UI" pitchFamily="34" charset="0"/>
                <a:cs typeface="Segoe UI" pitchFamily="34" charset="0"/>
              </a:endParaRPr>
            </a:p>
          </p:txBody>
        </p:sp>
      </p:grpSp>
      <p:grpSp>
        <p:nvGrpSpPr>
          <p:cNvPr id="44" name="Group 43"/>
          <p:cNvGrpSpPr/>
          <p:nvPr/>
        </p:nvGrpSpPr>
        <p:grpSpPr>
          <a:xfrm>
            <a:off x="7106434" y="4468675"/>
            <a:ext cx="934959" cy="729049"/>
            <a:chOff x="1822857" y="2464452"/>
            <a:chExt cx="691781" cy="691781"/>
          </a:xfrm>
        </p:grpSpPr>
        <p:sp>
          <p:nvSpPr>
            <p:cNvPr id="45" name="Rectangle 44"/>
            <p:cNvSpPr/>
            <p:nvPr>
              <p:custDataLst>
                <p:tags r:id="rId2"/>
              </p:custDataLst>
            </p:nvPr>
          </p:nvSpPr>
          <p:spPr bwMode="auto">
            <a:xfrm>
              <a:off x="1822857" y="2464452"/>
              <a:ext cx="691781" cy="69178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45720" rIns="68580" bIns="45720" numCol="1" spcCol="0" rtlCol="0" fromWordArt="0" anchor="b" anchorCtr="0" forceAA="0" compatLnSpc="1">
              <a:prstTxWarp prst="textNoShape">
                <a:avLst/>
              </a:prstTxWarp>
              <a:noAutofit/>
            </a:bodyPr>
            <a:lstStyle/>
            <a:p>
              <a:pPr algn="ctr" defTabSz="932472">
                <a:lnSpc>
                  <a:spcPct val="90000"/>
                </a:lnSpc>
              </a:pPr>
              <a:r>
                <a:rPr lang="en-US" sz="1000" dirty="0">
                  <a:ln>
                    <a:solidFill>
                      <a:schemeClr val="bg1">
                        <a:alpha val="0"/>
                      </a:schemeClr>
                    </a:solidFill>
                  </a:ln>
                  <a:solidFill>
                    <a:schemeClr val="tx1"/>
                  </a:solidFill>
                </a:rPr>
                <a:t>Social</a:t>
              </a:r>
              <a:endParaRPr lang="en-US" sz="1000" dirty="0">
                <a:solidFill>
                  <a:schemeClr val="tx1"/>
                </a:solidFill>
                <a:ea typeface="Segoe UI" pitchFamily="34" charset="0"/>
                <a:cs typeface="Segoe UI" pitchFamily="34" charset="0"/>
              </a:endParaRPr>
            </a:p>
          </p:txBody>
        </p:sp>
        <p:sp>
          <p:nvSpPr>
            <p:cNvPr id="46" name="Freeform 5"/>
            <p:cNvSpPr>
              <a:spLocks noEditPoints="1"/>
            </p:cNvSpPr>
            <p:nvPr/>
          </p:nvSpPr>
          <p:spPr bwMode="auto">
            <a:xfrm>
              <a:off x="2039038" y="2574721"/>
              <a:ext cx="259418" cy="217623"/>
            </a:xfrm>
            <a:custGeom>
              <a:avLst/>
              <a:gdLst>
                <a:gd name="T0" fmla="*/ 290 w 360"/>
                <a:gd name="T1" fmla="*/ 23 h 302"/>
                <a:gd name="T2" fmla="*/ 265 w 360"/>
                <a:gd name="T3" fmla="*/ 6 h 302"/>
                <a:gd name="T4" fmla="*/ 226 w 360"/>
                <a:gd name="T5" fmla="*/ 2 h 302"/>
                <a:gd name="T6" fmla="*/ 188 w 360"/>
                <a:gd name="T7" fmla="*/ 25 h 302"/>
                <a:gd name="T8" fmla="*/ 148 w 360"/>
                <a:gd name="T9" fmla="*/ 78 h 302"/>
                <a:gd name="T10" fmla="*/ 104 w 360"/>
                <a:gd name="T11" fmla="*/ 122 h 302"/>
                <a:gd name="T12" fmla="*/ 58 w 360"/>
                <a:gd name="T13" fmla="*/ 147 h 302"/>
                <a:gd name="T14" fmla="*/ 12 w 360"/>
                <a:gd name="T15" fmla="*/ 149 h 302"/>
                <a:gd name="T16" fmla="*/ 2 w 360"/>
                <a:gd name="T17" fmla="*/ 151 h 302"/>
                <a:gd name="T18" fmla="*/ 19 w 360"/>
                <a:gd name="T19" fmla="*/ 176 h 302"/>
                <a:gd name="T20" fmla="*/ 52 w 360"/>
                <a:gd name="T21" fmla="*/ 209 h 302"/>
                <a:gd name="T22" fmla="*/ 106 w 360"/>
                <a:gd name="T23" fmla="*/ 233 h 302"/>
                <a:gd name="T24" fmla="*/ 138 w 360"/>
                <a:gd name="T25" fmla="*/ 237 h 302"/>
                <a:gd name="T26" fmla="*/ 140 w 360"/>
                <a:gd name="T27" fmla="*/ 258 h 302"/>
                <a:gd name="T28" fmla="*/ 140 w 360"/>
                <a:gd name="T29" fmla="*/ 276 h 302"/>
                <a:gd name="T30" fmla="*/ 140 w 360"/>
                <a:gd name="T31" fmla="*/ 283 h 302"/>
                <a:gd name="T32" fmla="*/ 127 w 360"/>
                <a:gd name="T33" fmla="*/ 285 h 302"/>
                <a:gd name="T34" fmla="*/ 111 w 360"/>
                <a:gd name="T35" fmla="*/ 293 h 302"/>
                <a:gd name="T36" fmla="*/ 115 w 360"/>
                <a:gd name="T37" fmla="*/ 300 h 302"/>
                <a:gd name="T38" fmla="*/ 127 w 360"/>
                <a:gd name="T39" fmla="*/ 299 h 302"/>
                <a:gd name="T40" fmla="*/ 163 w 360"/>
                <a:gd name="T41" fmla="*/ 297 h 302"/>
                <a:gd name="T42" fmla="*/ 190 w 360"/>
                <a:gd name="T43" fmla="*/ 300 h 302"/>
                <a:gd name="T44" fmla="*/ 196 w 360"/>
                <a:gd name="T45" fmla="*/ 297 h 302"/>
                <a:gd name="T46" fmla="*/ 217 w 360"/>
                <a:gd name="T47" fmla="*/ 300 h 302"/>
                <a:gd name="T48" fmla="*/ 222 w 360"/>
                <a:gd name="T49" fmla="*/ 297 h 302"/>
                <a:gd name="T50" fmla="*/ 219 w 360"/>
                <a:gd name="T51" fmla="*/ 289 h 302"/>
                <a:gd name="T52" fmla="*/ 180 w 360"/>
                <a:gd name="T53" fmla="*/ 283 h 302"/>
                <a:gd name="T54" fmla="*/ 180 w 360"/>
                <a:gd name="T55" fmla="*/ 253 h 302"/>
                <a:gd name="T56" fmla="*/ 180 w 360"/>
                <a:gd name="T57" fmla="*/ 237 h 302"/>
                <a:gd name="T58" fmla="*/ 180 w 360"/>
                <a:gd name="T59" fmla="*/ 232 h 302"/>
                <a:gd name="T60" fmla="*/ 215 w 360"/>
                <a:gd name="T61" fmla="*/ 216 h 302"/>
                <a:gd name="T62" fmla="*/ 251 w 360"/>
                <a:gd name="T63" fmla="*/ 188 h 302"/>
                <a:gd name="T64" fmla="*/ 276 w 360"/>
                <a:gd name="T65" fmla="*/ 149 h 302"/>
                <a:gd name="T66" fmla="*/ 299 w 360"/>
                <a:gd name="T67" fmla="*/ 94 h 302"/>
                <a:gd name="T68" fmla="*/ 334 w 360"/>
                <a:gd name="T69" fmla="*/ 78 h 302"/>
                <a:gd name="T70" fmla="*/ 353 w 360"/>
                <a:gd name="T71" fmla="*/ 71 h 302"/>
                <a:gd name="T72" fmla="*/ 360 w 360"/>
                <a:gd name="T73" fmla="*/ 69 h 302"/>
                <a:gd name="T74" fmla="*/ 299 w 360"/>
                <a:gd name="T75" fmla="*/ 44 h 302"/>
                <a:gd name="T76" fmla="*/ 167 w 360"/>
                <a:gd name="T77" fmla="*/ 283 h 302"/>
                <a:gd name="T78" fmla="*/ 153 w 360"/>
                <a:gd name="T79" fmla="*/ 283 h 302"/>
                <a:gd name="T80" fmla="*/ 152 w 360"/>
                <a:gd name="T81" fmla="*/ 262 h 302"/>
                <a:gd name="T82" fmla="*/ 152 w 360"/>
                <a:gd name="T83" fmla="*/ 245 h 302"/>
                <a:gd name="T84" fmla="*/ 152 w 360"/>
                <a:gd name="T85" fmla="*/ 237 h 302"/>
                <a:gd name="T86" fmla="*/ 167 w 360"/>
                <a:gd name="T87" fmla="*/ 233 h 302"/>
                <a:gd name="T88" fmla="*/ 247 w 360"/>
                <a:gd name="T89" fmla="*/ 67 h 302"/>
                <a:gd name="T90" fmla="*/ 236 w 360"/>
                <a:gd name="T91" fmla="*/ 55 h 302"/>
                <a:gd name="T92" fmla="*/ 240 w 360"/>
                <a:gd name="T93" fmla="*/ 44 h 302"/>
                <a:gd name="T94" fmla="*/ 251 w 360"/>
                <a:gd name="T95" fmla="*/ 40 h 302"/>
                <a:gd name="T96" fmla="*/ 263 w 360"/>
                <a:gd name="T97" fmla="*/ 52 h 302"/>
                <a:gd name="T98" fmla="*/ 259 w 360"/>
                <a:gd name="T99" fmla="*/ 63 h 302"/>
                <a:gd name="T100" fmla="*/ 249 w 360"/>
                <a:gd name="T101" fmla="*/ 67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60" h="302">
                  <a:moveTo>
                    <a:pt x="299" y="44"/>
                  </a:moveTo>
                  <a:lnTo>
                    <a:pt x="297" y="36"/>
                  </a:lnTo>
                  <a:lnTo>
                    <a:pt x="293" y="31"/>
                  </a:lnTo>
                  <a:lnTo>
                    <a:pt x="290" y="23"/>
                  </a:lnTo>
                  <a:lnTo>
                    <a:pt x="284" y="19"/>
                  </a:lnTo>
                  <a:lnTo>
                    <a:pt x="278" y="13"/>
                  </a:lnTo>
                  <a:lnTo>
                    <a:pt x="272" y="10"/>
                  </a:lnTo>
                  <a:lnTo>
                    <a:pt x="265" y="6"/>
                  </a:lnTo>
                  <a:lnTo>
                    <a:pt x="257" y="4"/>
                  </a:lnTo>
                  <a:lnTo>
                    <a:pt x="247" y="2"/>
                  </a:lnTo>
                  <a:lnTo>
                    <a:pt x="236" y="0"/>
                  </a:lnTo>
                  <a:lnTo>
                    <a:pt x="226" y="2"/>
                  </a:lnTo>
                  <a:lnTo>
                    <a:pt x="215" y="6"/>
                  </a:lnTo>
                  <a:lnTo>
                    <a:pt x="205" y="10"/>
                  </a:lnTo>
                  <a:lnTo>
                    <a:pt x="196" y="15"/>
                  </a:lnTo>
                  <a:lnTo>
                    <a:pt x="188" y="25"/>
                  </a:lnTo>
                  <a:lnTo>
                    <a:pt x="180" y="34"/>
                  </a:lnTo>
                  <a:lnTo>
                    <a:pt x="169" y="50"/>
                  </a:lnTo>
                  <a:lnTo>
                    <a:pt x="159" y="63"/>
                  </a:lnTo>
                  <a:lnTo>
                    <a:pt x="148" y="78"/>
                  </a:lnTo>
                  <a:lnTo>
                    <a:pt x="138" y="90"/>
                  </a:lnTo>
                  <a:lnTo>
                    <a:pt x="127" y="101"/>
                  </a:lnTo>
                  <a:lnTo>
                    <a:pt x="115" y="113"/>
                  </a:lnTo>
                  <a:lnTo>
                    <a:pt x="104" y="122"/>
                  </a:lnTo>
                  <a:lnTo>
                    <a:pt x="92" y="130"/>
                  </a:lnTo>
                  <a:lnTo>
                    <a:pt x="81" y="138"/>
                  </a:lnTo>
                  <a:lnTo>
                    <a:pt x="69" y="144"/>
                  </a:lnTo>
                  <a:lnTo>
                    <a:pt x="58" y="147"/>
                  </a:lnTo>
                  <a:lnTo>
                    <a:pt x="46" y="151"/>
                  </a:lnTo>
                  <a:lnTo>
                    <a:pt x="35" y="151"/>
                  </a:lnTo>
                  <a:lnTo>
                    <a:pt x="23" y="151"/>
                  </a:lnTo>
                  <a:lnTo>
                    <a:pt x="12" y="149"/>
                  </a:lnTo>
                  <a:lnTo>
                    <a:pt x="0" y="147"/>
                  </a:lnTo>
                  <a:lnTo>
                    <a:pt x="0" y="147"/>
                  </a:lnTo>
                  <a:lnTo>
                    <a:pt x="0" y="147"/>
                  </a:lnTo>
                  <a:lnTo>
                    <a:pt x="2" y="151"/>
                  </a:lnTo>
                  <a:lnTo>
                    <a:pt x="4" y="155"/>
                  </a:lnTo>
                  <a:lnTo>
                    <a:pt x="8" y="161"/>
                  </a:lnTo>
                  <a:lnTo>
                    <a:pt x="14" y="168"/>
                  </a:lnTo>
                  <a:lnTo>
                    <a:pt x="19" y="176"/>
                  </a:lnTo>
                  <a:lnTo>
                    <a:pt x="25" y="184"/>
                  </a:lnTo>
                  <a:lnTo>
                    <a:pt x="33" y="191"/>
                  </a:lnTo>
                  <a:lnTo>
                    <a:pt x="42" y="201"/>
                  </a:lnTo>
                  <a:lnTo>
                    <a:pt x="52" y="209"/>
                  </a:lnTo>
                  <a:lnTo>
                    <a:pt x="63" y="216"/>
                  </a:lnTo>
                  <a:lnTo>
                    <a:pt x="77" y="222"/>
                  </a:lnTo>
                  <a:lnTo>
                    <a:pt x="90" y="228"/>
                  </a:lnTo>
                  <a:lnTo>
                    <a:pt x="106" y="233"/>
                  </a:lnTo>
                  <a:lnTo>
                    <a:pt x="121" y="235"/>
                  </a:lnTo>
                  <a:lnTo>
                    <a:pt x="129" y="237"/>
                  </a:lnTo>
                  <a:lnTo>
                    <a:pt x="138" y="237"/>
                  </a:lnTo>
                  <a:lnTo>
                    <a:pt x="138" y="237"/>
                  </a:lnTo>
                  <a:lnTo>
                    <a:pt x="140" y="237"/>
                  </a:lnTo>
                  <a:lnTo>
                    <a:pt x="140" y="245"/>
                  </a:lnTo>
                  <a:lnTo>
                    <a:pt x="140" y="253"/>
                  </a:lnTo>
                  <a:lnTo>
                    <a:pt x="140" y="258"/>
                  </a:lnTo>
                  <a:lnTo>
                    <a:pt x="140" y="264"/>
                  </a:lnTo>
                  <a:lnTo>
                    <a:pt x="140" y="268"/>
                  </a:lnTo>
                  <a:lnTo>
                    <a:pt x="140" y="272"/>
                  </a:lnTo>
                  <a:lnTo>
                    <a:pt x="140" y="276"/>
                  </a:lnTo>
                  <a:lnTo>
                    <a:pt x="140" y="277"/>
                  </a:lnTo>
                  <a:lnTo>
                    <a:pt x="140" y="279"/>
                  </a:lnTo>
                  <a:lnTo>
                    <a:pt x="140" y="281"/>
                  </a:lnTo>
                  <a:lnTo>
                    <a:pt x="140" y="283"/>
                  </a:lnTo>
                  <a:lnTo>
                    <a:pt x="140" y="283"/>
                  </a:lnTo>
                  <a:lnTo>
                    <a:pt x="140" y="283"/>
                  </a:lnTo>
                  <a:lnTo>
                    <a:pt x="132" y="285"/>
                  </a:lnTo>
                  <a:lnTo>
                    <a:pt x="127" y="285"/>
                  </a:lnTo>
                  <a:lnTo>
                    <a:pt x="121" y="287"/>
                  </a:lnTo>
                  <a:lnTo>
                    <a:pt x="115" y="289"/>
                  </a:lnTo>
                  <a:lnTo>
                    <a:pt x="113" y="289"/>
                  </a:lnTo>
                  <a:lnTo>
                    <a:pt x="111" y="293"/>
                  </a:lnTo>
                  <a:lnTo>
                    <a:pt x="111" y="295"/>
                  </a:lnTo>
                  <a:lnTo>
                    <a:pt x="111" y="297"/>
                  </a:lnTo>
                  <a:lnTo>
                    <a:pt x="113" y="299"/>
                  </a:lnTo>
                  <a:lnTo>
                    <a:pt x="115" y="300"/>
                  </a:lnTo>
                  <a:lnTo>
                    <a:pt x="117" y="302"/>
                  </a:lnTo>
                  <a:lnTo>
                    <a:pt x="119" y="300"/>
                  </a:lnTo>
                  <a:lnTo>
                    <a:pt x="119" y="300"/>
                  </a:lnTo>
                  <a:lnTo>
                    <a:pt x="127" y="299"/>
                  </a:lnTo>
                  <a:lnTo>
                    <a:pt x="134" y="297"/>
                  </a:lnTo>
                  <a:lnTo>
                    <a:pt x="144" y="297"/>
                  </a:lnTo>
                  <a:lnTo>
                    <a:pt x="153" y="297"/>
                  </a:lnTo>
                  <a:lnTo>
                    <a:pt x="163" y="297"/>
                  </a:lnTo>
                  <a:lnTo>
                    <a:pt x="173" y="297"/>
                  </a:lnTo>
                  <a:lnTo>
                    <a:pt x="180" y="299"/>
                  </a:lnTo>
                  <a:lnTo>
                    <a:pt x="188" y="300"/>
                  </a:lnTo>
                  <a:lnTo>
                    <a:pt x="190" y="300"/>
                  </a:lnTo>
                  <a:lnTo>
                    <a:pt x="192" y="300"/>
                  </a:lnTo>
                  <a:lnTo>
                    <a:pt x="194" y="300"/>
                  </a:lnTo>
                  <a:lnTo>
                    <a:pt x="194" y="299"/>
                  </a:lnTo>
                  <a:lnTo>
                    <a:pt x="196" y="297"/>
                  </a:lnTo>
                  <a:lnTo>
                    <a:pt x="205" y="299"/>
                  </a:lnTo>
                  <a:lnTo>
                    <a:pt x="209" y="300"/>
                  </a:lnTo>
                  <a:lnTo>
                    <a:pt x="213" y="300"/>
                  </a:lnTo>
                  <a:lnTo>
                    <a:pt x="217" y="300"/>
                  </a:lnTo>
                  <a:lnTo>
                    <a:pt x="219" y="300"/>
                  </a:lnTo>
                  <a:lnTo>
                    <a:pt x="221" y="300"/>
                  </a:lnTo>
                  <a:lnTo>
                    <a:pt x="221" y="299"/>
                  </a:lnTo>
                  <a:lnTo>
                    <a:pt x="222" y="297"/>
                  </a:lnTo>
                  <a:lnTo>
                    <a:pt x="222" y="295"/>
                  </a:lnTo>
                  <a:lnTo>
                    <a:pt x="222" y="293"/>
                  </a:lnTo>
                  <a:lnTo>
                    <a:pt x="221" y="289"/>
                  </a:lnTo>
                  <a:lnTo>
                    <a:pt x="219" y="289"/>
                  </a:lnTo>
                  <a:lnTo>
                    <a:pt x="209" y="287"/>
                  </a:lnTo>
                  <a:lnTo>
                    <a:pt x="201" y="285"/>
                  </a:lnTo>
                  <a:lnTo>
                    <a:pt x="192" y="283"/>
                  </a:lnTo>
                  <a:lnTo>
                    <a:pt x="180" y="283"/>
                  </a:lnTo>
                  <a:lnTo>
                    <a:pt x="180" y="274"/>
                  </a:lnTo>
                  <a:lnTo>
                    <a:pt x="180" y="266"/>
                  </a:lnTo>
                  <a:lnTo>
                    <a:pt x="180" y="258"/>
                  </a:lnTo>
                  <a:lnTo>
                    <a:pt x="180" y="253"/>
                  </a:lnTo>
                  <a:lnTo>
                    <a:pt x="180" y="249"/>
                  </a:lnTo>
                  <a:lnTo>
                    <a:pt x="180" y="243"/>
                  </a:lnTo>
                  <a:lnTo>
                    <a:pt x="180" y="239"/>
                  </a:lnTo>
                  <a:lnTo>
                    <a:pt x="180" y="237"/>
                  </a:lnTo>
                  <a:lnTo>
                    <a:pt x="180" y="235"/>
                  </a:lnTo>
                  <a:lnTo>
                    <a:pt x="180" y="233"/>
                  </a:lnTo>
                  <a:lnTo>
                    <a:pt x="180" y="232"/>
                  </a:lnTo>
                  <a:lnTo>
                    <a:pt x="180" y="232"/>
                  </a:lnTo>
                  <a:lnTo>
                    <a:pt x="180" y="232"/>
                  </a:lnTo>
                  <a:lnTo>
                    <a:pt x="192" y="228"/>
                  </a:lnTo>
                  <a:lnTo>
                    <a:pt x="203" y="222"/>
                  </a:lnTo>
                  <a:lnTo>
                    <a:pt x="215" y="216"/>
                  </a:lnTo>
                  <a:lnTo>
                    <a:pt x="224" y="210"/>
                  </a:lnTo>
                  <a:lnTo>
                    <a:pt x="234" y="205"/>
                  </a:lnTo>
                  <a:lnTo>
                    <a:pt x="242" y="197"/>
                  </a:lnTo>
                  <a:lnTo>
                    <a:pt x="251" y="188"/>
                  </a:lnTo>
                  <a:lnTo>
                    <a:pt x="257" y="180"/>
                  </a:lnTo>
                  <a:lnTo>
                    <a:pt x="265" y="170"/>
                  </a:lnTo>
                  <a:lnTo>
                    <a:pt x="270" y="161"/>
                  </a:lnTo>
                  <a:lnTo>
                    <a:pt x="276" y="149"/>
                  </a:lnTo>
                  <a:lnTo>
                    <a:pt x="282" y="138"/>
                  </a:lnTo>
                  <a:lnTo>
                    <a:pt x="288" y="128"/>
                  </a:lnTo>
                  <a:lnTo>
                    <a:pt x="291" y="117"/>
                  </a:lnTo>
                  <a:lnTo>
                    <a:pt x="299" y="94"/>
                  </a:lnTo>
                  <a:lnTo>
                    <a:pt x="309" y="88"/>
                  </a:lnTo>
                  <a:lnTo>
                    <a:pt x="318" y="84"/>
                  </a:lnTo>
                  <a:lnTo>
                    <a:pt x="328" y="80"/>
                  </a:lnTo>
                  <a:lnTo>
                    <a:pt x="334" y="78"/>
                  </a:lnTo>
                  <a:lnTo>
                    <a:pt x="341" y="77"/>
                  </a:lnTo>
                  <a:lnTo>
                    <a:pt x="345" y="75"/>
                  </a:lnTo>
                  <a:lnTo>
                    <a:pt x="349" y="73"/>
                  </a:lnTo>
                  <a:lnTo>
                    <a:pt x="353" y="71"/>
                  </a:lnTo>
                  <a:lnTo>
                    <a:pt x="355" y="69"/>
                  </a:lnTo>
                  <a:lnTo>
                    <a:pt x="357" y="69"/>
                  </a:lnTo>
                  <a:lnTo>
                    <a:pt x="359" y="69"/>
                  </a:lnTo>
                  <a:lnTo>
                    <a:pt x="360" y="69"/>
                  </a:lnTo>
                  <a:lnTo>
                    <a:pt x="360" y="67"/>
                  </a:lnTo>
                  <a:lnTo>
                    <a:pt x="360" y="67"/>
                  </a:lnTo>
                  <a:lnTo>
                    <a:pt x="299" y="44"/>
                  </a:lnTo>
                  <a:lnTo>
                    <a:pt x="299" y="44"/>
                  </a:lnTo>
                  <a:close/>
                  <a:moveTo>
                    <a:pt x="167" y="283"/>
                  </a:moveTo>
                  <a:lnTo>
                    <a:pt x="167" y="283"/>
                  </a:lnTo>
                  <a:lnTo>
                    <a:pt x="167" y="283"/>
                  </a:lnTo>
                  <a:lnTo>
                    <a:pt x="167" y="283"/>
                  </a:lnTo>
                  <a:lnTo>
                    <a:pt x="163" y="283"/>
                  </a:lnTo>
                  <a:lnTo>
                    <a:pt x="159" y="283"/>
                  </a:lnTo>
                  <a:lnTo>
                    <a:pt x="153" y="283"/>
                  </a:lnTo>
                  <a:lnTo>
                    <a:pt x="153" y="283"/>
                  </a:lnTo>
                  <a:lnTo>
                    <a:pt x="152" y="283"/>
                  </a:lnTo>
                  <a:lnTo>
                    <a:pt x="152" y="276"/>
                  </a:lnTo>
                  <a:lnTo>
                    <a:pt x="152" y="268"/>
                  </a:lnTo>
                  <a:lnTo>
                    <a:pt x="152" y="262"/>
                  </a:lnTo>
                  <a:lnTo>
                    <a:pt x="152" y="256"/>
                  </a:lnTo>
                  <a:lnTo>
                    <a:pt x="152" y="251"/>
                  </a:lnTo>
                  <a:lnTo>
                    <a:pt x="152" y="247"/>
                  </a:lnTo>
                  <a:lnTo>
                    <a:pt x="152" y="245"/>
                  </a:lnTo>
                  <a:lnTo>
                    <a:pt x="152" y="241"/>
                  </a:lnTo>
                  <a:lnTo>
                    <a:pt x="152" y="239"/>
                  </a:lnTo>
                  <a:lnTo>
                    <a:pt x="152" y="239"/>
                  </a:lnTo>
                  <a:lnTo>
                    <a:pt x="152" y="237"/>
                  </a:lnTo>
                  <a:lnTo>
                    <a:pt x="152" y="235"/>
                  </a:lnTo>
                  <a:lnTo>
                    <a:pt x="152" y="235"/>
                  </a:lnTo>
                  <a:lnTo>
                    <a:pt x="159" y="235"/>
                  </a:lnTo>
                  <a:lnTo>
                    <a:pt x="167" y="233"/>
                  </a:lnTo>
                  <a:lnTo>
                    <a:pt x="167" y="283"/>
                  </a:lnTo>
                  <a:lnTo>
                    <a:pt x="167" y="283"/>
                  </a:lnTo>
                  <a:close/>
                  <a:moveTo>
                    <a:pt x="249" y="67"/>
                  </a:moveTo>
                  <a:lnTo>
                    <a:pt x="247" y="67"/>
                  </a:lnTo>
                  <a:lnTo>
                    <a:pt x="244" y="65"/>
                  </a:lnTo>
                  <a:lnTo>
                    <a:pt x="240" y="63"/>
                  </a:lnTo>
                  <a:lnTo>
                    <a:pt x="238" y="59"/>
                  </a:lnTo>
                  <a:lnTo>
                    <a:pt x="236" y="55"/>
                  </a:lnTo>
                  <a:lnTo>
                    <a:pt x="236" y="54"/>
                  </a:lnTo>
                  <a:lnTo>
                    <a:pt x="236" y="52"/>
                  </a:lnTo>
                  <a:lnTo>
                    <a:pt x="238" y="50"/>
                  </a:lnTo>
                  <a:lnTo>
                    <a:pt x="240" y="44"/>
                  </a:lnTo>
                  <a:lnTo>
                    <a:pt x="244" y="42"/>
                  </a:lnTo>
                  <a:lnTo>
                    <a:pt x="247" y="40"/>
                  </a:lnTo>
                  <a:lnTo>
                    <a:pt x="249" y="40"/>
                  </a:lnTo>
                  <a:lnTo>
                    <a:pt x="251" y="40"/>
                  </a:lnTo>
                  <a:lnTo>
                    <a:pt x="253" y="42"/>
                  </a:lnTo>
                  <a:lnTo>
                    <a:pt x="259" y="44"/>
                  </a:lnTo>
                  <a:lnTo>
                    <a:pt x="261" y="50"/>
                  </a:lnTo>
                  <a:lnTo>
                    <a:pt x="263" y="52"/>
                  </a:lnTo>
                  <a:lnTo>
                    <a:pt x="263" y="54"/>
                  </a:lnTo>
                  <a:lnTo>
                    <a:pt x="263" y="55"/>
                  </a:lnTo>
                  <a:lnTo>
                    <a:pt x="261" y="59"/>
                  </a:lnTo>
                  <a:lnTo>
                    <a:pt x="259" y="63"/>
                  </a:lnTo>
                  <a:lnTo>
                    <a:pt x="253" y="65"/>
                  </a:lnTo>
                  <a:lnTo>
                    <a:pt x="251" y="67"/>
                  </a:lnTo>
                  <a:lnTo>
                    <a:pt x="249" y="67"/>
                  </a:lnTo>
                  <a:lnTo>
                    <a:pt x="249" y="67"/>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algn="ctr"/>
              <a:endParaRPr lang="en-US" sz="1000" dirty="0"/>
            </a:p>
          </p:txBody>
        </p:sp>
      </p:grpSp>
      <p:grpSp>
        <p:nvGrpSpPr>
          <p:cNvPr id="47" name="Group 46"/>
          <p:cNvGrpSpPr/>
          <p:nvPr/>
        </p:nvGrpSpPr>
        <p:grpSpPr>
          <a:xfrm>
            <a:off x="5694430" y="5460594"/>
            <a:ext cx="893310" cy="639638"/>
            <a:chOff x="2468382" y="3187789"/>
            <a:chExt cx="874202" cy="691781"/>
          </a:xfrm>
        </p:grpSpPr>
        <p:sp>
          <p:nvSpPr>
            <p:cNvPr id="48" name="Rectangle 47"/>
            <p:cNvSpPr/>
            <p:nvPr>
              <p:custDataLst>
                <p:tags r:id="rId1"/>
              </p:custDataLst>
            </p:nvPr>
          </p:nvSpPr>
          <p:spPr bwMode="auto">
            <a:xfrm>
              <a:off x="2468382" y="3187789"/>
              <a:ext cx="874202" cy="69178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45720" rIns="68580" bIns="45720" numCol="1" spcCol="0" rtlCol="0" fromWordArt="0" anchor="b" anchorCtr="0" forceAA="0" compatLnSpc="1">
              <a:prstTxWarp prst="textNoShape">
                <a:avLst/>
              </a:prstTxWarp>
              <a:noAutofit/>
            </a:bodyPr>
            <a:lstStyle/>
            <a:p>
              <a:pPr algn="ctr" defTabSz="932472">
                <a:lnSpc>
                  <a:spcPct val="90000"/>
                </a:lnSpc>
              </a:pPr>
              <a:r>
                <a:rPr lang="en-US" sz="1000" dirty="0">
                  <a:ln>
                    <a:solidFill>
                      <a:schemeClr val="bg1">
                        <a:alpha val="0"/>
                      </a:schemeClr>
                    </a:solidFill>
                  </a:ln>
                  <a:solidFill>
                    <a:schemeClr val="tx1"/>
                  </a:solidFill>
                </a:rPr>
                <a:t>Clickstream</a:t>
              </a:r>
              <a:endParaRPr lang="en-US" sz="1000" dirty="0">
                <a:solidFill>
                  <a:schemeClr val="tx1"/>
                </a:solidFill>
                <a:ea typeface="Segoe UI" pitchFamily="34" charset="0"/>
                <a:cs typeface="Segoe UI" pitchFamily="34" charset="0"/>
              </a:endParaRPr>
            </a:p>
          </p:txBody>
        </p:sp>
        <p:sp>
          <p:nvSpPr>
            <p:cNvPr id="49" name="Freeform 48"/>
            <p:cNvSpPr>
              <a:spLocks noChangeAspect="1"/>
            </p:cNvSpPr>
            <p:nvPr/>
          </p:nvSpPr>
          <p:spPr bwMode="auto">
            <a:xfrm>
              <a:off x="2660855" y="3280506"/>
              <a:ext cx="301998" cy="304393"/>
            </a:xfrm>
            <a:custGeom>
              <a:avLst/>
              <a:gdLst>
                <a:gd name="connsiteX0" fmla="*/ 938222 w 2721566"/>
                <a:gd name="connsiteY0" fmla="*/ 1618192 h 2743150"/>
                <a:gd name="connsiteX1" fmla="*/ 920717 w 2721566"/>
                <a:gd name="connsiteY1" fmla="*/ 1627693 h 2743150"/>
                <a:gd name="connsiteX2" fmla="*/ 857026 w 2721566"/>
                <a:gd name="connsiteY2" fmla="*/ 1647464 h 2743150"/>
                <a:gd name="connsiteX3" fmla="*/ 847920 w 2721566"/>
                <a:gd name="connsiteY3" fmla="*/ 1648382 h 2743150"/>
                <a:gd name="connsiteX4" fmla="*/ 837756 w 2721566"/>
                <a:gd name="connsiteY4" fmla="*/ 1715659 h 2743150"/>
                <a:gd name="connsiteX5" fmla="*/ 832560 w 2721566"/>
                <a:gd name="connsiteY5" fmla="*/ 1819620 h 2743150"/>
                <a:gd name="connsiteX6" fmla="*/ 1127348 w 2721566"/>
                <a:gd name="connsiteY6" fmla="*/ 2538605 h 2743150"/>
                <a:gd name="connsiteX7" fmla="*/ 1128948 w 2721566"/>
                <a:gd name="connsiteY7" fmla="*/ 2540074 h 2743150"/>
                <a:gd name="connsiteX8" fmla="*/ 1240036 w 2721566"/>
                <a:gd name="connsiteY8" fmla="*/ 2557183 h 2743150"/>
                <a:gd name="connsiteX9" fmla="*/ 1360783 w 2721566"/>
                <a:gd name="connsiteY9" fmla="*/ 2563336 h 2743150"/>
                <a:gd name="connsiteX10" fmla="*/ 2448946 w 2721566"/>
                <a:gd name="connsiteY10" fmla="*/ 1835462 h 2743150"/>
                <a:gd name="connsiteX11" fmla="*/ 2454283 w 2721566"/>
                <a:gd name="connsiteY11" fmla="*/ 1820747 h 2743150"/>
                <a:gd name="connsiteX12" fmla="*/ 2454163 w 2721566"/>
                <a:gd name="connsiteY12" fmla="*/ 1820820 h 2743150"/>
                <a:gd name="connsiteX13" fmla="*/ 2315755 w 2721566"/>
                <a:gd name="connsiteY13" fmla="*/ 1885930 h 2743150"/>
                <a:gd name="connsiteX14" fmla="*/ 2314668 w 2721566"/>
                <a:gd name="connsiteY14" fmla="*/ 1896707 h 2743150"/>
                <a:gd name="connsiteX15" fmla="*/ 2121262 w 2721566"/>
                <a:gd name="connsiteY15" fmla="*/ 2054337 h 2743150"/>
                <a:gd name="connsiteX16" fmla="*/ 1981667 w 2721566"/>
                <a:gd name="connsiteY16" fmla="*/ 1996515 h 2743150"/>
                <a:gd name="connsiteX17" fmla="*/ 1964402 w 2721566"/>
                <a:gd name="connsiteY17" fmla="*/ 1970907 h 2743150"/>
                <a:gd name="connsiteX18" fmla="*/ 1833472 w 2721566"/>
                <a:gd name="connsiteY18" fmla="*/ 1979231 h 2743150"/>
                <a:gd name="connsiteX19" fmla="*/ 1005171 w 2721566"/>
                <a:gd name="connsiteY19" fmla="*/ 1679521 h 2743150"/>
                <a:gd name="connsiteX20" fmla="*/ 1275943 w 2721566"/>
                <a:gd name="connsiteY20" fmla="*/ 976747 h 2743150"/>
                <a:gd name="connsiteX21" fmla="*/ 1198822 w 2721566"/>
                <a:gd name="connsiteY21" fmla="*/ 1035009 h 2743150"/>
                <a:gd name="connsiteX22" fmla="*/ 1083955 w 2721566"/>
                <a:gd name="connsiteY22" fmla="*/ 1151055 h 2743150"/>
                <a:gd name="connsiteX23" fmla="*/ 1101284 w 2721566"/>
                <a:gd name="connsiteY23" fmla="*/ 1182982 h 2743150"/>
                <a:gd name="connsiteX24" fmla="*/ 1127948 w 2721566"/>
                <a:gd name="connsiteY24" fmla="*/ 1315054 h 2743150"/>
                <a:gd name="connsiteX25" fmla="*/ 1070000 w 2721566"/>
                <a:gd name="connsiteY25" fmla="*/ 1504762 h 2743150"/>
                <a:gd name="connsiteX26" fmla="*/ 1069531 w 2721566"/>
                <a:gd name="connsiteY26" fmla="*/ 1505330 h 2743150"/>
                <a:gd name="connsiteX27" fmla="*/ 1135763 w 2721566"/>
                <a:gd name="connsiteY27" fmla="*/ 1563925 h 2743150"/>
                <a:gd name="connsiteX28" fmla="*/ 1833472 w 2721566"/>
                <a:gd name="connsiteY28" fmla="*/ 1807163 h 2743150"/>
                <a:gd name="connsiteX29" fmla="*/ 1933016 w 2721566"/>
                <a:gd name="connsiteY29" fmla="*/ 1800511 h 2743150"/>
                <a:gd name="connsiteX30" fmla="*/ 1939359 w 2721566"/>
                <a:gd name="connsiteY30" fmla="*/ 1780077 h 2743150"/>
                <a:gd name="connsiteX31" fmla="*/ 2121262 w 2721566"/>
                <a:gd name="connsiteY31" fmla="*/ 1659503 h 2743150"/>
                <a:gd name="connsiteX32" fmla="*/ 2260857 w 2721566"/>
                <a:gd name="connsiteY32" fmla="*/ 1717325 h 2743150"/>
                <a:gd name="connsiteX33" fmla="*/ 2263606 w 2721566"/>
                <a:gd name="connsiteY33" fmla="*/ 1721402 h 2743150"/>
                <a:gd name="connsiteX34" fmla="*/ 2267011 w 2721566"/>
                <a:gd name="connsiteY34" fmla="*/ 1720229 h 2743150"/>
                <a:gd name="connsiteX35" fmla="*/ 2395987 w 2721566"/>
                <a:gd name="connsiteY35" fmla="*/ 1656069 h 2743150"/>
                <a:gd name="connsiteX36" fmla="*/ 2524667 w 2721566"/>
                <a:gd name="connsiteY36" fmla="*/ 1566083 h 2743150"/>
                <a:gd name="connsiteX37" fmla="*/ 2528847 w 2721566"/>
                <a:gd name="connsiteY37" fmla="*/ 1538444 h 2743150"/>
                <a:gd name="connsiteX38" fmla="*/ 2391754 w 2721566"/>
                <a:gd name="connsiteY38" fmla="*/ 1531467 h 2743150"/>
                <a:gd name="connsiteX39" fmla="*/ 2095342 w 2721566"/>
                <a:gd name="connsiteY39" fmla="*/ 1475341 h 2743150"/>
                <a:gd name="connsiteX40" fmla="*/ 1956122 w 2721566"/>
                <a:gd name="connsiteY40" fmla="*/ 1430037 h 2743150"/>
                <a:gd name="connsiteX41" fmla="*/ 1947455 w 2721566"/>
                <a:gd name="connsiteY41" fmla="*/ 1435880 h 2743150"/>
                <a:gd name="connsiteX42" fmla="*/ 1867644 w 2721566"/>
                <a:gd name="connsiteY42" fmla="*/ 1451993 h 2743150"/>
                <a:gd name="connsiteX43" fmla="*/ 1678717 w 2721566"/>
                <a:gd name="connsiteY43" fmla="*/ 1326764 h 2743150"/>
                <a:gd name="connsiteX44" fmla="*/ 1667734 w 2721566"/>
                <a:gd name="connsiteY44" fmla="*/ 1291381 h 2743150"/>
                <a:gd name="connsiteX45" fmla="*/ 1564981 w 2721566"/>
                <a:gd name="connsiteY45" fmla="*/ 1226519 h 2743150"/>
                <a:gd name="connsiteX46" fmla="*/ 1339681 w 2721566"/>
                <a:gd name="connsiteY46" fmla="*/ 1042541 h 2743150"/>
                <a:gd name="connsiteX47" fmla="*/ 1839031 w 2721566"/>
                <a:gd name="connsiteY47" fmla="*/ 802822 h 2743150"/>
                <a:gd name="connsiteX48" fmla="*/ 1539738 w 2721566"/>
                <a:gd name="connsiteY48" fmla="*/ 848536 h 2743150"/>
                <a:gd name="connsiteX49" fmla="*/ 1497492 w 2721566"/>
                <a:gd name="connsiteY49" fmla="*/ 864156 h 2743150"/>
                <a:gd name="connsiteX50" fmla="*/ 1530174 w 2721566"/>
                <a:gd name="connsiteY50" fmla="*/ 896941 h 2743150"/>
                <a:gd name="connsiteX51" fmla="*/ 1723667 w 2721566"/>
                <a:gd name="connsiteY51" fmla="*/ 1048242 h 2743150"/>
                <a:gd name="connsiteX52" fmla="*/ 1765091 w 2721566"/>
                <a:gd name="connsiteY52" fmla="*/ 1073360 h 2743150"/>
                <a:gd name="connsiteX53" fmla="*/ 1787834 w 2721566"/>
                <a:gd name="connsiteY53" fmla="*/ 1058026 h 2743150"/>
                <a:gd name="connsiteX54" fmla="*/ 1867644 w 2721566"/>
                <a:gd name="connsiteY54" fmla="*/ 1041913 h 2743150"/>
                <a:gd name="connsiteX55" fmla="*/ 2068519 w 2721566"/>
                <a:gd name="connsiteY55" fmla="*/ 1205631 h 2743150"/>
                <a:gd name="connsiteX56" fmla="*/ 2069865 w 2721566"/>
                <a:gd name="connsiteY56" fmla="*/ 1218984 h 2743150"/>
                <a:gd name="connsiteX57" fmla="*/ 2174899 w 2721566"/>
                <a:gd name="connsiteY57" fmla="*/ 1251806 h 2743150"/>
                <a:gd name="connsiteX58" fmla="*/ 2425742 w 2721566"/>
                <a:gd name="connsiteY58" fmla="*/ 1297108 h 2743150"/>
                <a:gd name="connsiteX59" fmla="*/ 2538295 w 2721566"/>
                <a:gd name="connsiteY59" fmla="*/ 1302486 h 2743150"/>
                <a:gd name="connsiteX60" fmla="*/ 2535655 w 2721566"/>
                <a:gd name="connsiteY60" fmla="*/ 1249725 h 2743150"/>
                <a:gd name="connsiteX61" fmla="*/ 2517759 w 2721566"/>
                <a:gd name="connsiteY61" fmla="*/ 1131394 h 2743150"/>
                <a:gd name="connsiteX62" fmla="*/ 2497854 w 2721566"/>
                <a:gd name="connsiteY62" fmla="*/ 1053274 h 2743150"/>
                <a:gd name="connsiteX63" fmla="*/ 2371258 w 2721566"/>
                <a:gd name="connsiteY63" fmla="*/ 956458 h 2743150"/>
                <a:gd name="connsiteX64" fmla="*/ 1839031 w 2721566"/>
                <a:gd name="connsiteY64" fmla="*/ 802822 h 2743150"/>
                <a:gd name="connsiteX65" fmla="*/ 540853 w 2721566"/>
                <a:gd name="connsiteY65" fmla="*/ 514986 h 2743150"/>
                <a:gd name="connsiteX66" fmla="*/ 525712 w 2721566"/>
                <a:gd name="connsiteY66" fmla="*/ 528873 h 2743150"/>
                <a:gd name="connsiteX67" fmla="*/ 179814 w 2721566"/>
                <a:gd name="connsiteY67" fmla="*/ 1371575 h 2743150"/>
                <a:gd name="connsiteX68" fmla="*/ 609577 w 2721566"/>
                <a:gd name="connsiteY68" fmla="*/ 2291196 h 2743150"/>
                <a:gd name="connsiteX69" fmla="*/ 629751 w 2721566"/>
                <a:gd name="connsiteY69" fmla="*/ 2306419 h 2743150"/>
                <a:gd name="connsiteX70" fmla="*/ 627186 w 2721566"/>
                <a:gd name="connsiteY70" fmla="*/ 2300879 h 2743150"/>
                <a:gd name="connsiteX71" fmla="*/ 536863 w 2721566"/>
                <a:gd name="connsiteY71" fmla="*/ 1819620 h 2743150"/>
                <a:gd name="connsiteX72" fmla="*/ 543586 w 2721566"/>
                <a:gd name="connsiteY72" fmla="*/ 1685426 h 2743150"/>
                <a:gd name="connsiteX73" fmla="*/ 561714 w 2721566"/>
                <a:gd name="connsiteY73" fmla="*/ 1565698 h 2743150"/>
                <a:gd name="connsiteX74" fmla="*/ 548721 w 2721566"/>
                <a:gd name="connsiteY74" fmla="*/ 1554978 h 2743150"/>
                <a:gd name="connsiteX75" fmla="*/ 449342 w 2721566"/>
                <a:gd name="connsiteY75" fmla="*/ 1315054 h 2743150"/>
                <a:gd name="connsiteX76" fmla="*/ 548721 w 2721566"/>
                <a:gd name="connsiteY76" fmla="*/ 1075131 h 2743150"/>
                <a:gd name="connsiteX77" fmla="*/ 586510 w 2721566"/>
                <a:gd name="connsiteY77" fmla="*/ 1043953 h 2743150"/>
                <a:gd name="connsiteX78" fmla="*/ 557759 w 2721566"/>
                <a:gd name="connsiteY78" fmla="*/ 931249 h 2743150"/>
                <a:gd name="connsiteX79" fmla="*/ 531303 w 2721566"/>
                <a:gd name="connsiteY79" fmla="*/ 666735 h 2743150"/>
                <a:gd name="connsiteX80" fmla="*/ 535100 w 2721566"/>
                <a:gd name="connsiteY80" fmla="*/ 565752 h 2743150"/>
                <a:gd name="connsiteX81" fmla="*/ 870476 w 2721566"/>
                <a:gd name="connsiteY81" fmla="*/ 288355 h 2743150"/>
                <a:gd name="connsiteX82" fmla="*/ 797863 w 2721566"/>
                <a:gd name="connsiteY82" fmla="*/ 323653 h 2743150"/>
                <a:gd name="connsiteX83" fmla="*/ 747285 w 2721566"/>
                <a:gd name="connsiteY83" fmla="*/ 354661 h 2743150"/>
                <a:gd name="connsiteX84" fmla="*/ 726331 w 2721566"/>
                <a:gd name="connsiteY84" fmla="*/ 436900 h 2743150"/>
                <a:gd name="connsiteX85" fmla="*/ 703371 w 2721566"/>
                <a:gd name="connsiteY85" fmla="*/ 666735 h 2743150"/>
                <a:gd name="connsiteX86" fmla="*/ 716392 w 2721566"/>
                <a:gd name="connsiteY86" fmla="*/ 840411 h 2743150"/>
                <a:gd name="connsiteX87" fmla="*/ 748231 w 2721566"/>
                <a:gd name="connsiteY87" fmla="*/ 979825 h 2743150"/>
                <a:gd name="connsiteX88" fmla="*/ 788645 w 2721566"/>
                <a:gd name="connsiteY88" fmla="*/ 975751 h 2743150"/>
                <a:gd name="connsiteX89" fmla="*/ 837858 w 2721566"/>
                <a:gd name="connsiteY89" fmla="*/ 980712 h 2743150"/>
                <a:gd name="connsiteX90" fmla="*/ 918259 w 2721566"/>
                <a:gd name="connsiteY90" fmla="*/ 891546 h 2743150"/>
                <a:gd name="connsiteX91" fmla="*/ 1010731 w 2721566"/>
                <a:gd name="connsiteY91" fmla="*/ 806835 h 2743150"/>
                <a:gd name="connsiteX92" fmla="*/ 1091088 w 2721566"/>
                <a:gd name="connsiteY92" fmla="*/ 746269 h 2743150"/>
                <a:gd name="connsiteX93" fmla="*/ 1090355 w 2721566"/>
                <a:gd name="connsiteY93" fmla="*/ 745257 h 2743150"/>
                <a:gd name="connsiteX94" fmla="*/ 908795 w 2721566"/>
                <a:gd name="connsiteY94" fmla="*/ 398035 h 2743150"/>
                <a:gd name="connsiteX95" fmla="*/ 1360783 w 2721566"/>
                <a:gd name="connsiteY95" fmla="*/ 179814 h 2743150"/>
                <a:gd name="connsiteX96" fmla="*/ 1122777 w 2721566"/>
                <a:gd name="connsiteY96" fmla="*/ 204027 h 2743150"/>
                <a:gd name="connsiteX97" fmla="*/ 1095649 w 2721566"/>
                <a:gd name="connsiteY97" fmla="*/ 211066 h 2743150"/>
                <a:gd name="connsiteX98" fmla="*/ 1107447 w 2721566"/>
                <a:gd name="connsiteY98" fmla="*/ 252895 h 2743150"/>
                <a:gd name="connsiteX99" fmla="*/ 1260905 w 2721566"/>
                <a:gd name="connsiteY99" fmla="*/ 573486 h 2743150"/>
                <a:gd name="connsiteX100" fmla="*/ 1297851 w 2721566"/>
                <a:gd name="connsiteY100" fmla="*/ 626931 h 2743150"/>
                <a:gd name="connsiteX101" fmla="*/ 1332168 w 2721566"/>
                <a:gd name="connsiteY101" fmla="*/ 610267 h 2743150"/>
                <a:gd name="connsiteX102" fmla="*/ 1839031 w 2721566"/>
                <a:gd name="connsiteY102" fmla="*/ 507125 h 2743150"/>
                <a:gd name="connsiteX103" fmla="*/ 2203231 w 2721566"/>
                <a:gd name="connsiteY103" fmla="*/ 559150 h 2743150"/>
                <a:gd name="connsiteX104" fmla="*/ 2233085 w 2721566"/>
                <a:gd name="connsiteY104" fmla="*/ 570212 h 2743150"/>
                <a:gd name="connsiteX105" fmla="*/ 2195854 w 2721566"/>
                <a:gd name="connsiteY105" fmla="*/ 528873 h 2743150"/>
                <a:gd name="connsiteX106" fmla="*/ 1360783 w 2721566"/>
                <a:gd name="connsiteY106" fmla="*/ 179814 h 2743150"/>
                <a:gd name="connsiteX107" fmla="*/ 1360783 w 2721566"/>
                <a:gd name="connsiteY107" fmla="*/ 0 h 2743150"/>
                <a:gd name="connsiteX108" fmla="*/ 2721566 w 2721566"/>
                <a:gd name="connsiteY108" fmla="*/ 1371575 h 2743150"/>
                <a:gd name="connsiteX109" fmla="*/ 1360783 w 2721566"/>
                <a:gd name="connsiteY109" fmla="*/ 2743150 h 2743150"/>
                <a:gd name="connsiteX110" fmla="*/ 0 w 2721566"/>
                <a:gd name="connsiteY110" fmla="*/ 1371575 h 2743150"/>
                <a:gd name="connsiteX111" fmla="*/ 599956 w 2721566"/>
                <a:gd name="connsiteY111" fmla="*/ 234244 h 2743150"/>
                <a:gd name="connsiteX112" fmla="*/ 605849 w 2721566"/>
                <a:gd name="connsiteY112" fmla="*/ 230636 h 2743150"/>
                <a:gd name="connsiteX113" fmla="*/ 664406 w 2721566"/>
                <a:gd name="connsiteY113" fmla="*/ 194779 h 2743150"/>
                <a:gd name="connsiteX114" fmla="*/ 712153 w 2721566"/>
                <a:gd name="connsiteY114" fmla="*/ 165541 h 2743150"/>
                <a:gd name="connsiteX115" fmla="*/ 1360783 w 2721566"/>
                <a:gd name="connsiteY115" fmla="*/ 0 h 2743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2721566" h="2743150">
                  <a:moveTo>
                    <a:pt x="938222" y="1618192"/>
                  </a:moveTo>
                  <a:lnTo>
                    <a:pt x="920717" y="1627693"/>
                  </a:lnTo>
                  <a:cubicBezTo>
                    <a:pt x="900420" y="1636278"/>
                    <a:pt x="879114" y="1642944"/>
                    <a:pt x="857026" y="1647464"/>
                  </a:cubicBezTo>
                  <a:lnTo>
                    <a:pt x="847920" y="1648382"/>
                  </a:lnTo>
                  <a:lnTo>
                    <a:pt x="837756" y="1715659"/>
                  </a:lnTo>
                  <a:cubicBezTo>
                    <a:pt x="834320" y="1749840"/>
                    <a:pt x="832560" y="1784523"/>
                    <a:pt x="832560" y="1819620"/>
                  </a:cubicBezTo>
                  <a:cubicBezTo>
                    <a:pt x="832560" y="2100401"/>
                    <a:pt x="945213" y="2354601"/>
                    <a:pt x="1127348" y="2538605"/>
                  </a:cubicBezTo>
                  <a:lnTo>
                    <a:pt x="1128948" y="2540074"/>
                  </a:lnTo>
                  <a:lnTo>
                    <a:pt x="1240036" y="2557183"/>
                  </a:lnTo>
                  <a:cubicBezTo>
                    <a:pt x="1279737" y="2561252"/>
                    <a:pt x="1320019" y="2563336"/>
                    <a:pt x="1360783" y="2563336"/>
                  </a:cubicBezTo>
                  <a:cubicBezTo>
                    <a:pt x="1849956" y="2563336"/>
                    <a:pt x="2269665" y="2263203"/>
                    <a:pt x="2448946" y="1835462"/>
                  </a:cubicBezTo>
                  <a:lnTo>
                    <a:pt x="2454283" y="1820747"/>
                  </a:lnTo>
                  <a:lnTo>
                    <a:pt x="2454163" y="1820820"/>
                  </a:lnTo>
                  <a:lnTo>
                    <a:pt x="2315755" y="1885930"/>
                  </a:lnTo>
                  <a:lnTo>
                    <a:pt x="2314668" y="1896707"/>
                  </a:lnTo>
                  <a:cubicBezTo>
                    <a:pt x="2296260" y="1986666"/>
                    <a:pt x="2216663" y="2054337"/>
                    <a:pt x="2121262" y="2054337"/>
                  </a:cubicBezTo>
                  <a:cubicBezTo>
                    <a:pt x="2066747" y="2054337"/>
                    <a:pt x="2017393" y="2032241"/>
                    <a:pt x="1981667" y="1996515"/>
                  </a:cubicBezTo>
                  <a:lnTo>
                    <a:pt x="1964402" y="1970907"/>
                  </a:lnTo>
                  <a:lnTo>
                    <a:pt x="1833472" y="1979231"/>
                  </a:lnTo>
                  <a:cubicBezTo>
                    <a:pt x="1518836" y="1979231"/>
                    <a:pt x="1230263" y="1866756"/>
                    <a:pt x="1005171" y="1679521"/>
                  </a:cubicBezTo>
                  <a:close/>
                  <a:moveTo>
                    <a:pt x="1275943" y="976747"/>
                  </a:moveTo>
                  <a:lnTo>
                    <a:pt x="1198822" y="1035009"/>
                  </a:lnTo>
                  <a:lnTo>
                    <a:pt x="1083955" y="1151055"/>
                  </a:lnTo>
                  <a:lnTo>
                    <a:pt x="1101284" y="1182982"/>
                  </a:lnTo>
                  <a:cubicBezTo>
                    <a:pt x="1118453" y="1223576"/>
                    <a:pt x="1127948" y="1268206"/>
                    <a:pt x="1127948" y="1315054"/>
                  </a:cubicBezTo>
                  <a:cubicBezTo>
                    <a:pt x="1127948" y="1385326"/>
                    <a:pt x="1106585" y="1450609"/>
                    <a:pt x="1070000" y="1504762"/>
                  </a:cubicBezTo>
                  <a:lnTo>
                    <a:pt x="1069531" y="1505330"/>
                  </a:lnTo>
                  <a:lnTo>
                    <a:pt x="1135763" y="1563925"/>
                  </a:lnTo>
                  <a:cubicBezTo>
                    <a:pt x="1327889" y="1716289"/>
                    <a:pt x="1570164" y="1807163"/>
                    <a:pt x="1833472" y="1807163"/>
                  </a:cubicBezTo>
                  <a:lnTo>
                    <a:pt x="1933016" y="1800511"/>
                  </a:lnTo>
                  <a:lnTo>
                    <a:pt x="1939359" y="1780077"/>
                  </a:lnTo>
                  <a:cubicBezTo>
                    <a:pt x="1969329" y="1709221"/>
                    <a:pt x="2039490" y="1659503"/>
                    <a:pt x="2121262" y="1659503"/>
                  </a:cubicBezTo>
                  <a:cubicBezTo>
                    <a:pt x="2175777" y="1659503"/>
                    <a:pt x="2225132" y="1681600"/>
                    <a:pt x="2260857" y="1717325"/>
                  </a:cubicBezTo>
                  <a:lnTo>
                    <a:pt x="2263606" y="1721402"/>
                  </a:lnTo>
                  <a:lnTo>
                    <a:pt x="2267011" y="1720229"/>
                  </a:lnTo>
                  <a:cubicBezTo>
                    <a:pt x="2311512" y="1701558"/>
                    <a:pt x="2354575" y="1680099"/>
                    <a:pt x="2395987" y="1656069"/>
                  </a:cubicBezTo>
                  <a:lnTo>
                    <a:pt x="2524667" y="1566083"/>
                  </a:lnTo>
                  <a:lnTo>
                    <a:pt x="2528847" y="1538444"/>
                  </a:lnTo>
                  <a:lnTo>
                    <a:pt x="2391754" y="1531467"/>
                  </a:lnTo>
                  <a:cubicBezTo>
                    <a:pt x="2290200" y="1521072"/>
                    <a:pt x="2191156" y="1502121"/>
                    <a:pt x="2095342" y="1475341"/>
                  </a:cubicBezTo>
                  <a:lnTo>
                    <a:pt x="1956122" y="1430037"/>
                  </a:lnTo>
                  <a:lnTo>
                    <a:pt x="1947455" y="1435880"/>
                  </a:lnTo>
                  <a:cubicBezTo>
                    <a:pt x="1922924" y="1446256"/>
                    <a:pt x="1895954" y="1451993"/>
                    <a:pt x="1867644" y="1451993"/>
                  </a:cubicBezTo>
                  <a:cubicBezTo>
                    <a:pt x="1782714" y="1451993"/>
                    <a:pt x="1709844" y="1400356"/>
                    <a:pt x="1678717" y="1326764"/>
                  </a:cubicBezTo>
                  <a:lnTo>
                    <a:pt x="1667734" y="1291381"/>
                  </a:lnTo>
                  <a:lnTo>
                    <a:pt x="1564981" y="1226519"/>
                  </a:lnTo>
                  <a:cubicBezTo>
                    <a:pt x="1484969" y="1171328"/>
                    <a:pt x="1409629" y="1109760"/>
                    <a:pt x="1339681" y="1042541"/>
                  </a:cubicBezTo>
                  <a:close/>
                  <a:moveTo>
                    <a:pt x="1839031" y="802822"/>
                  </a:moveTo>
                  <a:cubicBezTo>
                    <a:pt x="1734808" y="802822"/>
                    <a:pt x="1634285" y="818826"/>
                    <a:pt x="1539738" y="848536"/>
                  </a:cubicBezTo>
                  <a:lnTo>
                    <a:pt x="1497492" y="864156"/>
                  </a:lnTo>
                  <a:lnTo>
                    <a:pt x="1530174" y="896941"/>
                  </a:lnTo>
                  <a:cubicBezTo>
                    <a:pt x="1590527" y="952297"/>
                    <a:pt x="1655217" y="1002924"/>
                    <a:pt x="1723667" y="1048242"/>
                  </a:cubicBezTo>
                  <a:lnTo>
                    <a:pt x="1765091" y="1073360"/>
                  </a:lnTo>
                  <a:lnTo>
                    <a:pt x="1787834" y="1058026"/>
                  </a:lnTo>
                  <a:cubicBezTo>
                    <a:pt x="1812364" y="1047651"/>
                    <a:pt x="1839334" y="1041913"/>
                    <a:pt x="1867644" y="1041913"/>
                  </a:cubicBezTo>
                  <a:cubicBezTo>
                    <a:pt x="1966729" y="1041913"/>
                    <a:pt x="2049399" y="1112198"/>
                    <a:pt x="2068519" y="1205631"/>
                  </a:cubicBezTo>
                  <a:lnTo>
                    <a:pt x="2069865" y="1218984"/>
                  </a:lnTo>
                  <a:lnTo>
                    <a:pt x="2174899" y="1251806"/>
                  </a:lnTo>
                  <a:cubicBezTo>
                    <a:pt x="2256094" y="1273569"/>
                    <a:pt x="2339900" y="1288863"/>
                    <a:pt x="2425742" y="1297108"/>
                  </a:cubicBezTo>
                  <a:lnTo>
                    <a:pt x="2538295" y="1302486"/>
                  </a:lnTo>
                  <a:lnTo>
                    <a:pt x="2535655" y="1249725"/>
                  </a:lnTo>
                  <a:cubicBezTo>
                    <a:pt x="2531623" y="1209661"/>
                    <a:pt x="2525625" y="1170184"/>
                    <a:pt x="2517759" y="1131394"/>
                  </a:cubicBezTo>
                  <a:lnTo>
                    <a:pt x="2497854" y="1053274"/>
                  </a:lnTo>
                  <a:lnTo>
                    <a:pt x="2371258" y="956458"/>
                  </a:lnTo>
                  <a:cubicBezTo>
                    <a:pt x="2216862" y="859087"/>
                    <a:pt x="2034451" y="802822"/>
                    <a:pt x="1839031" y="802822"/>
                  </a:cubicBezTo>
                  <a:close/>
                  <a:moveTo>
                    <a:pt x="540853" y="514986"/>
                  </a:moveTo>
                  <a:lnTo>
                    <a:pt x="525712" y="528873"/>
                  </a:lnTo>
                  <a:cubicBezTo>
                    <a:pt x="311998" y="744539"/>
                    <a:pt x="179814" y="1042480"/>
                    <a:pt x="179814" y="1371575"/>
                  </a:cubicBezTo>
                  <a:cubicBezTo>
                    <a:pt x="179814" y="1741808"/>
                    <a:pt x="347110" y="2072609"/>
                    <a:pt x="609577" y="2291196"/>
                  </a:cubicBezTo>
                  <a:lnTo>
                    <a:pt x="629751" y="2306419"/>
                  </a:lnTo>
                  <a:lnTo>
                    <a:pt x="627186" y="2300879"/>
                  </a:lnTo>
                  <a:cubicBezTo>
                    <a:pt x="568888" y="2151864"/>
                    <a:pt x="536863" y="1989512"/>
                    <a:pt x="536863" y="1819620"/>
                  </a:cubicBezTo>
                  <a:cubicBezTo>
                    <a:pt x="536863" y="1774316"/>
                    <a:pt x="539140" y="1729548"/>
                    <a:pt x="543586" y="1685426"/>
                  </a:cubicBezTo>
                  <a:lnTo>
                    <a:pt x="561714" y="1565698"/>
                  </a:lnTo>
                  <a:lnTo>
                    <a:pt x="548721" y="1554978"/>
                  </a:lnTo>
                  <a:cubicBezTo>
                    <a:pt x="487320" y="1493576"/>
                    <a:pt x="449342" y="1408750"/>
                    <a:pt x="449342" y="1315054"/>
                  </a:cubicBezTo>
                  <a:cubicBezTo>
                    <a:pt x="449342" y="1221358"/>
                    <a:pt x="487320" y="1136533"/>
                    <a:pt x="548721" y="1075131"/>
                  </a:cubicBezTo>
                  <a:lnTo>
                    <a:pt x="586510" y="1043953"/>
                  </a:lnTo>
                  <a:lnTo>
                    <a:pt x="557759" y="931249"/>
                  </a:lnTo>
                  <a:cubicBezTo>
                    <a:pt x="540412" y="845808"/>
                    <a:pt x="531303" y="757344"/>
                    <a:pt x="531303" y="666735"/>
                  </a:cubicBezTo>
                  <a:cubicBezTo>
                    <a:pt x="531303" y="632757"/>
                    <a:pt x="532584" y="599081"/>
                    <a:pt x="535100" y="565752"/>
                  </a:cubicBezTo>
                  <a:close/>
                  <a:moveTo>
                    <a:pt x="870476" y="288355"/>
                  </a:moveTo>
                  <a:lnTo>
                    <a:pt x="797863" y="323653"/>
                  </a:lnTo>
                  <a:lnTo>
                    <a:pt x="747285" y="354661"/>
                  </a:lnTo>
                  <a:lnTo>
                    <a:pt x="726331" y="436900"/>
                  </a:lnTo>
                  <a:cubicBezTo>
                    <a:pt x="711277" y="511139"/>
                    <a:pt x="703371" y="588006"/>
                    <a:pt x="703371" y="666735"/>
                  </a:cubicBezTo>
                  <a:cubicBezTo>
                    <a:pt x="703371" y="725782"/>
                    <a:pt x="707818" y="783782"/>
                    <a:pt x="716392" y="840411"/>
                  </a:cubicBezTo>
                  <a:lnTo>
                    <a:pt x="748231" y="979825"/>
                  </a:lnTo>
                  <a:lnTo>
                    <a:pt x="788645" y="975751"/>
                  </a:lnTo>
                  <a:lnTo>
                    <a:pt x="837858" y="980712"/>
                  </a:lnTo>
                  <a:lnTo>
                    <a:pt x="918259" y="891546"/>
                  </a:lnTo>
                  <a:cubicBezTo>
                    <a:pt x="947715" y="861857"/>
                    <a:pt x="978575" y="833583"/>
                    <a:pt x="1010731" y="806835"/>
                  </a:cubicBezTo>
                  <a:lnTo>
                    <a:pt x="1091088" y="746269"/>
                  </a:lnTo>
                  <a:lnTo>
                    <a:pt x="1090355" y="745257"/>
                  </a:lnTo>
                  <a:cubicBezTo>
                    <a:pt x="1017972" y="637265"/>
                    <a:pt x="956882" y="520950"/>
                    <a:pt x="908795" y="398035"/>
                  </a:cubicBezTo>
                  <a:close/>
                  <a:moveTo>
                    <a:pt x="1360783" y="179814"/>
                  </a:moveTo>
                  <a:cubicBezTo>
                    <a:pt x="1279254" y="179814"/>
                    <a:pt x="1199655" y="188151"/>
                    <a:pt x="1122777" y="204027"/>
                  </a:cubicBezTo>
                  <a:lnTo>
                    <a:pt x="1095649" y="211066"/>
                  </a:lnTo>
                  <a:lnTo>
                    <a:pt x="1107447" y="252895"/>
                  </a:lnTo>
                  <a:cubicBezTo>
                    <a:pt x="1146623" y="366253"/>
                    <a:pt x="1198334" y="473680"/>
                    <a:pt x="1260905" y="573486"/>
                  </a:cubicBezTo>
                  <a:lnTo>
                    <a:pt x="1297851" y="626931"/>
                  </a:lnTo>
                  <a:lnTo>
                    <a:pt x="1332168" y="610267"/>
                  </a:lnTo>
                  <a:cubicBezTo>
                    <a:pt x="1487958" y="543852"/>
                    <a:pt x="1659240" y="507125"/>
                    <a:pt x="1839031" y="507125"/>
                  </a:cubicBezTo>
                  <a:cubicBezTo>
                    <a:pt x="1965448" y="507125"/>
                    <a:pt x="2087657" y="525282"/>
                    <a:pt x="2203231" y="559150"/>
                  </a:cubicBezTo>
                  <a:lnTo>
                    <a:pt x="2233085" y="570212"/>
                  </a:lnTo>
                  <a:lnTo>
                    <a:pt x="2195854" y="528873"/>
                  </a:lnTo>
                  <a:cubicBezTo>
                    <a:pt x="1982141" y="313207"/>
                    <a:pt x="1686899" y="179814"/>
                    <a:pt x="1360783" y="179814"/>
                  </a:cubicBezTo>
                  <a:close/>
                  <a:moveTo>
                    <a:pt x="1360783" y="0"/>
                  </a:moveTo>
                  <a:cubicBezTo>
                    <a:pt x="2112323" y="0"/>
                    <a:pt x="2721566" y="614075"/>
                    <a:pt x="2721566" y="1371575"/>
                  </a:cubicBezTo>
                  <a:cubicBezTo>
                    <a:pt x="2721566" y="2129075"/>
                    <a:pt x="2112323" y="2743150"/>
                    <a:pt x="1360783" y="2743150"/>
                  </a:cubicBezTo>
                  <a:cubicBezTo>
                    <a:pt x="609243" y="2743150"/>
                    <a:pt x="0" y="2129075"/>
                    <a:pt x="0" y="1371575"/>
                  </a:cubicBezTo>
                  <a:cubicBezTo>
                    <a:pt x="0" y="898138"/>
                    <a:pt x="237985" y="480726"/>
                    <a:pt x="599956" y="234244"/>
                  </a:cubicBezTo>
                  <a:lnTo>
                    <a:pt x="605849" y="230636"/>
                  </a:lnTo>
                  <a:lnTo>
                    <a:pt x="664406" y="194779"/>
                  </a:lnTo>
                  <a:lnTo>
                    <a:pt x="712153" y="165541"/>
                  </a:lnTo>
                  <a:cubicBezTo>
                    <a:pt x="904967" y="59968"/>
                    <a:pt x="1125927" y="0"/>
                    <a:pt x="1360783" y="0"/>
                  </a:cubicBez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000" dirty="0">
                <a:solidFill>
                  <a:schemeClr val="tx1"/>
                </a:solidFill>
                <a:ea typeface="Segoe UI" pitchFamily="34" charset="0"/>
                <a:cs typeface="Segoe UI" pitchFamily="34" charset="0"/>
              </a:endParaRPr>
            </a:p>
          </p:txBody>
        </p:sp>
      </p:grpSp>
      <p:sp>
        <p:nvSpPr>
          <p:cNvPr id="17" name="TextBox 16"/>
          <p:cNvSpPr txBox="1"/>
          <p:nvPr/>
        </p:nvSpPr>
        <p:spPr>
          <a:xfrm>
            <a:off x="4229608" y="4885188"/>
            <a:ext cx="1069460" cy="627864"/>
          </a:xfrm>
          <a:prstGeom prst="rect">
            <a:avLst/>
          </a:prstGeom>
          <a:noFill/>
        </p:spPr>
        <p:txBody>
          <a:bodyPr wrap="none" lIns="182880" tIns="146304" rIns="182880" bIns="146304" rtlCol="0">
            <a:spAutoFit/>
          </a:bodyPr>
          <a:lstStyle/>
          <a:p>
            <a:pPr>
              <a:lnSpc>
                <a:spcPct val="90000"/>
              </a:lnSpc>
              <a:spcAft>
                <a:spcPts val="600"/>
              </a:spcAft>
            </a:pPr>
            <a:r>
              <a:rPr lang="en-US" sz="2400" dirty="0">
                <a:solidFill>
                  <a:schemeClr val="bg1"/>
                </a:solidFill>
              </a:rPr>
              <a:t>Store</a:t>
            </a:r>
          </a:p>
        </p:txBody>
      </p:sp>
      <p:sp>
        <p:nvSpPr>
          <p:cNvPr id="55" name="TextBox 54"/>
          <p:cNvSpPr txBox="1"/>
          <p:nvPr/>
        </p:nvSpPr>
        <p:spPr>
          <a:xfrm>
            <a:off x="8549210" y="1783851"/>
            <a:ext cx="3642790" cy="3557897"/>
          </a:xfrm>
          <a:prstGeom prst="rect">
            <a:avLst/>
          </a:prstGeom>
          <a:noFill/>
        </p:spPr>
        <p:txBody>
          <a:bodyPr wrap="square" lIns="182880" tIns="146304" rIns="182880" bIns="146304" rtlCol="0">
            <a:spAutoFit/>
          </a:bodyPr>
          <a:lstStyle/>
          <a:p>
            <a:pPr marL="342900" indent="-342900">
              <a:lnSpc>
                <a:spcPct val="90000"/>
              </a:lnSpc>
              <a:spcBef>
                <a:spcPts val="600"/>
              </a:spcBef>
              <a:spcAft>
                <a:spcPts val="600"/>
              </a:spcAft>
              <a:buClr>
                <a:schemeClr val="accent3">
                  <a:lumMod val="75000"/>
                </a:schemeClr>
              </a:buClr>
              <a:buFont typeface="Wingdings" panose="05000000000000000000" pitchFamily="2" charset="2"/>
              <a:buChar char="ü"/>
            </a:pPr>
            <a:r>
              <a:rPr lang="en-US" sz="2000" dirty="0">
                <a:solidFill>
                  <a:schemeClr val="tx1">
                    <a:lumMod val="65000"/>
                    <a:lumOff val="35000"/>
                  </a:schemeClr>
                </a:solidFill>
              </a:rPr>
              <a:t>Integrated analytics and storage</a:t>
            </a:r>
          </a:p>
          <a:p>
            <a:pPr marL="342900" indent="-342900">
              <a:lnSpc>
                <a:spcPct val="90000"/>
              </a:lnSpc>
              <a:spcBef>
                <a:spcPts val="600"/>
              </a:spcBef>
              <a:spcAft>
                <a:spcPts val="600"/>
              </a:spcAft>
              <a:buClr>
                <a:schemeClr val="accent3">
                  <a:lumMod val="75000"/>
                </a:schemeClr>
              </a:buClr>
              <a:buFont typeface="Wingdings" panose="05000000000000000000" pitchFamily="2" charset="2"/>
              <a:buChar char="ü"/>
            </a:pPr>
            <a:r>
              <a:rPr lang="en-US" sz="2000" dirty="0">
                <a:solidFill>
                  <a:schemeClr val="tx1">
                    <a:lumMod val="65000"/>
                    <a:lumOff val="35000"/>
                  </a:schemeClr>
                </a:solidFill>
              </a:rPr>
              <a:t>Fully Managed</a:t>
            </a:r>
          </a:p>
          <a:p>
            <a:pPr marL="342900" indent="-342900">
              <a:lnSpc>
                <a:spcPct val="90000"/>
              </a:lnSpc>
              <a:spcBef>
                <a:spcPts val="600"/>
              </a:spcBef>
              <a:spcAft>
                <a:spcPts val="600"/>
              </a:spcAft>
              <a:buClr>
                <a:schemeClr val="accent3">
                  <a:lumMod val="75000"/>
                </a:schemeClr>
              </a:buClr>
              <a:buFont typeface="Wingdings" panose="05000000000000000000" pitchFamily="2" charset="2"/>
              <a:buChar char="ü"/>
            </a:pPr>
            <a:r>
              <a:rPr lang="en-US" sz="2000" dirty="0">
                <a:solidFill>
                  <a:schemeClr val="tx1">
                    <a:lumMod val="65000"/>
                    <a:lumOff val="35000"/>
                  </a:schemeClr>
                </a:solidFill>
              </a:rPr>
              <a:t>Easy to use – “dial for scale”</a:t>
            </a:r>
          </a:p>
          <a:p>
            <a:pPr marL="342900" indent="-342900">
              <a:lnSpc>
                <a:spcPct val="90000"/>
              </a:lnSpc>
              <a:spcBef>
                <a:spcPts val="600"/>
              </a:spcBef>
              <a:spcAft>
                <a:spcPts val="600"/>
              </a:spcAft>
              <a:buClr>
                <a:schemeClr val="accent3">
                  <a:lumMod val="75000"/>
                </a:schemeClr>
              </a:buClr>
              <a:buFont typeface="Wingdings" panose="05000000000000000000" pitchFamily="2" charset="2"/>
              <a:buChar char="ü"/>
            </a:pPr>
            <a:r>
              <a:rPr lang="en-US" sz="2000" dirty="0">
                <a:solidFill>
                  <a:schemeClr val="tx1">
                    <a:lumMod val="65000"/>
                    <a:lumOff val="35000"/>
                  </a:schemeClr>
                </a:solidFill>
              </a:rPr>
              <a:t>Proven at scale</a:t>
            </a:r>
          </a:p>
          <a:p>
            <a:pPr marL="342900" indent="-342900">
              <a:lnSpc>
                <a:spcPct val="90000"/>
              </a:lnSpc>
              <a:spcBef>
                <a:spcPts val="600"/>
              </a:spcBef>
              <a:spcAft>
                <a:spcPts val="600"/>
              </a:spcAft>
              <a:buClr>
                <a:schemeClr val="accent3">
                  <a:lumMod val="75000"/>
                </a:schemeClr>
              </a:buClr>
              <a:buFont typeface="Wingdings" panose="05000000000000000000" pitchFamily="2" charset="2"/>
              <a:buChar char="ü"/>
            </a:pPr>
            <a:r>
              <a:rPr lang="en-US" sz="2000" dirty="0">
                <a:solidFill>
                  <a:schemeClr val="tx1">
                    <a:lumMod val="65000"/>
                    <a:lumOff val="35000"/>
                  </a:schemeClr>
                </a:solidFill>
              </a:rPr>
              <a:t>Analyze data of any size, shape or speed</a:t>
            </a:r>
          </a:p>
          <a:p>
            <a:pPr marL="342900" indent="-342900">
              <a:lnSpc>
                <a:spcPct val="90000"/>
              </a:lnSpc>
              <a:spcBef>
                <a:spcPts val="600"/>
              </a:spcBef>
              <a:spcAft>
                <a:spcPts val="600"/>
              </a:spcAft>
              <a:buClr>
                <a:schemeClr val="accent3">
                  <a:lumMod val="75000"/>
                </a:schemeClr>
              </a:buClr>
              <a:buFont typeface="Wingdings" panose="05000000000000000000" pitchFamily="2" charset="2"/>
              <a:buChar char="ü"/>
            </a:pPr>
            <a:r>
              <a:rPr lang="en-US" sz="2000" dirty="0">
                <a:solidFill>
                  <a:schemeClr val="tx1">
                    <a:lumMod val="65000"/>
                    <a:lumOff val="35000"/>
                  </a:schemeClr>
                </a:solidFill>
              </a:rPr>
              <a:t>Open-standards based</a:t>
            </a:r>
          </a:p>
        </p:txBody>
      </p:sp>
      <p:cxnSp>
        <p:nvCxnSpPr>
          <p:cNvPr id="53" name="Straight Connector 52"/>
          <p:cNvCxnSpPr/>
          <p:nvPr/>
        </p:nvCxnSpPr>
        <p:spPr>
          <a:xfrm>
            <a:off x="6829409" y="1269462"/>
            <a:ext cx="9138" cy="1963899"/>
          </a:xfrm>
          <a:prstGeom prst="line">
            <a:avLst/>
          </a:prstGeom>
          <a:ln>
            <a:solidFill>
              <a:schemeClr val="accent3">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57" name="TextBox 56"/>
          <p:cNvSpPr txBox="1"/>
          <p:nvPr/>
        </p:nvSpPr>
        <p:spPr>
          <a:xfrm>
            <a:off x="6838547" y="1433452"/>
            <a:ext cx="1334340" cy="572464"/>
          </a:xfrm>
          <a:prstGeom prst="rect">
            <a:avLst/>
          </a:prstGeom>
          <a:noFill/>
        </p:spPr>
        <p:txBody>
          <a:bodyPr wrap="none" lIns="182880" tIns="146304" rIns="182880" bIns="146304" rtlCol="0">
            <a:spAutoFit/>
          </a:bodyPr>
          <a:lstStyle/>
          <a:p>
            <a:pPr>
              <a:lnSpc>
                <a:spcPct val="90000"/>
              </a:lnSpc>
              <a:spcAft>
                <a:spcPts val="600"/>
              </a:spcAft>
            </a:pPr>
            <a:r>
              <a:rPr lang="en-US" sz="2000" dirty="0">
                <a:solidFill>
                  <a:schemeClr val="bg1"/>
                </a:solidFill>
                <a:latin typeface="Segoe UI Semibold" panose="020B0702040204020203" pitchFamily="34" charset="0"/>
                <a:cs typeface="Segoe UI Semibold" panose="020B0702040204020203" pitchFamily="34" charset="0"/>
              </a:rPr>
              <a:t>Partners</a:t>
            </a:r>
          </a:p>
        </p:txBody>
      </p:sp>
      <p:sp>
        <p:nvSpPr>
          <p:cNvPr id="51" name="TextBox 50"/>
          <p:cNvSpPr txBox="1"/>
          <p:nvPr/>
        </p:nvSpPr>
        <p:spPr>
          <a:xfrm>
            <a:off x="6902809" y="2086672"/>
            <a:ext cx="1246288" cy="251610"/>
          </a:xfrm>
          <a:prstGeom prst="rect">
            <a:avLst/>
          </a:prstGeom>
          <a:noFill/>
        </p:spPr>
        <p:txBody>
          <a:bodyPr wrap="none" lIns="0" tIns="0" rIns="0" bIns="0" rtlCol="0">
            <a:noAutofit/>
          </a:bodyPr>
          <a:lstStyle/>
          <a:p>
            <a:pPr>
              <a:lnSpc>
                <a:spcPct val="90000"/>
              </a:lnSpc>
              <a:spcAft>
                <a:spcPts val="600"/>
              </a:spcAft>
            </a:pPr>
            <a:r>
              <a:rPr lang="en-US" sz="1600" dirty="0">
                <a:solidFill>
                  <a:schemeClr val="bg1"/>
                </a:solidFill>
              </a:rPr>
              <a:t>Hortonworks</a:t>
            </a:r>
          </a:p>
        </p:txBody>
      </p:sp>
      <p:sp>
        <p:nvSpPr>
          <p:cNvPr id="59" name="TextBox 58"/>
          <p:cNvSpPr txBox="1"/>
          <p:nvPr/>
        </p:nvSpPr>
        <p:spPr>
          <a:xfrm>
            <a:off x="7082452" y="2396863"/>
            <a:ext cx="887002" cy="204289"/>
          </a:xfrm>
          <a:prstGeom prst="rect">
            <a:avLst/>
          </a:prstGeom>
          <a:noFill/>
        </p:spPr>
        <p:txBody>
          <a:bodyPr wrap="none" lIns="0" tIns="0" rIns="0" bIns="0" rtlCol="0">
            <a:noAutofit/>
          </a:bodyPr>
          <a:lstStyle>
            <a:defPPr>
              <a:defRPr lang="en-US"/>
            </a:defPPr>
            <a:lvl1pPr>
              <a:lnSpc>
                <a:spcPct val="90000"/>
              </a:lnSpc>
              <a:spcAft>
                <a:spcPts val="600"/>
              </a:spcAft>
              <a:defRPr sz="1600">
                <a:solidFill>
                  <a:schemeClr val="bg1"/>
                </a:solidFill>
              </a:defRPr>
            </a:lvl1pPr>
          </a:lstStyle>
          <a:p>
            <a:r>
              <a:rPr lang="en-US" dirty="0"/>
              <a:t>Cloudera</a:t>
            </a:r>
          </a:p>
        </p:txBody>
      </p:sp>
      <p:sp>
        <p:nvSpPr>
          <p:cNvPr id="60" name="TextBox 59"/>
          <p:cNvSpPr txBox="1"/>
          <p:nvPr/>
        </p:nvSpPr>
        <p:spPr>
          <a:xfrm>
            <a:off x="7247272" y="2640096"/>
            <a:ext cx="557363" cy="218569"/>
          </a:xfrm>
          <a:prstGeom prst="rect">
            <a:avLst/>
          </a:prstGeom>
          <a:noFill/>
        </p:spPr>
        <p:txBody>
          <a:bodyPr wrap="none" lIns="0" tIns="0" rIns="0" bIns="0" rtlCol="0">
            <a:noAutofit/>
          </a:bodyPr>
          <a:lstStyle>
            <a:defPPr>
              <a:defRPr lang="en-US"/>
            </a:defPPr>
            <a:lvl1pPr>
              <a:lnSpc>
                <a:spcPct val="90000"/>
              </a:lnSpc>
              <a:spcAft>
                <a:spcPts val="600"/>
              </a:spcAft>
              <a:defRPr sz="1600">
                <a:solidFill>
                  <a:schemeClr val="bg1"/>
                </a:solidFill>
              </a:defRPr>
            </a:lvl1pPr>
          </a:lstStyle>
          <a:p>
            <a:r>
              <a:rPr lang="en-US" dirty="0" err="1"/>
              <a:t>MapR</a:t>
            </a:r>
            <a:endParaRPr lang="en-US" dirty="0"/>
          </a:p>
        </p:txBody>
      </p:sp>
      <p:sp>
        <p:nvSpPr>
          <p:cNvPr id="58" name="TextBox 57"/>
          <p:cNvSpPr txBox="1"/>
          <p:nvPr/>
        </p:nvSpPr>
        <p:spPr>
          <a:xfrm>
            <a:off x="3539837" y="1298941"/>
            <a:ext cx="1310872" cy="544765"/>
          </a:xfrm>
          <a:prstGeom prst="rect">
            <a:avLst/>
          </a:prstGeom>
          <a:noFill/>
        </p:spPr>
        <p:txBody>
          <a:bodyPr wrap="none" lIns="182880" tIns="146304" rIns="182880" bIns="146304" rtlCol="0">
            <a:spAutoFit/>
          </a:bodyPr>
          <a:lstStyle/>
          <a:p>
            <a:pPr>
              <a:lnSpc>
                <a:spcPct val="90000"/>
              </a:lnSpc>
              <a:spcAft>
                <a:spcPts val="600"/>
              </a:spcAft>
            </a:pPr>
            <a:r>
              <a:rPr lang="en-US" dirty="0">
                <a:solidFill>
                  <a:schemeClr val="bg1"/>
                </a:solidFill>
                <a:latin typeface="Segoe UI Semibold" panose="020B0702040204020203" pitchFamily="34" charset="0"/>
                <a:cs typeface="Segoe UI Semibold" panose="020B0702040204020203" pitchFamily="34" charset="0"/>
              </a:rPr>
              <a:t>Analytics</a:t>
            </a:r>
            <a:endParaRPr lang="en-US" sz="2400" dirty="0">
              <a:solidFill>
                <a:schemeClr val="bg1"/>
              </a:solidFill>
              <a:latin typeface="Segoe UI Semibold" panose="020B0702040204020203" pitchFamily="34" charset="0"/>
              <a:cs typeface="Segoe UI Semibold" panose="020B0702040204020203" pitchFamily="34" charset="0"/>
            </a:endParaRPr>
          </a:p>
        </p:txBody>
      </p:sp>
      <p:sp>
        <p:nvSpPr>
          <p:cNvPr id="61" name="TextBox 60"/>
          <p:cNvSpPr txBox="1"/>
          <p:nvPr/>
        </p:nvSpPr>
        <p:spPr>
          <a:xfrm>
            <a:off x="4719384" y="1805378"/>
            <a:ext cx="2132443" cy="517065"/>
          </a:xfrm>
          <a:prstGeom prst="rect">
            <a:avLst/>
          </a:prstGeom>
          <a:noFill/>
        </p:spPr>
        <p:txBody>
          <a:bodyPr wrap="none" lIns="182880" tIns="146304" rIns="182880" bIns="146304" rtlCol="0">
            <a:spAutoFit/>
          </a:bodyPr>
          <a:lstStyle/>
          <a:p>
            <a:pPr>
              <a:lnSpc>
                <a:spcPct val="90000"/>
              </a:lnSpc>
              <a:spcAft>
                <a:spcPts val="600"/>
              </a:spcAft>
            </a:pPr>
            <a:r>
              <a:rPr lang="en-US" sz="1600" dirty="0">
                <a:solidFill>
                  <a:schemeClr val="bg1"/>
                </a:solidFill>
              </a:rPr>
              <a:t>clusters (HDInsight)</a:t>
            </a:r>
          </a:p>
        </p:txBody>
      </p:sp>
      <p:sp>
        <p:nvSpPr>
          <p:cNvPr id="9" name="TextBox 8"/>
          <p:cNvSpPr txBox="1"/>
          <p:nvPr/>
        </p:nvSpPr>
        <p:spPr>
          <a:xfrm>
            <a:off x="3573692" y="807912"/>
            <a:ext cx="2149311" cy="516577"/>
          </a:xfrm>
          <a:prstGeom prst="rect">
            <a:avLst/>
          </a:prstGeom>
          <a:noFill/>
        </p:spPr>
        <p:txBody>
          <a:bodyPr wrap="none" lIns="182880" tIns="146304" rIns="182880" bIns="146304" rtlCol="0">
            <a:noAutofit/>
          </a:bodyPr>
          <a:lstStyle/>
          <a:p>
            <a:pPr>
              <a:lnSpc>
                <a:spcPct val="90000"/>
              </a:lnSpc>
              <a:spcAft>
                <a:spcPts val="600"/>
              </a:spcAft>
            </a:pPr>
            <a:r>
              <a:rPr lang="en-US" sz="2000" dirty="0">
                <a:solidFill>
                  <a:schemeClr val="bg1"/>
                </a:solidFill>
                <a:latin typeface="+mj-lt"/>
                <a:cs typeface="Segoe UI Semibold" panose="020B0702040204020203" pitchFamily="34" charset="0"/>
              </a:rPr>
              <a:t>Azure Data Lake</a:t>
            </a:r>
          </a:p>
        </p:txBody>
      </p:sp>
      <p:sp>
        <p:nvSpPr>
          <p:cNvPr id="62" name="Freeform 61"/>
          <p:cNvSpPr>
            <a:spLocks/>
          </p:cNvSpPr>
          <p:nvPr/>
        </p:nvSpPr>
        <p:spPr bwMode="auto">
          <a:xfrm>
            <a:off x="2907880" y="2522760"/>
            <a:ext cx="494233" cy="371508"/>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4367"/>
            <a:endParaRPr lang="en-IN" sz="1961">
              <a:solidFill>
                <a:srgbClr val="000000"/>
              </a:solidFill>
            </a:endParaRPr>
          </a:p>
        </p:txBody>
      </p:sp>
      <p:cxnSp>
        <p:nvCxnSpPr>
          <p:cNvPr id="19" name="Straight Connector 18"/>
          <p:cNvCxnSpPr/>
          <p:nvPr/>
        </p:nvCxnSpPr>
        <p:spPr>
          <a:xfrm>
            <a:off x="1101574" y="3805825"/>
            <a:ext cx="7163194" cy="0"/>
          </a:xfrm>
          <a:prstGeom prst="line">
            <a:avLst/>
          </a:prstGeom>
          <a:ln w="762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61648096"/>
      </p:ext>
    </p:extLst>
  </p:cSld>
  <p:clrMapOvr>
    <a:masterClrMapping/>
  </p:clrMapOvr>
  <p:transition spd="med">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p:cNvSpPr/>
          <p:nvPr/>
        </p:nvSpPr>
        <p:spPr>
          <a:xfrm rot="5400000">
            <a:off x="5996833" y="1788301"/>
            <a:ext cx="520747" cy="8595161"/>
          </a:xfrm>
          <a:prstGeom prst="rect">
            <a:avLst/>
          </a:prstGeom>
          <a:solidFill>
            <a:schemeClr val="tx2"/>
          </a:solidFill>
          <a:ln w="10795">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914367"/>
            <a:r>
              <a:rPr lang="en-US" sz="1961" dirty="0">
                <a:solidFill>
                  <a:srgbClr val="FFFFFF"/>
                </a:solidFill>
                <a:latin typeface="Segoe UI Semibold" panose="020B0702040204020203" pitchFamily="34" charset="0"/>
                <a:cs typeface="Segoe UI Semibold" panose="020B0702040204020203" pitchFamily="34" charset="0"/>
              </a:rPr>
              <a:t>Azure Data Lake Store</a:t>
            </a:r>
          </a:p>
        </p:txBody>
      </p:sp>
      <p:sp>
        <p:nvSpPr>
          <p:cNvPr id="2" name="Title 1"/>
          <p:cNvSpPr>
            <a:spLocks noGrp="1"/>
          </p:cNvSpPr>
          <p:nvPr>
            <p:ph type="title"/>
          </p:nvPr>
        </p:nvSpPr>
        <p:spPr/>
        <p:txBody>
          <a:bodyPr/>
          <a:lstStyle/>
          <a:p>
            <a:r>
              <a:rPr lang="en-US"/>
              <a:t>HDInsight cluster architecture</a:t>
            </a:r>
            <a:endParaRPr lang="en-US" dirty="0"/>
          </a:p>
        </p:txBody>
      </p:sp>
      <p:sp>
        <p:nvSpPr>
          <p:cNvPr id="3" name="Rectangle 2"/>
          <p:cNvSpPr/>
          <p:nvPr/>
        </p:nvSpPr>
        <p:spPr>
          <a:xfrm>
            <a:off x="1959627" y="2227776"/>
            <a:ext cx="8595161" cy="3597726"/>
          </a:xfrm>
          <a:prstGeom prst="rect">
            <a:avLst/>
          </a:prstGeom>
          <a:ln/>
        </p:spPr>
        <p:style>
          <a:lnRef idx="2">
            <a:schemeClr val="accent2"/>
          </a:lnRef>
          <a:fillRef idx="1">
            <a:schemeClr val="lt1"/>
          </a:fillRef>
          <a:effectRef idx="0">
            <a:schemeClr val="accent2"/>
          </a:effectRef>
          <a:fontRef idx="minor">
            <a:schemeClr val="dk1"/>
          </a:fontRef>
        </p:style>
        <p:txBody>
          <a:bodyPr vert="vert270" rtlCol="0" anchor="t"/>
          <a:lstStyle/>
          <a:p>
            <a:pPr algn="ctr" defTabSz="914367"/>
            <a:r>
              <a:rPr lang="en-US" sz="2353" dirty="0">
                <a:solidFill>
                  <a:srgbClr val="505050"/>
                </a:solidFill>
                <a:latin typeface="Segoe UI Semibold" panose="020B0702040204020203" pitchFamily="34" charset="0"/>
                <a:cs typeface="Segoe UI Semibold" panose="020B0702040204020203" pitchFamily="34" charset="0"/>
              </a:rPr>
              <a:t>Azure </a:t>
            </a:r>
            <a:r>
              <a:rPr lang="en-US" sz="2353" dirty="0" err="1">
                <a:solidFill>
                  <a:srgbClr val="505050"/>
                </a:solidFill>
                <a:latin typeface="Segoe UI Semibold" panose="020B0702040204020203" pitchFamily="34" charset="0"/>
                <a:cs typeface="Segoe UI Semibold" panose="020B0702040204020203" pitchFamily="34" charset="0"/>
              </a:rPr>
              <a:t>VNet</a:t>
            </a:r>
            <a:endParaRPr lang="en-US" sz="2353" dirty="0">
              <a:solidFill>
                <a:srgbClr val="505050"/>
              </a:solidFill>
              <a:latin typeface="Segoe UI Semibold" panose="020B0702040204020203" pitchFamily="34" charset="0"/>
              <a:cs typeface="Segoe UI Semibold" panose="020B0702040204020203" pitchFamily="34" charset="0"/>
            </a:endParaRPr>
          </a:p>
        </p:txBody>
      </p:sp>
      <p:sp>
        <p:nvSpPr>
          <p:cNvPr id="10" name="TextBox 9"/>
          <p:cNvSpPr txBox="1"/>
          <p:nvPr/>
        </p:nvSpPr>
        <p:spPr>
          <a:xfrm>
            <a:off x="3085711" y="2324685"/>
            <a:ext cx="1792849" cy="905179"/>
          </a:xfrm>
          <a:prstGeom prst="rect">
            <a:avLst/>
          </a:prstGeom>
          <a:noFill/>
        </p:spPr>
        <p:txBody>
          <a:bodyPr wrap="square" rtlCol="0">
            <a:spAutoFit/>
          </a:bodyPr>
          <a:lstStyle/>
          <a:p>
            <a:pPr algn="r" defTabSz="914367"/>
            <a:r>
              <a:rPr lang="en-US" sz="1765" dirty="0">
                <a:solidFill>
                  <a:srgbClr val="505050"/>
                </a:solidFill>
                <a:latin typeface="Segoe UI Semibold" panose="020B0702040204020203" pitchFamily="34" charset="0"/>
                <a:cs typeface="Segoe UI Semibold" panose="020B0702040204020203" pitchFamily="34" charset="0"/>
              </a:rPr>
              <a:t>Secure gateway</a:t>
            </a:r>
          </a:p>
          <a:p>
            <a:pPr algn="r" defTabSz="914367"/>
            <a:r>
              <a:rPr lang="en-US" sz="1765" dirty="0" err="1">
                <a:solidFill>
                  <a:srgbClr val="505050"/>
                </a:solidFill>
                <a:latin typeface="Segoe UI Semibold" panose="020B0702040204020203" pitchFamily="34" charset="0"/>
                <a:cs typeface="Segoe UI Semibold" panose="020B0702040204020203" pitchFamily="34" charset="0"/>
              </a:rPr>
              <a:t>AuthN</a:t>
            </a:r>
            <a:endParaRPr lang="en-US" sz="1765" dirty="0">
              <a:solidFill>
                <a:srgbClr val="505050"/>
              </a:solidFill>
              <a:latin typeface="Segoe UI Semibold" panose="020B0702040204020203" pitchFamily="34" charset="0"/>
              <a:cs typeface="Segoe UI Semibold" panose="020B0702040204020203" pitchFamily="34" charset="0"/>
            </a:endParaRPr>
          </a:p>
          <a:p>
            <a:pPr algn="r" defTabSz="914367"/>
            <a:r>
              <a:rPr lang="en-US" sz="1765" dirty="0">
                <a:solidFill>
                  <a:srgbClr val="505050"/>
                </a:solidFill>
                <a:latin typeface="Segoe UI Semibold" panose="020B0702040204020203" pitchFamily="34" charset="0"/>
                <a:cs typeface="Segoe UI Semibold" panose="020B0702040204020203" pitchFamily="34" charset="0"/>
              </a:rPr>
              <a:t>HTTP Proxy</a:t>
            </a:r>
          </a:p>
        </p:txBody>
      </p:sp>
      <p:grpSp>
        <p:nvGrpSpPr>
          <p:cNvPr id="39" name="Group 38"/>
          <p:cNvGrpSpPr/>
          <p:nvPr/>
        </p:nvGrpSpPr>
        <p:grpSpPr>
          <a:xfrm rot="5400000">
            <a:off x="5910199" y="2949074"/>
            <a:ext cx="694016" cy="1662739"/>
            <a:chOff x="5835515" y="2993627"/>
            <a:chExt cx="1016991" cy="2436531"/>
          </a:xfrm>
        </p:grpSpPr>
        <p:sp>
          <p:nvSpPr>
            <p:cNvPr id="11" name="Rectangle 10"/>
            <p:cNvSpPr/>
            <p:nvPr/>
          </p:nvSpPr>
          <p:spPr>
            <a:xfrm>
              <a:off x="5835515" y="2993627"/>
              <a:ext cx="1016991" cy="2436531"/>
            </a:xfrm>
            <a:prstGeom prst="rect">
              <a:avLst/>
            </a:prstGeom>
            <a:noFill/>
            <a:ln w="28575">
              <a:solidFill>
                <a:schemeClr val="accent2"/>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367"/>
              <a:endParaRPr lang="en-US" sz="1765">
                <a:solidFill>
                  <a:srgbClr val="505050"/>
                </a:solidFill>
              </a:endParaRPr>
            </a:p>
          </p:txBody>
        </p:sp>
        <p:sp>
          <p:nvSpPr>
            <p:cNvPr id="12" name="Rectangle 11"/>
            <p:cNvSpPr/>
            <p:nvPr/>
          </p:nvSpPr>
          <p:spPr>
            <a:xfrm>
              <a:off x="5963390" y="3384226"/>
              <a:ext cx="756226" cy="72245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505050"/>
                </a:solidFill>
              </a:endParaRPr>
            </a:p>
          </p:txBody>
        </p:sp>
        <p:sp>
          <p:nvSpPr>
            <p:cNvPr id="13" name="Rectangle 12"/>
            <p:cNvSpPr/>
            <p:nvPr/>
          </p:nvSpPr>
          <p:spPr>
            <a:xfrm>
              <a:off x="5965897" y="4360222"/>
              <a:ext cx="756226" cy="72245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505050"/>
                </a:solidFill>
              </a:endParaRPr>
            </a:p>
          </p:txBody>
        </p:sp>
      </p:grpSp>
      <p:sp>
        <p:nvSpPr>
          <p:cNvPr id="14" name="TextBox 13"/>
          <p:cNvSpPr txBox="1"/>
          <p:nvPr/>
        </p:nvSpPr>
        <p:spPr>
          <a:xfrm>
            <a:off x="3063801" y="3463632"/>
            <a:ext cx="1814758" cy="633625"/>
          </a:xfrm>
          <a:prstGeom prst="rect">
            <a:avLst/>
          </a:prstGeom>
          <a:noFill/>
        </p:spPr>
        <p:txBody>
          <a:bodyPr wrap="none" rtlCol="0">
            <a:spAutoFit/>
          </a:bodyPr>
          <a:lstStyle/>
          <a:p>
            <a:pPr algn="r" defTabSz="914367"/>
            <a:r>
              <a:rPr lang="en-US" sz="1765" dirty="0">
                <a:solidFill>
                  <a:srgbClr val="505050"/>
                </a:solidFill>
                <a:latin typeface="Segoe UI Semibold" panose="020B0702040204020203" pitchFamily="34" charset="0"/>
                <a:cs typeface="Segoe UI Semibold" panose="020B0702040204020203" pitchFamily="34" charset="0"/>
              </a:rPr>
              <a:t>Highly available</a:t>
            </a:r>
            <a:br>
              <a:rPr lang="en-US" sz="1765" dirty="0">
                <a:solidFill>
                  <a:srgbClr val="505050"/>
                </a:solidFill>
                <a:latin typeface="Segoe UI Semibold" panose="020B0702040204020203" pitchFamily="34" charset="0"/>
                <a:cs typeface="Segoe UI Semibold" panose="020B0702040204020203" pitchFamily="34" charset="0"/>
              </a:rPr>
            </a:br>
            <a:r>
              <a:rPr lang="en-US" sz="1765" dirty="0">
                <a:solidFill>
                  <a:srgbClr val="505050"/>
                </a:solidFill>
                <a:latin typeface="Segoe UI Semibold" panose="020B0702040204020203" pitchFamily="34" charset="0"/>
                <a:cs typeface="Segoe UI Semibold" panose="020B0702040204020203" pitchFamily="34" charset="0"/>
              </a:rPr>
              <a:t>Head nodes</a:t>
            </a:r>
          </a:p>
        </p:txBody>
      </p:sp>
      <p:sp>
        <p:nvSpPr>
          <p:cNvPr id="15" name="Rectangle 14"/>
          <p:cNvSpPr/>
          <p:nvPr/>
        </p:nvSpPr>
        <p:spPr>
          <a:xfrm>
            <a:off x="5078281" y="4360338"/>
            <a:ext cx="599103" cy="572348"/>
          </a:xfrm>
          <a:prstGeom prst="rect">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505050"/>
              </a:solidFill>
            </a:endParaRPr>
          </a:p>
        </p:txBody>
      </p:sp>
      <p:sp>
        <p:nvSpPr>
          <p:cNvPr id="16" name="Rectangle 15"/>
          <p:cNvSpPr/>
          <p:nvPr/>
        </p:nvSpPr>
        <p:spPr>
          <a:xfrm>
            <a:off x="5181738" y="4407237"/>
            <a:ext cx="599103" cy="572348"/>
          </a:xfrm>
          <a:prstGeom prst="rect">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505050"/>
              </a:solidFill>
            </a:endParaRPr>
          </a:p>
        </p:txBody>
      </p:sp>
      <p:sp>
        <p:nvSpPr>
          <p:cNvPr id="17" name="Rectangle 16"/>
          <p:cNvSpPr/>
          <p:nvPr/>
        </p:nvSpPr>
        <p:spPr>
          <a:xfrm>
            <a:off x="5285193" y="4454135"/>
            <a:ext cx="599103" cy="572348"/>
          </a:xfrm>
          <a:prstGeom prst="rect">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505050"/>
              </a:solidFill>
            </a:endParaRPr>
          </a:p>
        </p:txBody>
      </p:sp>
      <p:sp>
        <p:nvSpPr>
          <p:cNvPr id="18" name="Rectangle 17"/>
          <p:cNvSpPr/>
          <p:nvPr/>
        </p:nvSpPr>
        <p:spPr>
          <a:xfrm>
            <a:off x="5388650" y="4501033"/>
            <a:ext cx="599103" cy="572348"/>
          </a:xfrm>
          <a:prstGeom prst="rect">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505050"/>
              </a:solidFill>
            </a:endParaRPr>
          </a:p>
        </p:txBody>
      </p:sp>
      <p:sp>
        <p:nvSpPr>
          <p:cNvPr id="19" name="Rectangle 18"/>
          <p:cNvSpPr/>
          <p:nvPr/>
        </p:nvSpPr>
        <p:spPr>
          <a:xfrm>
            <a:off x="5492106" y="4547932"/>
            <a:ext cx="599103" cy="572348"/>
          </a:xfrm>
          <a:prstGeom prst="rect">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505050"/>
              </a:solidFill>
            </a:endParaRPr>
          </a:p>
        </p:txBody>
      </p:sp>
      <p:sp>
        <p:nvSpPr>
          <p:cNvPr id="20" name="Rectangle 19"/>
          <p:cNvSpPr/>
          <p:nvPr/>
        </p:nvSpPr>
        <p:spPr>
          <a:xfrm>
            <a:off x="5595563" y="4594829"/>
            <a:ext cx="599103" cy="572348"/>
          </a:xfrm>
          <a:prstGeom prst="rect">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505050"/>
              </a:solidFill>
            </a:endParaRPr>
          </a:p>
        </p:txBody>
      </p:sp>
      <p:sp>
        <p:nvSpPr>
          <p:cNvPr id="21" name="Rectangle 20"/>
          <p:cNvSpPr/>
          <p:nvPr/>
        </p:nvSpPr>
        <p:spPr>
          <a:xfrm>
            <a:off x="5699018" y="4641728"/>
            <a:ext cx="599103" cy="572348"/>
          </a:xfrm>
          <a:prstGeom prst="rect">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505050"/>
              </a:solidFill>
            </a:endParaRPr>
          </a:p>
        </p:txBody>
      </p:sp>
      <p:sp>
        <p:nvSpPr>
          <p:cNvPr id="22" name="Rectangle 21"/>
          <p:cNvSpPr/>
          <p:nvPr/>
        </p:nvSpPr>
        <p:spPr>
          <a:xfrm>
            <a:off x="5802475" y="4688626"/>
            <a:ext cx="599103" cy="572348"/>
          </a:xfrm>
          <a:prstGeom prst="rect">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505050"/>
              </a:solidFill>
            </a:endParaRPr>
          </a:p>
        </p:txBody>
      </p:sp>
      <p:sp>
        <p:nvSpPr>
          <p:cNvPr id="23" name="Rectangle 22"/>
          <p:cNvSpPr/>
          <p:nvPr/>
        </p:nvSpPr>
        <p:spPr>
          <a:xfrm>
            <a:off x="5905931" y="4735525"/>
            <a:ext cx="599103" cy="572348"/>
          </a:xfrm>
          <a:prstGeom prst="rect">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765" dirty="0">
                <a:solidFill>
                  <a:srgbClr val="505050"/>
                </a:solidFill>
              </a:rPr>
              <a:t> x</a:t>
            </a:r>
          </a:p>
        </p:txBody>
      </p:sp>
      <p:sp>
        <p:nvSpPr>
          <p:cNvPr id="24" name="Rectangle 23"/>
          <p:cNvSpPr/>
          <p:nvPr/>
        </p:nvSpPr>
        <p:spPr>
          <a:xfrm>
            <a:off x="6009387" y="4782423"/>
            <a:ext cx="599103" cy="572348"/>
          </a:xfrm>
          <a:prstGeom prst="rect">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505050"/>
              </a:solidFill>
            </a:endParaRPr>
          </a:p>
        </p:txBody>
      </p:sp>
      <p:sp>
        <p:nvSpPr>
          <p:cNvPr id="25" name="Rectangle 24"/>
          <p:cNvSpPr/>
          <p:nvPr/>
        </p:nvSpPr>
        <p:spPr>
          <a:xfrm>
            <a:off x="6112843" y="4829321"/>
            <a:ext cx="599103" cy="572348"/>
          </a:xfrm>
          <a:prstGeom prst="rect">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505050"/>
              </a:solidFill>
            </a:endParaRPr>
          </a:p>
        </p:txBody>
      </p:sp>
      <p:sp>
        <p:nvSpPr>
          <p:cNvPr id="26" name="Rectangle 25"/>
          <p:cNvSpPr/>
          <p:nvPr/>
        </p:nvSpPr>
        <p:spPr>
          <a:xfrm>
            <a:off x="6216300" y="4876220"/>
            <a:ext cx="599103" cy="572348"/>
          </a:xfrm>
          <a:prstGeom prst="rect">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505050"/>
              </a:solidFill>
            </a:endParaRPr>
          </a:p>
        </p:txBody>
      </p:sp>
      <p:sp>
        <p:nvSpPr>
          <p:cNvPr id="27" name="Rectangle 26"/>
          <p:cNvSpPr/>
          <p:nvPr/>
        </p:nvSpPr>
        <p:spPr>
          <a:xfrm>
            <a:off x="6319756" y="4923117"/>
            <a:ext cx="599103" cy="572348"/>
          </a:xfrm>
          <a:prstGeom prst="rect">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505050"/>
              </a:solidFill>
            </a:endParaRPr>
          </a:p>
        </p:txBody>
      </p:sp>
      <p:sp>
        <p:nvSpPr>
          <p:cNvPr id="28" name="Rectangle 27"/>
          <p:cNvSpPr/>
          <p:nvPr/>
        </p:nvSpPr>
        <p:spPr>
          <a:xfrm>
            <a:off x="6423212" y="4970016"/>
            <a:ext cx="599103" cy="572348"/>
          </a:xfrm>
          <a:prstGeom prst="rect">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505050"/>
              </a:solidFill>
            </a:endParaRPr>
          </a:p>
        </p:txBody>
      </p:sp>
      <p:sp>
        <p:nvSpPr>
          <p:cNvPr id="29" name="Rectangle 28"/>
          <p:cNvSpPr/>
          <p:nvPr/>
        </p:nvSpPr>
        <p:spPr>
          <a:xfrm>
            <a:off x="6526668" y="5016915"/>
            <a:ext cx="599103" cy="572348"/>
          </a:xfrm>
          <a:prstGeom prst="rect">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505050"/>
              </a:solidFill>
            </a:endParaRPr>
          </a:p>
        </p:txBody>
      </p:sp>
      <p:sp>
        <p:nvSpPr>
          <p:cNvPr id="30" name="Rectangle 29"/>
          <p:cNvSpPr/>
          <p:nvPr/>
        </p:nvSpPr>
        <p:spPr>
          <a:xfrm>
            <a:off x="6630125" y="5063812"/>
            <a:ext cx="599103" cy="572348"/>
          </a:xfrm>
          <a:prstGeom prst="rect">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505050"/>
              </a:solidFill>
            </a:endParaRPr>
          </a:p>
        </p:txBody>
      </p:sp>
      <p:sp>
        <p:nvSpPr>
          <p:cNvPr id="31" name="Rectangle 30"/>
          <p:cNvSpPr/>
          <p:nvPr/>
        </p:nvSpPr>
        <p:spPr>
          <a:xfrm>
            <a:off x="6733580" y="5110711"/>
            <a:ext cx="599103" cy="572348"/>
          </a:xfrm>
          <a:prstGeom prst="rect">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505050"/>
              </a:solidFill>
            </a:endParaRPr>
          </a:p>
        </p:txBody>
      </p:sp>
      <p:sp>
        <p:nvSpPr>
          <p:cNvPr id="32" name="Rectangle 31"/>
          <p:cNvSpPr/>
          <p:nvPr/>
        </p:nvSpPr>
        <p:spPr>
          <a:xfrm>
            <a:off x="6837031" y="5157614"/>
            <a:ext cx="599103" cy="572348"/>
          </a:xfrm>
          <a:prstGeom prst="rect">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505050"/>
              </a:solidFill>
            </a:endParaRPr>
          </a:p>
        </p:txBody>
      </p:sp>
      <p:sp>
        <p:nvSpPr>
          <p:cNvPr id="33" name="TextBox 32"/>
          <p:cNvSpPr txBox="1"/>
          <p:nvPr/>
        </p:nvSpPr>
        <p:spPr>
          <a:xfrm>
            <a:off x="3261432" y="4770573"/>
            <a:ext cx="1617127" cy="362072"/>
          </a:xfrm>
          <a:prstGeom prst="rect">
            <a:avLst/>
          </a:prstGeom>
          <a:noFill/>
        </p:spPr>
        <p:txBody>
          <a:bodyPr wrap="none" rtlCol="0">
            <a:spAutoFit/>
          </a:bodyPr>
          <a:lstStyle/>
          <a:p>
            <a:pPr algn="r" defTabSz="914367"/>
            <a:r>
              <a:rPr lang="en-US" sz="1765" dirty="0">
                <a:solidFill>
                  <a:srgbClr val="505050"/>
                </a:solidFill>
                <a:latin typeface="Segoe UI Semibold" panose="020B0702040204020203" pitchFamily="34" charset="0"/>
                <a:cs typeface="Segoe UI Semibold" panose="020B0702040204020203" pitchFamily="34" charset="0"/>
              </a:rPr>
              <a:t>Worker nodes</a:t>
            </a:r>
          </a:p>
        </p:txBody>
      </p:sp>
      <p:grpSp>
        <p:nvGrpSpPr>
          <p:cNvPr id="89" name="Group 88"/>
          <p:cNvGrpSpPr/>
          <p:nvPr/>
        </p:nvGrpSpPr>
        <p:grpSpPr>
          <a:xfrm>
            <a:off x="2977322" y="1187940"/>
            <a:ext cx="6559772" cy="854404"/>
            <a:chOff x="6858743" y="2325513"/>
            <a:chExt cx="6691309" cy="871537"/>
          </a:xfrm>
        </p:grpSpPr>
        <p:sp>
          <p:nvSpPr>
            <p:cNvPr id="5" name="Rectangle 4"/>
            <p:cNvSpPr/>
            <p:nvPr/>
          </p:nvSpPr>
          <p:spPr bwMode="auto">
            <a:xfrm>
              <a:off x="6858743" y="2325513"/>
              <a:ext cx="6691309" cy="87153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89642" tIns="44821" rIns="89642" bIns="44821" numCol="1" spcCol="0" rtlCol="0" fromWordArt="0" anchor="t" anchorCtr="0" forceAA="0" compatLnSpc="1">
              <a:prstTxWarp prst="textNoShape">
                <a:avLst/>
              </a:prstTxWarp>
              <a:noAutofit/>
            </a:bodyPr>
            <a:lstStyle/>
            <a:p>
              <a:pPr algn="ctr" defTabSz="914102" fontAlgn="base">
                <a:spcBef>
                  <a:spcPct val="0"/>
                </a:spcBef>
                <a:spcAft>
                  <a:spcPct val="0"/>
                </a:spcAft>
              </a:pPr>
              <a:r>
                <a:rPr lang="en-IN" sz="1961" dirty="0">
                  <a:solidFill>
                    <a:srgbClr val="505050"/>
                  </a:solidFill>
                  <a:latin typeface="Segoe UI Semibold" panose="020B0702040204020203" pitchFamily="34" charset="0"/>
                  <a:ea typeface="Segoe UI" pitchFamily="34" charset="0"/>
                  <a:cs typeface="Segoe UI Semibold" panose="020B0702040204020203" pitchFamily="34" charset="0"/>
                </a:rPr>
                <a:t>HTTP traffic</a:t>
              </a:r>
            </a:p>
          </p:txBody>
        </p:sp>
        <p:grpSp>
          <p:nvGrpSpPr>
            <p:cNvPr id="88" name="Group 87"/>
            <p:cNvGrpSpPr/>
            <p:nvPr/>
          </p:nvGrpSpPr>
          <p:grpSpPr>
            <a:xfrm>
              <a:off x="7682536" y="2493134"/>
              <a:ext cx="5670857" cy="536294"/>
              <a:chOff x="7651739" y="2525033"/>
              <a:chExt cx="5670857" cy="536294"/>
            </a:xfrm>
          </p:grpSpPr>
          <p:sp>
            <p:nvSpPr>
              <p:cNvPr id="35" name="Rectangle 34"/>
              <p:cNvSpPr/>
              <p:nvPr/>
            </p:nvSpPr>
            <p:spPr bwMode="auto">
              <a:xfrm>
                <a:off x="7651739" y="2525033"/>
                <a:ext cx="1385160" cy="53629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algn="ctr" defTabSz="914102" fontAlgn="base">
                  <a:spcBef>
                    <a:spcPct val="0"/>
                  </a:spcBef>
                  <a:spcAft>
                    <a:spcPct val="0"/>
                  </a:spcAft>
                </a:pPr>
                <a:r>
                  <a:rPr lang="en-IN" sz="1568" b="1" dirty="0">
                    <a:solidFill>
                      <a:srgbClr val="505050"/>
                    </a:solidFill>
                    <a:latin typeface="Segoe UI Light"/>
                    <a:ea typeface="Segoe UI" pitchFamily="34" charset="0"/>
                    <a:cs typeface="Segoe UI" pitchFamily="34" charset="0"/>
                  </a:rPr>
                  <a:t>ODBC/JDBC</a:t>
                </a:r>
              </a:p>
            </p:txBody>
          </p:sp>
          <p:sp>
            <p:nvSpPr>
              <p:cNvPr id="85" name="Rectangle 84"/>
              <p:cNvSpPr/>
              <p:nvPr/>
            </p:nvSpPr>
            <p:spPr bwMode="auto">
              <a:xfrm>
                <a:off x="9080305" y="2525033"/>
                <a:ext cx="1385160" cy="53629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algn="ctr" defTabSz="914102" fontAlgn="base">
                  <a:spcBef>
                    <a:spcPct val="0"/>
                  </a:spcBef>
                  <a:spcAft>
                    <a:spcPct val="0"/>
                  </a:spcAft>
                </a:pPr>
                <a:r>
                  <a:rPr lang="en-IN" sz="1568" b="1" dirty="0" err="1">
                    <a:solidFill>
                      <a:srgbClr val="505050"/>
                    </a:solidFill>
                    <a:latin typeface="Segoe UI Light"/>
                    <a:ea typeface="Segoe UI" pitchFamily="34" charset="0"/>
                    <a:cs typeface="Segoe UI" pitchFamily="34" charset="0"/>
                  </a:rPr>
                  <a:t>WebHCatalog</a:t>
                </a:r>
                <a:endParaRPr lang="en-IN" sz="1568" b="1" dirty="0">
                  <a:solidFill>
                    <a:srgbClr val="505050"/>
                  </a:solidFill>
                  <a:latin typeface="Segoe UI Light"/>
                  <a:ea typeface="Segoe UI" pitchFamily="34" charset="0"/>
                  <a:cs typeface="Segoe UI" pitchFamily="34" charset="0"/>
                </a:endParaRPr>
              </a:p>
            </p:txBody>
          </p:sp>
          <p:sp>
            <p:nvSpPr>
              <p:cNvPr id="86" name="Rectangle 85"/>
              <p:cNvSpPr/>
              <p:nvPr/>
            </p:nvSpPr>
            <p:spPr bwMode="auto">
              <a:xfrm>
                <a:off x="10508871" y="2525033"/>
                <a:ext cx="1385160" cy="53629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algn="ctr" defTabSz="914102" fontAlgn="base">
                  <a:spcBef>
                    <a:spcPct val="0"/>
                  </a:spcBef>
                  <a:spcAft>
                    <a:spcPct val="0"/>
                  </a:spcAft>
                </a:pPr>
                <a:r>
                  <a:rPr lang="en-IN" sz="1568" b="1" dirty="0" err="1">
                    <a:solidFill>
                      <a:srgbClr val="505050"/>
                    </a:solidFill>
                    <a:latin typeface="Segoe UI Light"/>
                    <a:ea typeface="Segoe UI" pitchFamily="34" charset="0"/>
                    <a:cs typeface="Segoe UI" pitchFamily="34" charset="0"/>
                  </a:rPr>
                  <a:t>Oozie</a:t>
                </a:r>
                <a:endParaRPr lang="en-IN" sz="1568" b="1" dirty="0">
                  <a:solidFill>
                    <a:srgbClr val="505050"/>
                  </a:solidFill>
                  <a:latin typeface="Segoe UI Light"/>
                  <a:ea typeface="Segoe UI" pitchFamily="34" charset="0"/>
                  <a:cs typeface="Segoe UI" pitchFamily="34" charset="0"/>
                </a:endParaRPr>
              </a:p>
            </p:txBody>
          </p:sp>
          <p:sp>
            <p:nvSpPr>
              <p:cNvPr id="87" name="Rectangle 86"/>
              <p:cNvSpPr/>
              <p:nvPr/>
            </p:nvSpPr>
            <p:spPr bwMode="auto">
              <a:xfrm>
                <a:off x="11937436" y="2525033"/>
                <a:ext cx="1385160" cy="53629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algn="ctr" defTabSz="914102" fontAlgn="base">
                  <a:spcBef>
                    <a:spcPct val="0"/>
                  </a:spcBef>
                  <a:spcAft>
                    <a:spcPct val="0"/>
                  </a:spcAft>
                </a:pPr>
                <a:r>
                  <a:rPr lang="en-IN" sz="1568" b="1" dirty="0" err="1">
                    <a:solidFill>
                      <a:srgbClr val="505050"/>
                    </a:solidFill>
                    <a:latin typeface="Segoe UI Light"/>
                    <a:ea typeface="Segoe UI" pitchFamily="34" charset="0"/>
                    <a:cs typeface="Segoe UI" pitchFamily="34" charset="0"/>
                  </a:rPr>
                  <a:t>Ambari</a:t>
                </a:r>
                <a:endParaRPr lang="en-IN" sz="1568" b="1" dirty="0">
                  <a:solidFill>
                    <a:srgbClr val="505050"/>
                  </a:solidFill>
                  <a:latin typeface="Segoe UI Light"/>
                  <a:ea typeface="Segoe UI" pitchFamily="34" charset="0"/>
                  <a:cs typeface="Segoe UI" pitchFamily="34" charset="0"/>
                </a:endParaRPr>
              </a:p>
            </p:txBody>
          </p:sp>
        </p:grpSp>
      </p:grpSp>
      <p:cxnSp>
        <p:nvCxnSpPr>
          <p:cNvPr id="92" name="Straight Connector 91"/>
          <p:cNvCxnSpPr/>
          <p:nvPr/>
        </p:nvCxnSpPr>
        <p:spPr>
          <a:xfrm flipH="1">
            <a:off x="3207090" y="3262682"/>
            <a:ext cx="5819701" cy="0"/>
          </a:xfrm>
          <a:prstGeom prst="line">
            <a:avLst/>
          </a:prstGeom>
          <a:ln w="3175">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flipH="1">
            <a:off x="3207090" y="4298206"/>
            <a:ext cx="5819701" cy="0"/>
          </a:xfrm>
          <a:prstGeom prst="line">
            <a:avLst/>
          </a:prstGeom>
          <a:ln w="3175">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p:nvPr/>
        </p:nvCxnSpPr>
        <p:spPr>
          <a:xfrm flipH="1">
            <a:off x="6257209" y="2042343"/>
            <a:ext cx="1" cy="431086"/>
          </a:xfrm>
          <a:prstGeom prst="straightConnector1">
            <a:avLst/>
          </a:prstGeom>
          <a:ln w="25400">
            <a:solidFill>
              <a:schemeClr val="bg1">
                <a:lumMod val="50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99" name="Straight Arrow Connector 98"/>
          <p:cNvCxnSpPr>
            <a:stCxn id="9" idx="3"/>
            <a:endCxn id="11" idx="1"/>
          </p:cNvCxnSpPr>
          <p:nvPr/>
        </p:nvCxnSpPr>
        <p:spPr>
          <a:xfrm>
            <a:off x="6257207" y="3064829"/>
            <a:ext cx="0" cy="368608"/>
          </a:xfrm>
          <a:prstGeom prst="straightConnector1">
            <a:avLst/>
          </a:prstGeom>
          <a:ln w="25400">
            <a:solidFill>
              <a:schemeClr val="bg1">
                <a:lumMod val="50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grpSp>
        <p:nvGrpSpPr>
          <p:cNvPr id="40" name="Group 39"/>
          <p:cNvGrpSpPr/>
          <p:nvPr/>
        </p:nvGrpSpPr>
        <p:grpSpPr>
          <a:xfrm rot="5400000">
            <a:off x="5969655" y="2081011"/>
            <a:ext cx="575107" cy="1392528"/>
            <a:chOff x="4094531" y="2325003"/>
            <a:chExt cx="586639" cy="1420451"/>
          </a:xfrm>
        </p:grpSpPr>
        <p:sp>
          <p:nvSpPr>
            <p:cNvPr id="9" name="Rectangle 8"/>
            <p:cNvSpPr/>
            <p:nvPr/>
          </p:nvSpPr>
          <p:spPr>
            <a:xfrm>
              <a:off x="4094531" y="2325003"/>
              <a:ext cx="586639" cy="1420451"/>
            </a:xfrm>
            <a:prstGeom prst="rect">
              <a:avLst/>
            </a:prstGeom>
            <a:noFill/>
            <a:ln w="28575">
              <a:solidFill>
                <a:schemeClr val="accent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914367"/>
              <a:endParaRPr lang="en-US" sz="1765">
                <a:solidFill>
                  <a:srgbClr val="505050"/>
                </a:solidFill>
              </a:endParaRPr>
            </a:p>
          </p:txBody>
        </p:sp>
        <p:sp>
          <p:nvSpPr>
            <p:cNvPr id="7" name="Rectangle 6"/>
            <p:cNvSpPr/>
            <p:nvPr/>
          </p:nvSpPr>
          <p:spPr>
            <a:xfrm>
              <a:off x="4169741" y="2557138"/>
              <a:ext cx="436218" cy="42117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505050"/>
                </a:solidFill>
              </a:endParaRPr>
            </a:p>
          </p:txBody>
        </p:sp>
        <p:sp>
          <p:nvSpPr>
            <p:cNvPr id="8" name="Rectangle 7"/>
            <p:cNvSpPr/>
            <p:nvPr/>
          </p:nvSpPr>
          <p:spPr>
            <a:xfrm>
              <a:off x="4169741" y="3091129"/>
              <a:ext cx="436218" cy="42117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505050"/>
                </a:solidFill>
              </a:endParaRPr>
            </a:p>
          </p:txBody>
        </p:sp>
      </p:grpSp>
      <p:cxnSp>
        <p:nvCxnSpPr>
          <p:cNvPr id="103" name="Straight Arrow Connector 102"/>
          <p:cNvCxnSpPr>
            <a:stCxn id="11" idx="3"/>
          </p:cNvCxnSpPr>
          <p:nvPr/>
        </p:nvCxnSpPr>
        <p:spPr>
          <a:xfrm>
            <a:off x="6257207" y="4127452"/>
            <a:ext cx="0" cy="462158"/>
          </a:xfrm>
          <a:prstGeom prst="straightConnector1">
            <a:avLst/>
          </a:prstGeom>
          <a:ln w="25400">
            <a:solidFill>
              <a:schemeClr val="bg1">
                <a:lumMod val="50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06" name="Straight Arrow Connector 105"/>
          <p:cNvCxnSpPr/>
          <p:nvPr/>
        </p:nvCxnSpPr>
        <p:spPr>
          <a:xfrm>
            <a:off x="6257207" y="5448568"/>
            <a:ext cx="0" cy="360642"/>
          </a:xfrm>
          <a:prstGeom prst="straightConnector1">
            <a:avLst/>
          </a:prstGeom>
          <a:ln w="25400">
            <a:solidFill>
              <a:schemeClr val="bg1">
                <a:lumMod val="50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1755196"/>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9"/>
                                        </p:tgtEl>
                                        <p:attrNameLst>
                                          <p:attrName>style.visibility</p:attrName>
                                        </p:attrNameLst>
                                      </p:cBhvr>
                                      <p:to>
                                        <p:strVal val="visible"/>
                                      </p:to>
                                    </p:set>
                                    <p:animEffect transition="in" filter="fade">
                                      <p:cBhvr>
                                        <p:cTn id="7" dur="500"/>
                                        <p:tgtEl>
                                          <p:spTgt spid="89"/>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95"/>
                                        </p:tgtEl>
                                        <p:attrNameLst>
                                          <p:attrName>style.visibility</p:attrName>
                                        </p:attrNameLst>
                                      </p:cBhvr>
                                      <p:to>
                                        <p:strVal val="visible"/>
                                      </p:to>
                                    </p:set>
                                    <p:animEffect transition="in" filter="wipe(up)">
                                      <p:cBhvr>
                                        <p:cTn id="11" dur="500"/>
                                        <p:tgtEl>
                                          <p:spTgt spid="95"/>
                                        </p:tgtEl>
                                      </p:cBhvr>
                                    </p:animEffect>
                                  </p:childTnLst>
                                </p:cTn>
                              </p:par>
                              <p:par>
                                <p:cTn id="12" presetID="10" presetClass="entr" presetSubtype="0" fill="hold" grpId="0" nodeType="withEffect">
                                  <p:stCondLst>
                                    <p:cond delay="25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childTnLst>
                          </p:cTn>
                        </p:par>
                        <p:par>
                          <p:cTn id="15" fill="hold">
                            <p:stCondLst>
                              <p:cond delay="1250"/>
                            </p:stCondLst>
                            <p:childTnLst>
                              <p:par>
                                <p:cTn id="16" presetID="22" presetClass="entr" presetSubtype="8" fill="hold" grpId="0" nodeType="after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wipe(left)">
                                      <p:cBhvr>
                                        <p:cTn id="18" dur="500"/>
                                        <p:tgtEl>
                                          <p:spTgt spid="10"/>
                                        </p:tgtEl>
                                      </p:cBhvr>
                                    </p:animEffect>
                                  </p:childTnLst>
                                </p:cTn>
                              </p:par>
                            </p:childTnLst>
                          </p:cTn>
                        </p:par>
                        <p:par>
                          <p:cTn id="19" fill="hold">
                            <p:stCondLst>
                              <p:cond delay="1750"/>
                            </p:stCondLst>
                            <p:childTnLst>
                              <p:par>
                                <p:cTn id="20" presetID="10" presetClass="entr" presetSubtype="0" fill="hold" nodeType="after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nodeType="withEffect">
                                  <p:stCondLst>
                                    <p:cond delay="0"/>
                                  </p:stCondLst>
                                  <p:childTnLst>
                                    <p:set>
                                      <p:cBhvr>
                                        <p:cTn id="24" dur="1" fill="hold">
                                          <p:stCondLst>
                                            <p:cond delay="0"/>
                                          </p:stCondLst>
                                        </p:cTn>
                                        <p:tgtEl>
                                          <p:spTgt spid="92"/>
                                        </p:tgtEl>
                                        <p:attrNameLst>
                                          <p:attrName>style.visibility</p:attrName>
                                        </p:attrNameLst>
                                      </p:cBhvr>
                                      <p:to>
                                        <p:strVal val="visible"/>
                                      </p:to>
                                    </p:set>
                                    <p:animEffect transition="in" filter="fade">
                                      <p:cBhvr>
                                        <p:cTn id="25" dur="500"/>
                                        <p:tgtEl>
                                          <p:spTgt spid="92"/>
                                        </p:tgtEl>
                                      </p:cBhvr>
                                    </p:animEffect>
                                  </p:childTnLst>
                                </p:cTn>
                              </p:par>
                            </p:childTnLst>
                          </p:cTn>
                        </p:par>
                        <p:par>
                          <p:cTn id="26" fill="hold">
                            <p:stCondLst>
                              <p:cond delay="2250"/>
                            </p:stCondLst>
                            <p:childTnLst>
                              <p:par>
                                <p:cTn id="27" presetID="22" presetClass="entr" presetSubtype="1" fill="hold" nodeType="afterEffect">
                                  <p:stCondLst>
                                    <p:cond delay="0"/>
                                  </p:stCondLst>
                                  <p:childTnLst>
                                    <p:set>
                                      <p:cBhvr>
                                        <p:cTn id="28" dur="1" fill="hold">
                                          <p:stCondLst>
                                            <p:cond delay="0"/>
                                          </p:stCondLst>
                                        </p:cTn>
                                        <p:tgtEl>
                                          <p:spTgt spid="99"/>
                                        </p:tgtEl>
                                        <p:attrNameLst>
                                          <p:attrName>style.visibility</p:attrName>
                                        </p:attrNameLst>
                                      </p:cBhvr>
                                      <p:to>
                                        <p:strVal val="visible"/>
                                      </p:to>
                                    </p:set>
                                    <p:animEffect transition="in" filter="wipe(up)">
                                      <p:cBhvr>
                                        <p:cTn id="29" dur="500"/>
                                        <p:tgtEl>
                                          <p:spTgt spid="99"/>
                                        </p:tgtEl>
                                      </p:cBhvr>
                                    </p:animEffect>
                                  </p:childTnLst>
                                </p:cTn>
                              </p:par>
                            </p:childTnLst>
                          </p:cTn>
                        </p:par>
                        <p:par>
                          <p:cTn id="30" fill="hold">
                            <p:stCondLst>
                              <p:cond delay="2750"/>
                            </p:stCondLst>
                            <p:childTnLst>
                              <p:par>
                                <p:cTn id="31" presetID="22" presetClass="entr" presetSubtype="8" fill="hold" grpId="0" nodeType="afterEffect">
                                  <p:stCondLst>
                                    <p:cond delay="0"/>
                                  </p:stCondLst>
                                  <p:childTnLst>
                                    <p:set>
                                      <p:cBhvr>
                                        <p:cTn id="32" dur="1" fill="hold">
                                          <p:stCondLst>
                                            <p:cond delay="0"/>
                                          </p:stCondLst>
                                        </p:cTn>
                                        <p:tgtEl>
                                          <p:spTgt spid="14"/>
                                        </p:tgtEl>
                                        <p:attrNameLst>
                                          <p:attrName>style.visibility</p:attrName>
                                        </p:attrNameLst>
                                      </p:cBhvr>
                                      <p:to>
                                        <p:strVal val="visible"/>
                                      </p:to>
                                    </p:set>
                                    <p:animEffect transition="in" filter="wipe(left)">
                                      <p:cBhvr>
                                        <p:cTn id="33" dur="500"/>
                                        <p:tgtEl>
                                          <p:spTgt spid="14"/>
                                        </p:tgtEl>
                                      </p:cBhvr>
                                    </p:animEffect>
                                  </p:childTnLst>
                                </p:cTn>
                              </p:par>
                            </p:childTnLst>
                          </p:cTn>
                        </p:par>
                        <p:par>
                          <p:cTn id="34" fill="hold">
                            <p:stCondLst>
                              <p:cond delay="3250"/>
                            </p:stCondLst>
                            <p:childTnLst>
                              <p:par>
                                <p:cTn id="35" presetID="10" presetClass="entr" presetSubtype="0" fill="hold" nodeType="afterEffect">
                                  <p:stCondLst>
                                    <p:cond delay="0"/>
                                  </p:stCondLst>
                                  <p:childTnLst>
                                    <p:set>
                                      <p:cBhvr>
                                        <p:cTn id="36" dur="1" fill="hold">
                                          <p:stCondLst>
                                            <p:cond delay="0"/>
                                          </p:stCondLst>
                                        </p:cTn>
                                        <p:tgtEl>
                                          <p:spTgt spid="39"/>
                                        </p:tgtEl>
                                        <p:attrNameLst>
                                          <p:attrName>style.visibility</p:attrName>
                                        </p:attrNameLst>
                                      </p:cBhvr>
                                      <p:to>
                                        <p:strVal val="visible"/>
                                      </p:to>
                                    </p:set>
                                    <p:animEffect transition="in" filter="fade">
                                      <p:cBhvr>
                                        <p:cTn id="37" dur="500"/>
                                        <p:tgtEl>
                                          <p:spTgt spid="39"/>
                                        </p:tgtEl>
                                      </p:cBhvr>
                                    </p:animEffect>
                                  </p:childTnLst>
                                </p:cTn>
                              </p:par>
                              <p:par>
                                <p:cTn id="38" presetID="10" presetClass="entr" presetSubtype="0" fill="hold" nodeType="withEffect">
                                  <p:stCondLst>
                                    <p:cond delay="0"/>
                                  </p:stCondLst>
                                  <p:childTnLst>
                                    <p:set>
                                      <p:cBhvr>
                                        <p:cTn id="39" dur="1" fill="hold">
                                          <p:stCondLst>
                                            <p:cond delay="0"/>
                                          </p:stCondLst>
                                        </p:cTn>
                                        <p:tgtEl>
                                          <p:spTgt spid="94"/>
                                        </p:tgtEl>
                                        <p:attrNameLst>
                                          <p:attrName>style.visibility</p:attrName>
                                        </p:attrNameLst>
                                      </p:cBhvr>
                                      <p:to>
                                        <p:strVal val="visible"/>
                                      </p:to>
                                    </p:set>
                                    <p:animEffect transition="in" filter="fade">
                                      <p:cBhvr>
                                        <p:cTn id="40" dur="500"/>
                                        <p:tgtEl>
                                          <p:spTgt spid="94"/>
                                        </p:tgtEl>
                                      </p:cBhvr>
                                    </p:animEffect>
                                  </p:childTnLst>
                                </p:cTn>
                              </p:par>
                            </p:childTnLst>
                          </p:cTn>
                        </p:par>
                        <p:par>
                          <p:cTn id="41" fill="hold">
                            <p:stCondLst>
                              <p:cond delay="3750"/>
                            </p:stCondLst>
                            <p:childTnLst>
                              <p:par>
                                <p:cTn id="42" presetID="22" presetClass="entr" presetSubtype="1" fill="hold" nodeType="afterEffect">
                                  <p:stCondLst>
                                    <p:cond delay="0"/>
                                  </p:stCondLst>
                                  <p:childTnLst>
                                    <p:set>
                                      <p:cBhvr>
                                        <p:cTn id="43" dur="1" fill="hold">
                                          <p:stCondLst>
                                            <p:cond delay="0"/>
                                          </p:stCondLst>
                                        </p:cTn>
                                        <p:tgtEl>
                                          <p:spTgt spid="103"/>
                                        </p:tgtEl>
                                        <p:attrNameLst>
                                          <p:attrName>style.visibility</p:attrName>
                                        </p:attrNameLst>
                                      </p:cBhvr>
                                      <p:to>
                                        <p:strVal val="visible"/>
                                      </p:to>
                                    </p:set>
                                    <p:animEffect transition="in" filter="wipe(up)">
                                      <p:cBhvr>
                                        <p:cTn id="44" dur="500"/>
                                        <p:tgtEl>
                                          <p:spTgt spid="103"/>
                                        </p:tgtEl>
                                      </p:cBhvr>
                                    </p:animEffect>
                                  </p:childTnLst>
                                </p:cTn>
                              </p:par>
                            </p:childTnLst>
                          </p:cTn>
                        </p:par>
                        <p:par>
                          <p:cTn id="45" fill="hold">
                            <p:stCondLst>
                              <p:cond delay="4250"/>
                            </p:stCondLst>
                            <p:childTnLst>
                              <p:par>
                                <p:cTn id="46" presetID="22" presetClass="entr" presetSubtype="8" fill="hold" grpId="0" nodeType="afterEffect">
                                  <p:stCondLst>
                                    <p:cond delay="0"/>
                                  </p:stCondLst>
                                  <p:childTnLst>
                                    <p:set>
                                      <p:cBhvr>
                                        <p:cTn id="47" dur="1" fill="hold">
                                          <p:stCondLst>
                                            <p:cond delay="0"/>
                                          </p:stCondLst>
                                        </p:cTn>
                                        <p:tgtEl>
                                          <p:spTgt spid="33"/>
                                        </p:tgtEl>
                                        <p:attrNameLst>
                                          <p:attrName>style.visibility</p:attrName>
                                        </p:attrNameLst>
                                      </p:cBhvr>
                                      <p:to>
                                        <p:strVal val="visible"/>
                                      </p:to>
                                    </p:set>
                                    <p:animEffect transition="in" filter="wipe(left)">
                                      <p:cBhvr>
                                        <p:cTn id="48" dur="500"/>
                                        <p:tgtEl>
                                          <p:spTgt spid="33"/>
                                        </p:tgtEl>
                                      </p:cBhvr>
                                    </p:animEffect>
                                  </p:childTnLst>
                                </p:cTn>
                              </p:par>
                            </p:childTnLst>
                          </p:cTn>
                        </p:par>
                        <p:par>
                          <p:cTn id="49" fill="hold">
                            <p:stCondLst>
                              <p:cond delay="4750"/>
                            </p:stCondLst>
                            <p:childTnLst>
                              <p:par>
                                <p:cTn id="50" presetID="10" presetClass="entr" presetSubtype="0" fill="hold" grpId="0" nodeType="afterEffect">
                                  <p:stCondLst>
                                    <p:cond delay="0"/>
                                  </p:stCondLst>
                                  <p:childTnLst>
                                    <p:set>
                                      <p:cBhvr>
                                        <p:cTn id="51" dur="1" fill="hold">
                                          <p:stCondLst>
                                            <p:cond delay="0"/>
                                          </p:stCondLst>
                                        </p:cTn>
                                        <p:tgtEl>
                                          <p:spTgt spid="15"/>
                                        </p:tgtEl>
                                        <p:attrNameLst>
                                          <p:attrName>style.visibility</p:attrName>
                                        </p:attrNameLst>
                                      </p:cBhvr>
                                      <p:to>
                                        <p:strVal val="visible"/>
                                      </p:to>
                                    </p:set>
                                    <p:animEffect transition="in" filter="fade">
                                      <p:cBhvr>
                                        <p:cTn id="52" dur="10"/>
                                        <p:tgtEl>
                                          <p:spTgt spid="15"/>
                                        </p:tgtEl>
                                      </p:cBhvr>
                                    </p:animEffect>
                                  </p:childTnLst>
                                </p:cTn>
                              </p:par>
                            </p:childTnLst>
                          </p:cTn>
                        </p:par>
                        <p:par>
                          <p:cTn id="53" fill="hold">
                            <p:stCondLst>
                              <p:cond delay="4760"/>
                            </p:stCondLst>
                            <p:childTnLst>
                              <p:par>
                                <p:cTn id="54" presetID="10" presetClass="entr" presetSubtype="0" fill="hold" grpId="0" nodeType="afterEffect">
                                  <p:stCondLst>
                                    <p:cond delay="50"/>
                                  </p:stCondLst>
                                  <p:childTnLst>
                                    <p:set>
                                      <p:cBhvr>
                                        <p:cTn id="55" dur="1" fill="hold">
                                          <p:stCondLst>
                                            <p:cond delay="0"/>
                                          </p:stCondLst>
                                        </p:cTn>
                                        <p:tgtEl>
                                          <p:spTgt spid="16"/>
                                        </p:tgtEl>
                                        <p:attrNameLst>
                                          <p:attrName>style.visibility</p:attrName>
                                        </p:attrNameLst>
                                      </p:cBhvr>
                                      <p:to>
                                        <p:strVal val="visible"/>
                                      </p:to>
                                    </p:set>
                                    <p:animEffect transition="in" filter="fade">
                                      <p:cBhvr>
                                        <p:cTn id="56" dur="10"/>
                                        <p:tgtEl>
                                          <p:spTgt spid="16"/>
                                        </p:tgtEl>
                                      </p:cBhvr>
                                    </p:animEffect>
                                  </p:childTnLst>
                                </p:cTn>
                              </p:par>
                            </p:childTnLst>
                          </p:cTn>
                        </p:par>
                        <p:par>
                          <p:cTn id="57" fill="hold">
                            <p:stCondLst>
                              <p:cond delay="4820"/>
                            </p:stCondLst>
                            <p:childTnLst>
                              <p:par>
                                <p:cTn id="58" presetID="10" presetClass="entr" presetSubtype="0" fill="hold" grpId="0" nodeType="afterEffect">
                                  <p:stCondLst>
                                    <p:cond delay="50"/>
                                  </p:stCondLst>
                                  <p:childTnLst>
                                    <p:set>
                                      <p:cBhvr>
                                        <p:cTn id="59" dur="1" fill="hold">
                                          <p:stCondLst>
                                            <p:cond delay="0"/>
                                          </p:stCondLst>
                                        </p:cTn>
                                        <p:tgtEl>
                                          <p:spTgt spid="17"/>
                                        </p:tgtEl>
                                        <p:attrNameLst>
                                          <p:attrName>style.visibility</p:attrName>
                                        </p:attrNameLst>
                                      </p:cBhvr>
                                      <p:to>
                                        <p:strVal val="visible"/>
                                      </p:to>
                                    </p:set>
                                    <p:animEffect transition="in" filter="fade">
                                      <p:cBhvr>
                                        <p:cTn id="60" dur="10"/>
                                        <p:tgtEl>
                                          <p:spTgt spid="17"/>
                                        </p:tgtEl>
                                      </p:cBhvr>
                                    </p:animEffect>
                                  </p:childTnLst>
                                </p:cTn>
                              </p:par>
                            </p:childTnLst>
                          </p:cTn>
                        </p:par>
                        <p:par>
                          <p:cTn id="61" fill="hold">
                            <p:stCondLst>
                              <p:cond delay="4880"/>
                            </p:stCondLst>
                            <p:childTnLst>
                              <p:par>
                                <p:cTn id="62" presetID="10" presetClass="entr" presetSubtype="0" fill="hold" grpId="0" nodeType="afterEffect">
                                  <p:stCondLst>
                                    <p:cond delay="5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
                                        <p:tgtEl>
                                          <p:spTgt spid="18"/>
                                        </p:tgtEl>
                                      </p:cBhvr>
                                    </p:animEffect>
                                  </p:childTnLst>
                                </p:cTn>
                              </p:par>
                            </p:childTnLst>
                          </p:cTn>
                        </p:par>
                        <p:par>
                          <p:cTn id="65" fill="hold">
                            <p:stCondLst>
                              <p:cond delay="4940"/>
                            </p:stCondLst>
                            <p:childTnLst>
                              <p:par>
                                <p:cTn id="66" presetID="10" presetClass="entr" presetSubtype="0" fill="hold" grpId="0" nodeType="afterEffect">
                                  <p:stCondLst>
                                    <p:cond delay="50"/>
                                  </p:stCondLst>
                                  <p:childTnLst>
                                    <p:set>
                                      <p:cBhvr>
                                        <p:cTn id="67" dur="1" fill="hold">
                                          <p:stCondLst>
                                            <p:cond delay="0"/>
                                          </p:stCondLst>
                                        </p:cTn>
                                        <p:tgtEl>
                                          <p:spTgt spid="19"/>
                                        </p:tgtEl>
                                        <p:attrNameLst>
                                          <p:attrName>style.visibility</p:attrName>
                                        </p:attrNameLst>
                                      </p:cBhvr>
                                      <p:to>
                                        <p:strVal val="visible"/>
                                      </p:to>
                                    </p:set>
                                    <p:animEffect transition="in" filter="fade">
                                      <p:cBhvr>
                                        <p:cTn id="68" dur="10"/>
                                        <p:tgtEl>
                                          <p:spTgt spid="19"/>
                                        </p:tgtEl>
                                      </p:cBhvr>
                                    </p:animEffect>
                                  </p:childTnLst>
                                </p:cTn>
                              </p:par>
                            </p:childTnLst>
                          </p:cTn>
                        </p:par>
                        <p:par>
                          <p:cTn id="69" fill="hold">
                            <p:stCondLst>
                              <p:cond delay="5000"/>
                            </p:stCondLst>
                            <p:childTnLst>
                              <p:par>
                                <p:cTn id="70" presetID="10" presetClass="entr" presetSubtype="0" fill="hold" grpId="0" nodeType="afterEffect">
                                  <p:stCondLst>
                                    <p:cond delay="50"/>
                                  </p:stCondLst>
                                  <p:childTnLst>
                                    <p:set>
                                      <p:cBhvr>
                                        <p:cTn id="71" dur="1" fill="hold">
                                          <p:stCondLst>
                                            <p:cond delay="0"/>
                                          </p:stCondLst>
                                        </p:cTn>
                                        <p:tgtEl>
                                          <p:spTgt spid="20"/>
                                        </p:tgtEl>
                                        <p:attrNameLst>
                                          <p:attrName>style.visibility</p:attrName>
                                        </p:attrNameLst>
                                      </p:cBhvr>
                                      <p:to>
                                        <p:strVal val="visible"/>
                                      </p:to>
                                    </p:set>
                                    <p:animEffect transition="in" filter="fade">
                                      <p:cBhvr>
                                        <p:cTn id="72" dur="10"/>
                                        <p:tgtEl>
                                          <p:spTgt spid="20"/>
                                        </p:tgtEl>
                                      </p:cBhvr>
                                    </p:animEffect>
                                  </p:childTnLst>
                                </p:cTn>
                              </p:par>
                            </p:childTnLst>
                          </p:cTn>
                        </p:par>
                        <p:par>
                          <p:cTn id="73" fill="hold">
                            <p:stCondLst>
                              <p:cond delay="5060"/>
                            </p:stCondLst>
                            <p:childTnLst>
                              <p:par>
                                <p:cTn id="74" presetID="10" presetClass="entr" presetSubtype="0" fill="hold" grpId="0" nodeType="afterEffect">
                                  <p:stCondLst>
                                    <p:cond delay="50"/>
                                  </p:stCondLst>
                                  <p:childTnLst>
                                    <p:set>
                                      <p:cBhvr>
                                        <p:cTn id="75" dur="1" fill="hold">
                                          <p:stCondLst>
                                            <p:cond delay="0"/>
                                          </p:stCondLst>
                                        </p:cTn>
                                        <p:tgtEl>
                                          <p:spTgt spid="21"/>
                                        </p:tgtEl>
                                        <p:attrNameLst>
                                          <p:attrName>style.visibility</p:attrName>
                                        </p:attrNameLst>
                                      </p:cBhvr>
                                      <p:to>
                                        <p:strVal val="visible"/>
                                      </p:to>
                                    </p:set>
                                    <p:animEffect transition="in" filter="fade">
                                      <p:cBhvr>
                                        <p:cTn id="76" dur="10"/>
                                        <p:tgtEl>
                                          <p:spTgt spid="21"/>
                                        </p:tgtEl>
                                      </p:cBhvr>
                                    </p:animEffect>
                                  </p:childTnLst>
                                </p:cTn>
                              </p:par>
                            </p:childTnLst>
                          </p:cTn>
                        </p:par>
                        <p:par>
                          <p:cTn id="77" fill="hold">
                            <p:stCondLst>
                              <p:cond delay="5120"/>
                            </p:stCondLst>
                            <p:childTnLst>
                              <p:par>
                                <p:cTn id="78" presetID="10" presetClass="entr" presetSubtype="0" fill="hold" grpId="0" nodeType="afterEffect">
                                  <p:stCondLst>
                                    <p:cond delay="50"/>
                                  </p:stCondLst>
                                  <p:childTnLst>
                                    <p:set>
                                      <p:cBhvr>
                                        <p:cTn id="79" dur="1" fill="hold">
                                          <p:stCondLst>
                                            <p:cond delay="0"/>
                                          </p:stCondLst>
                                        </p:cTn>
                                        <p:tgtEl>
                                          <p:spTgt spid="22"/>
                                        </p:tgtEl>
                                        <p:attrNameLst>
                                          <p:attrName>style.visibility</p:attrName>
                                        </p:attrNameLst>
                                      </p:cBhvr>
                                      <p:to>
                                        <p:strVal val="visible"/>
                                      </p:to>
                                    </p:set>
                                    <p:animEffect transition="in" filter="fade">
                                      <p:cBhvr>
                                        <p:cTn id="80" dur="10"/>
                                        <p:tgtEl>
                                          <p:spTgt spid="22"/>
                                        </p:tgtEl>
                                      </p:cBhvr>
                                    </p:animEffect>
                                  </p:childTnLst>
                                </p:cTn>
                              </p:par>
                            </p:childTnLst>
                          </p:cTn>
                        </p:par>
                        <p:par>
                          <p:cTn id="81" fill="hold">
                            <p:stCondLst>
                              <p:cond delay="5180"/>
                            </p:stCondLst>
                            <p:childTnLst>
                              <p:par>
                                <p:cTn id="82" presetID="10" presetClass="entr" presetSubtype="0" fill="hold" grpId="0" nodeType="afterEffect">
                                  <p:stCondLst>
                                    <p:cond delay="50"/>
                                  </p:stCondLst>
                                  <p:childTnLst>
                                    <p:set>
                                      <p:cBhvr>
                                        <p:cTn id="83" dur="1" fill="hold">
                                          <p:stCondLst>
                                            <p:cond delay="0"/>
                                          </p:stCondLst>
                                        </p:cTn>
                                        <p:tgtEl>
                                          <p:spTgt spid="23"/>
                                        </p:tgtEl>
                                        <p:attrNameLst>
                                          <p:attrName>style.visibility</p:attrName>
                                        </p:attrNameLst>
                                      </p:cBhvr>
                                      <p:to>
                                        <p:strVal val="visible"/>
                                      </p:to>
                                    </p:set>
                                    <p:animEffect transition="in" filter="fade">
                                      <p:cBhvr>
                                        <p:cTn id="84" dur="10"/>
                                        <p:tgtEl>
                                          <p:spTgt spid="23"/>
                                        </p:tgtEl>
                                      </p:cBhvr>
                                    </p:animEffect>
                                  </p:childTnLst>
                                </p:cTn>
                              </p:par>
                            </p:childTnLst>
                          </p:cTn>
                        </p:par>
                        <p:par>
                          <p:cTn id="85" fill="hold">
                            <p:stCondLst>
                              <p:cond delay="5240"/>
                            </p:stCondLst>
                            <p:childTnLst>
                              <p:par>
                                <p:cTn id="86" presetID="10" presetClass="entr" presetSubtype="0" fill="hold" grpId="0" nodeType="afterEffect">
                                  <p:stCondLst>
                                    <p:cond delay="50"/>
                                  </p:stCondLst>
                                  <p:childTnLst>
                                    <p:set>
                                      <p:cBhvr>
                                        <p:cTn id="87" dur="1" fill="hold">
                                          <p:stCondLst>
                                            <p:cond delay="0"/>
                                          </p:stCondLst>
                                        </p:cTn>
                                        <p:tgtEl>
                                          <p:spTgt spid="24"/>
                                        </p:tgtEl>
                                        <p:attrNameLst>
                                          <p:attrName>style.visibility</p:attrName>
                                        </p:attrNameLst>
                                      </p:cBhvr>
                                      <p:to>
                                        <p:strVal val="visible"/>
                                      </p:to>
                                    </p:set>
                                    <p:animEffect transition="in" filter="fade">
                                      <p:cBhvr>
                                        <p:cTn id="88" dur="10"/>
                                        <p:tgtEl>
                                          <p:spTgt spid="24"/>
                                        </p:tgtEl>
                                      </p:cBhvr>
                                    </p:animEffect>
                                  </p:childTnLst>
                                </p:cTn>
                              </p:par>
                            </p:childTnLst>
                          </p:cTn>
                        </p:par>
                        <p:par>
                          <p:cTn id="89" fill="hold">
                            <p:stCondLst>
                              <p:cond delay="5300"/>
                            </p:stCondLst>
                            <p:childTnLst>
                              <p:par>
                                <p:cTn id="90" presetID="10" presetClass="entr" presetSubtype="0" fill="hold" grpId="0" nodeType="afterEffect">
                                  <p:stCondLst>
                                    <p:cond delay="50"/>
                                  </p:stCondLst>
                                  <p:childTnLst>
                                    <p:set>
                                      <p:cBhvr>
                                        <p:cTn id="91" dur="1" fill="hold">
                                          <p:stCondLst>
                                            <p:cond delay="0"/>
                                          </p:stCondLst>
                                        </p:cTn>
                                        <p:tgtEl>
                                          <p:spTgt spid="25"/>
                                        </p:tgtEl>
                                        <p:attrNameLst>
                                          <p:attrName>style.visibility</p:attrName>
                                        </p:attrNameLst>
                                      </p:cBhvr>
                                      <p:to>
                                        <p:strVal val="visible"/>
                                      </p:to>
                                    </p:set>
                                    <p:animEffect transition="in" filter="fade">
                                      <p:cBhvr>
                                        <p:cTn id="92" dur="10"/>
                                        <p:tgtEl>
                                          <p:spTgt spid="25"/>
                                        </p:tgtEl>
                                      </p:cBhvr>
                                    </p:animEffect>
                                  </p:childTnLst>
                                </p:cTn>
                              </p:par>
                            </p:childTnLst>
                          </p:cTn>
                        </p:par>
                        <p:par>
                          <p:cTn id="93" fill="hold">
                            <p:stCondLst>
                              <p:cond delay="5360"/>
                            </p:stCondLst>
                            <p:childTnLst>
                              <p:par>
                                <p:cTn id="94" presetID="10" presetClass="entr" presetSubtype="0" fill="hold" grpId="0" nodeType="afterEffect">
                                  <p:stCondLst>
                                    <p:cond delay="50"/>
                                  </p:stCondLst>
                                  <p:childTnLst>
                                    <p:set>
                                      <p:cBhvr>
                                        <p:cTn id="95" dur="1" fill="hold">
                                          <p:stCondLst>
                                            <p:cond delay="0"/>
                                          </p:stCondLst>
                                        </p:cTn>
                                        <p:tgtEl>
                                          <p:spTgt spid="26"/>
                                        </p:tgtEl>
                                        <p:attrNameLst>
                                          <p:attrName>style.visibility</p:attrName>
                                        </p:attrNameLst>
                                      </p:cBhvr>
                                      <p:to>
                                        <p:strVal val="visible"/>
                                      </p:to>
                                    </p:set>
                                    <p:animEffect transition="in" filter="fade">
                                      <p:cBhvr>
                                        <p:cTn id="96" dur="10"/>
                                        <p:tgtEl>
                                          <p:spTgt spid="26"/>
                                        </p:tgtEl>
                                      </p:cBhvr>
                                    </p:animEffect>
                                  </p:childTnLst>
                                </p:cTn>
                              </p:par>
                            </p:childTnLst>
                          </p:cTn>
                        </p:par>
                        <p:par>
                          <p:cTn id="97" fill="hold">
                            <p:stCondLst>
                              <p:cond delay="5420"/>
                            </p:stCondLst>
                            <p:childTnLst>
                              <p:par>
                                <p:cTn id="98" presetID="10" presetClass="entr" presetSubtype="0" fill="hold" grpId="0" nodeType="afterEffect">
                                  <p:stCondLst>
                                    <p:cond delay="50"/>
                                  </p:stCondLst>
                                  <p:childTnLst>
                                    <p:set>
                                      <p:cBhvr>
                                        <p:cTn id="99" dur="1" fill="hold">
                                          <p:stCondLst>
                                            <p:cond delay="0"/>
                                          </p:stCondLst>
                                        </p:cTn>
                                        <p:tgtEl>
                                          <p:spTgt spid="27"/>
                                        </p:tgtEl>
                                        <p:attrNameLst>
                                          <p:attrName>style.visibility</p:attrName>
                                        </p:attrNameLst>
                                      </p:cBhvr>
                                      <p:to>
                                        <p:strVal val="visible"/>
                                      </p:to>
                                    </p:set>
                                    <p:animEffect transition="in" filter="fade">
                                      <p:cBhvr>
                                        <p:cTn id="100" dur="10"/>
                                        <p:tgtEl>
                                          <p:spTgt spid="27"/>
                                        </p:tgtEl>
                                      </p:cBhvr>
                                    </p:animEffect>
                                  </p:childTnLst>
                                </p:cTn>
                              </p:par>
                            </p:childTnLst>
                          </p:cTn>
                        </p:par>
                        <p:par>
                          <p:cTn id="101" fill="hold">
                            <p:stCondLst>
                              <p:cond delay="5480"/>
                            </p:stCondLst>
                            <p:childTnLst>
                              <p:par>
                                <p:cTn id="102" presetID="10" presetClass="entr" presetSubtype="0" fill="hold" grpId="0" nodeType="afterEffect">
                                  <p:stCondLst>
                                    <p:cond delay="50"/>
                                  </p:stCondLst>
                                  <p:childTnLst>
                                    <p:set>
                                      <p:cBhvr>
                                        <p:cTn id="103" dur="1" fill="hold">
                                          <p:stCondLst>
                                            <p:cond delay="0"/>
                                          </p:stCondLst>
                                        </p:cTn>
                                        <p:tgtEl>
                                          <p:spTgt spid="28"/>
                                        </p:tgtEl>
                                        <p:attrNameLst>
                                          <p:attrName>style.visibility</p:attrName>
                                        </p:attrNameLst>
                                      </p:cBhvr>
                                      <p:to>
                                        <p:strVal val="visible"/>
                                      </p:to>
                                    </p:set>
                                    <p:animEffect transition="in" filter="fade">
                                      <p:cBhvr>
                                        <p:cTn id="104" dur="10"/>
                                        <p:tgtEl>
                                          <p:spTgt spid="28"/>
                                        </p:tgtEl>
                                      </p:cBhvr>
                                    </p:animEffect>
                                  </p:childTnLst>
                                </p:cTn>
                              </p:par>
                            </p:childTnLst>
                          </p:cTn>
                        </p:par>
                        <p:par>
                          <p:cTn id="105" fill="hold">
                            <p:stCondLst>
                              <p:cond delay="5540"/>
                            </p:stCondLst>
                            <p:childTnLst>
                              <p:par>
                                <p:cTn id="106" presetID="10" presetClass="entr" presetSubtype="0" fill="hold" grpId="0" nodeType="afterEffect">
                                  <p:stCondLst>
                                    <p:cond delay="50"/>
                                  </p:stCondLst>
                                  <p:childTnLst>
                                    <p:set>
                                      <p:cBhvr>
                                        <p:cTn id="107" dur="1" fill="hold">
                                          <p:stCondLst>
                                            <p:cond delay="0"/>
                                          </p:stCondLst>
                                        </p:cTn>
                                        <p:tgtEl>
                                          <p:spTgt spid="29"/>
                                        </p:tgtEl>
                                        <p:attrNameLst>
                                          <p:attrName>style.visibility</p:attrName>
                                        </p:attrNameLst>
                                      </p:cBhvr>
                                      <p:to>
                                        <p:strVal val="visible"/>
                                      </p:to>
                                    </p:set>
                                    <p:animEffect transition="in" filter="fade">
                                      <p:cBhvr>
                                        <p:cTn id="108" dur="10"/>
                                        <p:tgtEl>
                                          <p:spTgt spid="29"/>
                                        </p:tgtEl>
                                      </p:cBhvr>
                                    </p:animEffect>
                                  </p:childTnLst>
                                </p:cTn>
                              </p:par>
                            </p:childTnLst>
                          </p:cTn>
                        </p:par>
                        <p:par>
                          <p:cTn id="109" fill="hold">
                            <p:stCondLst>
                              <p:cond delay="5600"/>
                            </p:stCondLst>
                            <p:childTnLst>
                              <p:par>
                                <p:cTn id="110" presetID="10" presetClass="entr" presetSubtype="0" fill="hold" grpId="0" nodeType="afterEffect">
                                  <p:stCondLst>
                                    <p:cond delay="50"/>
                                  </p:stCondLst>
                                  <p:childTnLst>
                                    <p:set>
                                      <p:cBhvr>
                                        <p:cTn id="111" dur="1" fill="hold">
                                          <p:stCondLst>
                                            <p:cond delay="0"/>
                                          </p:stCondLst>
                                        </p:cTn>
                                        <p:tgtEl>
                                          <p:spTgt spid="30"/>
                                        </p:tgtEl>
                                        <p:attrNameLst>
                                          <p:attrName>style.visibility</p:attrName>
                                        </p:attrNameLst>
                                      </p:cBhvr>
                                      <p:to>
                                        <p:strVal val="visible"/>
                                      </p:to>
                                    </p:set>
                                    <p:animEffect transition="in" filter="fade">
                                      <p:cBhvr>
                                        <p:cTn id="112" dur="10"/>
                                        <p:tgtEl>
                                          <p:spTgt spid="30"/>
                                        </p:tgtEl>
                                      </p:cBhvr>
                                    </p:animEffect>
                                  </p:childTnLst>
                                </p:cTn>
                              </p:par>
                            </p:childTnLst>
                          </p:cTn>
                        </p:par>
                        <p:par>
                          <p:cTn id="113" fill="hold">
                            <p:stCondLst>
                              <p:cond delay="5660"/>
                            </p:stCondLst>
                            <p:childTnLst>
                              <p:par>
                                <p:cTn id="114" presetID="10" presetClass="entr" presetSubtype="0" fill="hold" grpId="0" nodeType="afterEffect">
                                  <p:stCondLst>
                                    <p:cond delay="50"/>
                                  </p:stCondLst>
                                  <p:childTnLst>
                                    <p:set>
                                      <p:cBhvr>
                                        <p:cTn id="115" dur="1" fill="hold">
                                          <p:stCondLst>
                                            <p:cond delay="0"/>
                                          </p:stCondLst>
                                        </p:cTn>
                                        <p:tgtEl>
                                          <p:spTgt spid="31"/>
                                        </p:tgtEl>
                                        <p:attrNameLst>
                                          <p:attrName>style.visibility</p:attrName>
                                        </p:attrNameLst>
                                      </p:cBhvr>
                                      <p:to>
                                        <p:strVal val="visible"/>
                                      </p:to>
                                    </p:set>
                                    <p:animEffect transition="in" filter="fade">
                                      <p:cBhvr>
                                        <p:cTn id="116" dur="10"/>
                                        <p:tgtEl>
                                          <p:spTgt spid="31"/>
                                        </p:tgtEl>
                                      </p:cBhvr>
                                    </p:animEffect>
                                  </p:childTnLst>
                                </p:cTn>
                              </p:par>
                            </p:childTnLst>
                          </p:cTn>
                        </p:par>
                        <p:par>
                          <p:cTn id="117" fill="hold">
                            <p:stCondLst>
                              <p:cond delay="5720"/>
                            </p:stCondLst>
                            <p:childTnLst>
                              <p:par>
                                <p:cTn id="118" presetID="10" presetClass="entr" presetSubtype="0" fill="hold" grpId="0" nodeType="afterEffect">
                                  <p:stCondLst>
                                    <p:cond delay="50"/>
                                  </p:stCondLst>
                                  <p:childTnLst>
                                    <p:set>
                                      <p:cBhvr>
                                        <p:cTn id="119" dur="1" fill="hold">
                                          <p:stCondLst>
                                            <p:cond delay="0"/>
                                          </p:stCondLst>
                                        </p:cTn>
                                        <p:tgtEl>
                                          <p:spTgt spid="32"/>
                                        </p:tgtEl>
                                        <p:attrNameLst>
                                          <p:attrName>style.visibility</p:attrName>
                                        </p:attrNameLst>
                                      </p:cBhvr>
                                      <p:to>
                                        <p:strVal val="visible"/>
                                      </p:to>
                                    </p:set>
                                    <p:animEffect transition="in" filter="fade">
                                      <p:cBhvr>
                                        <p:cTn id="120" dur="10"/>
                                        <p:tgtEl>
                                          <p:spTgt spid="32"/>
                                        </p:tgtEl>
                                      </p:cBhvr>
                                    </p:animEffect>
                                  </p:childTnLst>
                                </p:cTn>
                              </p:par>
                            </p:childTnLst>
                          </p:cTn>
                        </p:par>
                        <p:par>
                          <p:cTn id="121" fill="hold">
                            <p:stCondLst>
                              <p:cond delay="5780"/>
                            </p:stCondLst>
                            <p:childTnLst>
                              <p:par>
                                <p:cTn id="122" presetID="22" presetClass="entr" presetSubtype="1" fill="hold" nodeType="afterEffect">
                                  <p:stCondLst>
                                    <p:cond delay="0"/>
                                  </p:stCondLst>
                                  <p:childTnLst>
                                    <p:set>
                                      <p:cBhvr>
                                        <p:cTn id="123" dur="1" fill="hold">
                                          <p:stCondLst>
                                            <p:cond delay="0"/>
                                          </p:stCondLst>
                                        </p:cTn>
                                        <p:tgtEl>
                                          <p:spTgt spid="106"/>
                                        </p:tgtEl>
                                        <p:attrNameLst>
                                          <p:attrName>style.visibility</p:attrName>
                                        </p:attrNameLst>
                                      </p:cBhvr>
                                      <p:to>
                                        <p:strVal val="visible"/>
                                      </p:to>
                                    </p:set>
                                    <p:animEffect transition="in" filter="wipe(up)">
                                      <p:cBhvr>
                                        <p:cTn id="124" dur="500"/>
                                        <p:tgtEl>
                                          <p:spTgt spid="106"/>
                                        </p:tgtEl>
                                      </p:cBhvr>
                                    </p:animEffect>
                                  </p:childTnLst>
                                </p:cTn>
                              </p:par>
                            </p:childTnLst>
                          </p:cTn>
                        </p:par>
                        <p:par>
                          <p:cTn id="125" fill="hold">
                            <p:stCondLst>
                              <p:cond delay="6280"/>
                            </p:stCondLst>
                            <p:childTnLst>
                              <p:par>
                                <p:cTn id="126" presetID="47" presetClass="entr" presetSubtype="0" fill="hold" grpId="0" nodeType="afterEffect">
                                  <p:stCondLst>
                                    <p:cond delay="0"/>
                                  </p:stCondLst>
                                  <p:childTnLst>
                                    <p:set>
                                      <p:cBhvr>
                                        <p:cTn id="127" dur="1" fill="hold">
                                          <p:stCondLst>
                                            <p:cond delay="0"/>
                                          </p:stCondLst>
                                        </p:cTn>
                                        <p:tgtEl>
                                          <p:spTgt spid="34"/>
                                        </p:tgtEl>
                                        <p:attrNameLst>
                                          <p:attrName>style.visibility</p:attrName>
                                        </p:attrNameLst>
                                      </p:cBhvr>
                                      <p:to>
                                        <p:strVal val="visible"/>
                                      </p:to>
                                    </p:set>
                                    <p:animEffect transition="in" filter="fade">
                                      <p:cBhvr>
                                        <p:cTn id="128" dur="1000"/>
                                        <p:tgtEl>
                                          <p:spTgt spid="34"/>
                                        </p:tgtEl>
                                      </p:cBhvr>
                                    </p:animEffect>
                                    <p:anim calcmode="lin" valueType="num">
                                      <p:cBhvr>
                                        <p:cTn id="129" dur="1000" fill="hold"/>
                                        <p:tgtEl>
                                          <p:spTgt spid="34"/>
                                        </p:tgtEl>
                                        <p:attrNameLst>
                                          <p:attrName>ppt_x</p:attrName>
                                        </p:attrNameLst>
                                      </p:cBhvr>
                                      <p:tavLst>
                                        <p:tav tm="0">
                                          <p:val>
                                            <p:strVal val="#ppt_x"/>
                                          </p:val>
                                        </p:tav>
                                        <p:tav tm="100000">
                                          <p:val>
                                            <p:strVal val="#ppt_x"/>
                                          </p:val>
                                        </p:tav>
                                      </p:tavLst>
                                    </p:anim>
                                    <p:anim calcmode="lin" valueType="num">
                                      <p:cBhvr>
                                        <p:cTn id="130" dur="1000" fill="hold"/>
                                        <p:tgtEl>
                                          <p:spTgt spid="3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3" grpId="0" animBg="1"/>
      <p:bldP spid="10" grpId="0"/>
      <p:bldP spid="14" grpId="0"/>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enefits of Hadoop as a Azure Service</a:t>
            </a:r>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23</a:t>
            </a:fld>
            <a:endParaRPr lang="en-US" dirty="0"/>
          </a:p>
        </p:txBody>
      </p:sp>
      <p:sp>
        <p:nvSpPr>
          <p:cNvPr id="4" name="TextBox 3"/>
          <p:cNvSpPr txBox="1"/>
          <p:nvPr/>
        </p:nvSpPr>
        <p:spPr>
          <a:xfrm>
            <a:off x="268927" y="1214321"/>
            <a:ext cx="6881498" cy="4911047"/>
          </a:xfrm>
          <a:prstGeom prst="rect">
            <a:avLst/>
          </a:prstGeom>
          <a:noFill/>
        </p:spPr>
        <p:txBody>
          <a:bodyPr wrap="square" lIns="182880" tIns="146304" rIns="182880" bIns="146304" rtlCol="0">
            <a:noAutofit/>
          </a:bodyPr>
          <a:lstStyle/>
          <a:p>
            <a:pPr marL="342900" indent="-342900">
              <a:lnSpc>
                <a:spcPts val="2200"/>
              </a:lnSpc>
              <a:spcAft>
                <a:spcPts val="600"/>
              </a:spcAft>
              <a:buClr>
                <a:schemeClr val="accent3"/>
              </a:buClr>
              <a:buSzPct val="75000"/>
              <a:buFont typeface="Wingdings" panose="05000000000000000000" pitchFamily="2" charset="2"/>
              <a:buChar char="v"/>
            </a:pPr>
            <a:r>
              <a:rPr lang="en-US" dirty="0">
                <a:solidFill>
                  <a:schemeClr val="tx1">
                    <a:lumMod val="65000"/>
                    <a:lumOff val="35000"/>
                  </a:schemeClr>
                </a:solidFill>
              </a:rPr>
              <a:t>HDInsight clusters can be configured in just a few minutes</a:t>
            </a:r>
          </a:p>
          <a:p>
            <a:pPr marL="342900" indent="-342900">
              <a:lnSpc>
                <a:spcPts val="2200"/>
              </a:lnSpc>
              <a:spcAft>
                <a:spcPts val="300"/>
              </a:spcAft>
              <a:buClr>
                <a:schemeClr val="accent3"/>
              </a:buClr>
              <a:buSzPct val="75000"/>
              <a:buFont typeface="Wingdings" panose="05000000000000000000" pitchFamily="2" charset="2"/>
              <a:buChar char="v"/>
            </a:pPr>
            <a:r>
              <a:rPr lang="en-US" dirty="0">
                <a:solidFill>
                  <a:schemeClr val="tx1">
                    <a:lumMod val="65000"/>
                    <a:lumOff val="35000"/>
                  </a:schemeClr>
                </a:solidFill>
              </a:rPr>
              <a:t>Through the HDFS interface, HDInsight can operate directly on data stored in Azure Blob Storage or Azure Data Lake Store. A separate and dedicated HDFS cluster is not required. Benefits include:</a:t>
            </a:r>
          </a:p>
          <a:p>
            <a:pPr marL="800100" lvl="1" indent="-342900">
              <a:lnSpc>
                <a:spcPts val="2200"/>
              </a:lnSpc>
              <a:spcAft>
                <a:spcPts val="300"/>
              </a:spcAft>
              <a:buClr>
                <a:schemeClr val="accent3"/>
              </a:buClr>
              <a:buFont typeface="Arial" panose="020B0604020202020204" pitchFamily="34" charset="0"/>
              <a:buChar char="•"/>
            </a:pPr>
            <a:r>
              <a:rPr lang="en-US" sz="1600" dirty="0">
                <a:solidFill>
                  <a:schemeClr val="tx1">
                    <a:lumMod val="65000"/>
                    <a:lumOff val="35000"/>
                  </a:schemeClr>
                </a:solidFill>
              </a:rPr>
              <a:t>Data reuse and sharing</a:t>
            </a:r>
          </a:p>
          <a:p>
            <a:pPr marL="800100" lvl="1" indent="-342900">
              <a:lnSpc>
                <a:spcPts val="2200"/>
              </a:lnSpc>
              <a:spcAft>
                <a:spcPts val="300"/>
              </a:spcAft>
              <a:buClr>
                <a:schemeClr val="accent3"/>
              </a:buClr>
              <a:buFont typeface="Arial" panose="020B0604020202020204" pitchFamily="34" charset="0"/>
              <a:buChar char="•"/>
            </a:pPr>
            <a:r>
              <a:rPr lang="en-US" sz="1600" dirty="0">
                <a:solidFill>
                  <a:schemeClr val="tx1">
                    <a:lumMod val="65000"/>
                    <a:lumOff val="35000"/>
                  </a:schemeClr>
                </a:solidFill>
              </a:rPr>
              <a:t>Elastic scale-out</a:t>
            </a:r>
          </a:p>
          <a:p>
            <a:pPr marL="800100" lvl="1" indent="-342900">
              <a:lnSpc>
                <a:spcPts val="2200"/>
              </a:lnSpc>
              <a:spcAft>
                <a:spcPts val="300"/>
              </a:spcAft>
              <a:buClr>
                <a:schemeClr val="accent3"/>
              </a:buClr>
              <a:buFont typeface="Arial" panose="020B0604020202020204" pitchFamily="34" charset="0"/>
              <a:buChar char="•"/>
            </a:pPr>
            <a:r>
              <a:rPr lang="en-US" sz="1600" dirty="0">
                <a:solidFill>
                  <a:schemeClr val="tx1">
                    <a:lumMod val="65000"/>
                    <a:lumOff val="35000"/>
                  </a:schemeClr>
                </a:solidFill>
              </a:rPr>
              <a:t>Lower data storage costs</a:t>
            </a:r>
          </a:p>
          <a:p>
            <a:pPr marL="800100" lvl="1" indent="-342900">
              <a:lnSpc>
                <a:spcPts val="2200"/>
              </a:lnSpc>
              <a:spcAft>
                <a:spcPts val="300"/>
              </a:spcAft>
              <a:buClr>
                <a:schemeClr val="accent3"/>
              </a:buClr>
              <a:buFont typeface="Arial" panose="020B0604020202020204" pitchFamily="34" charset="0"/>
              <a:buChar char="•"/>
            </a:pPr>
            <a:r>
              <a:rPr lang="en-US" sz="1600" dirty="0">
                <a:solidFill>
                  <a:schemeClr val="tx1">
                    <a:lumMod val="65000"/>
                    <a:lumOff val="35000"/>
                  </a:schemeClr>
                </a:solidFill>
              </a:rPr>
              <a:t>Protection against data loss </a:t>
            </a:r>
          </a:p>
          <a:p>
            <a:pPr marL="342900" indent="-342900">
              <a:lnSpc>
                <a:spcPts val="2200"/>
              </a:lnSpc>
              <a:spcAft>
                <a:spcPts val="600"/>
              </a:spcAft>
              <a:buClr>
                <a:schemeClr val="accent3"/>
              </a:buClr>
              <a:buSzPct val="75000"/>
              <a:buFont typeface="Wingdings" panose="05000000000000000000" pitchFamily="2" charset="2"/>
              <a:buChar char="v"/>
            </a:pPr>
            <a:r>
              <a:rPr lang="en-US" dirty="0">
                <a:solidFill>
                  <a:schemeClr val="tx1">
                    <a:lumMod val="65000"/>
                    <a:lumOff val="35000"/>
                  </a:schemeClr>
                </a:solidFill>
              </a:rPr>
              <a:t>High  Performance: The high-speed flat networks in Azure datacenters provide fast access between the virtual machines in the cluster and Azure Blob Storage or Azure Data Lake Store so data movement is very efficient</a:t>
            </a:r>
          </a:p>
          <a:p>
            <a:pPr marL="342900" indent="-342900">
              <a:lnSpc>
                <a:spcPts val="2200"/>
              </a:lnSpc>
              <a:spcAft>
                <a:spcPts val="600"/>
              </a:spcAft>
              <a:buClr>
                <a:schemeClr val="accent3"/>
              </a:buClr>
              <a:buSzPct val="75000"/>
              <a:buFont typeface="Wingdings" panose="05000000000000000000" pitchFamily="2" charset="2"/>
              <a:buChar char="v"/>
            </a:pPr>
            <a:r>
              <a:rPr lang="en-US" dirty="0">
                <a:solidFill>
                  <a:schemeClr val="tx1">
                    <a:lumMod val="65000"/>
                    <a:lumOff val="35000"/>
                  </a:schemeClr>
                </a:solidFill>
              </a:rPr>
              <a:t>Commission and decommission HDInsight clusters at will</a:t>
            </a:r>
          </a:p>
          <a:p>
            <a:pPr marL="342900" indent="-342900">
              <a:lnSpc>
                <a:spcPts val="2200"/>
              </a:lnSpc>
              <a:spcAft>
                <a:spcPts val="600"/>
              </a:spcAft>
              <a:buClr>
                <a:schemeClr val="accent3"/>
              </a:buClr>
              <a:buSzPct val="75000"/>
              <a:buFont typeface="Wingdings" panose="05000000000000000000" pitchFamily="2" charset="2"/>
              <a:buChar char="v"/>
            </a:pPr>
            <a:r>
              <a:rPr lang="en-US" dirty="0">
                <a:solidFill>
                  <a:schemeClr val="tx1">
                    <a:lumMod val="65000"/>
                    <a:lumOff val="35000"/>
                  </a:schemeClr>
                </a:solidFill>
              </a:rPr>
              <a:t>Visualize the data stored in Hive tables using Excel and the set of add-ins, such as </a:t>
            </a:r>
            <a:r>
              <a:rPr lang="en-US" i="1" dirty="0">
                <a:solidFill>
                  <a:schemeClr val="tx1">
                    <a:lumMod val="65000"/>
                    <a:lumOff val="35000"/>
                  </a:schemeClr>
                </a:solidFill>
              </a:rPr>
              <a:t>Power Query</a:t>
            </a:r>
            <a:r>
              <a:rPr lang="en-US" dirty="0">
                <a:solidFill>
                  <a:schemeClr val="tx1">
                    <a:lumMod val="65000"/>
                    <a:lumOff val="35000"/>
                  </a:schemeClr>
                </a:solidFill>
              </a:rPr>
              <a:t>, </a:t>
            </a:r>
            <a:r>
              <a:rPr lang="en-US" i="1" dirty="0">
                <a:solidFill>
                  <a:schemeClr val="tx1">
                    <a:lumMod val="65000"/>
                    <a:lumOff val="35000"/>
                  </a:schemeClr>
                </a:solidFill>
              </a:rPr>
              <a:t>Power View</a:t>
            </a:r>
            <a:r>
              <a:rPr lang="en-US" dirty="0">
                <a:solidFill>
                  <a:schemeClr val="tx1">
                    <a:lumMod val="65000"/>
                    <a:lumOff val="35000"/>
                  </a:schemeClr>
                </a:solidFill>
              </a:rPr>
              <a:t>, </a:t>
            </a:r>
            <a:r>
              <a:rPr lang="en-US" i="1" dirty="0">
                <a:solidFill>
                  <a:schemeClr val="tx1">
                    <a:lumMod val="65000"/>
                    <a:lumOff val="35000"/>
                  </a:schemeClr>
                </a:solidFill>
              </a:rPr>
              <a:t>PowerPivot</a:t>
            </a:r>
            <a:r>
              <a:rPr lang="en-US" dirty="0">
                <a:solidFill>
                  <a:schemeClr val="tx1">
                    <a:lumMod val="65000"/>
                    <a:lumOff val="35000"/>
                  </a:schemeClr>
                </a:solidFill>
              </a:rPr>
              <a:t>, and </a:t>
            </a:r>
            <a:r>
              <a:rPr lang="en-US" i="1" dirty="0">
                <a:solidFill>
                  <a:schemeClr val="tx1">
                    <a:lumMod val="65000"/>
                    <a:lumOff val="35000"/>
                  </a:schemeClr>
                </a:solidFill>
              </a:rPr>
              <a:t>Power Map</a:t>
            </a:r>
            <a:r>
              <a:rPr lang="en-US" dirty="0">
                <a:solidFill>
                  <a:schemeClr val="tx1">
                    <a:lumMod val="65000"/>
                    <a:lumOff val="35000"/>
                  </a:schemeClr>
                </a:solidFill>
              </a:rPr>
              <a:t>.</a:t>
            </a:r>
          </a:p>
        </p:txBody>
      </p:sp>
      <p:grpSp>
        <p:nvGrpSpPr>
          <p:cNvPr id="6" name="Group 5"/>
          <p:cNvGrpSpPr/>
          <p:nvPr/>
        </p:nvGrpSpPr>
        <p:grpSpPr>
          <a:xfrm>
            <a:off x="6883062" y="2190983"/>
            <a:ext cx="4911384" cy="3477895"/>
            <a:chOff x="6883062" y="2190983"/>
            <a:chExt cx="4911384" cy="3477895"/>
          </a:xfrm>
        </p:grpSpPr>
        <p:sp>
          <p:nvSpPr>
            <p:cNvPr id="7" name="Rectangle 6"/>
            <p:cNvSpPr/>
            <p:nvPr/>
          </p:nvSpPr>
          <p:spPr bwMode="auto">
            <a:xfrm>
              <a:off x="6998511" y="2190983"/>
              <a:ext cx="4795935" cy="3477895"/>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grpSp>
          <p:nvGrpSpPr>
            <p:cNvPr id="8" name="Group 7"/>
            <p:cNvGrpSpPr/>
            <p:nvPr/>
          </p:nvGrpSpPr>
          <p:grpSpPr>
            <a:xfrm>
              <a:off x="7158014" y="2492813"/>
              <a:ext cx="1393998" cy="1383195"/>
              <a:chOff x="7392850" y="2492814"/>
              <a:chExt cx="1159161" cy="1208036"/>
            </a:xfrm>
          </p:grpSpPr>
          <p:sp>
            <p:nvSpPr>
              <p:cNvPr id="46" name="Rectangle 45"/>
              <p:cNvSpPr/>
              <p:nvPr/>
            </p:nvSpPr>
            <p:spPr bwMode="auto">
              <a:xfrm>
                <a:off x="7400438" y="2522179"/>
                <a:ext cx="1151573" cy="1147665"/>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47" name="TextBox 46"/>
              <p:cNvSpPr txBox="1"/>
              <p:nvPr/>
            </p:nvSpPr>
            <p:spPr>
              <a:xfrm>
                <a:off x="7530211" y="2492814"/>
                <a:ext cx="914400" cy="297620"/>
              </a:xfrm>
              <a:prstGeom prst="rect">
                <a:avLst/>
              </a:prstGeom>
              <a:noFill/>
            </p:spPr>
            <p:txBody>
              <a:bodyPr wrap="none" lIns="182880" tIns="146304" rIns="182880" bIns="146304" rtlCol="0">
                <a:noAutofit/>
              </a:bodyPr>
              <a:lstStyle/>
              <a:p>
                <a:pPr algn="ctr">
                  <a:lnSpc>
                    <a:spcPct val="50000"/>
                  </a:lnSpc>
                  <a:spcAft>
                    <a:spcPts val="600"/>
                  </a:spcAft>
                </a:pPr>
                <a:r>
                  <a:rPr lang="en-US" sz="900" b="1" dirty="0">
                    <a:solidFill>
                      <a:schemeClr val="bg1"/>
                    </a:solidFill>
                  </a:rPr>
                  <a:t>Master</a:t>
                </a:r>
              </a:p>
            </p:txBody>
          </p:sp>
          <p:pic>
            <p:nvPicPr>
              <p:cNvPr id="48" name="Picture 47" descr="Hadoop clusters in HDInsight access and store big data in cost-effective, scalable Hadoop-compatible Azure Blob storage in the cloud."/>
              <p:cNvPicPr/>
              <p:nvPr/>
            </p:nvPicPr>
            <p:blipFill rotWithShape="1">
              <a:blip r:embed="rId2" cstate="print">
                <a:duotone>
                  <a:prstClr val="black"/>
                  <a:schemeClr val="bg1">
                    <a:tint val="45000"/>
                    <a:satMod val="400000"/>
                  </a:schemeClr>
                </a:duotone>
                <a:extLst>
                  <a:ext uri="{BEBA8EAE-BF5A-486C-A8C5-ECC9F3942E4B}">
                    <a14:imgProps xmlns:a14="http://schemas.microsoft.com/office/drawing/2010/main">
                      <a14:imgLayer r:embed="rId3">
                        <a14:imgEffect>
                          <a14:backgroundRemoval t="61264" b="88736" l="82036" r="98004"/>
                        </a14:imgEffect>
                        <a14:imgEffect>
                          <a14:brightnessContrast bright="40000" contrast="-40000"/>
                        </a14:imgEffect>
                      </a14:imgLayer>
                    </a14:imgProps>
                  </a:ext>
                  <a:ext uri="{28A0092B-C50C-407E-A947-70E740481C1C}">
                    <a14:useLocalDpi xmlns:a14="http://schemas.microsoft.com/office/drawing/2010/main" val="0"/>
                  </a:ext>
                </a:extLst>
              </a:blip>
              <a:srcRect l="80067" t="58424" b="11117"/>
              <a:stretch/>
            </p:blipFill>
            <p:spPr bwMode="auto">
              <a:xfrm>
                <a:off x="7499298" y="3076839"/>
                <a:ext cx="387063" cy="435504"/>
              </a:xfrm>
              <a:prstGeom prst="rect">
                <a:avLst/>
              </a:prstGeom>
              <a:noFill/>
              <a:ln>
                <a:noFill/>
              </a:ln>
            </p:spPr>
          </p:pic>
          <p:sp>
            <p:nvSpPr>
              <p:cNvPr id="49" name="TextBox 48"/>
              <p:cNvSpPr txBox="1"/>
              <p:nvPr/>
            </p:nvSpPr>
            <p:spPr>
              <a:xfrm>
                <a:off x="7392850" y="3460537"/>
                <a:ext cx="621141" cy="240313"/>
              </a:xfrm>
              <a:prstGeom prst="rect">
                <a:avLst/>
              </a:prstGeom>
              <a:noFill/>
            </p:spPr>
            <p:txBody>
              <a:bodyPr wrap="none" lIns="182880" tIns="146304" rIns="182880" bIns="146304" rtlCol="0">
                <a:noAutofit/>
              </a:bodyPr>
              <a:lstStyle/>
              <a:p>
                <a:pPr algn="ctr">
                  <a:lnSpc>
                    <a:spcPct val="50000"/>
                  </a:lnSpc>
                  <a:spcAft>
                    <a:spcPts val="600"/>
                  </a:spcAft>
                </a:pPr>
                <a:r>
                  <a:rPr lang="en-US" sz="900" dirty="0">
                    <a:solidFill>
                      <a:schemeClr val="bg1"/>
                    </a:solidFill>
                  </a:rPr>
                  <a:t>DFS</a:t>
                </a:r>
              </a:p>
            </p:txBody>
          </p:sp>
          <p:sp>
            <p:nvSpPr>
              <p:cNvPr id="50" name="TextBox 49"/>
              <p:cNvSpPr txBox="1"/>
              <p:nvPr/>
            </p:nvSpPr>
            <p:spPr>
              <a:xfrm>
                <a:off x="7952798" y="3201765"/>
                <a:ext cx="546977" cy="210738"/>
              </a:xfrm>
              <a:prstGeom prst="rect">
                <a:avLst/>
              </a:prstGeom>
              <a:solidFill>
                <a:srgbClr val="008DB5"/>
              </a:solidFill>
            </p:spPr>
            <p:txBody>
              <a:bodyPr wrap="none" lIns="182880" tIns="146304" rIns="182880" bIns="146304" rtlCol="0" anchor="ctr">
                <a:noAutofit/>
              </a:bodyPr>
              <a:lstStyle/>
              <a:p>
                <a:pPr algn="ctr">
                  <a:lnSpc>
                    <a:spcPct val="50000"/>
                  </a:lnSpc>
                  <a:spcAft>
                    <a:spcPts val="600"/>
                  </a:spcAft>
                </a:pPr>
                <a:r>
                  <a:rPr lang="en-US" sz="900" dirty="0" err="1">
                    <a:solidFill>
                      <a:schemeClr val="bg1"/>
                    </a:solidFill>
                  </a:rPr>
                  <a:t>WebHDFS</a:t>
                </a:r>
                <a:endParaRPr lang="en-US" sz="900" dirty="0">
                  <a:solidFill>
                    <a:schemeClr val="bg1"/>
                  </a:solidFill>
                </a:endParaRPr>
              </a:p>
            </p:txBody>
          </p:sp>
          <p:cxnSp>
            <p:nvCxnSpPr>
              <p:cNvPr id="51" name="Straight Arrow Connector 50"/>
              <p:cNvCxnSpPr/>
              <p:nvPr/>
            </p:nvCxnSpPr>
            <p:spPr>
              <a:xfrm>
                <a:off x="7692829" y="2967443"/>
                <a:ext cx="0" cy="167275"/>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p:nvPr/>
            </p:nvCxnSpPr>
            <p:spPr>
              <a:xfrm flipH="1">
                <a:off x="8226287" y="2920969"/>
                <a:ext cx="2555" cy="280796"/>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3" name="TextBox 52"/>
              <p:cNvSpPr txBox="1"/>
              <p:nvPr/>
            </p:nvSpPr>
            <p:spPr>
              <a:xfrm>
                <a:off x="7553739" y="2753827"/>
                <a:ext cx="808340" cy="224016"/>
              </a:xfrm>
              <a:prstGeom prst="rect">
                <a:avLst/>
              </a:prstGeom>
              <a:solidFill>
                <a:schemeClr val="accent2">
                  <a:lumMod val="60000"/>
                  <a:lumOff val="40000"/>
                </a:schemeClr>
              </a:solidFill>
            </p:spPr>
            <p:txBody>
              <a:bodyPr wrap="none" lIns="182880" tIns="146304" rIns="182880" bIns="146304" rtlCol="0" anchor="ctr">
                <a:noAutofit/>
              </a:bodyPr>
              <a:lstStyle/>
              <a:p>
                <a:pPr algn="ctr">
                  <a:lnSpc>
                    <a:spcPct val="50000"/>
                  </a:lnSpc>
                  <a:spcAft>
                    <a:spcPts val="600"/>
                  </a:spcAft>
                </a:pPr>
                <a:r>
                  <a:rPr lang="en-US" sz="900" dirty="0">
                    <a:solidFill>
                      <a:schemeClr val="tx1">
                        <a:lumMod val="85000"/>
                        <a:lumOff val="15000"/>
                      </a:schemeClr>
                    </a:solidFill>
                  </a:rPr>
                  <a:t>HFDS API</a:t>
                </a:r>
              </a:p>
            </p:txBody>
          </p:sp>
        </p:grpSp>
        <p:grpSp>
          <p:nvGrpSpPr>
            <p:cNvPr id="9" name="Group 8"/>
            <p:cNvGrpSpPr/>
            <p:nvPr/>
          </p:nvGrpSpPr>
          <p:grpSpPr>
            <a:xfrm>
              <a:off x="8626954" y="2484267"/>
              <a:ext cx="1362135" cy="1369039"/>
              <a:chOff x="7392850" y="2475587"/>
              <a:chExt cx="1159161" cy="1225263"/>
            </a:xfrm>
          </p:grpSpPr>
          <p:sp>
            <p:nvSpPr>
              <p:cNvPr id="39" name="Rectangle 38"/>
              <p:cNvSpPr/>
              <p:nvPr/>
            </p:nvSpPr>
            <p:spPr bwMode="auto">
              <a:xfrm>
                <a:off x="7400438" y="2522179"/>
                <a:ext cx="1151573" cy="1147665"/>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40" name="TextBox 39"/>
              <p:cNvSpPr txBox="1"/>
              <p:nvPr/>
            </p:nvSpPr>
            <p:spPr>
              <a:xfrm>
                <a:off x="7528459" y="2475587"/>
                <a:ext cx="914400" cy="297620"/>
              </a:xfrm>
              <a:prstGeom prst="rect">
                <a:avLst/>
              </a:prstGeom>
              <a:noFill/>
            </p:spPr>
            <p:txBody>
              <a:bodyPr wrap="none" lIns="182880" tIns="146304" rIns="182880" bIns="146304" rtlCol="0">
                <a:noAutofit/>
              </a:bodyPr>
              <a:lstStyle/>
              <a:p>
                <a:pPr algn="ctr">
                  <a:lnSpc>
                    <a:spcPct val="50000"/>
                  </a:lnSpc>
                  <a:spcAft>
                    <a:spcPts val="600"/>
                  </a:spcAft>
                </a:pPr>
                <a:r>
                  <a:rPr lang="en-US" sz="900" b="1" dirty="0">
                    <a:solidFill>
                      <a:schemeClr val="bg1"/>
                    </a:solidFill>
                  </a:rPr>
                  <a:t>Worker Node</a:t>
                </a:r>
              </a:p>
            </p:txBody>
          </p:sp>
          <p:pic>
            <p:nvPicPr>
              <p:cNvPr id="41" name="Picture 40" descr="Hadoop clusters in HDInsight access and store big data in cost-effective, scalable Hadoop-compatible Azure Blob storage in the cloud."/>
              <p:cNvPicPr/>
              <p:nvPr/>
            </p:nvPicPr>
            <p:blipFill rotWithShape="1">
              <a:blip r:embed="rId2" cstate="print">
                <a:duotone>
                  <a:prstClr val="black"/>
                  <a:schemeClr val="bg1">
                    <a:tint val="45000"/>
                    <a:satMod val="400000"/>
                  </a:schemeClr>
                </a:duotone>
                <a:extLst>
                  <a:ext uri="{BEBA8EAE-BF5A-486C-A8C5-ECC9F3942E4B}">
                    <a14:imgProps xmlns:a14="http://schemas.microsoft.com/office/drawing/2010/main">
                      <a14:imgLayer r:embed="rId3">
                        <a14:imgEffect>
                          <a14:backgroundRemoval t="61264" b="88736" l="82036" r="98004"/>
                        </a14:imgEffect>
                        <a14:imgEffect>
                          <a14:brightnessContrast bright="40000" contrast="-40000"/>
                        </a14:imgEffect>
                      </a14:imgLayer>
                    </a14:imgProps>
                  </a:ext>
                  <a:ext uri="{28A0092B-C50C-407E-A947-70E740481C1C}">
                    <a14:useLocalDpi xmlns:a14="http://schemas.microsoft.com/office/drawing/2010/main" val="0"/>
                  </a:ext>
                </a:extLst>
              </a:blip>
              <a:srcRect l="80067" t="58424" b="11117"/>
              <a:stretch/>
            </p:blipFill>
            <p:spPr bwMode="auto">
              <a:xfrm>
                <a:off x="7499298" y="3076839"/>
                <a:ext cx="387063" cy="435504"/>
              </a:xfrm>
              <a:prstGeom prst="rect">
                <a:avLst/>
              </a:prstGeom>
              <a:noFill/>
              <a:ln>
                <a:noFill/>
              </a:ln>
            </p:spPr>
          </p:pic>
          <p:sp>
            <p:nvSpPr>
              <p:cNvPr id="42" name="TextBox 41"/>
              <p:cNvSpPr txBox="1"/>
              <p:nvPr/>
            </p:nvSpPr>
            <p:spPr>
              <a:xfrm>
                <a:off x="7392850" y="3460537"/>
                <a:ext cx="621141" cy="240313"/>
              </a:xfrm>
              <a:prstGeom prst="rect">
                <a:avLst/>
              </a:prstGeom>
              <a:noFill/>
            </p:spPr>
            <p:txBody>
              <a:bodyPr wrap="none" lIns="182880" tIns="146304" rIns="182880" bIns="146304" rtlCol="0">
                <a:noAutofit/>
              </a:bodyPr>
              <a:lstStyle/>
              <a:p>
                <a:pPr algn="ctr">
                  <a:lnSpc>
                    <a:spcPct val="50000"/>
                  </a:lnSpc>
                  <a:spcAft>
                    <a:spcPts val="600"/>
                  </a:spcAft>
                </a:pPr>
                <a:r>
                  <a:rPr lang="en-US" sz="900" dirty="0">
                    <a:solidFill>
                      <a:schemeClr val="bg1"/>
                    </a:solidFill>
                  </a:rPr>
                  <a:t>DFS</a:t>
                </a:r>
              </a:p>
            </p:txBody>
          </p:sp>
          <p:sp>
            <p:nvSpPr>
              <p:cNvPr id="43" name="TextBox 42"/>
              <p:cNvSpPr txBox="1"/>
              <p:nvPr/>
            </p:nvSpPr>
            <p:spPr>
              <a:xfrm>
                <a:off x="7952798" y="3201766"/>
                <a:ext cx="546977" cy="210738"/>
              </a:xfrm>
              <a:prstGeom prst="rect">
                <a:avLst/>
              </a:prstGeom>
              <a:solidFill>
                <a:srgbClr val="008DB5"/>
              </a:solidFill>
            </p:spPr>
            <p:txBody>
              <a:bodyPr wrap="none" lIns="182880" tIns="146304" rIns="182880" bIns="146304" rtlCol="0" anchor="ctr">
                <a:noAutofit/>
              </a:bodyPr>
              <a:lstStyle/>
              <a:p>
                <a:pPr algn="ctr">
                  <a:lnSpc>
                    <a:spcPct val="50000"/>
                  </a:lnSpc>
                  <a:spcAft>
                    <a:spcPts val="600"/>
                  </a:spcAft>
                </a:pPr>
                <a:r>
                  <a:rPr lang="en-US" sz="900" dirty="0" err="1">
                    <a:solidFill>
                      <a:schemeClr val="bg1"/>
                    </a:solidFill>
                  </a:rPr>
                  <a:t>WebHDFS</a:t>
                </a:r>
                <a:endParaRPr lang="en-US" sz="900" dirty="0">
                  <a:solidFill>
                    <a:schemeClr val="bg1"/>
                  </a:solidFill>
                </a:endParaRPr>
              </a:p>
            </p:txBody>
          </p:sp>
          <p:cxnSp>
            <p:nvCxnSpPr>
              <p:cNvPr id="44" name="Straight Arrow Connector 43"/>
              <p:cNvCxnSpPr/>
              <p:nvPr/>
            </p:nvCxnSpPr>
            <p:spPr>
              <a:xfrm>
                <a:off x="7692829" y="2967443"/>
                <a:ext cx="0" cy="167275"/>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5" name="TextBox 44"/>
              <p:cNvSpPr txBox="1"/>
              <p:nvPr/>
            </p:nvSpPr>
            <p:spPr>
              <a:xfrm>
                <a:off x="7553739" y="2753393"/>
                <a:ext cx="808340" cy="224016"/>
              </a:xfrm>
              <a:prstGeom prst="rect">
                <a:avLst/>
              </a:prstGeom>
              <a:solidFill>
                <a:schemeClr val="accent2">
                  <a:lumMod val="60000"/>
                  <a:lumOff val="40000"/>
                </a:schemeClr>
              </a:solidFill>
            </p:spPr>
            <p:txBody>
              <a:bodyPr wrap="none" lIns="182880" tIns="146304" rIns="182880" bIns="146304" rtlCol="0" anchor="ctr">
                <a:noAutofit/>
              </a:bodyPr>
              <a:lstStyle/>
              <a:p>
                <a:pPr algn="ctr">
                  <a:lnSpc>
                    <a:spcPct val="50000"/>
                  </a:lnSpc>
                  <a:spcAft>
                    <a:spcPts val="600"/>
                  </a:spcAft>
                </a:pPr>
                <a:r>
                  <a:rPr lang="en-US" sz="900" dirty="0">
                    <a:solidFill>
                      <a:schemeClr val="tx1">
                        <a:lumMod val="85000"/>
                        <a:lumOff val="15000"/>
                      </a:schemeClr>
                    </a:solidFill>
                  </a:rPr>
                  <a:t>HFDS API</a:t>
                </a:r>
              </a:p>
            </p:txBody>
          </p:sp>
        </p:grpSp>
        <p:grpSp>
          <p:nvGrpSpPr>
            <p:cNvPr id="10" name="Group 9"/>
            <p:cNvGrpSpPr/>
            <p:nvPr/>
          </p:nvGrpSpPr>
          <p:grpSpPr>
            <a:xfrm>
              <a:off x="10257269" y="2502043"/>
              <a:ext cx="1315131" cy="1338464"/>
              <a:chOff x="7392850" y="2486358"/>
              <a:chExt cx="1159161" cy="1246168"/>
            </a:xfrm>
          </p:grpSpPr>
          <p:sp>
            <p:nvSpPr>
              <p:cNvPr id="32" name="Rectangle 31"/>
              <p:cNvSpPr/>
              <p:nvPr/>
            </p:nvSpPr>
            <p:spPr bwMode="auto">
              <a:xfrm>
                <a:off x="7400438" y="2522179"/>
                <a:ext cx="1151573" cy="1210347"/>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33" name="TextBox 32"/>
              <p:cNvSpPr txBox="1"/>
              <p:nvPr/>
            </p:nvSpPr>
            <p:spPr>
              <a:xfrm>
                <a:off x="7519024" y="2486358"/>
                <a:ext cx="914400" cy="297620"/>
              </a:xfrm>
              <a:prstGeom prst="rect">
                <a:avLst/>
              </a:prstGeom>
              <a:noFill/>
            </p:spPr>
            <p:txBody>
              <a:bodyPr wrap="none" lIns="182880" tIns="146304" rIns="182880" bIns="146304" rtlCol="0">
                <a:noAutofit/>
              </a:bodyPr>
              <a:lstStyle/>
              <a:p>
                <a:pPr algn="ctr">
                  <a:lnSpc>
                    <a:spcPct val="50000"/>
                  </a:lnSpc>
                  <a:spcAft>
                    <a:spcPts val="600"/>
                  </a:spcAft>
                </a:pPr>
                <a:r>
                  <a:rPr lang="en-US" sz="900" b="1" dirty="0">
                    <a:solidFill>
                      <a:schemeClr val="bg1"/>
                    </a:solidFill>
                  </a:rPr>
                  <a:t>Worker Node</a:t>
                </a:r>
              </a:p>
            </p:txBody>
          </p:sp>
          <p:pic>
            <p:nvPicPr>
              <p:cNvPr id="34" name="Picture 33" descr="Hadoop clusters in HDInsight access and store big data in cost-effective, scalable Hadoop-compatible Azure Blob storage in the cloud."/>
              <p:cNvPicPr/>
              <p:nvPr/>
            </p:nvPicPr>
            <p:blipFill rotWithShape="1">
              <a:blip r:embed="rId2" cstate="print">
                <a:duotone>
                  <a:prstClr val="black"/>
                  <a:schemeClr val="bg1">
                    <a:tint val="45000"/>
                    <a:satMod val="400000"/>
                  </a:schemeClr>
                </a:duotone>
                <a:extLst>
                  <a:ext uri="{BEBA8EAE-BF5A-486C-A8C5-ECC9F3942E4B}">
                    <a14:imgProps xmlns:a14="http://schemas.microsoft.com/office/drawing/2010/main">
                      <a14:imgLayer r:embed="rId3">
                        <a14:imgEffect>
                          <a14:backgroundRemoval t="61264" b="88736" l="82036" r="98004"/>
                        </a14:imgEffect>
                        <a14:imgEffect>
                          <a14:brightnessContrast bright="40000" contrast="-40000"/>
                        </a14:imgEffect>
                      </a14:imgLayer>
                    </a14:imgProps>
                  </a:ext>
                  <a:ext uri="{28A0092B-C50C-407E-A947-70E740481C1C}">
                    <a14:useLocalDpi xmlns:a14="http://schemas.microsoft.com/office/drawing/2010/main" val="0"/>
                  </a:ext>
                </a:extLst>
              </a:blip>
              <a:srcRect l="80067" t="58424" b="11117"/>
              <a:stretch/>
            </p:blipFill>
            <p:spPr bwMode="auto">
              <a:xfrm>
                <a:off x="7499298" y="3076839"/>
                <a:ext cx="387063" cy="435504"/>
              </a:xfrm>
              <a:prstGeom prst="rect">
                <a:avLst/>
              </a:prstGeom>
              <a:noFill/>
              <a:ln>
                <a:noFill/>
              </a:ln>
            </p:spPr>
          </p:pic>
          <p:sp>
            <p:nvSpPr>
              <p:cNvPr id="35" name="TextBox 34"/>
              <p:cNvSpPr txBox="1"/>
              <p:nvPr/>
            </p:nvSpPr>
            <p:spPr>
              <a:xfrm>
                <a:off x="7392850" y="3460537"/>
                <a:ext cx="621141" cy="240313"/>
              </a:xfrm>
              <a:prstGeom prst="rect">
                <a:avLst/>
              </a:prstGeom>
              <a:noFill/>
            </p:spPr>
            <p:txBody>
              <a:bodyPr wrap="none" lIns="182880" tIns="146304" rIns="182880" bIns="146304" rtlCol="0">
                <a:noAutofit/>
              </a:bodyPr>
              <a:lstStyle/>
              <a:p>
                <a:pPr algn="ctr">
                  <a:lnSpc>
                    <a:spcPct val="50000"/>
                  </a:lnSpc>
                  <a:spcAft>
                    <a:spcPts val="600"/>
                  </a:spcAft>
                </a:pPr>
                <a:r>
                  <a:rPr lang="en-US" sz="900" dirty="0">
                    <a:solidFill>
                      <a:schemeClr val="bg1"/>
                    </a:solidFill>
                  </a:rPr>
                  <a:t>DFS</a:t>
                </a:r>
              </a:p>
            </p:txBody>
          </p:sp>
          <p:sp>
            <p:nvSpPr>
              <p:cNvPr id="36" name="TextBox 35"/>
              <p:cNvSpPr txBox="1"/>
              <p:nvPr/>
            </p:nvSpPr>
            <p:spPr>
              <a:xfrm>
                <a:off x="7952798" y="3201765"/>
                <a:ext cx="546977" cy="210738"/>
              </a:xfrm>
              <a:prstGeom prst="rect">
                <a:avLst/>
              </a:prstGeom>
              <a:solidFill>
                <a:srgbClr val="008DB5"/>
              </a:solidFill>
            </p:spPr>
            <p:txBody>
              <a:bodyPr wrap="none" lIns="0" tIns="0" rIns="0" bIns="0" rtlCol="0" anchor="ctr">
                <a:noAutofit/>
              </a:bodyPr>
              <a:lstStyle/>
              <a:p>
                <a:pPr algn="ctr">
                  <a:lnSpc>
                    <a:spcPct val="50000"/>
                  </a:lnSpc>
                  <a:spcAft>
                    <a:spcPts val="600"/>
                  </a:spcAft>
                </a:pPr>
                <a:r>
                  <a:rPr lang="en-US" sz="900" dirty="0" err="1">
                    <a:solidFill>
                      <a:schemeClr val="bg1"/>
                    </a:solidFill>
                  </a:rPr>
                  <a:t>WebHDFS</a:t>
                </a:r>
                <a:endParaRPr lang="en-US" sz="900" dirty="0">
                  <a:solidFill>
                    <a:schemeClr val="bg1"/>
                  </a:solidFill>
                </a:endParaRPr>
              </a:p>
            </p:txBody>
          </p:sp>
          <p:cxnSp>
            <p:nvCxnSpPr>
              <p:cNvPr id="37" name="Straight Arrow Connector 36"/>
              <p:cNvCxnSpPr/>
              <p:nvPr/>
            </p:nvCxnSpPr>
            <p:spPr>
              <a:xfrm>
                <a:off x="7692829" y="2967443"/>
                <a:ext cx="0" cy="167275"/>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8" name="TextBox 37"/>
              <p:cNvSpPr txBox="1"/>
              <p:nvPr/>
            </p:nvSpPr>
            <p:spPr>
              <a:xfrm>
                <a:off x="7553739" y="2752669"/>
                <a:ext cx="808340" cy="224016"/>
              </a:xfrm>
              <a:prstGeom prst="rect">
                <a:avLst/>
              </a:prstGeom>
              <a:solidFill>
                <a:schemeClr val="accent2">
                  <a:lumMod val="60000"/>
                  <a:lumOff val="40000"/>
                </a:schemeClr>
              </a:solidFill>
            </p:spPr>
            <p:txBody>
              <a:bodyPr wrap="none" lIns="182880" tIns="146304" rIns="182880" bIns="146304" rtlCol="0" anchor="ctr">
                <a:noAutofit/>
              </a:bodyPr>
              <a:lstStyle/>
              <a:p>
                <a:pPr algn="ctr">
                  <a:lnSpc>
                    <a:spcPct val="50000"/>
                  </a:lnSpc>
                  <a:spcAft>
                    <a:spcPts val="600"/>
                  </a:spcAft>
                </a:pPr>
                <a:r>
                  <a:rPr lang="en-US" sz="900" dirty="0">
                    <a:solidFill>
                      <a:schemeClr val="tx1">
                        <a:lumMod val="85000"/>
                        <a:lumOff val="15000"/>
                      </a:schemeClr>
                    </a:solidFill>
                  </a:rPr>
                  <a:t>HFDS API</a:t>
                </a:r>
              </a:p>
            </p:txBody>
          </p:sp>
        </p:grpSp>
        <p:cxnSp>
          <p:nvCxnSpPr>
            <p:cNvPr id="11" name="Straight Connector 10"/>
            <p:cNvCxnSpPr/>
            <p:nvPr/>
          </p:nvCxnSpPr>
          <p:spPr>
            <a:xfrm flipV="1">
              <a:off x="7088046" y="4207732"/>
              <a:ext cx="4556917" cy="3527"/>
            </a:xfrm>
            <a:prstGeom prst="line">
              <a:avLst/>
            </a:prstGeom>
            <a:ln>
              <a:solidFill>
                <a:srgbClr val="0070C0"/>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2" name="Picture 11" descr="Hadoop clusters in HDInsight access and store big data in cost-effective, scalable Hadoop-compatible Azure Blob storage in the cloud."/>
            <p:cNvPicPr/>
            <p:nvPr/>
          </p:nvPicPr>
          <p:blipFill rotWithShape="1">
            <a:blip r:embed="rId4">
              <a:extLst>
                <a:ext uri="{28A0092B-C50C-407E-A947-70E740481C1C}">
                  <a14:useLocalDpi xmlns:a14="http://schemas.microsoft.com/office/drawing/2010/main" val="0"/>
                </a:ext>
              </a:extLst>
            </a:blip>
            <a:srcRect l="82696" t="62153" r="2052" b="11473"/>
            <a:stretch/>
          </p:blipFill>
          <p:spPr bwMode="auto">
            <a:xfrm>
              <a:off x="10896540" y="4572460"/>
              <a:ext cx="634826" cy="727592"/>
            </a:xfrm>
            <a:prstGeom prst="rect">
              <a:avLst/>
            </a:prstGeom>
            <a:noFill/>
            <a:ln>
              <a:noFill/>
            </a:ln>
          </p:spPr>
        </p:pic>
        <p:pic>
          <p:nvPicPr>
            <p:cNvPr id="13" name="Picture 12" descr="Hadoop clusters in HDInsight access and store big data in cost-effective, scalable Hadoop-compatible Azure Blob storage in the cloud."/>
            <p:cNvPicPr/>
            <p:nvPr/>
          </p:nvPicPr>
          <p:blipFill rotWithShape="1">
            <a:blip r:embed="rId4">
              <a:extLst>
                <a:ext uri="{28A0092B-C50C-407E-A947-70E740481C1C}">
                  <a14:useLocalDpi xmlns:a14="http://schemas.microsoft.com/office/drawing/2010/main" val="0"/>
                </a:ext>
              </a:extLst>
            </a:blip>
            <a:srcRect l="82696" t="62153" r="2052" b="11473"/>
            <a:stretch/>
          </p:blipFill>
          <p:spPr bwMode="auto">
            <a:xfrm>
              <a:off x="9778413" y="4565578"/>
              <a:ext cx="634826" cy="727592"/>
            </a:xfrm>
            <a:prstGeom prst="rect">
              <a:avLst/>
            </a:prstGeom>
            <a:noFill/>
            <a:ln>
              <a:noFill/>
            </a:ln>
          </p:spPr>
        </p:pic>
        <p:pic>
          <p:nvPicPr>
            <p:cNvPr id="14" name="Picture 13" descr="Hadoop clusters in HDInsight access and store big data in cost-effective, scalable Hadoop-compatible Azure Blob storage in the cloud."/>
            <p:cNvPicPr/>
            <p:nvPr/>
          </p:nvPicPr>
          <p:blipFill rotWithShape="1">
            <a:blip r:embed="rId4">
              <a:extLst>
                <a:ext uri="{28A0092B-C50C-407E-A947-70E740481C1C}">
                  <a14:useLocalDpi xmlns:a14="http://schemas.microsoft.com/office/drawing/2010/main" val="0"/>
                </a:ext>
              </a:extLst>
            </a:blip>
            <a:srcRect l="82696" t="62153" r="2052" b="11473"/>
            <a:stretch/>
          </p:blipFill>
          <p:spPr bwMode="auto">
            <a:xfrm>
              <a:off x="8612413" y="4542982"/>
              <a:ext cx="634826" cy="727592"/>
            </a:xfrm>
            <a:prstGeom prst="rect">
              <a:avLst/>
            </a:prstGeom>
            <a:noFill/>
            <a:ln>
              <a:noFill/>
            </a:ln>
          </p:spPr>
        </p:pic>
        <p:cxnSp>
          <p:nvCxnSpPr>
            <p:cNvPr id="15" name="Elbow Connector 14"/>
            <p:cNvCxnSpPr/>
            <p:nvPr/>
          </p:nvCxnSpPr>
          <p:spPr>
            <a:xfrm>
              <a:off x="9257812" y="4309796"/>
              <a:ext cx="1935520" cy="206655"/>
            </a:xfrm>
            <a:prstGeom prst="bentConnector2">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Elbow Connector 15"/>
            <p:cNvCxnSpPr/>
            <p:nvPr/>
          </p:nvCxnSpPr>
          <p:spPr>
            <a:xfrm>
              <a:off x="8875381" y="4309796"/>
              <a:ext cx="1188720" cy="200500"/>
            </a:xfrm>
            <a:prstGeom prst="bentConnector3">
              <a:avLst>
                <a:gd name="adj1" fmla="val 100017"/>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a:off x="8874996" y="4324322"/>
              <a:ext cx="0" cy="192129"/>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 name="Elbow Connector 17"/>
            <p:cNvCxnSpPr/>
            <p:nvPr/>
          </p:nvCxnSpPr>
          <p:spPr>
            <a:xfrm rot="16200000" flipH="1">
              <a:off x="8297457" y="3435604"/>
              <a:ext cx="731520" cy="1005840"/>
            </a:xfrm>
            <a:prstGeom prst="bentConnector3">
              <a:avLst>
                <a:gd name="adj1" fmla="val 59117"/>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a:stCxn id="43" idx="2"/>
            </p:cNvCxnSpPr>
            <p:nvPr/>
          </p:nvCxnSpPr>
          <p:spPr>
            <a:xfrm>
              <a:off x="9606329" y="3531124"/>
              <a:ext cx="3003" cy="778672"/>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Elbow Connector 19"/>
            <p:cNvCxnSpPr/>
            <p:nvPr/>
          </p:nvCxnSpPr>
          <p:spPr>
            <a:xfrm rot="5400000">
              <a:off x="10598936" y="3664610"/>
              <a:ext cx="888615" cy="401760"/>
            </a:xfrm>
            <a:prstGeom prst="bentConnector3">
              <a:avLst>
                <a:gd name="adj1" fmla="val 66933"/>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7054035" y="2209943"/>
              <a:ext cx="2312419" cy="253413"/>
            </a:xfrm>
            <a:prstGeom prst="rect">
              <a:avLst/>
            </a:prstGeom>
            <a:noFill/>
          </p:spPr>
          <p:txBody>
            <a:bodyPr wrap="none" lIns="182880" tIns="146304" rIns="182880" bIns="146304" rtlCol="0">
              <a:noAutofit/>
            </a:bodyPr>
            <a:lstStyle/>
            <a:p>
              <a:pPr>
                <a:lnSpc>
                  <a:spcPct val="50000"/>
                </a:lnSpc>
                <a:spcAft>
                  <a:spcPts val="600"/>
                </a:spcAft>
              </a:pPr>
              <a:r>
                <a:rPr lang="en-US" sz="1100" b="1" dirty="0">
                  <a:solidFill>
                    <a:schemeClr val="tx1">
                      <a:lumMod val="85000"/>
                      <a:lumOff val="15000"/>
                    </a:schemeClr>
                  </a:solidFill>
                </a:rPr>
                <a:t>HDInsight Cluster </a:t>
              </a:r>
            </a:p>
          </p:txBody>
        </p:sp>
        <p:sp>
          <p:nvSpPr>
            <p:cNvPr id="22" name="TextBox 21"/>
            <p:cNvSpPr txBox="1"/>
            <p:nvPr/>
          </p:nvSpPr>
          <p:spPr>
            <a:xfrm>
              <a:off x="6883062" y="4206969"/>
              <a:ext cx="1700683" cy="253413"/>
            </a:xfrm>
            <a:prstGeom prst="rect">
              <a:avLst/>
            </a:prstGeom>
            <a:noFill/>
          </p:spPr>
          <p:txBody>
            <a:bodyPr wrap="none" lIns="182880" tIns="146304" rIns="182880" bIns="146304" rtlCol="0">
              <a:noAutofit/>
            </a:bodyPr>
            <a:lstStyle/>
            <a:p>
              <a:pPr>
                <a:lnSpc>
                  <a:spcPct val="50000"/>
                </a:lnSpc>
                <a:spcAft>
                  <a:spcPts val="600"/>
                </a:spcAft>
              </a:pPr>
              <a:r>
                <a:rPr lang="en-US" sz="1050" b="1" dirty="0">
                  <a:solidFill>
                    <a:schemeClr val="tx1">
                      <a:lumMod val="85000"/>
                      <a:lumOff val="15000"/>
                    </a:schemeClr>
                  </a:solidFill>
                </a:rPr>
                <a:t>Azure Data Lake Storage </a:t>
              </a:r>
            </a:p>
          </p:txBody>
        </p:sp>
        <p:sp>
          <p:nvSpPr>
            <p:cNvPr id="23" name="TextBox 22"/>
            <p:cNvSpPr txBox="1"/>
            <p:nvPr/>
          </p:nvSpPr>
          <p:spPr>
            <a:xfrm>
              <a:off x="8360945" y="5190887"/>
              <a:ext cx="1156210" cy="398840"/>
            </a:xfrm>
            <a:prstGeom prst="rect">
              <a:avLst/>
            </a:prstGeom>
            <a:noFill/>
          </p:spPr>
          <p:txBody>
            <a:bodyPr wrap="none" lIns="182880" tIns="146304" rIns="182880" bIns="146304" rtlCol="0">
              <a:noAutofit/>
            </a:bodyPr>
            <a:lstStyle/>
            <a:p>
              <a:pPr algn="ctr">
                <a:lnSpc>
                  <a:spcPct val="50000"/>
                </a:lnSpc>
                <a:spcAft>
                  <a:spcPts val="600"/>
                </a:spcAft>
              </a:pPr>
              <a:r>
                <a:rPr lang="en-US" sz="900" dirty="0"/>
                <a:t>Container 1</a:t>
              </a:r>
            </a:p>
          </p:txBody>
        </p:sp>
        <p:sp>
          <p:nvSpPr>
            <p:cNvPr id="24" name="TextBox 23"/>
            <p:cNvSpPr txBox="1"/>
            <p:nvPr/>
          </p:nvSpPr>
          <p:spPr>
            <a:xfrm>
              <a:off x="9742152" y="5190887"/>
              <a:ext cx="743011" cy="398840"/>
            </a:xfrm>
            <a:prstGeom prst="rect">
              <a:avLst/>
            </a:prstGeom>
            <a:noFill/>
          </p:spPr>
          <p:txBody>
            <a:bodyPr wrap="none" lIns="182880" tIns="146304" rIns="182880" bIns="146304" rtlCol="0">
              <a:noAutofit/>
            </a:bodyPr>
            <a:lstStyle/>
            <a:p>
              <a:pPr algn="ctr">
                <a:lnSpc>
                  <a:spcPct val="50000"/>
                </a:lnSpc>
                <a:spcAft>
                  <a:spcPts val="600"/>
                </a:spcAft>
              </a:pPr>
              <a:r>
                <a:rPr lang="en-US" sz="900" dirty="0"/>
                <a:t>Container 2</a:t>
              </a:r>
              <a:endParaRPr lang="en-US" sz="900" b="1" dirty="0">
                <a:solidFill>
                  <a:schemeClr val="bg1"/>
                </a:solidFill>
              </a:endParaRPr>
            </a:p>
          </p:txBody>
        </p:sp>
        <p:sp>
          <p:nvSpPr>
            <p:cNvPr id="25" name="TextBox 24"/>
            <p:cNvSpPr txBox="1"/>
            <p:nvPr/>
          </p:nvSpPr>
          <p:spPr>
            <a:xfrm>
              <a:off x="10842363" y="5210208"/>
              <a:ext cx="743011" cy="398840"/>
            </a:xfrm>
            <a:prstGeom prst="rect">
              <a:avLst/>
            </a:prstGeom>
            <a:noFill/>
          </p:spPr>
          <p:txBody>
            <a:bodyPr wrap="none" lIns="182880" tIns="146304" rIns="182880" bIns="146304" rtlCol="0">
              <a:noAutofit/>
            </a:bodyPr>
            <a:lstStyle/>
            <a:p>
              <a:pPr algn="ctr">
                <a:lnSpc>
                  <a:spcPct val="50000"/>
                </a:lnSpc>
                <a:spcAft>
                  <a:spcPts val="600"/>
                </a:spcAft>
              </a:pPr>
              <a:r>
                <a:rPr lang="en-US" sz="900" dirty="0"/>
                <a:t>Container 3</a:t>
              </a:r>
              <a:endParaRPr lang="en-US" sz="900" b="1" dirty="0">
                <a:solidFill>
                  <a:schemeClr val="bg1"/>
                </a:solidFill>
              </a:endParaRPr>
            </a:p>
          </p:txBody>
        </p:sp>
        <p:sp>
          <p:nvSpPr>
            <p:cNvPr id="26" name="Oval 25"/>
            <p:cNvSpPr/>
            <p:nvPr/>
          </p:nvSpPr>
          <p:spPr bwMode="auto">
            <a:xfrm flipV="1">
              <a:off x="10527197" y="4917698"/>
              <a:ext cx="45719" cy="45719"/>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27" name="Oval 26"/>
            <p:cNvSpPr/>
            <p:nvPr/>
          </p:nvSpPr>
          <p:spPr bwMode="auto">
            <a:xfrm flipV="1">
              <a:off x="10637820" y="4917698"/>
              <a:ext cx="45719" cy="45719"/>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28" name="Oval 27"/>
            <p:cNvSpPr/>
            <p:nvPr/>
          </p:nvSpPr>
          <p:spPr bwMode="auto">
            <a:xfrm flipV="1">
              <a:off x="10751206" y="4917698"/>
              <a:ext cx="45719" cy="45719"/>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cxnSp>
          <p:nvCxnSpPr>
            <p:cNvPr id="29" name="Straight Arrow Connector 28"/>
            <p:cNvCxnSpPr/>
            <p:nvPr/>
          </p:nvCxnSpPr>
          <p:spPr>
            <a:xfrm flipH="1">
              <a:off x="9608930" y="3034965"/>
              <a:ext cx="3073" cy="274320"/>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flipH="1">
              <a:off x="11248486" y="3036641"/>
              <a:ext cx="3073" cy="228600"/>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10016411" y="3032862"/>
              <a:ext cx="199650" cy="355753"/>
            </a:xfrm>
            <a:prstGeom prst="rect">
              <a:avLst/>
            </a:prstGeom>
            <a:noFill/>
          </p:spPr>
          <p:txBody>
            <a:bodyPr wrap="none" lIns="0" tIns="0" rIns="0" bIns="0" rtlCol="0">
              <a:noAutofit/>
            </a:bodyPr>
            <a:lstStyle/>
            <a:p>
              <a:pPr>
                <a:lnSpc>
                  <a:spcPct val="90000"/>
                </a:lnSpc>
                <a:spcAft>
                  <a:spcPts val="600"/>
                </a:spcAft>
              </a:pPr>
              <a:r>
                <a:rPr lang="en-US" b="1" dirty="0">
                  <a:solidFill>
                    <a:schemeClr val="bg1"/>
                  </a:solidFill>
                </a:rPr>
                <a:t>…</a:t>
              </a:r>
            </a:p>
          </p:txBody>
        </p:sp>
      </p:grpSp>
    </p:spTree>
    <p:extLst>
      <p:ext uri="{BB962C8B-B14F-4D97-AF65-F5344CB8AC3E}">
        <p14:creationId xmlns:p14="http://schemas.microsoft.com/office/powerpoint/2010/main" val="2680930762"/>
      </p:ext>
    </p:extLst>
  </p:cSld>
  <p:clrMapOvr>
    <a:masterClrMapping/>
  </p:clrMapOvr>
  <p:transition spd="med">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1" y="487"/>
            <a:ext cx="5220356" cy="6857027"/>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endParaRPr lang="en-US" sz="5294" dirty="0">
              <a:solidFill>
                <a:schemeClr val="bg1"/>
              </a:solidFill>
              <a:latin typeface="+mj-lt"/>
              <a:ea typeface="Segoe UI" pitchFamily="34" charset="0"/>
              <a:cs typeface="Segoe UI" pitchFamily="34" charset="0"/>
            </a:endParaRPr>
          </a:p>
          <a:p>
            <a:pPr defTabSz="914102" fontAlgn="base">
              <a:lnSpc>
                <a:spcPct val="90000"/>
              </a:lnSpc>
              <a:spcBef>
                <a:spcPct val="0"/>
              </a:spcBef>
              <a:spcAft>
                <a:spcPct val="0"/>
              </a:spcAft>
            </a:pPr>
            <a:endParaRPr lang="en-US" sz="5294" dirty="0">
              <a:solidFill>
                <a:schemeClr val="bg1"/>
              </a:solidFill>
              <a:latin typeface="+mj-lt"/>
              <a:ea typeface="Segoe UI" pitchFamily="34" charset="0"/>
              <a:cs typeface="Segoe UI" pitchFamily="34" charset="0"/>
            </a:endParaRPr>
          </a:p>
        </p:txBody>
      </p:sp>
      <p:sp>
        <p:nvSpPr>
          <p:cNvPr id="4" name="TextBox 3"/>
          <p:cNvSpPr txBox="1"/>
          <p:nvPr/>
        </p:nvSpPr>
        <p:spPr>
          <a:xfrm>
            <a:off x="5220356" y="1283300"/>
            <a:ext cx="6553002" cy="2156943"/>
          </a:xfrm>
          <a:prstGeom prst="rect">
            <a:avLst/>
          </a:prstGeom>
          <a:noFill/>
        </p:spPr>
        <p:txBody>
          <a:bodyPr wrap="square" lIns="268927" tIns="143428" rIns="179285" bIns="143428" rtlCol="0">
            <a:noAutofit/>
          </a:bodyPr>
          <a:lstStyle/>
          <a:p>
            <a:pPr marL="52912" lvl="1" defTabSz="913770" fontAlgn="base">
              <a:spcBef>
                <a:spcPts val="1176"/>
              </a:spcBef>
              <a:buClr>
                <a:schemeClr val="accent3">
                  <a:lumMod val="50000"/>
                </a:schemeClr>
              </a:buClr>
            </a:pPr>
            <a:r>
              <a:rPr lang="en-US" sz="3137" dirty="0">
                <a:ln>
                  <a:solidFill>
                    <a:srgbClr val="FFFFFF">
                      <a:alpha val="0"/>
                    </a:srgbClr>
                  </a:solidFill>
                </a:ln>
                <a:solidFill>
                  <a:schemeClr val="accent3"/>
                </a:solidFill>
                <a:latin typeface="+mj-lt"/>
                <a:ea typeface="Segoe UI" pitchFamily="34" charset="0"/>
                <a:cs typeface="Segoe UI" pitchFamily="34" charset="0"/>
              </a:rPr>
              <a:t>Agenda</a:t>
            </a:r>
          </a:p>
          <a:p>
            <a:pPr marL="558686" lvl="1" indent="-448193" defTabSz="913770" fontAlgn="base">
              <a:buClr>
                <a:schemeClr val="accent3">
                  <a:lumMod val="50000"/>
                </a:schemeClr>
              </a:buClr>
              <a:buBlip>
                <a:blip r:embed="rId2"/>
              </a:buBlip>
            </a:pPr>
            <a:r>
              <a:rPr lang="en-US" sz="2353" dirty="0" err="1">
                <a:ln>
                  <a:solidFill>
                    <a:srgbClr val="FFFFFF">
                      <a:alpha val="0"/>
                    </a:srgbClr>
                  </a:solidFill>
                </a:ln>
                <a:solidFill>
                  <a:schemeClr val="tx2"/>
                </a:solidFill>
                <a:ea typeface="Segoe UI" pitchFamily="34" charset="0"/>
                <a:cs typeface="Segoe UI" pitchFamily="34" charset="0"/>
              </a:rPr>
              <a:t>HCatalog</a:t>
            </a:r>
            <a:r>
              <a:rPr lang="en-US" sz="2353" dirty="0">
                <a:ln>
                  <a:solidFill>
                    <a:srgbClr val="FFFFFF">
                      <a:alpha val="0"/>
                    </a:srgbClr>
                  </a:solidFill>
                </a:ln>
                <a:solidFill>
                  <a:schemeClr val="tx2"/>
                </a:solidFill>
                <a:ea typeface="Segoe UI" pitchFamily="34" charset="0"/>
                <a:cs typeface="Segoe UI" pitchFamily="34" charset="0"/>
              </a:rPr>
              <a:t> Essentials</a:t>
            </a:r>
          </a:p>
          <a:p>
            <a:pPr marL="558686" lvl="1" indent="-448193" defTabSz="913770" fontAlgn="base">
              <a:buClr>
                <a:schemeClr val="accent3">
                  <a:lumMod val="50000"/>
                </a:schemeClr>
              </a:buClr>
              <a:buBlip>
                <a:blip r:embed="rId2"/>
              </a:buBlip>
            </a:pPr>
            <a:r>
              <a:rPr lang="en-US" sz="2353" dirty="0" err="1">
                <a:ln>
                  <a:solidFill>
                    <a:srgbClr val="FFFFFF">
                      <a:alpha val="0"/>
                    </a:srgbClr>
                  </a:solidFill>
                </a:ln>
                <a:solidFill>
                  <a:schemeClr val="tx2"/>
                </a:solidFill>
                <a:ea typeface="Segoe UI" pitchFamily="34" charset="0"/>
                <a:cs typeface="Segoe UI" pitchFamily="34" charset="0"/>
              </a:rPr>
              <a:t>Hcatalog</a:t>
            </a:r>
            <a:r>
              <a:rPr lang="en-US" sz="2353" dirty="0">
                <a:ln>
                  <a:solidFill>
                    <a:srgbClr val="FFFFFF">
                      <a:alpha val="0"/>
                    </a:srgbClr>
                  </a:solidFill>
                </a:ln>
                <a:solidFill>
                  <a:schemeClr val="tx2"/>
                </a:solidFill>
                <a:ea typeface="Segoe UI" pitchFamily="34" charset="0"/>
                <a:cs typeface="Segoe UI" pitchFamily="34" charset="0"/>
              </a:rPr>
              <a:t> Components</a:t>
            </a:r>
          </a:p>
          <a:p>
            <a:pPr marL="558686" lvl="1" indent="-448193" defTabSz="913770" fontAlgn="base">
              <a:buClr>
                <a:schemeClr val="accent3">
                  <a:lumMod val="50000"/>
                </a:schemeClr>
              </a:buClr>
              <a:buBlip>
                <a:blip r:embed="rId2"/>
              </a:buBlip>
            </a:pPr>
            <a:endParaRPr lang="en-US" sz="2353" dirty="0">
              <a:ln>
                <a:solidFill>
                  <a:srgbClr val="FFFFFF">
                    <a:alpha val="0"/>
                  </a:srgbClr>
                </a:solidFill>
              </a:ln>
              <a:solidFill>
                <a:schemeClr val="tx2"/>
              </a:solidFill>
              <a:ea typeface="Segoe UI" pitchFamily="34" charset="0"/>
              <a:cs typeface="Segoe UI" pitchFamily="34" charset="0"/>
            </a:endParaRPr>
          </a:p>
        </p:txBody>
      </p:sp>
      <p:sp>
        <p:nvSpPr>
          <p:cNvPr id="5" name="Rectangle 4"/>
          <p:cNvSpPr/>
          <p:nvPr/>
        </p:nvSpPr>
        <p:spPr bwMode="auto">
          <a:xfrm>
            <a:off x="1" y="6319659"/>
            <a:ext cx="5220356" cy="537855"/>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endParaRPr lang="en-US" sz="2353" kern="0" dirty="0">
              <a:ln>
                <a:solidFill>
                  <a:srgbClr val="FFFFFF">
                    <a:alpha val="0"/>
                  </a:srgbClr>
                </a:solidFill>
              </a:ln>
              <a:solidFill>
                <a:srgbClr val="FFFFFF"/>
              </a:solidFill>
              <a:latin typeface="Segoe UI Semibold" panose="020B0702040204020203" pitchFamily="34" charset="0"/>
              <a:ea typeface="MS PGothic" charset="0"/>
              <a:cs typeface="Segoe UI Semibold" panose="020B0702040204020203" pitchFamily="34" charset="0"/>
            </a:endParaRPr>
          </a:p>
        </p:txBody>
      </p:sp>
      <p:sp>
        <p:nvSpPr>
          <p:cNvPr id="6" name="Freeform 5"/>
          <p:cNvSpPr>
            <a:spLocks/>
          </p:cNvSpPr>
          <p:nvPr/>
        </p:nvSpPr>
        <p:spPr bwMode="auto">
          <a:xfrm flipH="1">
            <a:off x="2619107" y="4183803"/>
            <a:ext cx="2601249" cy="2135857"/>
          </a:xfrm>
          <a:custGeom>
            <a:avLst/>
            <a:gdLst>
              <a:gd name="connsiteX0" fmla="*/ 603413 w 1090712"/>
              <a:gd name="connsiteY0" fmla="*/ 721327 h 895572"/>
              <a:gd name="connsiteX1" fmla="*/ 578466 w 1090712"/>
              <a:gd name="connsiteY1" fmla="*/ 770746 h 895572"/>
              <a:gd name="connsiteX2" fmla="*/ 553519 w 1090712"/>
              <a:gd name="connsiteY2" fmla="*/ 818264 h 895572"/>
              <a:gd name="connsiteX3" fmla="*/ 528334 w 1090712"/>
              <a:gd name="connsiteY3" fmla="*/ 865069 h 895572"/>
              <a:gd name="connsiteX4" fmla="*/ 511825 w 1090712"/>
              <a:gd name="connsiteY4" fmla="*/ 895572 h 895572"/>
              <a:gd name="connsiteX5" fmla="*/ 624528 w 1090712"/>
              <a:gd name="connsiteY5" fmla="*/ 895572 h 895572"/>
              <a:gd name="connsiteX6" fmla="*/ 624796 w 1090712"/>
              <a:gd name="connsiteY6" fmla="*/ 894768 h 895572"/>
              <a:gd name="connsiteX7" fmla="*/ 625271 w 1090712"/>
              <a:gd name="connsiteY7" fmla="*/ 891679 h 895572"/>
              <a:gd name="connsiteX8" fmla="*/ 625747 w 1090712"/>
              <a:gd name="connsiteY8" fmla="*/ 889066 h 895572"/>
              <a:gd name="connsiteX9" fmla="*/ 625747 w 1090712"/>
              <a:gd name="connsiteY9" fmla="*/ 860555 h 895572"/>
              <a:gd name="connsiteX10" fmla="*/ 624796 w 1090712"/>
              <a:gd name="connsiteY10" fmla="*/ 833945 h 895572"/>
              <a:gd name="connsiteX11" fmla="*/ 624321 w 1090712"/>
              <a:gd name="connsiteY11" fmla="*/ 820877 h 895572"/>
              <a:gd name="connsiteX12" fmla="*/ 623608 w 1090712"/>
              <a:gd name="connsiteY12" fmla="*/ 808047 h 895572"/>
              <a:gd name="connsiteX13" fmla="*/ 621708 w 1090712"/>
              <a:gd name="connsiteY13" fmla="*/ 795218 h 895572"/>
              <a:gd name="connsiteX14" fmla="*/ 620044 w 1090712"/>
              <a:gd name="connsiteY14" fmla="*/ 782625 h 895572"/>
              <a:gd name="connsiteX15" fmla="*/ 616005 w 1090712"/>
              <a:gd name="connsiteY15" fmla="*/ 766707 h 895572"/>
              <a:gd name="connsiteX16" fmla="*/ 611966 w 1090712"/>
              <a:gd name="connsiteY16" fmla="*/ 751976 h 895572"/>
              <a:gd name="connsiteX17" fmla="*/ 607452 w 1090712"/>
              <a:gd name="connsiteY17" fmla="*/ 737245 h 895572"/>
              <a:gd name="connsiteX18" fmla="*/ 698212 w 1090712"/>
              <a:gd name="connsiteY18" fmla="*/ 530778 h 895572"/>
              <a:gd name="connsiteX19" fmla="*/ 693460 w 1090712"/>
              <a:gd name="connsiteY19" fmla="*/ 534818 h 895572"/>
              <a:gd name="connsiteX20" fmla="*/ 688471 w 1090712"/>
              <a:gd name="connsiteY20" fmla="*/ 538857 h 895572"/>
              <a:gd name="connsiteX21" fmla="*/ 678254 w 1090712"/>
              <a:gd name="connsiteY21" fmla="*/ 546935 h 895572"/>
              <a:gd name="connsiteX22" fmla="*/ 669226 w 1090712"/>
              <a:gd name="connsiteY22" fmla="*/ 553587 h 895572"/>
              <a:gd name="connsiteX23" fmla="*/ 663048 w 1090712"/>
              <a:gd name="connsiteY23" fmla="*/ 558814 h 895572"/>
              <a:gd name="connsiteX24" fmla="*/ 663048 w 1090712"/>
              <a:gd name="connsiteY24" fmla="*/ 556676 h 895572"/>
              <a:gd name="connsiteX25" fmla="*/ 663523 w 1090712"/>
              <a:gd name="connsiteY25" fmla="*/ 554538 h 895572"/>
              <a:gd name="connsiteX26" fmla="*/ 665424 w 1090712"/>
              <a:gd name="connsiteY26" fmla="*/ 550498 h 895572"/>
              <a:gd name="connsiteX27" fmla="*/ 668038 w 1090712"/>
              <a:gd name="connsiteY27" fmla="*/ 546459 h 895572"/>
              <a:gd name="connsiteX28" fmla="*/ 671602 w 1090712"/>
              <a:gd name="connsiteY28" fmla="*/ 542420 h 895572"/>
              <a:gd name="connsiteX29" fmla="*/ 676829 w 1090712"/>
              <a:gd name="connsiteY29" fmla="*/ 538857 h 895572"/>
              <a:gd name="connsiteX30" fmla="*/ 682768 w 1090712"/>
              <a:gd name="connsiteY30" fmla="*/ 535768 h 895572"/>
              <a:gd name="connsiteX31" fmla="*/ 689896 w 1090712"/>
              <a:gd name="connsiteY31" fmla="*/ 533154 h 895572"/>
              <a:gd name="connsiteX32" fmla="*/ 654257 w 1090712"/>
              <a:gd name="connsiteY32" fmla="*/ 302216 h 895572"/>
              <a:gd name="connsiteX33" fmla="*/ 651882 w 1090712"/>
              <a:gd name="connsiteY33" fmla="*/ 302691 h 895572"/>
              <a:gd name="connsiteX34" fmla="*/ 649268 w 1090712"/>
              <a:gd name="connsiteY34" fmla="*/ 303166 h 895572"/>
              <a:gd name="connsiteX35" fmla="*/ 647130 w 1090712"/>
              <a:gd name="connsiteY35" fmla="*/ 304354 h 895572"/>
              <a:gd name="connsiteX36" fmla="*/ 644516 w 1090712"/>
              <a:gd name="connsiteY36" fmla="*/ 306255 h 895572"/>
              <a:gd name="connsiteX37" fmla="*/ 642140 w 1090712"/>
              <a:gd name="connsiteY37" fmla="*/ 307918 h 895572"/>
              <a:gd name="connsiteX38" fmla="*/ 640002 w 1090712"/>
              <a:gd name="connsiteY38" fmla="*/ 310294 h 895572"/>
              <a:gd name="connsiteX39" fmla="*/ 638101 w 1090712"/>
              <a:gd name="connsiteY39" fmla="*/ 312432 h 895572"/>
              <a:gd name="connsiteX40" fmla="*/ 636913 w 1090712"/>
              <a:gd name="connsiteY40" fmla="*/ 314571 h 895572"/>
              <a:gd name="connsiteX41" fmla="*/ 635963 w 1090712"/>
              <a:gd name="connsiteY41" fmla="*/ 316946 h 895572"/>
              <a:gd name="connsiteX42" fmla="*/ 635963 w 1090712"/>
              <a:gd name="connsiteY42" fmla="*/ 319085 h 895572"/>
              <a:gd name="connsiteX43" fmla="*/ 636913 w 1090712"/>
              <a:gd name="connsiteY43" fmla="*/ 321223 h 895572"/>
              <a:gd name="connsiteX44" fmla="*/ 637626 w 1090712"/>
              <a:gd name="connsiteY44" fmla="*/ 324074 h 895572"/>
              <a:gd name="connsiteX45" fmla="*/ 639527 w 1090712"/>
              <a:gd name="connsiteY45" fmla="*/ 326688 h 895572"/>
              <a:gd name="connsiteX46" fmla="*/ 643091 w 1090712"/>
              <a:gd name="connsiteY46" fmla="*/ 331677 h 895572"/>
              <a:gd name="connsiteX47" fmla="*/ 647130 w 1090712"/>
              <a:gd name="connsiteY47" fmla="*/ 335954 h 895572"/>
              <a:gd name="connsiteX48" fmla="*/ 655920 w 1090712"/>
              <a:gd name="connsiteY48" fmla="*/ 330727 h 895572"/>
              <a:gd name="connsiteX49" fmla="*/ 663999 w 1090712"/>
              <a:gd name="connsiteY49" fmla="*/ 324787 h 895572"/>
              <a:gd name="connsiteX50" fmla="*/ 679917 w 1090712"/>
              <a:gd name="connsiteY50" fmla="*/ 313383 h 895572"/>
              <a:gd name="connsiteX51" fmla="*/ 676354 w 1090712"/>
              <a:gd name="connsiteY51" fmla="*/ 311007 h 895572"/>
              <a:gd name="connsiteX52" fmla="*/ 672790 w 1090712"/>
              <a:gd name="connsiteY52" fmla="*/ 308393 h 895572"/>
              <a:gd name="connsiteX53" fmla="*/ 668988 w 1090712"/>
              <a:gd name="connsiteY53" fmla="*/ 306730 h 895572"/>
              <a:gd name="connsiteX54" fmla="*/ 664949 w 1090712"/>
              <a:gd name="connsiteY54" fmla="*/ 304829 h 895572"/>
              <a:gd name="connsiteX55" fmla="*/ 660910 w 1090712"/>
              <a:gd name="connsiteY55" fmla="*/ 303641 h 895572"/>
              <a:gd name="connsiteX56" fmla="*/ 657346 w 1090712"/>
              <a:gd name="connsiteY56" fmla="*/ 302691 h 895572"/>
              <a:gd name="connsiteX57" fmla="*/ 696549 w 1090712"/>
              <a:gd name="connsiteY57" fmla="*/ 252322 h 895572"/>
              <a:gd name="connsiteX58" fmla="*/ 696786 w 1090712"/>
              <a:gd name="connsiteY58" fmla="*/ 259925 h 895572"/>
              <a:gd name="connsiteX59" fmla="*/ 698212 w 1090712"/>
              <a:gd name="connsiteY59" fmla="*/ 266102 h 895572"/>
              <a:gd name="connsiteX60" fmla="*/ 700113 w 1090712"/>
              <a:gd name="connsiteY60" fmla="*/ 272042 h 895572"/>
              <a:gd name="connsiteX61" fmla="*/ 701776 w 1090712"/>
              <a:gd name="connsiteY61" fmla="*/ 276794 h 895572"/>
              <a:gd name="connsiteX62" fmla="*/ 704389 w 1090712"/>
              <a:gd name="connsiteY62" fmla="*/ 280833 h 895572"/>
              <a:gd name="connsiteX63" fmla="*/ 707240 w 1090712"/>
              <a:gd name="connsiteY63" fmla="*/ 284397 h 895572"/>
              <a:gd name="connsiteX64" fmla="*/ 710329 w 1090712"/>
              <a:gd name="connsiteY64" fmla="*/ 287010 h 895572"/>
              <a:gd name="connsiteX65" fmla="*/ 713418 w 1090712"/>
              <a:gd name="connsiteY65" fmla="*/ 289624 h 895572"/>
              <a:gd name="connsiteX66" fmla="*/ 716506 w 1090712"/>
              <a:gd name="connsiteY66" fmla="*/ 291524 h 895572"/>
              <a:gd name="connsiteX67" fmla="*/ 719595 w 1090712"/>
              <a:gd name="connsiteY67" fmla="*/ 293187 h 895572"/>
              <a:gd name="connsiteX68" fmla="*/ 725772 w 1090712"/>
              <a:gd name="connsiteY68" fmla="*/ 295088 h 895572"/>
              <a:gd name="connsiteX69" fmla="*/ 731237 w 1090712"/>
              <a:gd name="connsiteY69" fmla="*/ 296514 h 895572"/>
              <a:gd name="connsiteX70" fmla="*/ 734801 w 1090712"/>
              <a:gd name="connsiteY70" fmla="*/ 296751 h 895572"/>
              <a:gd name="connsiteX71" fmla="*/ 722209 w 1090712"/>
              <a:gd name="connsiteY71" fmla="*/ 303879 h 895572"/>
              <a:gd name="connsiteX72" fmla="*/ 710804 w 1090712"/>
              <a:gd name="connsiteY72" fmla="*/ 311007 h 895572"/>
              <a:gd name="connsiteX73" fmla="*/ 688471 w 1090712"/>
              <a:gd name="connsiteY73" fmla="*/ 324787 h 895572"/>
              <a:gd name="connsiteX74" fmla="*/ 667563 w 1090712"/>
              <a:gd name="connsiteY74" fmla="*/ 339043 h 895572"/>
              <a:gd name="connsiteX75" fmla="*/ 646179 w 1090712"/>
              <a:gd name="connsiteY75" fmla="*/ 352823 h 895572"/>
              <a:gd name="connsiteX76" fmla="*/ 620044 w 1090712"/>
              <a:gd name="connsiteY76" fmla="*/ 313383 h 895572"/>
              <a:gd name="connsiteX77" fmla="*/ 617668 w 1090712"/>
              <a:gd name="connsiteY77" fmla="*/ 312432 h 895572"/>
              <a:gd name="connsiteX78" fmla="*/ 615055 w 1090712"/>
              <a:gd name="connsiteY78" fmla="*/ 312432 h 895572"/>
              <a:gd name="connsiteX79" fmla="*/ 612441 w 1090712"/>
              <a:gd name="connsiteY79" fmla="*/ 313383 h 895572"/>
              <a:gd name="connsiteX80" fmla="*/ 609353 w 1090712"/>
              <a:gd name="connsiteY80" fmla="*/ 314095 h 895572"/>
              <a:gd name="connsiteX81" fmla="*/ 602938 w 1090712"/>
              <a:gd name="connsiteY81" fmla="*/ 316946 h 895572"/>
              <a:gd name="connsiteX82" fmla="*/ 599849 w 1090712"/>
              <a:gd name="connsiteY82" fmla="*/ 317659 h 895572"/>
              <a:gd name="connsiteX83" fmla="*/ 596760 w 1090712"/>
              <a:gd name="connsiteY83" fmla="*/ 318610 h 895572"/>
              <a:gd name="connsiteX84" fmla="*/ 607927 w 1090712"/>
              <a:gd name="connsiteY84" fmla="*/ 307205 h 895572"/>
              <a:gd name="connsiteX85" fmla="*/ 618619 w 1090712"/>
              <a:gd name="connsiteY85" fmla="*/ 295088 h 895572"/>
              <a:gd name="connsiteX86" fmla="*/ 623846 w 1090712"/>
              <a:gd name="connsiteY86" fmla="*/ 289386 h 895572"/>
              <a:gd name="connsiteX87" fmla="*/ 629786 w 1090712"/>
              <a:gd name="connsiteY87" fmla="*/ 283921 h 895572"/>
              <a:gd name="connsiteX88" fmla="*/ 635963 w 1090712"/>
              <a:gd name="connsiteY88" fmla="*/ 278694 h 895572"/>
              <a:gd name="connsiteX89" fmla="*/ 642140 w 1090712"/>
              <a:gd name="connsiteY89" fmla="*/ 273705 h 895572"/>
              <a:gd name="connsiteX90" fmla="*/ 648793 w 1090712"/>
              <a:gd name="connsiteY90" fmla="*/ 269191 h 895572"/>
              <a:gd name="connsiteX91" fmla="*/ 655446 w 1090712"/>
              <a:gd name="connsiteY91" fmla="*/ 265627 h 895572"/>
              <a:gd name="connsiteX92" fmla="*/ 662098 w 1090712"/>
              <a:gd name="connsiteY92" fmla="*/ 263013 h 895572"/>
              <a:gd name="connsiteX93" fmla="*/ 668988 w 1090712"/>
              <a:gd name="connsiteY93" fmla="*/ 260400 h 895572"/>
              <a:gd name="connsiteX94" fmla="*/ 682768 w 1090712"/>
              <a:gd name="connsiteY94" fmla="*/ 256361 h 895572"/>
              <a:gd name="connsiteX95" fmla="*/ 1030602 w 1090712"/>
              <a:gd name="connsiteY95" fmla="*/ 200289 h 895572"/>
              <a:gd name="connsiteX96" fmla="*/ 1027513 w 1090712"/>
              <a:gd name="connsiteY96" fmla="*/ 207892 h 895572"/>
              <a:gd name="connsiteX97" fmla="*/ 1023949 w 1090712"/>
              <a:gd name="connsiteY97" fmla="*/ 214545 h 895572"/>
              <a:gd name="connsiteX98" fmla="*/ 1019910 w 1090712"/>
              <a:gd name="connsiteY98" fmla="*/ 221197 h 895572"/>
              <a:gd name="connsiteX99" fmla="*/ 1015396 w 1090712"/>
              <a:gd name="connsiteY99" fmla="*/ 226899 h 895572"/>
              <a:gd name="connsiteX100" fmla="*/ 1011119 w 1090712"/>
              <a:gd name="connsiteY100" fmla="*/ 232839 h 895572"/>
              <a:gd name="connsiteX101" fmla="*/ 1006130 w 1090712"/>
              <a:gd name="connsiteY101" fmla="*/ 237591 h 895572"/>
              <a:gd name="connsiteX102" fmla="*/ 1001140 w 1090712"/>
              <a:gd name="connsiteY102" fmla="*/ 242105 h 895572"/>
              <a:gd name="connsiteX103" fmla="*/ 996388 w 1090712"/>
              <a:gd name="connsiteY103" fmla="*/ 246144 h 895572"/>
              <a:gd name="connsiteX104" fmla="*/ 990924 w 1090712"/>
              <a:gd name="connsiteY104" fmla="*/ 249708 h 895572"/>
              <a:gd name="connsiteX105" fmla="*/ 985697 w 1090712"/>
              <a:gd name="connsiteY105" fmla="*/ 252797 h 895572"/>
              <a:gd name="connsiteX106" fmla="*/ 980232 w 1090712"/>
              <a:gd name="connsiteY106" fmla="*/ 254935 h 895572"/>
              <a:gd name="connsiteX107" fmla="*/ 975005 w 1090712"/>
              <a:gd name="connsiteY107" fmla="*/ 256836 h 895572"/>
              <a:gd name="connsiteX108" fmla="*/ 969541 w 1090712"/>
              <a:gd name="connsiteY108" fmla="*/ 258262 h 895572"/>
              <a:gd name="connsiteX109" fmla="*/ 963839 w 1090712"/>
              <a:gd name="connsiteY109" fmla="*/ 258499 h 895572"/>
              <a:gd name="connsiteX110" fmla="*/ 958612 w 1090712"/>
              <a:gd name="connsiteY110" fmla="*/ 258499 h 895572"/>
              <a:gd name="connsiteX111" fmla="*/ 953622 w 1090712"/>
              <a:gd name="connsiteY111" fmla="*/ 257786 h 895572"/>
              <a:gd name="connsiteX112" fmla="*/ 970966 w 1090712"/>
              <a:gd name="connsiteY112" fmla="*/ 244006 h 895572"/>
              <a:gd name="connsiteX113" fmla="*/ 990211 w 1090712"/>
              <a:gd name="connsiteY113" fmla="*/ 229275 h 895572"/>
              <a:gd name="connsiteX114" fmla="*/ 1010169 w 1090712"/>
              <a:gd name="connsiteY114" fmla="*/ 214069 h 895572"/>
              <a:gd name="connsiteX115" fmla="*/ 1020385 w 1090712"/>
              <a:gd name="connsiteY115" fmla="*/ 206942 h 895572"/>
              <a:gd name="connsiteX116" fmla="*/ 389581 w 1090712"/>
              <a:gd name="connsiteY116" fmla="*/ 176768 h 895572"/>
              <a:gd name="connsiteX117" fmla="*/ 397422 w 1090712"/>
              <a:gd name="connsiteY117" fmla="*/ 177243 h 895572"/>
              <a:gd name="connsiteX118" fmla="*/ 414766 w 1090712"/>
              <a:gd name="connsiteY118" fmla="*/ 178906 h 895572"/>
              <a:gd name="connsiteX119" fmla="*/ 405500 w 1090712"/>
              <a:gd name="connsiteY119" fmla="*/ 179856 h 895572"/>
              <a:gd name="connsiteX120" fmla="*/ 396946 w 1090712"/>
              <a:gd name="connsiteY120" fmla="*/ 181995 h 895572"/>
              <a:gd name="connsiteX121" fmla="*/ 389581 w 1090712"/>
              <a:gd name="connsiteY121" fmla="*/ 184371 h 895572"/>
              <a:gd name="connsiteX122" fmla="*/ 381978 w 1090712"/>
              <a:gd name="connsiteY122" fmla="*/ 186984 h 895572"/>
              <a:gd name="connsiteX123" fmla="*/ 375326 w 1090712"/>
              <a:gd name="connsiteY123" fmla="*/ 190548 h 895572"/>
              <a:gd name="connsiteX124" fmla="*/ 368911 w 1090712"/>
              <a:gd name="connsiteY124" fmla="*/ 194112 h 895572"/>
              <a:gd name="connsiteX125" fmla="*/ 363208 w 1090712"/>
              <a:gd name="connsiteY125" fmla="*/ 198626 h 895572"/>
              <a:gd name="connsiteX126" fmla="*/ 357981 w 1090712"/>
              <a:gd name="connsiteY126" fmla="*/ 202903 h 895572"/>
              <a:gd name="connsiteX127" fmla="*/ 352517 w 1090712"/>
              <a:gd name="connsiteY127" fmla="*/ 208367 h 895572"/>
              <a:gd name="connsiteX128" fmla="*/ 348003 w 1090712"/>
              <a:gd name="connsiteY128" fmla="*/ 214070 h 895572"/>
              <a:gd name="connsiteX129" fmla="*/ 343726 w 1090712"/>
              <a:gd name="connsiteY129" fmla="*/ 220247 h 895572"/>
              <a:gd name="connsiteX130" fmla="*/ 339687 w 1090712"/>
              <a:gd name="connsiteY130" fmla="*/ 226662 h 895572"/>
              <a:gd name="connsiteX131" fmla="*/ 335648 w 1090712"/>
              <a:gd name="connsiteY131" fmla="*/ 233790 h 895572"/>
              <a:gd name="connsiteX132" fmla="*/ 332559 w 1090712"/>
              <a:gd name="connsiteY132" fmla="*/ 240917 h 895572"/>
              <a:gd name="connsiteX133" fmla="*/ 328995 w 1090712"/>
              <a:gd name="connsiteY133" fmla="*/ 248758 h 895572"/>
              <a:gd name="connsiteX134" fmla="*/ 325907 w 1090712"/>
              <a:gd name="connsiteY134" fmla="*/ 256836 h 895572"/>
              <a:gd name="connsiteX135" fmla="*/ 325432 w 1090712"/>
              <a:gd name="connsiteY135" fmla="*/ 252797 h 895572"/>
              <a:gd name="connsiteX136" fmla="*/ 324956 w 1090712"/>
              <a:gd name="connsiteY136" fmla="*/ 248283 h 895572"/>
              <a:gd name="connsiteX137" fmla="*/ 323056 w 1090712"/>
              <a:gd name="connsiteY137" fmla="*/ 239492 h 895572"/>
              <a:gd name="connsiteX138" fmla="*/ 320917 w 1090712"/>
              <a:gd name="connsiteY138" fmla="*/ 229275 h 895572"/>
              <a:gd name="connsiteX139" fmla="*/ 320442 w 1090712"/>
              <a:gd name="connsiteY139" fmla="*/ 223811 h 895572"/>
              <a:gd name="connsiteX140" fmla="*/ 319967 w 1090712"/>
              <a:gd name="connsiteY140" fmla="*/ 217633 h 895572"/>
              <a:gd name="connsiteX141" fmla="*/ 314740 w 1090712"/>
              <a:gd name="connsiteY141" fmla="*/ 217633 h 895572"/>
              <a:gd name="connsiteX142" fmla="*/ 302148 w 1090712"/>
              <a:gd name="connsiteY142" fmla="*/ 243056 h 895572"/>
              <a:gd name="connsiteX143" fmla="*/ 289793 w 1090712"/>
              <a:gd name="connsiteY143" fmla="*/ 267528 h 895572"/>
              <a:gd name="connsiteX144" fmla="*/ 277438 w 1090712"/>
              <a:gd name="connsiteY144" fmla="*/ 291049 h 895572"/>
              <a:gd name="connsiteX145" fmla="*/ 264371 w 1090712"/>
              <a:gd name="connsiteY145" fmla="*/ 312907 h 895572"/>
              <a:gd name="connsiteX146" fmla="*/ 267459 w 1090712"/>
              <a:gd name="connsiteY146" fmla="*/ 295088 h 895572"/>
              <a:gd name="connsiteX147" fmla="*/ 271023 w 1090712"/>
              <a:gd name="connsiteY147" fmla="*/ 279170 h 895572"/>
              <a:gd name="connsiteX148" fmla="*/ 274587 w 1090712"/>
              <a:gd name="connsiteY148" fmla="*/ 263964 h 895572"/>
              <a:gd name="connsiteX149" fmla="*/ 279101 w 1090712"/>
              <a:gd name="connsiteY149" fmla="*/ 250183 h 895572"/>
              <a:gd name="connsiteX150" fmla="*/ 284091 w 1090712"/>
              <a:gd name="connsiteY150" fmla="*/ 238066 h 895572"/>
              <a:gd name="connsiteX151" fmla="*/ 289318 w 1090712"/>
              <a:gd name="connsiteY151" fmla="*/ 226900 h 895572"/>
              <a:gd name="connsiteX152" fmla="*/ 292406 w 1090712"/>
              <a:gd name="connsiteY152" fmla="*/ 221673 h 895572"/>
              <a:gd name="connsiteX153" fmla="*/ 295495 w 1090712"/>
              <a:gd name="connsiteY153" fmla="*/ 217158 h 895572"/>
              <a:gd name="connsiteX154" fmla="*/ 298584 w 1090712"/>
              <a:gd name="connsiteY154" fmla="*/ 212406 h 895572"/>
              <a:gd name="connsiteX155" fmla="*/ 302148 w 1090712"/>
              <a:gd name="connsiteY155" fmla="*/ 208367 h 895572"/>
              <a:gd name="connsiteX156" fmla="*/ 305711 w 1090712"/>
              <a:gd name="connsiteY156" fmla="*/ 204328 h 895572"/>
              <a:gd name="connsiteX157" fmla="*/ 309275 w 1090712"/>
              <a:gd name="connsiteY157" fmla="*/ 200765 h 895572"/>
              <a:gd name="connsiteX158" fmla="*/ 313314 w 1090712"/>
              <a:gd name="connsiteY158" fmla="*/ 197201 h 895572"/>
              <a:gd name="connsiteX159" fmla="*/ 317354 w 1090712"/>
              <a:gd name="connsiteY159" fmla="*/ 194112 h 895572"/>
              <a:gd name="connsiteX160" fmla="*/ 321868 w 1090712"/>
              <a:gd name="connsiteY160" fmla="*/ 191498 h 895572"/>
              <a:gd name="connsiteX161" fmla="*/ 326382 w 1090712"/>
              <a:gd name="connsiteY161" fmla="*/ 188647 h 895572"/>
              <a:gd name="connsiteX162" fmla="*/ 330659 w 1090712"/>
              <a:gd name="connsiteY162" fmla="*/ 186509 h 895572"/>
              <a:gd name="connsiteX163" fmla="*/ 335648 w 1090712"/>
              <a:gd name="connsiteY163" fmla="*/ 184371 h 895572"/>
              <a:gd name="connsiteX164" fmla="*/ 340637 w 1090712"/>
              <a:gd name="connsiteY164" fmla="*/ 182470 h 895572"/>
              <a:gd name="connsiteX165" fmla="*/ 345864 w 1090712"/>
              <a:gd name="connsiteY165" fmla="*/ 181282 h 895572"/>
              <a:gd name="connsiteX166" fmla="*/ 351091 w 1090712"/>
              <a:gd name="connsiteY166" fmla="*/ 179856 h 895572"/>
              <a:gd name="connsiteX167" fmla="*/ 357031 w 1090712"/>
              <a:gd name="connsiteY167" fmla="*/ 178431 h 895572"/>
              <a:gd name="connsiteX168" fmla="*/ 368911 w 1090712"/>
              <a:gd name="connsiteY168" fmla="*/ 177243 h 895572"/>
              <a:gd name="connsiteX169" fmla="*/ 381978 w 1090712"/>
              <a:gd name="connsiteY169" fmla="*/ 176768 h 895572"/>
              <a:gd name="connsiteX170" fmla="*/ 609353 w 1090712"/>
              <a:gd name="connsiteY170" fmla="*/ 174629 h 895572"/>
              <a:gd name="connsiteX171" fmla="*/ 602463 w 1090712"/>
              <a:gd name="connsiteY171" fmla="*/ 180807 h 895572"/>
              <a:gd name="connsiteX172" fmla="*/ 596285 w 1090712"/>
              <a:gd name="connsiteY172" fmla="*/ 187459 h 895572"/>
              <a:gd name="connsiteX173" fmla="*/ 583931 w 1090712"/>
              <a:gd name="connsiteY173" fmla="*/ 201715 h 895572"/>
              <a:gd name="connsiteX174" fmla="*/ 571101 w 1090712"/>
              <a:gd name="connsiteY174" fmla="*/ 215495 h 895572"/>
              <a:gd name="connsiteX175" fmla="*/ 564686 w 1090712"/>
              <a:gd name="connsiteY175" fmla="*/ 222148 h 895572"/>
              <a:gd name="connsiteX176" fmla="*/ 558508 w 1090712"/>
              <a:gd name="connsiteY176" fmla="*/ 228325 h 895572"/>
              <a:gd name="connsiteX177" fmla="*/ 557558 w 1090712"/>
              <a:gd name="connsiteY177" fmla="*/ 223335 h 895572"/>
              <a:gd name="connsiteX178" fmla="*/ 557083 w 1090712"/>
              <a:gd name="connsiteY178" fmla="*/ 219059 h 895572"/>
              <a:gd name="connsiteX179" fmla="*/ 557083 w 1090712"/>
              <a:gd name="connsiteY179" fmla="*/ 215020 h 895572"/>
              <a:gd name="connsiteX180" fmla="*/ 557558 w 1090712"/>
              <a:gd name="connsiteY180" fmla="*/ 210981 h 895572"/>
              <a:gd name="connsiteX181" fmla="*/ 558508 w 1090712"/>
              <a:gd name="connsiteY181" fmla="*/ 207417 h 895572"/>
              <a:gd name="connsiteX182" fmla="*/ 560409 w 1090712"/>
              <a:gd name="connsiteY182" fmla="*/ 203853 h 895572"/>
              <a:gd name="connsiteX183" fmla="*/ 562072 w 1090712"/>
              <a:gd name="connsiteY183" fmla="*/ 200764 h 895572"/>
              <a:gd name="connsiteX184" fmla="*/ 564686 w 1090712"/>
              <a:gd name="connsiteY184" fmla="*/ 197676 h 895572"/>
              <a:gd name="connsiteX185" fmla="*/ 567774 w 1090712"/>
              <a:gd name="connsiteY185" fmla="*/ 194587 h 895572"/>
              <a:gd name="connsiteX186" fmla="*/ 571813 w 1090712"/>
              <a:gd name="connsiteY186" fmla="*/ 191973 h 895572"/>
              <a:gd name="connsiteX187" fmla="*/ 576328 w 1090712"/>
              <a:gd name="connsiteY187" fmla="*/ 188647 h 895572"/>
              <a:gd name="connsiteX188" fmla="*/ 581317 w 1090712"/>
              <a:gd name="connsiteY188" fmla="*/ 186034 h 895572"/>
              <a:gd name="connsiteX189" fmla="*/ 587019 w 1090712"/>
              <a:gd name="connsiteY189" fmla="*/ 183420 h 895572"/>
              <a:gd name="connsiteX190" fmla="*/ 593672 w 1090712"/>
              <a:gd name="connsiteY190" fmla="*/ 180332 h 895572"/>
              <a:gd name="connsiteX191" fmla="*/ 586544 w 1090712"/>
              <a:gd name="connsiteY191" fmla="*/ 0 h 895572"/>
              <a:gd name="connsiteX192" fmla="*/ 570150 w 1090712"/>
              <a:gd name="connsiteY192" fmla="*/ 2851 h 895572"/>
              <a:gd name="connsiteX193" fmla="*/ 553519 w 1090712"/>
              <a:gd name="connsiteY193" fmla="*/ 5940 h 895572"/>
              <a:gd name="connsiteX194" fmla="*/ 536650 w 1090712"/>
              <a:gd name="connsiteY194" fmla="*/ 10454 h 895572"/>
              <a:gd name="connsiteX195" fmla="*/ 520256 w 1090712"/>
              <a:gd name="connsiteY195" fmla="*/ 14731 h 895572"/>
              <a:gd name="connsiteX196" fmla="*/ 486993 w 1090712"/>
              <a:gd name="connsiteY196" fmla="*/ 24472 h 895572"/>
              <a:gd name="connsiteX197" fmla="*/ 469887 w 1090712"/>
              <a:gd name="connsiteY197" fmla="*/ 28986 h 895572"/>
              <a:gd name="connsiteX198" fmla="*/ 453493 w 1090712"/>
              <a:gd name="connsiteY198" fmla="*/ 33500 h 895572"/>
              <a:gd name="connsiteX199" fmla="*/ 438762 w 1090712"/>
              <a:gd name="connsiteY199" fmla="*/ 40153 h 895572"/>
              <a:gd name="connsiteX200" fmla="*/ 424507 w 1090712"/>
              <a:gd name="connsiteY200" fmla="*/ 47281 h 895572"/>
              <a:gd name="connsiteX201" fmla="*/ 417379 w 1090712"/>
              <a:gd name="connsiteY201" fmla="*/ 51320 h 895572"/>
              <a:gd name="connsiteX202" fmla="*/ 410727 w 1090712"/>
              <a:gd name="connsiteY202" fmla="*/ 55834 h 895572"/>
              <a:gd name="connsiteX203" fmla="*/ 403599 w 1090712"/>
              <a:gd name="connsiteY203" fmla="*/ 60111 h 895572"/>
              <a:gd name="connsiteX204" fmla="*/ 397422 w 1090712"/>
              <a:gd name="connsiteY204" fmla="*/ 65100 h 895572"/>
              <a:gd name="connsiteX205" fmla="*/ 390769 w 1090712"/>
              <a:gd name="connsiteY205" fmla="*/ 69852 h 895572"/>
              <a:gd name="connsiteX206" fmla="*/ 384592 w 1090712"/>
              <a:gd name="connsiteY206" fmla="*/ 75792 h 895572"/>
              <a:gd name="connsiteX207" fmla="*/ 378889 w 1090712"/>
              <a:gd name="connsiteY207" fmla="*/ 81494 h 895572"/>
              <a:gd name="connsiteX208" fmla="*/ 372950 w 1090712"/>
              <a:gd name="connsiteY208" fmla="*/ 87671 h 895572"/>
              <a:gd name="connsiteX209" fmla="*/ 367723 w 1090712"/>
              <a:gd name="connsiteY209" fmla="*/ 94324 h 895572"/>
              <a:gd name="connsiteX210" fmla="*/ 362733 w 1090712"/>
              <a:gd name="connsiteY210" fmla="*/ 101452 h 895572"/>
              <a:gd name="connsiteX211" fmla="*/ 357981 w 1090712"/>
              <a:gd name="connsiteY211" fmla="*/ 109055 h 895572"/>
              <a:gd name="connsiteX212" fmla="*/ 353467 w 1090712"/>
              <a:gd name="connsiteY212" fmla="*/ 117608 h 895572"/>
              <a:gd name="connsiteX213" fmla="*/ 409064 w 1090712"/>
              <a:gd name="connsiteY213" fmla="*/ 117608 h 895572"/>
              <a:gd name="connsiteX214" fmla="*/ 406925 w 1090712"/>
              <a:gd name="connsiteY214" fmla="*/ 119271 h 895572"/>
              <a:gd name="connsiteX215" fmla="*/ 404074 w 1090712"/>
              <a:gd name="connsiteY215" fmla="*/ 121647 h 895572"/>
              <a:gd name="connsiteX216" fmla="*/ 400510 w 1090712"/>
              <a:gd name="connsiteY216" fmla="*/ 123310 h 895572"/>
              <a:gd name="connsiteX217" fmla="*/ 397422 w 1090712"/>
              <a:gd name="connsiteY217" fmla="*/ 125211 h 895572"/>
              <a:gd name="connsiteX218" fmla="*/ 393383 w 1090712"/>
              <a:gd name="connsiteY218" fmla="*/ 126399 h 895572"/>
              <a:gd name="connsiteX219" fmla="*/ 389581 w 1090712"/>
              <a:gd name="connsiteY219" fmla="*/ 127824 h 895572"/>
              <a:gd name="connsiteX220" fmla="*/ 385542 w 1090712"/>
              <a:gd name="connsiteY220" fmla="*/ 128299 h 895572"/>
              <a:gd name="connsiteX221" fmla="*/ 381503 w 1090712"/>
              <a:gd name="connsiteY221" fmla="*/ 128774 h 895572"/>
              <a:gd name="connsiteX222" fmla="*/ 375326 w 1090712"/>
              <a:gd name="connsiteY222" fmla="*/ 130438 h 895572"/>
              <a:gd name="connsiteX223" fmla="*/ 368435 w 1090712"/>
              <a:gd name="connsiteY223" fmla="*/ 131863 h 895572"/>
              <a:gd name="connsiteX224" fmla="*/ 361783 w 1090712"/>
              <a:gd name="connsiteY224" fmla="*/ 133051 h 895572"/>
              <a:gd name="connsiteX225" fmla="*/ 355606 w 1090712"/>
              <a:gd name="connsiteY225" fmla="*/ 134001 h 895572"/>
              <a:gd name="connsiteX226" fmla="*/ 342300 w 1090712"/>
              <a:gd name="connsiteY226" fmla="*/ 135427 h 895572"/>
              <a:gd name="connsiteX227" fmla="*/ 329471 w 1090712"/>
              <a:gd name="connsiteY227" fmla="*/ 137090 h 895572"/>
              <a:gd name="connsiteX228" fmla="*/ 322818 w 1090712"/>
              <a:gd name="connsiteY228" fmla="*/ 138040 h 895572"/>
              <a:gd name="connsiteX229" fmla="*/ 316403 w 1090712"/>
              <a:gd name="connsiteY229" fmla="*/ 139704 h 895572"/>
              <a:gd name="connsiteX230" fmla="*/ 310226 w 1090712"/>
              <a:gd name="connsiteY230" fmla="*/ 141604 h 895572"/>
              <a:gd name="connsiteX231" fmla="*/ 304048 w 1090712"/>
              <a:gd name="connsiteY231" fmla="*/ 144218 h 895572"/>
              <a:gd name="connsiteX232" fmla="*/ 298346 w 1090712"/>
              <a:gd name="connsiteY232" fmla="*/ 147307 h 895572"/>
              <a:gd name="connsiteX233" fmla="*/ 292406 w 1090712"/>
              <a:gd name="connsiteY233" fmla="*/ 151346 h 895572"/>
              <a:gd name="connsiteX234" fmla="*/ 286704 w 1090712"/>
              <a:gd name="connsiteY234" fmla="*/ 156335 h 895572"/>
              <a:gd name="connsiteX235" fmla="*/ 281240 w 1090712"/>
              <a:gd name="connsiteY235" fmla="*/ 162037 h 895572"/>
              <a:gd name="connsiteX236" fmla="*/ 262232 w 1090712"/>
              <a:gd name="connsiteY236" fmla="*/ 182945 h 895572"/>
              <a:gd name="connsiteX237" fmla="*/ 242987 w 1090712"/>
              <a:gd name="connsiteY237" fmla="*/ 203378 h 895572"/>
              <a:gd name="connsiteX238" fmla="*/ 203547 w 1090712"/>
              <a:gd name="connsiteY238" fmla="*/ 244006 h 895572"/>
              <a:gd name="connsiteX239" fmla="*/ 183827 w 1090712"/>
              <a:gd name="connsiteY239" fmla="*/ 264439 h 895572"/>
              <a:gd name="connsiteX240" fmla="*/ 164345 w 1090712"/>
              <a:gd name="connsiteY240" fmla="*/ 285822 h 895572"/>
              <a:gd name="connsiteX241" fmla="*/ 144862 w 1090712"/>
              <a:gd name="connsiteY241" fmla="*/ 307443 h 895572"/>
              <a:gd name="connsiteX242" fmla="*/ 126093 w 1090712"/>
              <a:gd name="connsiteY242" fmla="*/ 329777 h 895572"/>
              <a:gd name="connsiteX243" fmla="*/ 122054 w 1090712"/>
              <a:gd name="connsiteY243" fmla="*/ 335004 h 895572"/>
              <a:gd name="connsiteX244" fmla="*/ 118015 w 1090712"/>
              <a:gd name="connsiteY244" fmla="*/ 340468 h 895572"/>
              <a:gd name="connsiteX245" fmla="*/ 110887 w 1090712"/>
              <a:gd name="connsiteY245" fmla="*/ 352110 h 895572"/>
              <a:gd name="connsiteX246" fmla="*/ 104709 w 1090712"/>
              <a:gd name="connsiteY246" fmla="*/ 363514 h 895572"/>
              <a:gd name="connsiteX247" fmla="*/ 99007 w 1090712"/>
              <a:gd name="connsiteY247" fmla="*/ 375156 h 895572"/>
              <a:gd name="connsiteX248" fmla="*/ 87840 w 1090712"/>
              <a:gd name="connsiteY248" fmla="*/ 400103 h 895572"/>
              <a:gd name="connsiteX249" fmla="*/ 82138 w 1090712"/>
              <a:gd name="connsiteY249" fmla="*/ 412458 h 895572"/>
              <a:gd name="connsiteX250" fmla="*/ 75723 w 1090712"/>
              <a:gd name="connsiteY250" fmla="*/ 425050 h 895572"/>
              <a:gd name="connsiteX251" fmla="*/ 75723 w 1090712"/>
              <a:gd name="connsiteY251" fmla="*/ 429802 h 895572"/>
              <a:gd name="connsiteX252" fmla="*/ 76674 w 1090712"/>
              <a:gd name="connsiteY252" fmla="*/ 436217 h 895572"/>
              <a:gd name="connsiteX253" fmla="*/ 77149 w 1090712"/>
              <a:gd name="connsiteY253" fmla="*/ 439306 h 895572"/>
              <a:gd name="connsiteX254" fmla="*/ 78574 w 1090712"/>
              <a:gd name="connsiteY254" fmla="*/ 442395 h 895572"/>
              <a:gd name="connsiteX255" fmla="*/ 79762 w 1090712"/>
              <a:gd name="connsiteY255" fmla="*/ 445008 h 895572"/>
              <a:gd name="connsiteX256" fmla="*/ 81663 w 1090712"/>
              <a:gd name="connsiteY256" fmla="*/ 447147 h 895572"/>
              <a:gd name="connsiteX257" fmla="*/ 94018 w 1090712"/>
              <a:gd name="connsiteY257" fmla="*/ 468055 h 895572"/>
              <a:gd name="connsiteX258" fmla="*/ 106848 w 1090712"/>
              <a:gd name="connsiteY258" fmla="*/ 488963 h 895572"/>
              <a:gd name="connsiteX259" fmla="*/ 113975 w 1090712"/>
              <a:gd name="connsiteY259" fmla="*/ 499654 h 895572"/>
              <a:gd name="connsiteX260" fmla="*/ 121103 w 1090712"/>
              <a:gd name="connsiteY260" fmla="*/ 510346 h 895572"/>
              <a:gd name="connsiteX261" fmla="*/ 128706 w 1090712"/>
              <a:gd name="connsiteY261" fmla="*/ 520562 h 895572"/>
              <a:gd name="connsiteX262" fmla="*/ 137259 w 1090712"/>
              <a:gd name="connsiteY262" fmla="*/ 531254 h 895572"/>
              <a:gd name="connsiteX263" fmla="*/ 149614 w 1090712"/>
              <a:gd name="connsiteY263" fmla="*/ 514385 h 895572"/>
              <a:gd name="connsiteX264" fmla="*/ 162206 w 1090712"/>
              <a:gd name="connsiteY264" fmla="*/ 498466 h 895572"/>
              <a:gd name="connsiteX265" fmla="*/ 174561 w 1090712"/>
              <a:gd name="connsiteY265" fmla="*/ 483260 h 895572"/>
              <a:gd name="connsiteX266" fmla="*/ 180739 w 1090712"/>
              <a:gd name="connsiteY266" fmla="*/ 476133 h 895572"/>
              <a:gd name="connsiteX267" fmla="*/ 186916 w 1090712"/>
              <a:gd name="connsiteY267" fmla="*/ 469480 h 895572"/>
              <a:gd name="connsiteX268" fmla="*/ 182639 w 1090712"/>
              <a:gd name="connsiteY268" fmla="*/ 482310 h 895572"/>
              <a:gd name="connsiteX269" fmla="*/ 178125 w 1090712"/>
              <a:gd name="connsiteY269" fmla="*/ 495615 h 895572"/>
              <a:gd name="connsiteX270" fmla="*/ 172423 w 1090712"/>
              <a:gd name="connsiteY270" fmla="*/ 509871 h 895572"/>
              <a:gd name="connsiteX271" fmla="*/ 164820 w 1090712"/>
              <a:gd name="connsiteY271" fmla="*/ 525552 h 895572"/>
              <a:gd name="connsiteX272" fmla="*/ 156267 w 1090712"/>
              <a:gd name="connsiteY272" fmla="*/ 538381 h 895572"/>
              <a:gd name="connsiteX273" fmla="*/ 152703 w 1090712"/>
              <a:gd name="connsiteY273" fmla="*/ 544559 h 895572"/>
              <a:gd name="connsiteX274" fmla="*/ 148664 w 1090712"/>
              <a:gd name="connsiteY274" fmla="*/ 551449 h 895572"/>
              <a:gd name="connsiteX275" fmla="*/ 145100 w 1090712"/>
              <a:gd name="connsiteY275" fmla="*/ 558339 h 895572"/>
              <a:gd name="connsiteX276" fmla="*/ 142011 w 1090712"/>
              <a:gd name="connsiteY276" fmla="*/ 565467 h 895572"/>
              <a:gd name="connsiteX277" fmla="*/ 139398 w 1090712"/>
              <a:gd name="connsiteY277" fmla="*/ 573070 h 895572"/>
              <a:gd name="connsiteX278" fmla="*/ 137259 w 1090712"/>
              <a:gd name="connsiteY278" fmla="*/ 581623 h 895572"/>
              <a:gd name="connsiteX279" fmla="*/ 136309 w 1090712"/>
              <a:gd name="connsiteY279" fmla="*/ 583761 h 895572"/>
              <a:gd name="connsiteX280" fmla="*/ 135359 w 1090712"/>
              <a:gd name="connsiteY280" fmla="*/ 586137 h 895572"/>
              <a:gd name="connsiteX281" fmla="*/ 134883 w 1090712"/>
              <a:gd name="connsiteY281" fmla="*/ 590889 h 895572"/>
              <a:gd name="connsiteX282" fmla="*/ 134883 w 1090712"/>
              <a:gd name="connsiteY282" fmla="*/ 595879 h 895572"/>
              <a:gd name="connsiteX283" fmla="*/ 135359 w 1090712"/>
              <a:gd name="connsiteY283" fmla="*/ 601106 h 895572"/>
              <a:gd name="connsiteX284" fmla="*/ 136784 w 1090712"/>
              <a:gd name="connsiteY284" fmla="*/ 606095 h 895572"/>
              <a:gd name="connsiteX285" fmla="*/ 138447 w 1090712"/>
              <a:gd name="connsiteY285" fmla="*/ 611322 h 895572"/>
              <a:gd name="connsiteX286" fmla="*/ 140348 w 1090712"/>
              <a:gd name="connsiteY286" fmla="*/ 616311 h 895572"/>
              <a:gd name="connsiteX287" fmla="*/ 142486 w 1090712"/>
              <a:gd name="connsiteY287" fmla="*/ 620826 h 895572"/>
              <a:gd name="connsiteX288" fmla="*/ 148664 w 1090712"/>
              <a:gd name="connsiteY288" fmla="*/ 629616 h 895572"/>
              <a:gd name="connsiteX289" fmla="*/ 155554 w 1090712"/>
              <a:gd name="connsiteY289" fmla="*/ 637219 h 895572"/>
              <a:gd name="connsiteX290" fmla="*/ 162444 w 1090712"/>
              <a:gd name="connsiteY290" fmla="*/ 643872 h 895572"/>
              <a:gd name="connsiteX291" fmla="*/ 169572 w 1090712"/>
              <a:gd name="connsiteY291" fmla="*/ 649099 h 895572"/>
              <a:gd name="connsiteX292" fmla="*/ 177175 w 1090712"/>
              <a:gd name="connsiteY292" fmla="*/ 653613 h 895572"/>
              <a:gd name="connsiteX293" fmla="*/ 184778 w 1090712"/>
              <a:gd name="connsiteY293" fmla="*/ 657177 h 895572"/>
              <a:gd name="connsiteX294" fmla="*/ 192856 w 1090712"/>
              <a:gd name="connsiteY294" fmla="*/ 659553 h 895572"/>
              <a:gd name="connsiteX295" fmla="*/ 200934 w 1090712"/>
              <a:gd name="connsiteY295" fmla="*/ 661216 h 895572"/>
              <a:gd name="connsiteX296" fmla="*/ 209250 w 1090712"/>
              <a:gd name="connsiteY296" fmla="*/ 661691 h 895572"/>
              <a:gd name="connsiteX297" fmla="*/ 218278 w 1090712"/>
              <a:gd name="connsiteY297" fmla="*/ 661691 h 895572"/>
              <a:gd name="connsiteX298" fmla="*/ 227069 w 1090712"/>
              <a:gd name="connsiteY298" fmla="*/ 660266 h 895572"/>
              <a:gd name="connsiteX299" fmla="*/ 236335 w 1090712"/>
              <a:gd name="connsiteY299" fmla="*/ 658603 h 895572"/>
              <a:gd name="connsiteX300" fmla="*/ 245838 w 1090712"/>
              <a:gd name="connsiteY300" fmla="*/ 655514 h 895572"/>
              <a:gd name="connsiteX301" fmla="*/ 255580 w 1090712"/>
              <a:gd name="connsiteY301" fmla="*/ 652425 h 895572"/>
              <a:gd name="connsiteX302" fmla="*/ 265321 w 1090712"/>
              <a:gd name="connsiteY302" fmla="*/ 647911 h 895572"/>
              <a:gd name="connsiteX303" fmla="*/ 276013 w 1090712"/>
              <a:gd name="connsiteY303" fmla="*/ 642922 h 895572"/>
              <a:gd name="connsiteX304" fmla="*/ 288367 w 1090712"/>
              <a:gd name="connsiteY304" fmla="*/ 635081 h 895572"/>
              <a:gd name="connsiteX305" fmla="*/ 301910 w 1090712"/>
              <a:gd name="connsiteY305" fmla="*/ 627478 h 895572"/>
              <a:gd name="connsiteX306" fmla="*/ 315215 w 1090712"/>
              <a:gd name="connsiteY306" fmla="*/ 620350 h 895572"/>
              <a:gd name="connsiteX307" fmla="*/ 329471 w 1090712"/>
              <a:gd name="connsiteY307" fmla="*/ 613698 h 895572"/>
              <a:gd name="connsiteX308" fmla="*/ 343726 w 1090712"/>
              <a:gd name="connsiteY308" fmla="*/ 607283 h 895572"/>
              <a:gd name="connsiteX309" fmla="*/ 357981 w 1090712"/>
              <a:gd name="connsiteY309" fmla="*/ 602056 h 895572"/>
              <a:gd name="connsiteX310" fmla="*/ 371999 w 1090712"/>
              <a:gd name="connsiteY310" fmla="*/ 597066 h 895572"/>
              <a:gd name="connsiteX311" fmla="*/ 386730 w 1090712"/>
              <a:gd name="connsiteY311" fmla="*/ 592790 h 895572"/>
              <a:gd name="connsiteX312" fmla="*/ 394808 w 1090712"/>
              <a:gd name="connsiteY312" fmla="*/ 590414 h 895572"/>
              <a:gd name="connsiteX313" fmla="*/ 402411 w 1090712"/>
              <a:gd name="connsiteY313" fmla="*/ 587325 h 895572"/>
              <a:gd name="connsiteX314" fmla="*/ 409064 w 1090712"/>
              <a:gd name="connsiteY314" fmla="*/ 583761 h 895572"/>
              <a:gd name="connsiteX315" fmla="*/ 411677 w 1090712"/>
              <a:gd name="connsiteY315" fmla="*/ 581623 h 895572"/>
              <a:gd name="connsiteX316" fmla="*/ 414766 w 1090712"/>
              <a:gd name="connsiteY316" fmla="*/ 579247 h 895572"/>
              <a:gd name="connsiteX317" fmla="*/ 417142 w 1090712"/>
              <a:gd name="connsiteY317" fmla="*/ 577109 h 895572"/>
              <a:gd name="connsiteX318" fmla="*/ 419280 w 1090712"/>
              <a:gd name="connsiteY318" fmla="*/ 574495 h 895572"/>
              <a:gd name="connsiteX319" fmla="*/ 420943 w 1090712"/>
              <a:gd name="connsiteY319" fmla="*/ 571407 h 895572"/>
              <a:gd name="connsiteX320" fmla="*/ 422844 w 1090712"/>
              <a:gd name="connsiteY320" fmla="*/ 568318 h 895572"/>
              <a:gd name="connsiteX321" fmla="*/ 424269 w 1090712"/>
              <a:gd name="connsiteY321" fmla="*/ 565229 h 895572"/>
              <a:gd name="connsiteX322" fmla="*/ 424982 w 1090712"/>
              <a:gd name="connsiteY322" fmla="*/ 561665 h 895572"/>
              <a:gd name="connsiteX323" fmla="*/ 425457 w 1090712"/>
              <a:gd name="connsiteY323" fmla="*/ 557626 h 895572"/>
              <a:gd name="connsiteX324" fmla="*/ 425932 w 1090712"/>
              <a:gd name="connsiteY324" fmla="*/ 553587 h 895572"/>
              <a:gd name="connsiteX325" fmla="*/ 425932 w 1090712"/>
              <a:gd name="connsiteY325" fmla="*/ 413884 h 895572"/>
              <a:gd name="connsiteX326" fmla="*/ 425932 w 1090712"/>
              <a:gd name="connsiteY326" fmla="*/ 285347 h 895572"/>
              <a:gd name="connsiteX327" fmla="*/ 429496 w 1090712"/>
              <a:gd name="connsiteY327" fmla="*/ 300078 h 895572"/>
              <a:gd name="connsiteX328" fmla="*/ 433060 w 1090712"/>
              <a:gd name="connsiteY328" fmla="*/ 314096 h 895572"/>
              <a:gd name="connsiteX329" fmla="*/ 436149 w 1090712"/>
              <a:gd name="connsiteY329" fmla="*/ 328826 h 895572"/>
              <a:gd name="connsiteX330" fmla="*/ 438762 w 1090712"/>
              <a:gd name="connsiteY330" fmla="*/ 343082 h 895572"/>
              <a:gd name="connsiteX331" fmla="*/ 443752 w 1090712"/>
              <a:gd name="connsiteY331" fmla="*/ 370642 h 895572"/>
              <a:gd name="connsiteX332" fmla="*/ 447791 w 1090712"/>
              <a:gd name="connsiteY332" fmla="*/ 397015 h 895572"/>
              <a:gd name="connsiteX333" fmla="*/ 451830 w 1090712"/>
              <a:gd name="connsiteY333" fmla="*/ 421962 h 895572"/>
              <a:gd name="connsiteX334" fmla="*/ 454919 w 1090712"/>
              <a:gd name="connsiteY334" fmla="*/ 446434 h 895572"/>
              <a:gd name="connsiteX335" fmla="*/ 456106 w 1090712"/>
              <a:gd name="connsiteY335" fmla="*/ 458313 h 895572"/>
              <a:gd name="connsiteX336" fmla="*/ 457057 w 1090712"/>
              <a:gd name="connsiteY336" fmla="*/ 470430 h 895572"/>
              <a:gd name="connsiteX337" fmla="*/ 457532 w 1090712"/>
              <a:gd name="connsiteY337" fmla="*/ 482310 h 895572"/>
              <a:gd name="connsiteX338" fmla="*/ 457532 w 1090712"/>
              <a:gd name="connsiteY338" fmla="*/ 493952 h 895572"/>
              <a:gd name="connsiteX339" fmla="*/ 457532 w 1090712"/>
              <a:gd name="connsiteY339" fmla="*/ 506069 h 895572"/>
              <a:gd name="connsiteX340" fmla="*/ 456582 w 1090712"/>
              <a:gd name="connsiteY340" fmla="*/ 517473 h 895572"/>
              <a:gd name="connsiteX341" fmla="*/ 455869 w 1090712"/>
              <a:gd name="connsiteY341" fmla="*/ 529116 h 895572"/>
              <a:gd name="connsiteX342" fmla="*/ 453968 w 1090712"/>
              <a:gd name="connsiteY342" fmla="*/ 540757 h 895572"/>
              <a:gd name="connsiteX343" fmla="*/ 452305 w 1090712"/>
              <a:gd name="connsiteY343" fmla="*/ 552162 h 895572"/>
              <a:gd name="connsiteX344" fmla="*/ 449454 w 1090712"/>
              <a:gd name="connsiteY344" fmla="*/ 563804 h 895572"/>
              <a:gd name="connsiteX345" fmla="*/ 446365 w 1090712"/>
              <a:gd name="connsiteY345" fmla="*/ 575446 h 895572"/>
              <a:gd name="connsiteX346" fmla="*/ 442326 w 1090712"/>
              <a:gd name="connsiteY346" fmla="*/ 586850 h 895572"/>
              <a:gd name="connsiteX347" fmla="*/ 440188 w 1090712"/>
              <a:gd name="connsiteY347" fmla="*/ 591364 h 895572"/>
              <a:gd name="connsiteX348" fmla="*/ 437574 w 1090712"/>
              <a:gd name="connsiteY348" fmla="*/ 595403 h 895572"/>
              <a:gd name="connsiteX349" fmla="*/ 434486 w 1090712"/>
              <a:gd name="connsiteY349" fmla="*/ 598967 h 895572"/>
              <a:gd name="connsiteX350" fmla="*/ 431397 w 1090712"/>
              <a:gd name="connsiteY350" fmla="*/ 602531 h 895572"/>
              <a:gd name="connsiteX351" fmla="*/ 428071 w 1090712"/>
              <a:gd name="connsiteY351" fmla="*/ 605145 h 895572"/>
              <a:gd name="connsiteX352" fmla="*/ 424982 w 1090712"/>
              <a:gd name="connsiteY352" fmla="*/ 607283 h 895572"/>
              <a:gd name="connsiteX353" fmla="*/ 422369 w 1090712"/>
              <a:gd name="connsiteY353" fmla="*/ 608708 h 895572"/>
              <a:gd name="connsiteX354" fmla="*/ 420230 w 1090712"/>
              <a:gd name="connsiteY354" fmla="*/ 609659 h 895572"/>
              <a:gd name="connsiteX355" fmla="*/ 410727 w 1090712"/>
              <a:gd name="connsiteY355" fmla="*/ 610847 h 895572"/>
              <a:gd name="connsiteX356" fmla="*/ 401461 w 1090712"/>
              <a:gd name="connsiteY356" fmla="*/ 612748 h 895572"/>
              <a:gd name="connsiteX357" fmla="*/ 392670 w 1090712"/>
              <a:gd name="connsiteY357" fmla="*/ 614886 h 895572"/>
              <a:gd name="connsiteX358" fmla="*/ 383641 w 1090712"/>
              <a:gd name="connsiteY358" fmla="*/ 617262 h 895572"/>
              <a:gd name="connsiteX359" fmla="*/ 374850 w 1090712"/>
              <a:gd name="connsiteY359" fmla="*/ 620350 h 895572"/>
              <a:gd name="connsiteX360" fmla="*/ 365822 w 1090712"/>
              <a:gd name="connsiteY360" fmla="*/ 623914 h 895572"/>
              <a:gd name="connsiteX361" fmla="*/ 348478 w 1090712"/>
              <a:gd name="connsiteY361" fmla="*/ 631042 h 895572"/>
              <a:gd name="connsiteX362" fmla="*/ 331609 w 1090712"/>
              <a:gd name="connsiteY362" fmla="*/ 639358 h 895572"/>
              <a:gd name="connsiteX363" fmla="*/ 314740 w 1090712"/>
              <a:gd name="connsiteY363" fmla="*/ 647911 h 895572"/>
              <a:gd name="connsiteX364" fmla="*/ 281240 w 1090712"/>
              <a:gd name="connsiteY364" fmla="*/ 665255 h 895572"/>
              <a:gd name="connsiteX365" fmla="*/ 274587 w 1090712"/>
              <a:gd name="connsiteY365" fmla="*/ 669294 h 895572"/>
              <a:gd name="connsiteX366" fmla="*/ 267935 w 1090712"/>
              <a:gd name="connsiteY366" fmla="*/ 672858 h 895572"/>
              <a:gd name="connsiteX367" fmla="*/ 261757 w 1090712"/>
              <a:gd name="connsiteY367" fmla="*/ 675947 h 895572"/>
              <a:gd name="connsiteX368" fmla="*/ 255105 w 1090712"/>
              <a:gd name="connsiteY368" fmla="*/ 679035 h 895572"/>
              <a:gd name="connsiteX369" fmla="*/ 248927 w 1090712"/>
              <a:gd name="connsiteY369" fmla="*/ 681174 h 895572"/>
              <a:gd name="connsiteX370" fmla="*/ 242987 w 1090712"/>
              <a:gd name="connsiteY370" fmla="*/ 683075 h 895572"/>
              <a:gd name="connsiteX371" fmla="*/ 236810 w 1090712"/>
              <a:gd name="connsiteY371" fmla="*/ 684738 h 895572"/>
              <a:gd name="connsiteX372" fmla="*/ 231108 w 1090712"/>
              <a:gd name="connsiteY372" fmla="*/ 686163 h 895572"/>
              <a:gd name="connsiteX373" fmla="*/ 225406 w 1090712"/>
              <a:gd name="connsiteY373" fmla="*/ 687114 h 895572"/>
              <a:gd name="connsiteX374" fmla="*/ 219466 w 1090712"/>
              <a:gd name="connsiteY374" fmla="*/ 687589 h 895572"/>
              <a:gd name="connsiteX375" fmla="*/ 213764 w 1090712"/>
              <a:gd name="connsiteY375" fmla="*/ 687589 h 895572"/>
              <a:gd name="connsiteX376" fmla="*/ 208299 w 1090712"/>
              <a:gd name="connsiteY376" fmla="*/ 687589 h 895572"/>
              <a:gd name="connsiteX377" fmla="*/ 203072 w 1090712"/>
              <a:gd name="connsiteY377" fmla="*/ 687114 h 895572"/>
              <a:gd name="connsiteX378" fmla="*/ 197607 w 1090712"/>
              <a:gd name="connsiteY378" fmla="*/ 686163 h 895572"/>
              <a:gd name="connsiteX379" fmla="*/ 192380 w 1090712"/>
              <a:gd name="connsiteY379" fmla="*/ 684738 h 895572"/>
              <a:gd name="connsiteX380" fmla="*/ 186916 w 1090712"/>
              <a:gd name="connsiteY380" fmla="*/ 683550 h 895572"/>
              <a:gd name="connsiteX381" fmla="*/ 181689 w 1090712"/>
              <a:gd name="connsiteY381" fmla="*/ 681649 h 895572"/>
              <a:gd name="connsiteX382" fmla="*/ 176699 w 1090712"/>
              <a:gd name="connsiteY382" fmla="*/ 679986 h 895572"/>
              <a:gd name="connsiteX383" fmla="*/ 171472 w 1090712"/>
              <a:gd name="connsiteY383" fmla="*/ 677610 h 895572"/>
              <a:gd name="connsiteX384" fmla="*/ 166483 w 1090712"/>
              <a:gd name="connsiteY384" fmla="*/ 674996 h 895572"/>
              <a:gd name="connsiteX385" fmla="*/ 156742 w 1090712"/>
              <a:gd name="connsiteY385" fmla="*/ 669294 h 895572"/>
              <a:gd name="connsiteX386" fmla="*/ 147001 w 1090712"/>
              <a:gd name="connsiteY386" fmla="*/ 662167 h 895572"/>
              <a:gd name="connsiteX387" fmla="*/ 137735 w 1090712"/>
              <a:gd name="connsiteY387" fmla="*/ 654564 h 895572"/>
              <a:gd name="connsiteX388" fmla="*/ 127756 w 1090712"/>
              <a:gd name="connsiteY388" fmla="*/ 645535 h 895572"/>
              <a:gd name="connsiteX389" fmla="*/ 118490 w 1090712"/>
              <a:gd name="connsiteY389" fmla="*/ 636269 h 895572"/>
              <a:gd name="connsiteX390" fmla="*/ 109224 w 1090712"/>
              <a:gd name="connsiteY390" fmla="*/ 626053 h 895572"/>
              <a:gd name="connsiteX391" fmla="*/ 107323 w 1090712"/>
              <a:gd name="connsiteY391" fmla="*/ 623914 h 895572"/>
              <a:gd name="connsiteX392" fmla="*/ 106135 w 1090712"/>
              <a:gd name="connsiteY392" fmla="*/ 620350 h 895572"/>
              <a:gd name="connsiteX393" fmla="*/ 105185 w 1090712"/>
              <a:gd name="connsiteY393" fmla="*/ 616311 h 895572"/>
              <a:gd name="connsiteX394" fmla="*/ 105185 w 1090712"/>
              <a:gd name="connsiteY394" fmla="*/ 612272 h 895572"/>
              <a:gd name="connsiteX395" fmla="*/ 105185 w 1090712"/>
              <a:gd name="connsiteY395" fmla="*/ 608233 h 895572"/>
              <a:gd name="connsiteX396" fmla="*/ 106135 w 1090712"/>
              <a:gd name="connsiteY396" fmla="*/ 604194 h 895572"/>
              <a:gd name="connsiteX397" fmla="*/ 107323 w 1090712"/>
              <a:gd name="connsiteY397" fmla="*/ 600630 h 895572"/>
              <a:gd name="connsiteX398" fmla="*/ 109224 w 1090712"/>
              <a:gd name="connsiteY398" fmla="*/ 598017 h 895572"/>
              <a:gd name="connsiteX399" fmla="*/ 111837 w 1090712"/>
              <a:gd name="connsiteY399" fmla="*/ 591840 h 895572"/>
              <a:gd name="connsiteX400" fmla="*/ 113975 w 1090712"/>
              <a:gd name="connsiteY400" fmla="*/ 586137 h 895572"/>
              <a:gd name="connsiteX401" fmla="*/ 115401 w 1090712"/>
              <a:gd name="connsiteY401" fmla="*/ 579722 h 895572"/>
              <a:gd name="connsiteX402" fmla="*/ 115876 w 1090712"/>
              <a:gd name="connsiteY402" fmla="*/ 574020 h 895572"/>
              <a:gd name="connsiteX403" fmla="*/ 115876 w 1090712"/>
              <a:gd name="connsiteY403" fmla="*/ 568318 h 895572"/>
              <a:gd name="connsiteX404" fmla="*/ 115401 w 1090712"/>
              <a:gd name="connsiteY404" fmla="*/ 562378 h 895572"/>
              <a:gd name="connsiteX405" fmla="*/ 114451 w 1090712"/>
              <a:gd name="connsiteY405" fmla="*/ 557151 h 895572"/>
              <a:gd name="connsiteX406" fmla="*/ 112788 w 1090712"/>
              <a:gd name="connsiteY406" fmla="*/ 551449 h 895572"/>
              <a:gd name="connsiteX407" fmla="*/ 110412 w 1090712"/>
              <a:gd name="connsiteY407" fmla="*/ 545984 h 895572"/>
              <a:gd name="connsiteX408" fmla="*/ 108273 w 1090712"/>
              <a:gd name="connsiteY408" fmla="*/ 540757 h 895572"/>
              <a:gd name="connsiteX409" fmla="*/ 105185 w 1090712"/>
              <a:gd name="connsiteY409" fmla="*/ 535293 h 895572"/>
              <a:gd name="connsiteX410" fmla="*/ 102096 w 1090712"/>
              <a:gd name="connsiteY410" fmla="*/ 530066 h 895572"/>
              <a:gd name="connsiteX411" fmla="*/ 94968 w 1090712"/>
              <a:gd name="connsiteY411" fmla="*/ 519374 h 895572"/>
              <a:gd name="connsiteX412" fmla="*/ 86890 w 1090712"/>
              <a:gd name="connsiteY412" fmla="*/ 508683 h 895572"/>
              <a:gd name="connsiteX413" fmla="*/ 78812 w 1090712"/>
              <a:gd name="connsiteY413" fmla="*/ 497991 h 895572"/>
              <a:gd name="connsiteX414" fmla="*/ 70972 w 1090712"/>
              <a:gd name="connsiteY414" fmla="*/ 486824 h 895572"/>
              <a:gd name="connsiteX415" fmla="*/ 67408 w 1090712"/>
              <a:gd name="connsiteY415" fmla="*/ 481122 h 895572"/>
              <a:gd name="connsiteX416" fmla="*/ 64319 w 1090712"/>
              <a:gd name="connsiteY416" fmla="*/ 474707 h 895572"/>
              <a:gd name="connsiteX417" fmla="*/ 61230 w 1090712"/>
              <a:gd name="connsiteY417" fmla="*/ 469005 h 895572"/>
              <a:gd name="connsiteX418" fmla="*/ 58379 w 1090712"/>
              <a:gd name="connsiteY418" fmla="*/ 462828 h 895572"/>
              <a:gd name="connsiteX419" fmla="*/ 56716 w 1090712"/>
              <a:gd name="connsiteY419" fmla="*/ 456175 h 895572"/>
              <a:gd name="connsiteX420" fmla="*/ 54815 w 1090712"/>
              <a:gd name="connsiteY420" fmla="*/ 449998 h 895572"/>
              <a:gd name="connsiteX421" fmla="*/ 54103 w 1090712"/>
              <a:gd name="connsiteY421" fmla="*/ 443345 h 895572"/>
              <a:gd name="connsiteX422" fmla="*/ 53627 w 1090712"/>
              <a:gd name="connsiteY422" fmla="*/ 436455 h 895572"/>
              <a:gd name="connsiteX423" fmla="*/ 53627 w 1090712"/>
              <a:gd name="connsiteY423" fmla="*/ 429327 h 895572"/>
              <a:gd name="connsiteX424" fmla="*/ 54815 w 1090712"/>
              <a:gd name="connsiteY424" fmla="*/ 422675 h 895572"/>
              <a:gd name="connsiteX425" fmla="*/ 56716 w 1090712"/>
              <a:gd name="connsiteY425" fmla="*/ 415547 h 895572"/>
              <a:gd name="connsiteX426" fmla="*/ 59330 w 1090712"/>
              <a:gd name="connsiteY426" fmla="*/ 408182 h 895572"/>
              <a:gd name="connsiteX427" fmla="*/ 60280 w 1090712"/>
              <a:gd name="connsiteY427" fmla="*/ 403192 h 895572"/>
              <a:gd name="connsiteX428" fmla="*/ 61943 w 1090712"/>
              <a:gd name="connsiteY428" fmla="*/ 397965 h 895572"/>
              <a:gd name="connsiteX429" fmla="*/ 65507 w 1090712"/>
              <a:gd name="connsiteY429" fmla="*/ 387986 h 895572"/>
              <a:gd name="connsiteX430" fmla="*/ 69546 w 1090712"/>
              <a:gd name="connsiteY430" fmla="*/ 378720 h 895572"/>
              <a:gd name="connsiteX431" fmla="*/ 74535 w 1090712"/>
              <a:gd name="connsiteY431" fmla="*/ 369929 h 895572"/>
              <a:gd name="connsiteX432" fmla="*/ 79762 w 1090712"/>
              <a:gd name="connsiteY432" fmla="*/ 360901 h 895572"/>
              <a:gd name="connsiteX433" fmla="*/ 85940 w 1090712"/>
              <a:gd name="connsiteY433" fmla="*/ 352585 h 895572"/>
              <a:gd name="connsiteX434" fmla="*/ 98057 w 1090712"/>
              <a:gd name="connsiteY434" fmla="*/ 335479 h 895572"/>
              <a:gd name="connsiteX435" fmla="*/ 102571 w 1090712"/>
              <a:gd name="connsiteY435" fmla="*/ 328113 h 895572"/>
              <a:gd name="connsiteX436" fmla="*/ 106848 w 1090712"/>
              <a:gd name="connsiteY436" fmla="*/ 320986 h 895572"/>
              <a:gd name="connsiteX437" fmla="*/ 116827 w 1090712"/>
              <a:gd name="connsiteY437" fmla="*/ 307205 h 895572"/>
              <a:gd name="connsiteX438" fmla="*/ 127043 w 1090712"/>
              <a:gd name="connsiteY438" fmla="*/ 293188 h 895572"/>
              <a:gd name="connsiteX439" fmla="*/ 137735 w 1090712"/>
              <a:gd name="connsiteY439" fmla="*/ 279407 h 895572"/>
              <a:gd name="connsiteX440" fmla="*/ 159831 w 1090712"/>
              <a:gd name="connsiteY440" fmla="*/ 251847 h 895572"/>
              <a:gd name="connsiteX441" fmla="*/ 170522 w 1090712"/>
              <a:gd name="connsiteY441" fmla="*/ 238066 h 895572"/>
              <a:gd name="connsiteX442" fmla="*/ 181214 w 1090712"/>
              <a:gd name="connsiteY442" fmla="*/ 223336 h 895572"/>
              <a:gd name="connsiteX443" fmla="*/ 164820 w 1090712"/>
              <a:gd name="connsiteY443" fmla="*/ 223336 h 895572"/>
              <a:gd name="connsiteX444" fmla="*/ 137972 w 1090712"/>
              <a:gd name="connsiteY444" fmla="*/ 230226 h 895572"/>
              <a:gd name="connsiteX445" fmla="*/ 125142 w 1090712"/>
              <a:gd name="connsiteY445" fmla="*/ 233790 h 895572"/>
              <a:gd name="connsiteX446" fmla="*/ 112788 w 1090712"/>
              <a:gd name="connsiteY446" fmla="*/ 237591 h 895572"/>
              <a:gd name="connsiteX447" fmla="*/ 100195 w 1090712"/>
              <a:gd name="connsiteY447" fmla="*/ 241630 h 895572"/>
              <a:gd name="connsiteX448" fmla="*/ 87840 w 1090712"/>
              <a:gd name="connsiteY448" fmla="*/ 245669 h 895572"/>
              <a:gd name="connsiteX449" fmla="*/ 75723 w 1090712"/>
              <a:gd name="connsiteY449" fmla="*/ 250183 h 895572"/>
              <a:gd name="connsiteX450" fmla="*/ 64319 w 1090712"/>
              <a:gd name="connsiteY450" fmla="*/ 254935 h 895572"/>
              <a:gd name="connsiteX451" fmla="*/ 52677 w 1090712"/>
              <a:gd name="connsiteY451" fmla="*/ 260400 h 895572"/>
              <a:gd name="connsiteX452" fmla="*/ 41035 w 1090712"/>
              <a:gd name="connsiteY452" fmla="*/ 265627 h 895572"/>
              <a:gd name="connsiteX453" fmla="*/ 29868 w 1090712"/>
              <a:gd name="connsiteY453" fmla="*/ 271567 h 895572"/>
              <a:gd name="connsiteX454" fmla="*/ 18939 w 1090712"/>
              <a:gd name="connsiteY454" fmla="*/ 277744 h 895572"/>
              <a:gd name="connsiteX455" fmla="*/ 7772 w 1090712"/>
              <a:gd name="connsiteY455" fmla="*/ 284397 h 895572"/>
              <a:gd name="connsiteX456" fmla="*/ 0 w 1090712"/>
              <a:gd name="connsiteY456" fmla="*/ 289924 h 895572"/>
              <a:gd name="connsiteX457" fmla="*/ 0 w 1090712"/>
              <a:gd name="connsiteY457" fmla="*/ 895572 h 895572"/>
              <a:gd name="connsiteX458" fmla="*/ 125653 w 1090712"/>
              <a:gd name="connsiteY458" fmla="*/ 895572 h 895572"/>
              <a:gd name="connsiteX459" fmla="*/ 127756 w 1090712"/>
              <a:gd name="connsiteY459" fmla="*/ 892155 h 895572"/>
              <a:gd name="connsiteX460" fmla="*/ 131082 w 1090712"/>
              <a:gd name="connsiteY460" fmla="*/ 885502 h 895572"/>
              <a:gd name="connsiteX461" fmla="*/ 133696 w 1090712"/>
              <a:gd name="connsiteY461" fmla="*/ 878374 h 895572"/>
              <a:gd name="connsiteX462" fmla="*/ 135834 w 1090712"/>
              <a:gd name="connsiteY462" fmla="*/ 871722 h 895572"/>
              <a:gd name="connsiteX463" fmla="*/ 137735 w 1090712"/>
              <a:gd name="connsiteY463" fmla="*/ 864594 h 895572"/>
              <a:gd name="connsiteX464" fmla="*/ 138923 w 1090712"/>
              <a:gd name="connsiteY464" fmla="*/ 857466 h 895572"/>
              <a:gd name="connsiteX465" fmla="*/ 140348 w 1090712"/>
              <a:gd name="connsiteY465" fmla="*/ 850339 h 895572"/>
              <a:gd name="connsiteX466" fmla="*/ 141298 w 1090712"/>
              <a:gd name="connsiteY466" fmla="*/ 843211 h 895572"/>
              <a:gd name="connsiteX467" fmla="*/ 142011 w 1090712"/>
              <a:gd name="connsiteY467" fmla="*/ 828955 h 895572"/>
              <a:gd name="connsiteX468" fmla="*/ 142486 w 1090712"/>
              <a:gd name="connsiteY468" fmla="*/ 814225 h 895572"/>
              <a:gd name="connsiteX469" fmla="*/ 142486 w 1090712"/>
              <a:gd name="connsiteY469" fmla="*/ 799494 h 895572"/>
              <a:gd name="connsiteX470" fmla="*/ 142486 w 1090712"/>
              <a:gd name="connsiteY470" fmla="*/ 782625 h 895572"/>
              <a:gd name="connsiteX471" fmla="*/ 142486 w 1090712"/>
              <a:gd name="connsiteY471" fmla="*/ 771458 h 895572"/>
              <a:gd name="connsiteX472" fmla="*/ 143912 w 1090712"/>
              <a:gd name="connsiteY472" fmla="*/ 778586 h 895572"/>
              <a:gd name="connsiteX473" fmla="*/ 145100 w 1090712"/>
              <a:gd name="connsiteY473" fmla="*/ 784526 h 895572"/>
              <a:gd name="connsiteX474" fmla="*/ 147476 w 1090712"/>
              <a:gd name="connsiteY474" fmla="*/ 789753 h 895572"/>
              <a:gd name="connsiteX475" fmla="*/ 149614 w 1090712"/>
              <a:gd name="connsiteY475" fmla="*/ 794267 h 895572"/>
              <a:gd name="connsiteX476" fmla="*/ 152228 w 1090712"/>
              <a:gd name="connsiteY476" fmla="*/ 797831 h 895572"/>
              <a:gd name="connsiteX477" fmla="*/ 155554 w 1090712"/>
              <a:gd name="connsiteY477" fmla="*/ 801395 h 895572"/>
              <a:gd name="connsiteX478" fmla="*/ 158643 w 1090712"/>
              <a:gd name="connsiteY478" fmla="*/ 803533 h 895572"/>
              <a:gd name="connsiteX479" fmla="*/ 162206 w 1090712"/>
              <a:gd name="connsiteY479" fmla="*/ 805909 h 895572"/>
              <a:gd name="connsiteX480" fmla="*/ 165770 w 1090712"/>
              <a:gd name="connsiteY480" fmla="*/ 807572 h 895572"/>
              <a:gd name="connsiteX481" fmla="*/ 169572 w 1090712"/>
              <a:gd name="connsiteY481" fmla="*/ 808523 h 895572"/>
              <a:gd name="connsiteX482" fmla="*/ 174086 w 1090712"/>
              <a:gd name="connsiteY482" fmla="*/ 809473 h 895572"/>
              <a:gd name="connsiteX483" fmla="*/ 178600 w 1090712"/>
              <a:gd name="connsiteY483" fmla="*/ 810186 h 895572"/>
              <a:gd name="connsiteX484" fmla="*/ 187866 w 1090712"/>
              <a:gd name="connsiteY484" fmla="*/ 810661 h 895572"/>
              <a:gd name="connsiteX485" fmla="*/ 198083 w 1090712"/>
              <a:gd name="connsiteY485" fmla="*/ 810661 h 895572"/>
              <a:gd name="connsiteX486" fmla="*/ 236810 w 1090712"/>
              <a:gd name="connsiteY486" fmla="*/ 810661 h 895572"/>
              <a:gd name="connsiteX487" fmla="*/ 249640 w 1090712"/>
              <a:gd name="connsiteY487" fmla="*/ 811136 h 895572"/>
              <a:gd name="connsiteX488" fmla="*/ 263183 w 1090712"/>
              <a:gd name="connsiteY488" fmla="*/ 811611 h 895572"/>
              <a:gd name="connsiteX489" fmla="*/ 270310 w 1090712"/>
              <a:gd name="connsiteY489" fmla="*/ 811611 h 895572"/>
              <a:gd name="connsiteX490" fmla="*/ 276963 w 1090712"/>
              <a:gd name="connsiteY490" fmla="*/ 811136 h 895572"/>
              <a:gd name="connsiteX491" fmla="*/ 283140 w 1090712"/>
              <a:gd name="connsiteY491" fmla="*/ 810186 h 895572"/>
              <a:gd name="connsiteX492" fmla="*/ 289793 w 1090712"/>
              <a:gd name="connsiteY492" fmla="*/ 808523 h 895572"/>
              <a:gd name="connsiteX493" fmla="*/ 295495 w 1090712"/>
              <a:gd name="connsiteY493" fmla="*/ 806147 h 895572"/>
              <a:gd name="connsiteX494" fmla="*/ 301435 w 1090712"/>
              <a:gd name="connsiteY494" fmla="*/ 803058 h 895572"/>
              <a:gd name="connsiteX495" fmla="*/ 304524 w 1090712"/>
              <a:gd name="connsiteY495" fmla="*/ 801395 h 895572"/>
              <a:gd name="connsiteX496" fmla="*/ 307137 w 1090712"/>
              <a:gd name="connsiteY496" fmla="*/ 799256 h 895572"/>
              <a:gd name="connsiteX497" fmla="*/ 309275 w 1090712"/>
              <a:gd name="connsiteY497" fmla="*/ 796881 h 895572"/>
              <a:gd name="connsiteX498" fmla="*/ 312126 w 1090712"/>
              <a:gd name="connsiteY498" fmla="*/ 794267 h 895572"/>
              <a:gd name="connsiteX499" fmla="*/ 314265 w 1090712"/>
              <a:gd name="connsiteY499" fmla="*/ 791178 h 895572"/>
              <a:gd name="connsiteX500" fmla="*/ 316403 w 1090712"/>
              <a:gd name="connsiteY500" fmla="*/ 788090 h 895572"/>
              <a:gd name="connsiteX501" fmla="*/ 318304 w 1090712"/>
              <a:gd name="connsiteY501" fmla="*/ 784051 h 895572"/>
              <a:gd name="connsiteX502" fmla="*/ 319967 w 1090712"/>
              <a:gd name="connsiteY502" fmla="*/ 780012 h 895572"/>
              <a:gd name="connsiteX503" fmla="*/ 321868 w 1090712"/>
              <a:gd name="connsiteY503" fmla="*/ 775973 h 895572"/>
              <a:gd name="connsiteX504" fmla="*/ 323056 w 1090712"/>
              <a:gd name="connsiteY504" fmla="*/ 771221 h 895572"/>
              <a:gd name="connsiteX505" fmla="*/ 324481 w 1090712"/>
              <a:gd name="connsiteY505" fmla="*/ 765756 h 895572"/>
              <a:gd name="connsiteX506" fmla="*/ 325907 w 1090712"/>
              <a:gd name="connsiteY506" fmla="*/ 760529 h 895572"/>
              <a:gd name="connsiteX507" fmla="*/ 325907 w 1090712"/>
              <a:gd name="connsiteY507" fmla="*/ 827530 h 895572"/>
              <a:gd name="connsiteX508" fmla="*/ 310226 w 1090712"/>
              <a:gd name="connsiteY508" fmla="*/ 835608 h 895572"/>
              <a:gd name="connsiteX509" fmla="*/ 295970 w 1090712"/>
              <a:gd name="connsiteY509" fmla="*/ 843686 h 895572"/>
              <a:gd name="connsiteX510" fmla="*/ 282665 w 1090712"/>
              <a:gd name="connsiteY510" fmla="*/ 850339 h 895572"/>
              <a:gd name="connsiteX511" fmla="*/ 276488 w 1090712"/>
              <a:gd name="connsiteY511" fmla="*/ 852952 h 895572"/>
              <a:gd name="connsiteX512" fmla="*/ 270310 w 1090712"/>
              <a:gd name="connsiteY512" fmla="*/ 855565 h 895572"/>
              <a:gd name="connsiteX513" fmla="*/ 266271 w 1090712"/>
              <a:gd name="connsiteY513" fmla="*/ 857942 h 895572"/>
              <a:gd name="connsiteX514" fmla="*/ 262708 w 1090712"/>
              <a:gd name="connsiteY514" fmla="*/ 860080 h 895572"/>
              <a:gd name="connsiteX515" fmla="*/ 259619 w 1090712"/>
              <a:gd name="connsiteY515" fmla="*/ 862693 h 895572"/>
              <a:gd name="connsiteX516" fmla="*/ 256768 w 1090712"/>
              <a:gd name="connsiteY516" fmla="*/ 865544 h 895572"/>
              <a:gd name="connsiteX517" fmla="*/ 254154 w 1090712"/>
              <a:gd name="connsiteY517" fmla="*/ 868633 h 895572"/>
              <a:gd name="connsiteX518" fmla="*/ 252491 w 1090712"/>
              <a:gd name="connsiteY518" fmla="*/ 871722 h 895572"/>
              <a:gd name="connsiteX519" fmla="*/ 250590 w 1090712"/>
              <a:gd name="connsiteY519" fmla="*/ 874810 h 895572"/>
              <a:gd name="connsiteX520" fmla="*/ 249402 w 1090712"/>
              <a:gd name="connsiteY520" fmla="*/ 877899 h 895572"/>
              <a:gd name="connsiteX521" fmla="*/ 248452 w 1090712"/>
              <a:gd name="connsiteY521" fmla="*/ 880988 h 895572"/>
              <a:gd name="connsiteX522" fmla="*/ 247977 w 1090712"/>
              <a:gd name="connsiteY522" fmla="*/ 884076 h 895572"/>
              <a:gd name="connsiteX523" fmla="*/ 247977 w 1090712"/>
              <a:gd name="connsiteY523" fmla="*/ 887165 h 895572"/>
              <a:gd name="connsiteX524" fmla="*/ 248452 w 1090712"/>
              <a:gd name="connsiteY524" fmla="*/ 890016 h 895572"/>
              <a:gd name="connsiteX525" fmla="*/ 249402 w 1090712"/>
              <a:gd name="connsiteY525" fmla="*/ 893105 h 895572"/>
              <a:gd name="connsiteX526" fmla="*/ 250075 w 1090712"/>
              <a:gd name="connsiteY526" fmla="*/ 895572 h 895572"/>
              <a:gd name="connsiteX527" fmla="*/ 474750 w 1090712"/>
              <a:gd name="connsiteY527" fmla="*/ 895572 h 895572"/>
              <a:gd name="connsiteX528" fmla="*/ 475827 w 1090712"/>
              <a:gd name="connsiteY528" fmla="*/ 894768 h 895572"/>
              <a:gd name="connsiteX529" fmla="*/ 486993 w 1090712"/>
              <a:gd name="connsiteY529" fmla="*/ 882889 h 895572"/>
              <a:gd name="connsiteX530" fmla="*/ 497210 w 1090712"/>
              <a:gd name="connsiteY530" fmla="*/ 870296 h 895572"/>
              <a:gd name="connsiteX531" fmla="*/ 506951 w 1090712"/>
              <a:gd name="connsiteY531" fmla="*/ 857942 h 895572"/>
              <a:gd name="connsiteX532" fmla="*/ 515742 w 1090712"/>
              <a:gd name="connsiteY532" fmla="*/ 844636 h 895572"/>
              <a:gd name="connsiteX533" fmla="*/ 523820 w 1090712"/>
              <a:gd name="connsiteY533" fmla="*/ 831094 h 895572"/>
              <a:gd name="connsiteX534" fmla="*/ 531898 w 1090712"/>
              <a:gd name="connsiteY534" fmla="*/ 816838 h 895572"/>
              <a:gd name="connsiteX535" fmla="*/ 539026 w 1090712"/>
              <a:gd name="connsiteY535" fmla="*/ 802583 h 895572"/>
              <a:gd name="connsiteX536" fmla="*/ 545678 w 1090712"/>
              <a:gd name="connsiteY536" fmla="*/ 788565 h 895572"/>
              <a:gd name="connsiteX537" fmla="*/ 552331 w 1090712"/>
              <a:gd name="connsiteY537" fmla="*/ 773359 h 895572"/>
              <a:gd name="connsiteX538" fmla="*/ 558033 w 1090712"/>
              <a:gd name="connsiteY538" fmla="*/ 758628 h 895572"/>
              <a:gd name="connsiteX539" fmla="*/ 563498 w 1090712"/>
              <a:gd name="connsiteY539" fmla="*/ 743185 h 895572"/>
              <a:gd name="connsiteX540" fmla="*/ 568725 w 1090712"/>
              <a:gd name="connsiteY540" fmla="*/ 727979 h 895572"/>
              <a:gd name="connsiteX541" fmla="*/ 573714 w 1090712"/>
              <a:gd name="connsiteY541" fmla="*/ 712298 h 895572"/>
              <a:gd name="connsiteX542" fmla="*/ 577991 w 1090712"/>
              <a:gd name="connsiteY542" fmla="*/ 696855 h 895572"/>
              <a:gd name="connsiteX543" fmla="*/ 586544 w 1090712"/>
              <a:gd name="connsiteY543" fmla="*/ 665255 h 895572"/>
              <a:gd name="connsiteX544" fmla="*/ 586069 w 1090712"/>
              <a:gd name="connsiteY544" fmla="*/ 663117 h 895572"/>
              <a:gd name="connsiteX545" fmla="*/ 584881 w 1090712"/>
              <a:gd name="connsiteY545" fmla="*/ 660266 h 895572"/>
              <a:gd name="connsiteX546" fmla="*/ 582980 w 1090712"/>
              <a:gd name="connsiteY546" fmla="*/ 657177 h 895572"/>
              <a:gd name="connsiteX547" fmla="*/ 580367 w 1090712"/>
              <a:gd name="connsiteY547" fmla="*/ 654088 h 895572"/>
              <a:gd name="connsiteX548" fmla="*/ 574902 w 1090712"/>
              <a:gd name="connsiteY548" fmla="*/ 647911 h 895572"/>
              <a:gd name="connsiteX549" fmla="*/ 570150 w 1090712"/>
              <a:gd name="connsiteY549" fmla="*/ 642922 h 895572"/>
              <a:gd name="connsiteX550" fmla="*/ 565636 w 1090712"/>
              <a:gd name="connsiteY550" fmla="*/ 636744 h 895572"/>
              <a:gd name="connsiteX551" fmla="*/ 560647 w 1090712"/>
              <a:gd name="connsiteY551" fmla="*/ 631517 h 895572"/>
              <a:gd name="connsiteX552" fmla="*/ 555420 w 1090712"/>
              <a:gd name="connsiteY552" fmla="*/ 626053 h 895572"/>
              <a:gd name="connsiteX553" fmla="*/ 550193 w 1090712"/>
              <a:gd name="connsiteY553" fmla="*/ 621301 h 895572"/>
              <a:gd name="connsiteX554" fmla="*/ 544253 w 1090712"/>
              <a:gd name="connsiteY554" fmla="*/ 616787 h 895572"/>
              <a:gd name="connsiteX555" fmla="*/ 538075 w 1090712"/>
              <a:gd name="connsiteY555" fmla="*/ 612272 h 895572"/>
              <a:gd name="connsiteX556" fmla="*/ 525721 w 1090712"/>
              <a:gd name="connsiteY556" fmla="*/ 603719 h 895572"/>
              <a:gd name="connsiteX557" fmla="*/ 563023 w 1090712"/>
              <a:gd name="connsiteY557" fmla="*/ 619875 h 895572"/>
              <a:gd name="connsiteX558" fmla="*/ 581317 w 1090712"/>
              <a:gd name="connsiteY558" fmla="*/ 628191 h 895572"/>
              <a:gd name="connsiteX559" fmla="*/ 599374 w 1090712"/>
              <a:gd name="connsiteY559" fmla="*/ 636744 h 895572"/>
              <a:gd name="connsiteX560" fmla="*/ 607927 w 1090712"/>
              <a:gd name="connsiteY560" fmla="*/ 641259 h 895572"/>
              <a:gd name="connsiteX561" fmla="*/ 616718 w 1090712"/>
              <a:gd name="connsiteY561" fmla="*/ 646010 h 895572"/>
              <a:gd name="connsiteX562" fmla="*/ 625271 w 1090712"/>
              <a:gd name="connsiteY562" fmla="*/ 651000 h 895572"/>
              <a:gd name="connsiteX563" fmla="*/ 633349 w 1090712"/>
              <a:gd name="connsiteY563" fmla="*/ 656227 h 895572"/>
              <a:gd name="connsiteX564" fmla="*/ 641665 w 1090712"/>
              <a:gd name="connsiteY564" fmla="*/ 662167 h 895572"/>
              <a:gd name="connsiteX565" fmla="*/ 649268 w 1090712"/>
              <a:gd name="connsiteY565" fmla="*/ 668344 h 895572"/>
              <a:gd name="connsiteX566" fmla="*/ 656871 w 1090712"/>
              <a:gd name="connsiteY566" fmla="*/ 674996 h 895572"/>
              <a:gd name="connsiteX567" fmla="*/ 664474 w 1090712"/>
              <a:gd name="connsiteY567" fmla="*/ 682124 h 895572"/>
              <a:gd name="connsiteX568" fmla="*/ 668988 w 1090712"/>
              <a:gd name="connsiteY568" fmla="*/ 686163 h 895572"/>
              <a:gd name="connsiteX569" fmla="*/ 672790 w 1090712"/>
              <a:gd name="connsiteY569" fmla="*/ 690202 h 895572"/>
              <a:gd name="connsiteX570" fmla="*/ 677304 w 1090712"/>
              <a:gd name="connsiteY570" fmla="*/ 693291 h 895572"/>
              <a:gd name="connsiteX571" fmla="*/ 682293 w 1090712"/>
              <a:gd name="connsiteY571" fmla="*/ 696855 h 895572"/>
              <a:gd name="connsiteX572" fmla="*/ 686570 w 1090712"/>
              <a:gd name="connsiteY572" fmla="*/ 699468 h 895572"/>
              <a:gd name="connsiteX573" fmla="*/ 691559 w 1090712"/>
              <a:gd name="connsiteY573" fmla="*/ 702082 h 895572"/>
              <a:gd name="connsiteX574" fmla="*/ 696549 w 1090712"/>
              <a:gd name="connsiteY574" fmla="*/ 703983 h 895572"/>
              <a:gd name="connsiteX575" fmla="*/ 701300 w 1090712"/>
              <a:gd name="connsiteY575" fmla="*/ 705646 h 895572"/>
              <a:gd name="connsiteX576" fmla="*/ 706290 w 1090712"/>
              <a:gd name="connsiteY576" fmla="*/ 707071 h 895572"/>
              <a:gd name="connsiteX577" fmla="*/ 711042 w 1090712"/>
              <a:gd name="connsiteY577" fmla="*/ 708497 h 895572"/>
              <a:gd name="connsiteX578" fmla="*/ 716506 w 1090712"/>
              <a:gd name="connsiteY578" fmla="*/ 708734 h 895572"/>
              <a:gd name="connsiteX579" fmla="*/ 721258 w 1090712"/>
              <a:gd name="connsiteY579" fmla="*/ 708734 h 895572"/>
              <a:gd name="connsiteX580" fmla="*/ 726723 w 1090712"/>
              <a:gd name="connsiteY580" fmla="*/ 708497 h 895572"/>
              <a:gd name="connsiteX581" fmla="*/ 731712 w 1090712"/>
              <a:gd name="connsiteY581" fmla="*/ 707546 h 895572"/>
              <a:gd name="connsiteX582" fmla="*/ 736939 w 1090712"/>
              <a:gd name="connsiteY582" fmla="*/ 706121 h 895572"/>
              <a:gd name="connsiteX583" fmla="*/ 742166 w 1090712"/>
              <a:gd name="connsiteY583" fmla="*/ 704458 h 895572"/>
              <a:gd name="connsiteX584" fmla="*/ 749294 w 1090712"/>
              <a:gd name="connsiteY584" fmla="*/ 702082 h 895572"/>
              <a:gd name="connsiteX585" fmla="*/ 756184 w 1090712"/>
              <a:gd name="connsiteY585" fmla="*/ 699468 h 895572"/>
              <a:gd name="connsiteX586" fmla="*/ 762361 w 1090712"/>
              <a:gd name="connsiteY586" fmla="*/ 696380 h 895572"/>
              <a:gd name="connsiteX587" fmla="*/ 768063 w 1090712"/>
              <a:gd name="connsiteY587" fmla="*/ 692816 h 895572"/>
              <a:gd name="connsiteX588" fmla="*/ 773528 w 1090712"/>
              <a:gd name="connsiteY588" fmla="*/ 689252 h 895572"/>
              <a:gd name="connsiteX589" fmla="*/ 778755 w 1090712"/>
              <a:gd name="connsiteY589" fmla="*/ 684738 h 895572"/>
              <a:gd name="connsiteX590" fmla="*/ 783269 w 1090712"/>
              <a:gd name="connsiteY590" fmla="*/ 680461 h 895572"/>
              <a:gd name="connsiteX591" fmla="*/ 787308 w 1090712"/>
              <a:gd name="connsiteY591" fmla="*/ 674996 h 895572"/>
              <a:gd name="connsiteX592" fmla="*/ 791110 w 1090712"/>
              <a:gd name="connsiteY592" fmla="*/ 669769 h 895572"/>
              <a:gd name="connsiteX593" fmla="*/ 794436 w 1090712"/>
              <a:gd name="connsiteY593" fmla="*/ 663830 h 895572"/>
              <a:gd name="connsiteX594" fmla="*/ 797050 w 1090712"/>
              <a:gd name="connsiteY594" fmla="*/ 657652 h 895572"/>
              <a:gd name="connsiteX595" fmla="*/ 799188 w 1090712"/>
              <a:gd name="connsiteY595" fmla="*/ 651000 h 895572"/>
              <a:gd name="connsiteX596" fmla="*/ 801089 w 1090712"/>
              <a:gd name="connsiteY596" fmla="*/ 643872 h 895572"/>
              <a:gd name="connsiteX597" fmla="*/ 802277 w 1090712"/>
              <a:gd name="connsiteY597" fmla="*/ 636744 h 895572"/>
              <a:gd name="connsiteX598" fmla="*/ 803227 w 1090712"/>
              <a:gd name="connsiteY598" fmla="*/ 628666 h 895572"/>
              <a:gd name="connsiteX599" fmla="*/ 803227 w 1090712"/>
              <a:gd name="connsiteY599" fmla="*/ 620826 h 895572"/>
              <a:gd name="connsiteX600" fmla="*/ 801089 w 1090712"/>
              <a:gd name="connsiteY600" fmla="*/ 622489 h 895572"/>
              <a:gd name="connsiteX601" fmla="*/ 798238 w 1090712"/>
              <a:gd name="connsiteY601" fmla="*/ 623914 h 895572"/>
              <a:gd name="connsiteX602" fmla="*/ 793011 w 1090712"/>
              <a:gd name="connsiteY602" fmla="*/ 626053 h 895572"/>
              <a:gd name="connsiteX603" fmla="*/ 790397 w 1090712"/>
              <a:gd name="connsiteY603" fmla="*/ 627478 h 895572"/>
              <a:gd name="connsiteX604" fmla="*/ 788496 w 1090712"/>
              <a:gd name="connsiteY604" fmla="*/ 628191 h 895572"/>
              <a:gd name="connsiteX605" fmla="*/ 787308 w 1090712"/>
              <a:gd name="connsiteY605" fmla="*/ 630092 h 895572"/>
              <a:gd name="connsiteX606" fmla="*/ 786833 w 1090712"/>
              <a:gd name="connsiteY606" fmla="*/ 631755 h 895572"/>
              <a:gd name="connsiteX607" fmla="*/ 785408 w 1090712"/>
              <a:gd name="connsiteY607" fmla="*/ 635794 h 895572"/>
              <a:gd name="connsiteX608" fmla="*/ 784220 w 1090712"/>
              <a:gd name="connsiteY608" fmla="*/ 639833 h 895572"/>
              <a:gd name="connsiteX609" fmla="*/ 780656 w 1090712"/>
              <a:gd name="connsiteY609" fmla="*/ 646485 h 895572"/>
              <a:gd name="connsiteX610" fmla="*/ 776617 w 1090712"/>
              <a:gd name="connsiteY610" fmla="*/ 653138 h 895572"/>
              <a:gd name="connsiteX611" fmla="*/ 772103 w 1090712"/>
              <a:gd name="connsiteY611" fmla="*/ 659078 h 895572"/>
              <a:gd name="connsiteX612" fmla="*/ 762361 w 1090712"/>
              <a:gd name="connsiteY612" fmla="*/ 670007 h 895572"/>
              <a:gd name="connsiteX613" fmla="*/ 757847 w 1090712"/>
              <a:gd name="connsiteY613" fmla="*/ 675947 h 895572"/>
              <a:gd name="connsiteX614" fmla="*/ 753333 w 1090712"/>
              <a:gd name="connsiteY614" fmla="*/ 682124 h 895572"/>
              <a:gd name="connsiteX615" fmla="*/ 750244 w 1090712"/>
              <a:gd name="connsiteY615" fmla="*/ 684738 h 895572"/>
              <a:gd name="connsiteX616" fmla="*/ 747155 w 1090712"/>
              <a:gd name="connsiteY616" fmla="*/ 687589 h 895572"/>
              <a:gd name="connsiteX617" fmla="*/ 744067 w 1090712"/>
              <a:gd name="connsiteY617" fmla="*/ 689252 h 895572"/>
              <a:gd name="connsiteX618" fmla="*/ 740978 w 1090712"/>
              <a:gd name="connsiteY618" fmla="*/ 690915 h 895572"/>
              <a:gd name="connsiteX619" fmla="*/ 737890 w 1090712"/>
              <a:gd name="connsiteY619" fmla="*/ 691865 h 895572"/>
              <a:gd name="connsiteX620" fmla="*/ 734801 w 1090712"/>
              <a:gd name="connsiteY620" fmla="*/ 692816 h 895572"/>
              <a:gd name="connsiteX621" fmla="*/ 731950 w 1090712"/>
              <a:gd name="connsiteY621" fmla="*/ 693291 h 895572"/>
              <a:gd name="connsiteX622" fmla="*/ 728861 w 1090712"/>
              <a:gd name="connsiteY622" fmla="*/ 693291 h 895572"/>
              <a:gd name="connsiteX623" fmla="*/ 723634 w 1090712"/>
              <a:gd name="connsiteY623" fmla="*/ 692816 h 895572"/>
              <a:gd name="connsiteX624" fmla="*/ 718169 w 1090712"/>
              <a:gd name="connsiteY624" fmla="*/ 691390 h 895572"/>
              <a:gd name="connsiteX625" fmla="*/ 713418 w 1090712"/>
              <a:gd name="connsiteY625" fmla="*/ 689727 h 895572"/>
              <a:gd name="connsiteX626" fmla="*/ 708903 w 1090712"/>
              <a:gd name="connsiteY626" fmla="*/ 687826 h 895572"/>
              <a:gd name="connsiteX627" fmla="*/ 706765 w 1090712"/>
              <a:gd name="connsiteY627" fmla="*/ 687589 h 895572"/>
              <a:gd name="connsiteX628" fmla="*/ 704864 w 1090712"/>
              <a:gd name="connsiteY628" fmla="*/ 687114 h 895572"/>
              <a:gd name="connsiteX629" fmla="*/ 703201 w 1090712"/>
              <a:gd name="connsiteY629" fmla="*/ 686163 h 895572"/>
              <a:gd name="connsiteX630" fmla="*/ 701776 w 1090712"/>
              <a:gd name="connsiteY630" fmla="*/ 684738 h 895572"/>
              <a:gd name="connsiteX631" fmla="*/ 698687 w 1090712"/>
              <a:gd name="connsiteY631" fmla="*/ 681649 h 895572"/>
              <a:gd name="connsiteX632" fmla="*/ 696549 w 1090712"/>
              <a:gd name="connsiteY632" fmla="*/ 678085 h 895572"/>
              <a:gd name="connsiteX633" fmla="*/ 694648 w 1090712"/>
              <a:gd name="connsiteY633" fmla="*/ 673571 h 895572"/>
              <a:gd name="connsiteX634" fmla="*/ 693460 w 1090712"/>
              <a:gd name="connsiteY634" fmla="*/ 668819 h 895572"/>
              <a:gd name="connsiteX635" fmla="*/ 692510 w 1090712"/>
              <a:gd name="connsiteY635" fmla="*/ 664305 h 895572"/>
              <a:gd name="connsiteX636" fmla="*/ 692510 w 1090712"/>
              <a:gd name="connsiteY636" fmla="*/ 659790 h 895572"/>
              <a:gd name="connsiteX637" fmla="*/ 692510 w 1090712"/>
              <a:gd name="connsiteY637" fmla="*/ 647436 h 895572"/>
              <a:gd name="connsiteX638" fmla="*/ 693460 w 1090712"/>
              <a:gd name="connsiteY638" fmla="*/ 635319 h 895572"/>
              <a:gd name="connsiteX639" fmla="*/ 694173 w 1090712"/>
              <a:gd name="connsiteY639" fmla="*/ 624389 h 895572"/>
              <a:gd name="connsiteX640" fmla="*/ 695598 w 1090712"/>
              <a:gd name="connsiteY640" fmla="*/ 612748 h 895572"/>
              <a:gd name="connsiteX641" fmla="*/ 699162 w 1090712"/>
              <a:gd name="connsiteY641" fmla="*/ 591364 h 895572"/>
              <a:gd name="connsiteX642" fmla="*/ 703676 w 1090712"/>
              <a:gd name="connsiteY642" fmla="*/ 570456 h 895572"/>
              <a:gd name="connsiteX643" fmla="*/ 720070 w 1090712"/>
              <a:gd name="connsiteY643" fmla="*/ 574971 h 895572"/>
              <a:gd name="connsiteX644" fmla="*/ 736939 w 1090712"/>
              <a:gd name="connsiteY644" fmla="*/ 579247 h 895572"/>
              <a:gd name="connsiteX645" fmla="*/ 770677 w 1090712"/>
              <a:gd name="connsiteY645" fmla="*/ 589226 h 895572"/>
              <a:gd name="connsiteX646" fmla="*/ 788021 w 1090712"/>
              <a:gd name="connsiteY646" fmla="*/ 593503 h 895572"/>
              <a:gd name="connsiteX647" fmla="*/ 805365 w 1090712"/>
              <a:gd name="connsiteY647" fmla="*/ 597542 h 895572"/>
              <a:gd name="connsiteX648" fmla="*/ 823660 w 1090712"/>
              <a:gd name="connsiteY648" fmla="*/ 601106 h 895572"/>
              <a:gd name="connsiteX649" fmla="*/ 841954 w 1090712"/>
              <a:gd name="connsiteY649" fmla="*/ 603719 h 895572"/>
              <a:gd name="connsiteX650" fmla="*/ 861437 w 1090712"/>
              <a:gd name="connsiteY650" fmla="*/ 606570 h 895572"/>
              <a:gd name="connsiteX651" fmla="*/ 880682 w 1090712"/>
              <a:gd name="connsiteY651" fmla="*/ 608233 h 895572"/>
              <a:gd name="connsiteX652" fmla="*/ 889948 w 1090712"/>
              <a:gd name="connsiteY652" fmla="*/ 608708 h 895572"/>
              <a:gd name="connsiteX653" fmla="*/ 898976 w 1090712"/>
              <a:gd name="connsiteY653" fmla="*/ 608708 h 895572"/>
              <a:gd name="connsiteX654" fmla="*/ 908242 w 1090712"/>
              <a:gd name="connsiteY654" fmla="*/ 608708 h 895572"/>
              <a:gd name="connsiteX655" fmla="*/ 916795 w 1090712"/>
              <a:gd name="connsiteY655" fmla="*/ 608233 h 895572"/>
              <a:gd name="connsiteX656" fmla="*/ 925586 w 1090712"/>
              <a:gd name="connsiteY656" fmla="*/ 607283 h 895572"/>
              <a:gd name="connsiteX657" fmla="*/ 934140 w 1090712"/>
              <a:gd name="connsiteY657" fmla="*/ 606095 h 895572"/>
              <a:gd name="connsiteX658" fmla="*/ 942455 w 1090712"/>
              <a:gd name="connsiteY658" fmla="*/ 604669 h 895572"/>
              <a:gd name="connsiteX659" fmla="*/ 950533 w 1090712"/>
              <a:gd name="connsiteY659" fmla="*/ 603006 h 895572"/>
              <a:gd name="connsiteX660" fmla="*/ 958611 w 1090712"/>
              <a:gd name="connsiteY660" fmla="*/ 600630 h 895572"/>
              <a:gd name="connsiteX661" fmla="*/ 966452 w 1090712"/>
              <a:gd name="connsiteY661" fmla="*/ 598017 h 895572"/>
              <a:gd name="connsiteX662" fmla="*/ 974055 w 1090712"/>
              <a:gd name="connsiteY662" fmla="*/ 595403 h 895572"/>
              <a:gd name="connsiteX663" fmla="*/ 981658 w 1090712"/>
              <a:gd name="connsiteY663" fmla="*/ 591840 h 895572"/>
              <a:gd name="connsiteX664" fmla="*/ 989261 w 1090712"/>
              <a:gd name="connsiteY664" fmla="*/ 588276 h 895572"/>
              <a:gd name="connsiteX665" fmla="*/ 996388 w 1090712"/>
              <a:gd name="connsiteY665" fmla="*/ 584237 h 895572"/>
              <a:gd name="connsiteX666" fmla="*/ 1003041 w 1090712"/>
              <a:gd name="connsiteY666" fmla="*/ 579247 h 895572"/>
              <a:gd name="connsiteX667" fmla="*/ 1009694 w 1090712"/>
              <a:gd name="connsiteY667" fmla="*/ 574495 h 895572"/>
              <a:gd name="connsiteX668" fmla="*/ 1016346 w 1090712"/>
              <a:gd name="connsiteY668" fmla="*/ 569031 h 895572"/>
              <a:gd name="connsiteX669" fmla="*/ 1022998 w 1090712"/>
              <a:gd name="connsiteY669" fmla="*/ 562853 h 895572"/>
              <a:gd name="connsiteX670" fmla="*/ 1029176 w 1090712"/>
              <a:gd name="connsiteY670" fmla="*/ 556676 h 895572"/>
              <a:gd name="connsiteX671" fmla="*/ 1035116 w 1090712"/>
              <a:gd name="connsiteY671" fmla="*/ 549548 h 895572"/>
              <a:gd name="connsiteX672" fmla="*/ 1040818 w 1090712"/>
              <a:gd name="connsiteY672" fmla="*/ 541945 h 895572"/>
              <a:gd name="connsiteX673" fmla="*/ 1046520 w 1090712"/>
              <a:gd name="connsiteY673" fmla="*/ 534342 h 895572"/>
              <a:gd name="connsiteX674" fmla="*/ 1051985 w 1090712"/>
              <a:gd name="connsiteY674" fmla="*/ 526027 h 895572"/>
              <a:gd name="connsiteX675" fmla="*/ 1056737 w 1090712"/>
              <a:gd name="connsiteY675" fmla="*/ 516523 h 895572"/>
              <a:gd name="connsiteX676" fmla="*/ 1061726 w 1090712"/>
              <a:gd name="connsiteY676" fmla="*/ 507257 h 895572"/>
              <a:gd name="connsiteX677" fmla="*/ 1066715 w 1090712"/>
              <a:gd name="connsiteY677" fmla="*/ 497041 h 895572"/>
              <a:gd name="connsiteX678" fmla="*/ 1070992 w 1090712"/>
              <a:gd name="connsiteY678" fmla="*/ 486349 h 895572"/>
              <a:gd name="connsiteX679" fmla="*/ 1075506 w 1090712"/>
              <a:gd name="connsiteY679" fmla="*/ 475182 h 895572"/>
              <a:gd name="connsiteX680" fmla="*/ 1079070 w 1090712"/>
              <a:gd name="connsiteY680" fmla="*/ 462828 h 895572"/>
              <a:gd name="connsiteX681" fmla="*/ 1082634 w 1090712"/>
              <a:gd name="connsiteY681" fmla="*/ 449998 h 895572"/>
              <a:gd name="connsiteX682" fmla="*/ 1084772 w 1090712"/>
              <a:gd name="connsiteY682" fmla="*/ 437405 h 895572"/>
              <a:gd name="connsiteX683" fmla="*/ 1087148 w 1090712"/>
              <a:gd name="connsiteY683" fmla="*/ 425050 h 895572"/>
              <a:gd name="connsiteX684" fmla="*/ 1088811 w 1090712"/>
              <a:gd name="connsiteY684" fmla="*/ 411983 h 895572"/>
              <a:gd name="connsiteX685" fmla="*/ 1089762 w 1090712"/>
              <a:gd name="connsiteY685" fmla="*/ 399628 h 895572"/>
              <a:gd name="connsiteX686" fmla="*/ 1090712 w 1090712"/>
              <a:gd name="connsiteY686" fmla="*/ 386798 h 895572"/>
              <a:gd name="connsiteX687" fmla="*/ 1090712 w 1090712"/>
              <a:gd name="connsiteY687" fmla="*/ 373731 h 895572"/>
              <a:gd name="connsiteX688" fmla="*/ 1090712 w 1090712"/>
              <a:gd name="connsiteY688" fmla="*/ 360901 h 895572"/>
              <a:gd name="connsiteX689" fmla="*/ 1089762 w 1090712"/>
              <a:gd name="connsiteY689" fmla="*/ 348071 h 895572"/>
              <a:gd name="connsiteX690" fmla="*/ 1088811 w 1090712"/>
              <a:gd name="connsiteY690" fmla="*/ 335004 h 895572"/>
              <a:gd name="connsiteX691" fmla="*/ 1088099 w 1090712"/>
              <a:gd name="connsiteY691" fmla="*/ 321698 h 895572"/>
              <a:gd name="connsiteX692" fmla="*/ 1084772 w 1090712"/>
              <a:gd name="connsiteY692" fmla="*/ 295563 h 895572"/>
              <a:gd name="connsiteX693" fmla="*/ 1080971 w 1090712"/>
              <a:gd name="connsiteY693" fmla="*/ 268478 h 895572"/>
              <a:gd name="connsiteX694" fmla="*/ 1078595 w 1090712"/>
              <a:gd name="connsiteY694" fmla="*/ 258262 h 895572"/>
              <a:gd name="connsiteX695" fmla="*/ 1075981 w 1090712"/>
              <a:gd name="connsiteY695" fmla="*/ 248283 h 895572"/>
              <a:gd name="connsiteX696" fmla="*/ 1072417 w 1090712"/>
              <a:gd name="connsiteY696" fmla="*/ 238542 h 895572"/>
              <a:gd name="connsiteX697" fmla="*/ 1069329 w 1090712"/>
              <a:gd name="connsiteY697" fmla="*/ 229275 h 895572"/>
              <a:gd name="connsiteX698" fmla="*/ 1061251 w 1090712"/>
              <a:gd name="connsiteY698" fmla="*/ 210031 h 895572"/>
              <a:gd name="connsiteX699" fmla="*/ 1053173 w 1090712"/>
              <a:gd name="connsiteY699" fmla="*/ 190073 h 895572"/>
              <a:gd name="connsiteX700" fmla="*/ 1051034 w 1090712"/>
              <a:gd name="connsiteY700" fmla="*/ 186034 h 895572"/>
              <a:gd name="connsiteX701" fmla="*/ 1048896 w 1090712"/>
              <a:gd name="connsiteY701" fmla="*/ 182470 h 895572"/>
              <a:gd name="connsiteX702" fmla="*/ 1046045 w 1090712"/>
              <a:gd name="connsiteY702" fmla="*/ 179381 h 895572"/>
              <a:gd name="connsiteX703" fmla="*/ 1043906 w 1090712"/>
              <a:gd name="connsiteY703" fmla="*/ 176768 h 895572"/>
              <a:gd name="connsiteX704" fmla="*/ 1041293 w 1090712"/>
              <a:gd name="connsiteY704" fmla="*/ 174630 h 895572"/>
              <a:gd name="connsiteX705" fmla="*/ 1038680 w 1090712"/>
              <a:gd name="connsiteY705" fmla="*/ 172729 h 895572"/>
              <a:gd name="connsiteX706" fmla="*/ 1035828 w 1090712"/>
              <a:gd name="connsiteY706" fmla="*/ 171303 h 895572"/>
              <a:gd name="connsiteX707" fmla="*/ 1032740 w 1090712"/>
              <a:gd name="connsiteY707" fmla="*/ 170591 h 895572"/>
              <a:gd name="connsiteX708" fmla="*/ 1030126 w 1090712"/>
              <a:gd name="connsiteY708" fmla="*/ 170591 h 895572"/>
              <a:gd name="connsiteX709" fmla="*/ 1027038 w 1090712"/>
              <a:gd name="connsiteY709" fmla="*/ 170591 h 895572"/>
              <a:gd name="connsiteX710" fmla="*/ 1024424 w 1090712"/>
              <a:gd name="connsiteY710" fmla="*/ 171303 h 895572"/>
              <a:gd name="connsiteX711" fmla="*/ 1021335 w 1090712"/>
              <a:gd name="connsiteY711" fmla="*/ 172729 h 895572"/>
              <a:gd name="connsiteX712" fmla="*/ 1018247 w 1090712"/>
              <a:gd name="connsiteY712" fmla="*/ 174867 h 895572"/>
              <a:gd name="connsiteX713" fmla="*/ 1014920 w 1090712"/>
              <a:gd name="connsiteY713" fmla="*/ 177718 h 895572"/>
              <a:gd name="connsiteX714" fmla="*/ 1011832 w 1090712"/>
              <a:gd name="connsiteY714" fmla="*/ 180807 h 895572"/>
              <a:gd name="connsiteX715" fmla="*/ 1008743 w 1090712"/>
              <a:gd name="connsiteY715" fmla="*/ 184846 h 895572"/>
              <a:gd name="connsiteX716" fmla="*/ 991874 w 1090712"/>
              <a:gd name="connsiteY716" fmla="*/ 201240 h 895572"/>
              <a:gd name="connsiteX717" fmla="*/ 983321 w 1090712"/>
              <a:gd name="connsiteY717" fmla="*/ 209318 h 895572"/>
              <a:gd name="connsiteX718" fmla="*/ 974530 w 1090712"/>
              <a:gd name="connsiteY718" fmla="*/ 216683 h 895572"/>
              <a:gd name="connsiteX719" fmla="*/ 965739 w 1090712"/>
              <a:gd name="connsiteY719" fmla="*/ 223811 h 895572"/>
              <a:gd name="connsiteX720" fmla="*/ 956236 w 1090712"/>
              <a:gd name="connsiteY720" fmla="*/ 230226 h 895572"/>
              <a:gd name="connsiteX721" fmla="*/ 946494 w 1090712"/>
              <a:gd name="connsiteY721" fmla="*/ 235928 h 895572"/>
              <a:gd name="connsiteX722" fmla="*/ 941505 w 1090712"/>
              <a:gd name="connsiteY722" fmla="*/ 238066 h 895572"/>
              <a:gd name="connsiteX723" fmla="*/ 936753 w 1090712"/>
              <a:gd name="connsiteY723" fmla="*/ 240442 h 895572"/>
              <a:gd name="connsiteX724" fmla="*/ 932239 w 1090712"/>
              <a:gd name="connsiteY724" fmla="*/ 242581 h 895572"/>
              <a:gd name="connsiteX725" fmla="*/ 928675 w 1090712"/>
              <a:gd name="connsiteY725" fmla="*/ 245669 h 895572"/>
              <a:gd name="connsiteX726" fmla="*/ 925111 w 1090712"/>
              <a:gd name="connsiteY726" fmla="*/ 249233 h 895572"/>
              <a:gd name="connsiteX727" fmla="*/ 922022 w 1090712"/>
              <a:gd name="connsiteY727" fmla="*/ 252797 h 895572"/>
              <a:gd name="connsiteX728" fmla="*/ 919884 w 1090712"/>
              <a:gd name="connsiteY728" fmla="*/ 257311 h 895572"/>
              <a:gd name="connsiteX729" fmla="*/ 918934 w 1090712"/>
              <a:gd name="connsiteY729" fmla="*/ 259925 h 895572"/>
              <a:gd name="connsiteX730" fmla="*/ 918459 w 1090712"/>
              <a:gd name="connsiteY730" fmla="*/ 262538 h 895572"/>
              <a:gd name="connsiteX731" fmla="*/ 918459 w 1090712"/>
              <a:gd name="connsiteY731" fmla="*/ 265389 h 895572"/>
              <a:gd name="connsiteX732" fmla="*/ 918459 w 1090712"/>
              <a:gd name="connsiteY732" fmla="*/ 268003 h 895572"/>
              <a:gd name="connsiteX733" fmla="*/ 918934 w 1090712"/>
              <a:gd name="connsiteY733" fmla="*/ 271091 h 895572"/>
              <a:gd name="connsiteX734" fmla="*/ 919884 w 1090712"/>
              <a:gd name="connsiteY734" fmla="*/ 274180 h 895572"/>
              <a:gd name="connsiteX735" fmla="*/ 921547 w 1090712"/>
              <a:gd name="connsiteY735" fmla="*/ 282258 h 895572"/>
              <a:gd name="connsiteX736" fmla="*/ 922973 w 1090712"/>
              <a:gd name="connsiteY736" fmla="*/ 290574 h 895572"/>
              <a:gd name="connsiteX737" fmla="*/ 923923 w 1090712"/>
              <a:gd name="connsiteY737" fmla="*/ 299127 h 895572"/>
              <a:gd name="connsiteX738" fmla="*/ 924161 w 1090712"/>
              <a:gd name="connsiteY738" fmla="*/ 307443 h 895572"/>
              <a:gd name="connsiteX739" fmla="*/ 924161 w 1090712"/>
              <a:gd name="connsiteY739" fmla="*/ 315996 h 895572"/>
              <a:gd name="connsiteX740" fmla="*/ 923923 w 1090712"/>
              <a:gd name="connsiteY740" fmla="*/ 324550 h 895572"/>
              <a:gd name="connsiteX741" fmla="*/ 922973 w 1090712"/>
              <a:gd name="connsiteY741" fmla="*/ 332865 h 895572"/>
              <a:gd name="connsiteX742" fmla="*/ 922022 w 1090712"/>
              <a:gd name="connsiteY742" fmla="*/ 340943 h 895572"/>
              <a:gd name="connsiteX743" fmla="*/ 920597 w 1090712"/>
              <a:gd name="connsiteY743" fmla="*/ 349259 h 895572"/>
              <a:gd name="connsiteX744" fmla="*/ 918934 w 1090712"/>
              <a:gd name="connsiteY744" fmla="*/ 357812 h 895572"/>
              <a:gd name="connsiteX745" fmla="*/ 914420 w 1090712"/>
              <a:gd name="connsiteY745" fmla="*/ 374681 h 895572"/>
              <a:gd name="connsiteX746" fmla="*/ 909192 w 1090712"/>
              <a:gd name="connsiteY746" fmla="*/ 391075 h 895572"/>
              <a:gd name="connsiteX747" fmla="*/ 903253 w 1090712"/>
              <a:gd name="connsiteY747" fmla="*/ 408182 h 895572"/>
              <a:gd name="connsiteX748" fmla="*/ 903253 w 1090712"/>
              <a:gd name="connsiteY748" fmla="*/ 397965 h 895572"/>
              <a:gd name="connsiteX749" fmla="*/ 904203 w 1090712"/>
              <a:gd name="connsiteY749" fmla="*/ 387274 h 895572"/>
              <a:gd name="connsiteX750" fmla="*/ 906104 w 1090712"/>
              <a:gd name="connsiteY750" fmla="*/ 367078 h 895572"/>
              <a:gd name="connsiteX751" fmla="*/ 907767 w 1090712"/>
              <a:gd name="connsiteY751" fmla="*/ 347596 h 895572"/>
              <a:gd name="connsiteX752" fmla="*/ 908717 w 1090712"/>
              <a:gd name="connsiteY752" fmla="*/ 338567 h 895572"/>
              <a:gd name="connsiteX753" fmla="*/ 908717 w 1090712"/>
              <a:gd name="connsiteY753" fmla="*/ 329777 h 895572"/>
              <a:gd name="connsiteX754" fmla="*/ 908717 w 1090712"/>
              <a:gd name="connsiteY754" fmla="*/ 325738 h 895572"/>
              <a:gd name="connsiteX755" fmla="*/ 907767 w 1090712"/>
              <a:gd name="connsiteY755" fmla="*/ 322649 h 895572"/>
              <a:gd name="connsiteX756" fmla="*/ 906817 w 1090712"/>
              <a:gd name="connsiteY756" fmla="*/ 319560 h 895572"/>
              <a:gd name="connsiteX757" fmla="*/ 905154 w 1090712"/>
              <a:gd name="connsiteY757" fmla="*/ 316471 h 895572"/>
              <a:gd name="connsiteX758" fmla="*/ 903728 w 1090712"/>
              <a:gd name="connsiteY758" fmla="*/ 314096 h 895572"/>
              <a:gd name="connsiteX759" fmla="*/ 901590 w 1090712"/>
              <a:gd name="connsiteY759" fmla="*/ 311957 h 895572"/>
              <a:gd name="connsiteX760" fmla="*/ 897551 w 1090712"/>
              <a:gd name="connsiteY760" fmla="*/ 307443 h 895572"/>
              <a:gd name="connsiteX761" fmla="*/ 895412 w 1090712"/>
              <a:gd name="connsiteY761" fmla="*/ 309344 h 895572"/>
              <a:gd name="connsiteX762" fmla="*/ 892561 w 1090712"/>
              <a:gd name="connsiteY762" fmla="*/ 310769 h 895572"/>
              <a:gd name="connsiteX763" fmla="*/ 887334 w 1090712"/>
              <a:gd name="connsiteY763" fmla="*/ 313383 h 895572"/>
              <a:gd name="connsiteX764" fmla="*/ 884721 w 1090712"/>
              <a:gd name="connsiteY764" fmla="*/ 314096 h 895572"/>
              <a:gd name="connsiteX765" fmla="*/ 882820 w 1090712"/>
              <a:gd name="connsiteY765" fmla="*/ 315521 h 895572"/>
              <a:gd name="connsiteX766" fmla="*/ 881632 w 1090712"/>
              <a:gd name="connsiteY766" fmla="*/ 316947 h 895572"/>
              <a:gd name="connsiteX767" fmla="*/ 881157 w 1090712"/>
              <a:gd name="connsiteY767" fmla="*/ 318610 h 895572"/>
              <a:gd name="connsiteX768" fmla="*/ 872604 w 1090712"/>
              <a:gd name="connsiteY768" fmla="*/ 331915 h 895572"/>
              <a:gd name="connsiteX769" fmla="*/ 864288 w 1090712"/>
              <a:gd name="connsiteY769" fmla="*/ 346646 h 895572"/>
              <a:gd name="connsiteX770" fmla="*/ 856210 w 1090712"/>
              <a:gd name="connsiteY770" fmla="*/ 361376 h 895572"/>
              <a:gd name="connsiteX771" fmla="*/ 847656 w 1090712"/>
              <a:gd name="connsiteY771" fmla="*/ 374681 h 895572"/>
              <a:gd name="connsiteX772" fmla="*/ 841954 w 1090712"/>
              <a:gd name="connsiteY772" fmla="*/ 374681 h 895572"/>
              <a:gd name="connsiteX773" fmla="*/ 846468 w 1090712"/>
              <a:gd name="connsiteY773" fmla="*/ 357812 h 895572"/>
              <a:gd name="connsiteX774" fmla="*/ 850508 w 1090712"/>
              <a:gd name="connsiteY774" fmla="*/ 339518 h 895572"/>
              <a:gd name="connsiteX775" fmla="*/ 854784 w 1090712"/>
              <a:gd name="connsiteY775" fmla="*/ 319560 h 895572"/>
              <a:gd name="connsiteX776" fmla="*/ 858823 w 1090712"/>
              <a:gd name="connsiteY776" fmla="*/ 296514 h 895572"/>
              <a:gd name="connsiteX777" fmla="*/ 848132 w 1090712"/>
              <a:gd name="connsiteY777" fmla="*/ 303879 h 895572"/>
              <a:gd name="connsiteX778" fmla="*/ 840054 w 1090712"/>
              <a:gd name="connsiteY778" fmla="*/ 310294 h 895572"/>
              <a:gd name="connsiteX779" fmla="*/ 833163 w 1090712"/>
              <a:gd name="connsiteY779" fmla="*/ 316947 h 895572"/>
              <a:gd name="connsiteX780" fmla="*/ 825560 w 1090712"/>
              <a:gd name="connsiteY780" fmla="*/ 324550 h 895572"/>
              <a:gd name="connsiteX781" fmla="*/ 823185 w 1090712"/>
              <a:gd name="connsiteY781" fmla="*/ 326688 h 895572"/>
              <a:gd name="connsiteX782" fmla="*/ 821522 w 1090712"/>
              <a:gd name="connsiteY782" fmla="*/ 329301 h 895572"/>
              <a:gd name="connsiteX783" fmla="*/ 817007 w 1090712"/>
              <a:gd name="connsiteY783" fmla="*/ 335954 h 895572"/>
              <a:gd name="connsiteX784" fmla="*/ 812968 w 1090712"/>
              <a:gd name="connsiteY784" fmla="*/ 344032 h 895572"/>
              <a:gd name="connsiteX785" fmla="*/ 808929 w 1090712"/>
              <a:gd name="connsiteY785" fmla="*/ 352585 h 895572"/>
              <a:gd name="connsiteX786" fmla="*/ 809880 w 1090712"/>
              <a:gd name="connsiteY786" fmla="*/ 343557 h 895572"/>
              <a:gd name="connsiteX787" fmla="*/ 811305 w 1090712"/>
              <a:gd name="connsiteY787" fmla="*/ 335479 h 895572"/>
              <a:gd name="connsiteX788" fmla="*/ 812493 w 1090712"/>
              <a:gd name="connsiteY788" fmla="*/ 328826 h 895572"/>
              <a:gd name="connsiteX789" fmla="*/ 814394 w 1090712"/>
              <a:gd name="connsiteY789" fmla="*/ 323124 h 895572"/>
              <a:gd name="connsiteX790" fmla="*/ 816532 w 1090712"/>
              <a:gd name="connsiteY790" fmla="*/ 317659 h 895572"/>
              <a:gd name="connsiteX791" fmla="*/ 819146 w 1090712"/>
              <a:gd name="connsiteY791" fmla="*/ 313383 h 895572"/>
              <a:gd name="connsiteX792" fmla="*/ 822709 w 1090712"/>
              <a:gd name="connsiteY792" fmla="*/ 309344 h 895572"/>
              <a:gd name="connsiteX793" fmla="*/ 826748 w 1090712"/>
              <a:gd name="connsiteY793" fmla="*/ 306255 h 895572"/>
              <a:gd name="connsiteX794" fmla="*/ 832213 w 1090712"/>
              <a:gd name="connsiteY794" fmla="*/ 303166 h 895572"/>
              <a:gd name="connsiteX795" fmla="*/ 838390 w 1090712"/>
              <a:gd name="connsiteY795" fmla="*/ 300315 h 895572"/>
              <a:gd name="connsiteX796" fmla="*/ 845518 w 1090712"/>
              <a:gd name="connsiteY796" fmla="*/ 298177 h 895572"/>
              <a:gd name="connsiteX797" fmla="*/ 854071 w 1090712"/>
              <a:gd name="connsiteY797" fmla="*/ 295563 h 895572"/>
              <a:gd name="connsiteX798" fmla="*/ 875217 w 1090712"/>
              <a:gd name="connsiteY798" fmla="*/ 290574 h 895572"/>
              <a:gd name="connsiteX799" fmla="*/ 903253 w 1090712"/>
              <a:gd name="connsiteY799" fmla="*/ 285347 h 895572"/>
              <a:gd name="connsiteX800" fmla="*/ 886384 w 1090712"/>
              <a:gd name="connsiteY800" fmla="*/ 268478 h 895572"/>
              <a:gd name="connsiteX801" fmla="*/ 879731 w 1090712"/>
              <a:gd name="connsiteY801" fmla="*/ 270141 h 895572"/>
              <a:gd name="connsiteX802" fmla="*/ 873079 w 1090712"/>
              <a:gd name="connsiteY802" fmla="*/ 271091 h 895572"/>
              <a:gd name="connsiteX803" fmla="*/ 867376 w 1090712"/>
              <a:gd name="connsiteY803" fmla="*/ 271567 h 895572"/>
              <a:gd name="connsiteX804" fmla="*/ 862387 w 1090712"/>
              <a:gd name="connsiteY804" fmla="*/ 271091 h 895572"/>
              <a:gd name="connsiteX805" fmla="*/ 857398 w 1090712"/>
              <a:gd name="connsiteY805" fmla="*/ 269666 h 895572"/>
              <a:gd name="connsiteX806" fmla="*/ 853596 w 1090712"/>
              <a:gd name="connsiteY806" fmla="*/ 268003 h 895572"/>
              <a:gd name="connsiteX807" fmla="*/ 849557 w 1090712"/>
              <a:gd name="connsiteY807" fmla="*/ 265627 h 895572"/>
              <a:gd name="connsiteX808" fmla="*/ 846468 w 1090712"/>
              <a:gd name="connsiteY808" fmla="*/ 262538 h 895572"/>
              <a:gd name="connsiteX809" fmla="*/ 843380 w 1090712"/>
              <a:gd name="connsiteY809" fmla="*/ 259450 h 895572"/>
              <a:gd name="connsiteX810" fmla="*/ 840529 w 1090712"/>
              <a:gd name="connsiteY810" fmla="*/ 255411 h 895572"/>
              <a:gd name="connsiteX811" fmla="*/ 838390 w 1090712"/>
              <a:gd name="connsiteY811" fmla="*/ 251134 h 895572"/>
              <a:gd name="connsiteX812" fmla="*/ 836490 w 1090712"/>
              <a:gd name="connsiteY812" fmla="*/ 246620 h 895572"/>
              <a:gd name="connsiteX813" fmla="*/ 834827 w 1090712"/>
              <a:gd name="connsiteY813" fmla="*/ 241155 h 895572"/>
              <a:gd name="connsiteX814" fmla="*/ 833401 w 1090712"/>
              <a:gd name="connsiteY814" fmla="*/ 235453 h 895572"/>
              <a:gd name="connsiteX815" fmla="*/ 831263 w 1090712"/>
              <a:gd name="connsiteY815" fmla="*/ 223336 h 895572"/>
              <a:gd name="connsiteX816" fmla="*/ 897551 w 1090712"/>
              <a:gd name="connsiteY816" fmla="*/ 206942 h 895572"/>
              <a:gd name="connsiteX817" fmla="*/ 888997 w 1090712"/>
              <a:gd name="connsiteY817" fmla="*/ 194112 h 895572"/>
              <a:gd name="connsiteX818" fmla="*/ 880682 w 1090712"/>
              <a:gd name="connsiteY818" fmla="*/ 181282 h 895572"/>
              <a:gd name="connsiteX819" fmla="*/ 871416 w 1090712"/>
              <a:gd name="connsiteY819" fmla="*/ 168690 h 895572"/>
              <a:gd name="connsiteX820" fmla="*/ 866901 w 1090712"/>
              <a:gd name="connsiteY820" fmla="*/ 162988 h 895572"/>
              <a:gd name="connsiteX821" fmla="*/ 861437 w 1090712"/>
              <a:gd name="connsiteY821" fmla="*/ 157048 h 895572"/>
              <a:gd name="connsiteX822" fmla="*/ 856210 w 1090712"/>
              <a:gd name="connsiteY822" fmla="*/ 151821 h 895572"/>
              <a:gd name="connsiteX823" fmla="*/ 850745 w 1090712"/>
              <a:gd name="connsiteY823" fmla="*/ 146831 h 895572"/>
              <a:gd name="connsiteX824" fmla="*/ 844568 w 1090712"/>
              <a:gd name="connsiteY824" fmla="*/ 142555 h 895572"/>
              <a:gd name="connsiteX825" fmla="*/ 838390 w 1090712"/>
              <a:gd name="connsiteY825" fmla="*/ 138516 h 895572"/>
              <a:gd name="connsiteX826" fmla="*/ 831738 w 1090712"/>
              <a:gd name="connsiteY826" fmla="*/ 134952 h 895572"/>
              <a:gd name="connsiteX827" fmla="*/ 824610 w 1090712"/>
              <a:gd name="connsiteY827" fmla="*/ 132338 h 895572"/>
              <a:gd name="connsiteX828" fmla="*/ 817007 w 1090712"/>
              <a:gd name="connsiteY828" fmla="*/ 129963 h 895572"/>
              <a:gd name="connsiteX829" fmla="*/ 808929 w 1090712"/>
              <a:gd name="connsiteY829" fmla="*/ 128774 h 895572"/>
              <a:gd name="connsiteX830" fmla="*/ 806791 w 1090712"/>
              <a:gd name="connsiteY830" fmla="*/ 128299 h 895572"/>
              <a:gd name="connsiteX831" fmla="*/ 804652 w 1090712"/>
              <a:gd name="connsiteY831" fmla="*/ 127824 h 895572"/>
              <a:gd name="connsiteX832" fmla="*/ 802752 w 1090712"/>
              <a:gd name="connsiteY832" fmla="*/ 126399 h 895572"/>
              <a:gd name="connsiteX833" fmla="*/ 801089 w 1090712"/>
              <a:gd name="connsiteY833" fmla="*/ 125211 h 895572"/>
              <a:gd name="connsiteX834" fmla="*/ 799663 w 1090712"/>
              <a:gd name="connsiteY834" fmla="*/ 123310 h 895572"/>
              <a:gd name="connsiteX835" fmla="*/ 798713 w 1090712"/>
              <a:gd name="connsiteY835" fmla="*/ 121647 h 895572"/>
              <a:gd name="connsiteX836" fmla="*/ 798000 w 1090712"/>
              <a:gd name="connsiteY836" fmla="*/ 119271 h 895572"/>
              <a:gd name="connsiteX837" fmla="*/ 798000 w 1090712"/>
              <a:gd name="connsiteY837" fmla="*/ 117608 h 895572"/>
              <a:gd name="connsiteX838" fmla="*/ 785408 w 1090712"/>
              <a:gd name="connsiteY838" fmla="*/ 106916 h 895572"/>
              <a:gd name="connsiteX839" fmla="*/ 772578 w 1090712"/>
              <a:gd name="connsiteY839" fmla="*/ 95749 h 895572"/>
              <a:gd name="connsiteX840" fmla="*/ 747155 w 1090712"/>
              <a:gd name="connsiteY840" fmla="*/ 72703 h 895572"/>
              <a:gd name="connsiteX841" fmla="*/ 733850 w 1090712"/>
              <a:gd name="connsiteY841" fmla="*/ 61061 h 895572"/>
              <a:gd name="connsiteX842" fmla="*/ 720545 w 1090712"/>
              <a:gd name="connsiteY842" fmla="*/ 49894 h 895572"/>
              <a:gd name="connsiteX843" fmla="*/ 706765 w 1090712"/>
              <a:gd name="connsiteY843" fmla="*/ 38728 h 895572"/>
              <a:gd name="connsiteX844" fmla="*/ 692510 w 1090712"/>
              <a:gd name="connsiteY844" fmla="*/ 28036 h 895572"/>
              <a:gd name="connsiteX845" fmla="*/ 679442 w 1090712"/>
              <a:gd name="connsiteY845" fmla="*/ 21859 h 895572"/>
              <a:gd name="connsiteX846" fmla="*/ 666137 w 1090712"/>
              <a:gd name="connsiteY846" fmla="*/ 16632 h 895572"/>
              <a:gd name="connsiteX847" fmla="*/ 652832 w 1090712"/>
              <a:gd name="connsiteY847" fmla="*/ 11642 h 895572"/>
              <a:gd name="connsiteX848" fmla="*/ 639527 w 1090712"/>
              <a:gd name="connsiteY848" fmla="*/ 7603 h 895572"/>
              <a:gd name="connsiteX849" fmla="*/ 626222 w 1090712"/>
              <a:gd name="connsiteY849" fmla="*/ 4514 h 895572"/>
              <a:gd name="connsiteX850" fmla="*/ 612917 w 1090712"/>
              <a:gd name="connsiteY850" fmla="*/ 1901 h 895572"/>
              <a:gd name="connsiteX851" fmla="*/ 599374 w 1090712"/>
              <a:gd name="connsiteY851" fmla="*/ 475 h 895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Lst>
            <a:rect l="l" t="t" r="r" b="b"/>
            <a:pathLst>
              <a:path w="1090712" h="895572">
                <a:moveTo>
                  <a:pt x="603413" y="721327"/>
                </a:moveTo>
                <a:lnTo>
                  <a:pt x="578466" y="770746"/>
                </a:lnTo>
                <a:lnTo>
                  <a:pt x="553519" y="818264"/>
                </a:lnTo>
                <a:lnTo>
                  <a:pt x="528334" y="865069"/>
                </a:lnTo>
                <a:lnTo>
                  <a:pt x="511825" y="895572"/>
                </a:lnTo>
                <a:lnTo>
                  <a:pt x="624528" y="895572"/>
                </a:lnTo>
                <a:lnTo>
                  <a:pt x="624796" y="894768"/>
                </a:lnTo>
                <a:lnTo>
                  <a:pt x="625271" y="891679"/>
                </a:lnTo>
                <a:lnTo>
                  <a:pt x="625747" y="889066"/>
                </a:lnTo>
                <a:lnTo>
                  <a:pt x="625747" y="860555"/>
                </a:lnTo>
                <a:lnTo>
                  <a:pt x="624796" y="833945"/>
                </a:lnTo>
                <a:lnTo>
                  <a:pt x="624321" y="820877"/>
                </a:lnTo>
                <a:lnTo>
                  <a:pt x="623608" y="808047"/>
                </a:lnTo>
                <a:lnTo>
                  <a:pt x="621708" y="795218"/>
                </a:lnTo>
                <a:lnTo>
                  <a:pt x="620044" y="782625"/>
                </a:lnTo>
                <a:lnTo>
                  <a:pt x="616005" y="766707"/>
                </a:lnTo>
                <a:lnTo>
                  <a:pt x="611966" y="751976"/>
                </a:lnTo>
                <a:lnTo>
                  <a:pt x="607452" y="737245"/>
                </a:lnTo>
                <a:close/>
                <a:moveTo>
                  <a:pt x="698212" y="530778"/>
                </a:moveTo>
                <a:lnTo>
                  <a:pt x="693460" y="534818"/>
                </a:lnTo>
                <a:lnTo>
                  <a:pt x="688471" y="538857"/>
                </a:lnTo>
                <a:lnTo>
                  <a:pt x="678254" y="546935"/>
                </a:lnTo>
                <a:lnTo>
                  <a:pt x="669226" y="553587"/>
                </a:lnTo>
                <a:lnTo>
                  <a:pt x="663048" y="558814"/>
                </a:lnTo>
                <a:lnTo>
                  <a:pt x="663048" y="556676"/>
                </a:lnTo>
                <a:lnTo>
                  <a:pt x="663523" y="554538"/>
                </a:lnTo>
                <a:lnTo>
                  <a:pt x="665424" y="550498"/>
                </a:lnTo>
                <a:lnTo>
                  <a:pt x="668038" y="546459"/>
                </a:lnTo>
                <a:lnTo>
                  <a:pt x="671602" y="542420"/>
                </a:lnTo>
                <a:lnTo>
                  <a:pt x="676829" y="538857"/>
                </a:lnTo>
                <a:lnTo>
                  <a:pt x="682768" y="535768"/>
                </a:lnTo>
                <a:lnTo>
                  <a:pt x="689896" y="533154"/>
                </a:lnTo>
                <a:close/>
                <a:moveTo>
                  <a:pt x="654257" y="302216"/>
                </a:moveTo>
                <a:lnTo>
                  <a:pt x="651882" y="302691"/>
                </a:lnTo>
                <a:lnTo>
                  <a:pt x="649268" y="303166"/>
                </a:lnTo>
                <a:lnTo>
                  <a:pt x="647130" y="304354"/>
                </a:lnTo>
                <a:lnTo>
                  <a:pt x="644516" y="306255"/>
                </a:lnTo>
                <a:lnTo>
                  <a:pt x="642140" y="307918"/>
                </a:lnTo>
                <a:lnTo>
                  <a:pt x="640002" y="310294"/>
                </a:lnTo>
                <a:lnTo>
                  <a:pt x="638101" y="312432"/>
                </a:lnTo>
                <a:lnTo>
                  <a:pt x="636913" y="314571"/>
                </a:lnTo>
                <a:lnTo>
                  <a:pt x="635963" y="316946"/>
                </a:lnTo>
                <a:lnTo>
                  <a:pt x="635963" y="319085"/>
                </a:lnTo>
                <a:lnTo>
                  <a:pt x="636913" y="321223"/>
                </a:lnTo>
                <a:lnTo>
                  <a:pt x="637626" y="324074"/>
                </a:lnTo>
                <a:lnTo>
                  <a:pt x="639527" y="326688"/>
                </a:lnTo>
                <a:lnTo>
                  <a:pt x="643091" y="331677"/>
                </a:lnTo>
                <a:lnTo>
                  <a:pt x="647130" y="335954"/>
                </a:lnTo>
                <a:lnTo>
                  <a:pt x="655920" y="330727"/>
                </a:lnTo>
                <a:lnTo>
                  <a:pt x="663999" y="324787"/>
                </a:lnTo>
                <a:lnTo>
                  <a:pt x="679917" y="313383"/>
                </a:lnTo>
                <a:lnTo>
                  <a:pt x="676354" y="311007"/>
                </a:lnTo>
                <a:lnTo>
                  <a:pt x="672790" y="308393"/>
                </a:lnTo>
                <a:lnTo>
                  <a:pt x="668988" y="306730"/>
                </a:lnTo>
                <a:lnTo>
                  <a:pt x="664949" y="304829"/>
                </a:lnTo>
                <a:lnTo>
                  <a:pt x="660910" y="303641"/>
                </a:lnTo>
                <a:lnTo>
                  <a:pt x="657346" y="302691"/>
                </a:lnTo>
                <a:close/>
                <a:moveTo>
                  <a:pt x="696549" y="252322"/>
                </a:moveTo>
                <a:lnTo>
                  <a:pt x="696786" y="259925"/>
                </a:lnTo>
                <a:lnTo>
                  <a:pt x="698212" y="266102"/>
                </a:lnTo>
                <a:lnTo>
                  <a:pt x="700113" y="272042"/>
                </a:lnTo>
                <a:lnTo>
                  <a:pt x="701776" y="276794"/>
                </a:lnTo>
                <a:lnTo>
                  <a:pt x="704389" y="280833"/>
                </a:lnTo>
                <a:lnTo>
                  <a:pt x="707240" y="284397"/>
                </a:lnTo>
                <a:lnTo>
                  <a:pt x="710329" y="287010"/>
                </a:lnTo>
                <a:lnTo>
                  <a:pt x="713418" y="289624"/>
                </a:lnTo>
                <a:lnTo>
                  <a:pt x="716506" y="291524"/>
                </a:lnTo>
                <a:lnTo>
                  <a:pt x="719595" y="293187"/>
                </a:lnTo>
                <a:lnTo>
                  <a:pt x="725772" y="295088"/>
                </a:lnTo>
                <a:lnTo>
                  <a:pt x="731237" y="296514"/>
                </a:lnTo>
                <a:lnTo>
                  <a:pt x="734801" y="296751"/>
                </a:lnTo>
                <a:lnTo>
                  <a:pt x="722209" y="303879"/>
                </a:lnTo>
                <a:lnTo>
                  <a:pt x="710804" y="311007"/>
                </a:lnTo>
                <a:lnTo>
                  <a:pt x="688471" y="324787"/>
                </a:lnTo>
                <a:lnTo>
                  <a:pt x="667563" y="339043"/>
                </a:lnTo>
                <a:lnTo>
                  <a:pt x="646179" y="352823"/>
                </a:lnTo>
                <a:lnTo>
                  <a:pt x="620044" y="313383"/>
                </a:lnTo>
                <a:lnTo>
                  <a:pt x="617668" y="312432"/>
                </a:lnTo>
                <a:lnTo>
                  <a:pt x="615055" y="312432"/>
                </a:lnTo>
                <a:lnTo>
                  <a:pt x="612441" y="313383"/>
                </a:lnTo>
                <a:lnTo>
                  <a:pt x="609353" y="314095"/>
                </a:lnTo>
                <a:lnTo>
                  <a:pt x="602938" y="316946"/>
                </a:lnTo>
                <a:lnTo>
                  <a:pt x="599849" y="317659"/>
                </a:lnTo>
                <a:lnTo>
                  <a:pt x="596760" y="318610"/>
                </a:lnTo>
                <a:lnTo>
                  <a:pt x="607927" y="307205"/>
                </a:lnTo>
                <a:lnTo>
                  <a:pt x="618619" y="295088"/>
                </a:lnTo>
                <a:lnTo>
                  <a:pt x="623846" y="289386"/>
                </a:lnTo>
                <a:lnTo>
                  <a:pt x="629786" y="283921"/>
                </a:lnTo>
                <a:lnTo>
                  <a:pt x="635963" y="278694"/>
                </a:lnTo>
                <a:lnTo>
                  <a:pt x="642140" y="273705"/>
                </a:lnTo>
                <a:lnTo>
                  <a:pt x="648793" y="269191"/>
                </a:lnTo>
                <a:lnTo>
                  <a:pt x="655446" y="265627"/>
                </a:lnTo>
                <a:lnTo>
                  <a:pt x="662098" y="263013"/>
                </a:lnTo>
                <a:lnTo>
                  <a:pt x="668988" y="260400"/>
                </a:lnTo>
                <a:lnTo>
                  <a:pt x="682768" y="256361"/>
                </a:lnTo>
                <a:close/>
                <a:moveTo>
                  <a:pt x="1030602" y="200289"/>
                </a:moveTo>
                <a:lnTo>
                  <a:pt x="1027513" y="207892"/>
                </a:lnTo>
                <a:lnTo>
                  <a:pt x="1023949" y="214545"/>
                </a:lnTo>
                <a:lnTo>
                  <a:pt x="1019910" y="221197"/>
                </a:lnTo>
                <a:lnTo>
                  <a:pt x="1015396" y="226899"/>
                </a:lnTo>
                <a:lnTo>
                  <a:pt x="1011119" y="232839"/>
                </a:lnTo>
                <a:lnTo>
                  <a:pt x="1006130" y="237591"/>
                </a:lnTo>
                <a:lnTo>
                  <a:pt x="1001140" y="242105"/>
                </a:lnTo>
                <a:lnTo>
                  <a:pt x="996388" y="246144"/>
                </a:lnTo>
                <a:lnTo>
                  <a:pt x="990924" y="249708"/>
                </a:lnTo>
                <a:lnTo>
                  <a:pt x="985697" y="252797"/>
                </a:lnTo>
                <a:lnTo>
                  <a:pt x="980232" y="254935"/>
                </a:lnTo>
                <a:lnTo>
                  <a:pt x="975005" y="256836"/>
                </a:lnTo>
                <a:lnTo>
                  <a:pt x="969541" y="258262"/>
                </a:lnTo>
                <a:lnTo>
                  <a:pt x="963839" y="258499"/>
                </a:lnTo>
                <a:lnTo>
                  <a:pt x="958612" y="258499"/>
                </a:lnTo>
                <a:lnTo>
                  <a:pt x="953622" y="257786"/>
                </a:lnTo>
                <a:lnTo>
                  <a:pt x="970966" y="244006"/>
                </a:lnTo>
                <a:lnTo>
                  <a:pt x="990211" y="229275"/>
                </a:lnTo>
                <a:lnTo>
                  <a:pt x="1010169" y="214069"/>
                </a:lnTo>
                <a:lnTo>
                  <a:pt x="1020385" y="206942"/>
                </a:lnTo>
                <a:close/>
                <a:moveTo>
                  <a:pt x="389581" y="176768"/>
                </a:moveTo>
                <a:lnTo>
                  <a:pt x="397422" y="177243"/>
                </a:lnTo>
                <a:lnTo>
                  <a:pt x="414766" y="178906"/>
                </a:lnTo>
                <a:lnTo>
                  <a:pt x="405500" y="179856"/>
                </a:lnTo>
                <a:lnTo>
                  <a:pt x="396946" y="181995"/>
                </a:lnTo>
                <a:lnTo>
                  <a:pt x="389581" y="184371"/>
                </a:lnTo>
                <a:lnTo>
                  <a:pt x="381978" y="186984"/>
                </a:lnTo>
                <a:lnTo>
                  <a:pt x="375326" y="190548"/>
                </a:lnTo>
                <a:lnTo>
                  <a:pt x="368911" y="194112"/>
                </a:lnTo>
                <a:lnTo>
                  <a:pt x="363208" y="198626"/>
                </a:lnTo>
                <a:lnTo>
                  <a:pt x="357981" y="202903"/>
                </a:lnTo>
                <a:lnTo>
                  <a:pt x="352517" y="208367"/>
                </a:lnTo>
                <a:lnTo>
                  <a:pt x="348003" y="214070"/>
                </a:lnTo>
                <a:lnTo>
                  <a:pt x="343726" y="220247"/>
                </a:lnTo>
                <a:lnTo>
                  <a:pt x="339687" y="226662"/>
                </a:lnTo>
                <a:lnTo>
                  <a:pt x="335648" y="233790"/>
                </a:lnTo>
                <a:lnTo>
                  <a:pt x="332559" y="240917"/>
                </a:lnTo>
                <a:lnTo>
                  <a:pt x="328995" y="248758"/>
                </a:lnTo>
                <a:lnTo>
                  <a:pt x="325907" y="256836"/>
                </a:lnTo>
                <a:lnTo>
                  <a:pt x="325432" y="252797"/>
                </a:lnTo>
                <a:lnTo>
                  <a:pt x="324956" y="248283"/>
                </a:lnTo>
                <a:lnTo>
                  <a:pt x="323056" y="239492"/>
                </a:lnTo>
                <a:lnTo>
                  <a:pt x="320917" y="229275"/>
                </a:lnTo>
                <a:lnTo>
                  <a:pt x="320442" y="223811"/>
                </a:lnTo>
                <a:lnTo>
                  <a:pt x="319967" y="217633"/>
                </a:lnTo>
                <a:lnTo>
                  <a:pt x="314740" y="217633"/>
                </a:lnTo>
                <a:lnTo>
                  <a:pt x="302148" y="243056"/>
                </a:lnTo>
                <a:lnTo>
                  <a:pt x="289793" y="267528"/>
                </a:lnTo>
                <a:lnTo>
                  <a:pt x="277438" y="291049"/>
                </a:lnTo>
                <a:lnTo>
                  <a:pt x="264371" y="312907"/>
                </a:lnTo>
                <a:lnTo>
                  <a:pt x="267459" y="295088"/>
                </a:lnTo>
                <a:lnTo>
                  <a:pt x="271023" y="279170"/>
                </a:lnTo>
                <a:lnTo>
                  <a:pt x="274587" y="263964"/>
                </a:lnTo>
                <a:lnTo>
                  <a:pt x="279101" y="250183"/>
                </a:lnTo>
                <a:lnTo>
                  <a:pt x="284091" y="238066"/>
                </a:lnTo>
                <a:lnTo>
                  <a:pt x="289318" y="226900"/>
                </a:lnTo>
                <a:lnTo>
                  <a:pt x="292406" y="221673"/>
                </a:lnTo>
                <a:lnTo>
                  <a:pt x="295495" y="217158"/>
                </a:lnTo>
                <a:lnTo>
                  <a:pt x="298584" y="212406"/>
                </a:lnTo>
                <a:lnTo>
                  <a:pt x="302148" y="208367"/>
                </a:lnTo>
                <a:lnTo>
                  <a:pt x="305711" y="204328"/>
                </a:lnTo>
                <a:lnTo>
                  <a:pt x="309275" y="200765"/>
                </a:lnTo>
                <a:lnTo>
                  <a:pt x="313314" y="197201"/>
                </a:lnTo>
                <a:lnTo>
                  <a:pt x="317354" y="194112"/>
                </a:lnTo>
                <a:lnTo>
                  <a:pt x="321868" y="191498"/>
                </a:lnTo>
                <a:lnTo>
                  <a:pt x="326382" y="188647"/>
                </a:lnTo>
                <a:lnTo>
                  <a:pt x="330659" y="186509"/>
                </a:lnTo>
                <a:lnTo>
                  <a:pt x="335648" y="184371"/>
                </a:lnTo>
                <a:lnTo>
                  <a:pt x="340637" y="182470"/>
                </a:lnTo>
                <a:lnTo>
                  <a:pt x="345864" y="181282"/>
                </a:lnTo>
                <a:lnTo>
                  <a:pt x="351091" y="179856"/>
                </a:lnTo>
                <a:lnTo>
                  <a:pt x="357031" y="178431"/>
                </a:lnTo>
                <a:lnTo>
                  <a:pt x="368911" y="177243"/>
                </a:lnTo>
                <a:lnTo>
                  <a:pt x="381978" y="176768"/>
                </a:lnTo>
                <a:close/>
                <a:moveTo>
                  <a:pt x="609353" y="174629"/>
                </a:moveTo>
                <a:lnTo>
                  <a:pt x="602463" y="180807"/>
                </a:lnTo>
                <a:lnTo>
                  <a:pt x="596285" y="187459"/>
                </a:lnTo>
                <a:lnTo>
                  <a:pt x="583931" y="201715"/>
                </a:lnTo>
                <a:lnTo>
                  <a:pt x="571101" y="215495"/>
                </a:lnTo>
                <a:lnTo>
                  <a:pt x="564686" y="222148"/>
                </a:lnTo>
                <a:lnTo>
                  <a:pt x="558508" y="228325"/>
                </a:lnTo>
                <a:lnTo>
                  <a:pt x="557558" y="223335"/>
                </a:lnTo>
                <a:lnTo>
                  <a:pt x="557083" y="219059"/>
                </a:lnTo>
                <a:lnTo>
                  <a:pt x="557083" y="215020"/>
                </a:lnTo>
                <a:lnTo>
                  <a:pt x="557558" y="210981"/>
                </a:lnTo>
                <a:lnTo>
                  <a:pt x="558508" y="207417"/>
                </a:lnTo>
                <a:lnTo>
                  <a:pt x="560409" y="203853"/>
                </a:lnTo>
                <a:lnTo>
                  <a:pt x="562072" y="200764"/>
                </a:lnTo>
                <a:lnTo>
                  <a:pt x="564686" y="197676"/>
                </a:lnTo>
                <a:lnTo>
                  <a:pt x="567774" y="194587"/>
                </a:lnTo>
                <a:lnTo>
                  <a:pt x="571813" y="191973"/>
                </a:lnTo>
                <a:lnTo>
                  <a:pt x="576328" y="188647"/>
                </a:lnTo>
                <a:lnTo>
                  <a:pt x="581317" y="186034"/>
                </a:lnTo>
                <a:lnTo>
                  <a:pt x="587019" y="183420"/>
                </a:lnTo>
                <a:lnTo>
                  <a:pt x="593672" y="180332"/>
                </a:lnTo>
                <a:close/>
                <a:moveTo>
                  <a:pt x="586544" y="0"/>
                </a:moveTo>
                <a:lnTo>
                  <a:pt x="570150" y="2851"/>
                </a:lnTo>
                <a:lnTo>
                  <a:pt x="553519" y="5940"/>
                </a:lnTo>
                <a:lnTo>
                  <a:pt x="536650" y="10454"/>
                </a:lnTo>
                <a:lnTo>
                  <a:pt x="520256" y="14731"/>
                </a:lnTo>
                <a:lnTo>
                  <a:pt x="486993" y="24472"/>
                </a:lnTo>
                <a:lnTo>
                  <a:pt x="469887" y="28986"/>
                </a:lnTo>
                <a:lnTo>
                  <a:pt x="453493" y="33500"/>
                </a:lnTo>
                <a:lnTo>
                  <a:pt x="438762" y="40153"/>
                </a:lnTo>
                <a:lnTo>
                  <a:pt x="424507" y="47281"/>
                </a:lnTo>
                <a:lnTo>
                  <a:pt x="417379" y="51320"/>
                </a:lnTo>
                <a:lnTo>
                  <a:pt x="410727" y="55834"/>
                </a:lnTo>
                <a:lnTo>
                  <a:pt x="403599" y="60111"/>
                </a:lnTo>
                <a:lnTo>
                  <a:pt x="397422" y="65100"/>
                </a:lnTo>
                <a:lnTo>
                  <a:pt x="390769" y="69852"/>
                </a:lnTo>
                <a:lnTo>
                  <a:pt x="384592" y="75792"/>
                </a:lnTo>
                <a:lnTo>
                  <a:pt x="378889" y="81494"/>
                </a:lnTo>
                <a:lnTo>
                  <a:pt x="372950" y="87671"/>
                </a:lnTo>
                <a:lnTo>
                  <a:pt x="367723" y="94324"/>
                </a:lnTo>
                <a:lnTo>
                  <a:pt x="362733" y="101452"/>
                </a:lnTo>
                <a:lnTo>
                  <a:pt x="357981" y="109055"/>
                </a:lnTo>
                <a:lnTo>
                  <a:pt x="353467" y="117608"/>
                </a:lnTo>
                <a:lnTo>
                  <a:pt x="409064" y="117608"/>
                </a:lnTo>
                <a:lnTo>
                  <a:pt x="406925" y="119271"/>
                </a:lnTo>
                <a:lnTo>
                  <a:pt x="404074" y="121647"/>
                </a:lnTo>
                <a:lnTo>
                  <a:pt x="400510" y="123310"/>
                </a:lnTo>
                <a:lnTo>
                  <a:pt x="397422" y="125211"/>
                </a:lnTo>
                <a:lnTo>
                  <a:pt x="393383" y="126399"/>
                </a:lnTo>
                <a:lnTo>
                  <a:pt x="389581" y="127824"/>
                </a:lnTo>
                <a:lnTo>
                  <a:pt x="385542" y="128299"/>
                </a:lnTo>
                <a:lnTo>
                  <a:pt x="381503" y="128774"/>
                </a:lnTo>
                <a:lnTo>
                  <a:pt x="375326" y="130438"/>
                </a:lnTo>
                <a:lnTo>
                  <a:pt x="368435" y="131863"/>
                </a:lnTo>
                <a:lnTo>
                  <a:pt x="361783" y="133051"/>
                </a:lnTo>
                <a:lnTo>
                  <a:pt x="355606" y="134001"/>
                </a:lnTo>
                <a:lnTo>
                  <a:pt x="342300" y="135427"/>
                </a:lnTo>
                <a:lnTo>
                  <a:pt x="329471" y="137090"/>
                </a:lnTo>
                <a:lnTo>
                  <a:pt x="322818" y="138040"/>
                </a:lnTo>
                <a:lnTo>
                  <a:pt x="316403" y="139704"/>
                </a:lnTo>
                <a:lnTo>
                  <a:pt x="310226" y="141604"/>
                </a:lnTo>
                <a:lnTo>
                  <a:pt x="304048" y="144218"/>
                </a:lnTo>
                <a:lnTo>
                  <a:pt x="298346" y="147307"/>
                </a:lnTo>
                <a:lnTo>
                  <a:pt x="292406" y="151346"/>
                </a:lnTo>
                <a:lnTo>
                  <a:pt x="286704" y="156335"/>
                </a:lnTo>
                <a:lnTo>
                  <a:pt x="281240" y="162037"/>
                </a:lnTo>
                <a:lnTo>
                  <a:pt x="262232" y="182945"/>
                </a:lnTo>
                <a:lnTo>
                  <a:pt x="242987" y="203378"/>
                </a:lnTo>
                <a:lnTo>
                  <a:pt x="203547" y="244006"/>
                </a:lnTo>
                <a:lnTo>
                  <a:pt x="183827" y="264439"/>
                </a:lnTo>
                <a:lnTo>
                  <a:pt x="164345" y="285822"/>
                </a:lnTo>
                <a:lnTo>
                  <a:pt x="144862" y="307443"/>
                </a:lnTo>
                <a:lnTo>
                  <a:pt x="126093" y="329777"/>
                </a:lnTo>
                <a:lnTo>
                  <a:pt x="122054" y="335004"/>
                </a:lnTo>
                <a:lnTo>
                  <a:pt x="118015" y="340468"/>
                </a:lnTo>
                <a:lnTo>
                  <a:pt x="110887" y="352110"/>
                </a:lnTo>
                <a:lnTo>
                  <a:pt x="104709" y="363514"/>
                </a:lnTo>
                <a:lnTo>
                  <a:pt x="99007" y="375156"/>
                </a:lnTo>
                <a:lnTo>
                  <a:pt x="87840" y="400103"/>
                </a:lnTo>
                <a:lnTo>
                  <a:pt x="82138" y="412458"/>
                </a:lnTo>
                <a:lnTo>
                  <a:pt x="75723" y="425050"/>
                </a:lnTo>
                <a:lnTo>
                  <a:pt x="75723" y="429802"/>
                </a:lnTo>
                <a:lnTo>
                  <a:pt x="76674" y="436217"/>
                </a:lnTo>
                <a:lnTo>
                  <a:pt x="77149" y="439306"/>
                </a:lnTo>
                <a:lnTo>
                  <a:pt x="78574" y="442395"/>
                </a:lnTo>
                <a:lnTo>
                  <a:pt x="79762" y="445008"/>
                </a:lnTo>
                <a:lnTo>
                  <a:pt x="81663" y="447147"/>
                </a:lnTo>
                <a:lnTo>
                  <a:pt x="94018" y="468055"/>
                </a:lnTo>
                <a:lnTo>
                  <a:pt x="106848" y="488963"/>
                </a:lnTo>
                <a:lnTo>
                  <a:pt x="113975" y="499654"/>
                </a:lnTo>
                <a:lnTo>
                  <a:pt x="121103" y="510346"/>
                </a:lnTo>
                <a:lnTo>
                  <a:pt x="128706" y="520562"/>
                </a:lnTo>
                <a:lnTo>
                  <a:pt x="137259" y="531254"/>
                </a:lnTo>
                <a:lnTo>
                  <a:pt x="149614" y="514385"/>
                </a:lnTo>
                <a:lnTo>
                  <a:pt x="162206" y="498466"/>
                </a:lnTo>
                <a:lnTo>
                  <a:pt x="174561" y="483260"/>
                </a:lnTo>
                <a:lnTo>
                  <a:pt x="180739" y="476133"/>
                </a:lnTo>
                <a:lnTo>
                  <a:pt x="186916" y="469480"/>
                </a:lnTo>
                <a:lnTo>
                  <a:pt x="182639" y="482310"/>
                </a:lnTo>
                <a:lnTo>
                  <a:pt x="178125" y="495615"/>
                </a:lnTo>
                <a:lnTo>
                  <a:pt x="172423" y="509871"/>
                </a:lnTo>
                <a:lnTo>
                  <a:pt x="164820" y="525552"/>
                </a:lnTo>
                <a:lnTo>
                  <a:pt x="156267" y="538381"/>
                </a:lnTo>
                <a:lnTo>
                  <a:pt x="152703" y="544559"/>
                </a:lnTo>
                <a:lnTo>
                  <a:pt x="148664" y="551449"/>
                </a:lnTo>
                <a:lnTo>
                  <a:pt x="145100" y="558339"/>
                </a:lnTo>
                <a:lnTo>
                  <a:pt x="142011" y="565467"/>
                </a:lnTo>
                <a:lnTo>
                  <a:pt x="139398" y="573070"/>
                </a:lnTo>
                <a:lnTo>
                  <a:pt x="137259" y="581623"/>
                </a:lnTo>
                <a:lnTo>
                  <a:pt x="136309" y="583761"/>
                </a:lnTo>
                <a:lnTo>
                  <a:pt x="135359" y="586137"/>
                </a:lnTo>
                <a:lnTo>
                  <a:pt x="134883" y="590889"/>
                </a:lnTo>
                <a:lnTo>
                  <a:pt x="134883" y="595879"/>
                </a:lnTo>
                <a:lnTo>
                  <a:pt x="135359" y="601106"/>
                </a:lnTo>
                <a:lnTo>
                  <a:pt x="136784" y="606095"/>
                </a:lnTo>
                <a:lnTo>
                  <a:pt x="138447" y="611322"/>
                </a:lnTo>
                <a:lnTo>
                  <a:pt x="140348" y="616311"/>
                </a:lnTo>
                <a:lnTo>
                  <a:pt x="142486" y="620826"/>
                </a:lnTo>
                <a:lnTo>
                  <a:pt x="148664" y="629616"/>
                </a:lnTo>
                <a:lnTo>
                  <a:pt x="155554" y="637219"/>
                </a:lnTo>
                <a:lnTo>
                  <a:pt x="162444" y="643872"/>
                </a:lnTo>
                <a:lnTo>
                  <a:pt x="169572" y="649099"/>
                </a:lnTo>
                <a:lnTo>
                  <a:pt x="177175" y="653613"/>
                </a:lnTo>
                <a:lnTo>
                  <a:pt x="184778" y="657177"/>
                </a:lnTo>
                <a:lnTo>
                  <a:pt x="192856" y="659553"/>
                </a:lnTo>
                <a:lnTo>
                  <a:pt x="200934" y="661216"/>
                </a:lnTo>
                <a:lnTo>
                  <a:pt x="209250" y="661691"/>
                </a:lnTo>
                <a:lnTo>
                  <a:pt x="218278" y="661691"/>
                </a:lnTo>
                <a:lnTo>
                  <a:pt x="227069" y="660266"/>
                </a:lnTo>
                <a:lnTo>
                  <a:pt x="236335" y="658603"/>
                </a:lnTo>
                <a:lnTo>
                  <a:pt x="245838" y="655514"/>
                </a:lnTo>
                <a:lnTo>
                  <a:pt x="255580" y="652425"/>
                </a:lnTo>
                <a:lnTo>
                  <a:pt x="265321" y="647911"/>
                </a:lnTo>
                <a:lnTo>
                  <a:pt x="276013" y="642922"/>
                </a:lnTo>
                <a:lnTo>
                  <a:pt x="288367" y="635081"/>
                </a:lnTo>
                <a:lnTo>
                  <a:pt x="301910" y="627478"/>
                </a:lnTo>
                <a:lnTo>
                  <a:pt x="315215" y="620350"/>
                </a:lnTo>
                <a:lnTo>
                  <a:pt x="329471" y="613698"/>
                </a:lnTo>
                <a:lnTo>
                  <a:pt x="343726" y="607283"/>
                </a:lnTo>
                <a:lnTo>
                  <a:pt x="357981" y="602056"/>
                </a:lnTo>
                <a:lnTo>
                  <a:pt x="371999" y="597066"/>
                </a:lnTo>
                <a:lnTo>
                  <a:pt x="386730" y="592790"/>
                </a:lnTo>
                <a:lnTo>
                  <a:pt x="394808" y="590414"/>
                </a:lnTo>
                <a:lnTo>
                  <a:pt x="402411" y="587325"/>
                </a:lnTo>
                <a:lnTo>
                  <a:pt x="409064" y="583761"/>
                </a:lnTo>
                <a:lnTo>
                  <a:pt x="411677" y="581623"/>
                </a:lnTo>
                <a:lnTo>
                  <a:pt x="414766" y="579247"/>
                </a:lnTo>
                <a:lnTo>
                  <a:pt x="417142" y="577109"/>
                </a:lnTo>
                <a:lnTo>
                  <a:pt x="419280" y="574495"/>
                </a:lnTo>
                <a:lnTo>
                  <a:pt x="420943" y="571407"/>
                </a:lnTo>
                <a:lnTo>
                  <a:pt x="422844" y="568318"/>
                </a:lnTo>
                <a:lnTo>
                  <a:pt x="424269" y="565229"/>
                </a:lnTo>
                <a:lnTo>
                  <a:pt x="424982" y="561665"/>
                </a:lnTo>
                <a:lnTo>
                  <a:pt x="425457" y="557626"/>
                </a:lnTo>
                <a:lnTo>
                  <a:pt x="425932" y="553587"/>
                </a:lnTo>
                <a:lnTo>
                  <a:pt x="425932" y="413884"/>
                </a:lnTo>
                <a:lnTo>
                  <a:pt x="425932" y="285347"/>
                </a:lnTo>
                <a:lnTo>
                  <a:pt x="429496" y="300078"/>
                </a:lnTo>
                <a:lnTo>
                  <a:pt x="433060" y="314096"/>
                </a:lnTo>
                <a:lnTo>
                  <a:pt x="436149" y="328826"/>
                </a:lnTo>
                <a:lnTo>
                  <a:pt x="438762" y="343082"/>
                </a:lnTo>
                <a:lnTo>
                  <a:pt x="443752" y="370642"/>
                </a:lnTo>
                <a:lnTo>
                  <a:pt x="447791" y="397015"/>
                </a:lnTo>
                <a:lnTo>
                  <a:pt x="451830" y="421962"/>
                </a:lnTo>
                <a:lnTo>
                  <a:pt x="454919" y="446434"/>
                </a:lnTo>
                <a:lnTo>
                  <a:pt x="456106" y="458313"/>
                </a:lnTo>
                <a:lnTo>
                  <a:pt x="457057" y="470430"/>
                </a:lnTo>
                <a:lnTo>
                  <a:pt x="457532" y="482310"/>
                </a:lnTo>
                <a:lnTo>
                  <a:pt x="457532" y="493952"/>
                </a:lnTo>
                <a:lnTo>
                  <a:pt x="457532" y="506069"/>
                </a:lnTo>
                <a:lnTo>
                  <a:pt x="456582" y="517473"/>
                </a:lnTo>
                <a:lnTo>
                  <a:pt x="455869" y="529116"/>
                </a:lnTo>
                <a:lnTo>
                  <a:pt x="453968" y="540757"/>
                </a:lnTo>
                <a:lnTo>
                  <a:pt x="452305" y="552162"/>
                </a:lnTo>
                <a:lnTo>
                  <a:pt x="449454" y="563804"/>
                </a:lnTo>
                <a:lnTo>
                  <a:pt x="446365" y="575446"/>
                </a:lnTo>
                <a:lnTo>
                  <a:pt x="442326" y="586850"/>
                </a:lnTo>
                <a:lnTo>
                  <a:pt x="440188" y="591364"/>
                </a:lnTo>
                <a:lnTo>
                  <a:pt x="437574" y="595403"/>
                </a:lnTo>
                <a:lnTo>
                  <a:pt x="434486" y="598967"/>
                </a:lnTo>
                <a:lnTo>
                  <a:pt x="431397" y="602531"/>
                </a:lnTo>
                <a:lnTo>
                  <a:pt x="428071" y="605145"/>
                </a:lnTo>
                <a:lnTo>
                  <a:pt x="424982" y="607283"/>
                </a:lnTo>
                <a:lnTo>
                  <a:pt x="422369" y="608708"/>
                </a:lnTo>
                <a:lnTo>
                  <a:pt x="420230" y="609659"/>
                </a:lnTo>
                <a:lnTo>
                  <a:pt x="410727" y="610847"/>
                </a:lnTo>
                <a:lnTo>
                  <a:pt x="401461" y="612748"/>
                </a:lnTo>
                <a:lnTo>
                  <a:pt x="392670" y="614886"/>
                </a:lnTo>
                <a:lnTo>
                  <a:pt x="383641" y="617262"/>
                </a:lnTo>
                <a:lnTo>
                  <a:pt x="374850" y="620350"/>
                </a:lnTo>
                <a:lnTo>
                  <a:pt x="365822" y="623914"/>
                </a:lnTo>
                <a:lnTo>
                  <a:pt x="348478" y="631042"/>
                </a:lnTo>
                <a:lnTo>
                  <a:pt x="331609" y="639358"/>
                </a:lnTo>
                <a:lnTo>
                  <a:pt x="314740" y="647911"/>
                </a:lnTo>
                <a:lnTo>
                  <a:pt x="281240" y="665255"/>
                </a:lnTo>
                <a:lnTo>
                  <a:pt x="274587" y="669294"/>
                </a:lnTo>
                <a:lnTo>
                  <a:pt x="267935" y="672858"/>
                </a:lnTo>
                <a:lnTo>
                  <a:pt x="261757" y="675947"/>
                </a:lnTo>
                <a:lnTo>
                  <a:pt x="255105" y="679035"/>
                </a:lnTo>
                <a:lnTo>
                  <a:pt x="248927" y="681174"/>
                </a:lnTo>
                <a:lnTo>
                  <a:pt x="242987" y="683075"/>
                </a:lnTo>
                <a:lnTo>
                  <a:pt x="236810" y="684738"/>
                </a:lnTo>
                <a:lnTo>
                  <a:pt x="231108" y="686163"/>
                </a:lnTo>
                <a:lnTo>
                  <a:pt x="225406" y="687114"/>
                </a:lnTo>
                <a:lnTo>
                  <a:pt x="219466" y="687589"/>
                </a:lnTo>
                <a:lnTo>
                  <a:pt x="213764" y="687589"/>
                </a:lnTo>
                <a:lnTo>
                  <a:pt x="208299" y="687589"/>
                </a:lnTo>
                <a:lnTo>
                  <a:pt x="203072" y="687114"/>
                </a:lnTo>
                <a:lnTo>
                  <a:pt x="197607" y="686163"/>
                </a:lnTo>
                <a:lnTo>
                  <a:pt x="192380" y="684738"/>
                </a:lnTo>
                <a:lnTo>
                  <a:pt x="186916" y="683550"/>
                </a:lnTo>
                <a:lnTo>
                  <a:pt x="181689" y="681649"/>
                </a:lnTo>
                <a:lnTo>
                  <a:pt x="176699" y="679986"/>
                </a:lnTo>
                <a:lnTo>
                  <a:pt x="171472" y="677610"/>
                </a:lnTo>
                <a:lnTo>
                  <a:pt x="166483" y="674996"/>
                </a:lnTo>
                <a:lnTo>
                  <a:pt x="156742" y="669294"/>
                </a:lnTo>
                <a:lnTo>
                  <a:pt x="147001" y="662167"/>
                </a:lnTo>
                <a:lnTo>
                  <a:pt x="137735" y="654564"/>
                </a:lnTo>
                <a:lnTo>
                  <a:pt x="127756" y="645535"/>
                </a:lnTo>
                <a:lnTo>
                  <a:pt x="118490" y="636269"/>
                </a:lnTo>
                <a:lnTo>
                  <a:pt x="109224" y="626053"/>
                </a:lnTo>
                <a:lnTo>
                  <a:pt x="107323" y="623914"/>
                </a:lnTo>
                <a:lnTo>
                  <a:pt x="106135" y="620350"/>
                </a:lnTo>
                <a:lnTo>
                  <a:pt x="105185" y="616311"/>
                </a:lnTo>
                <a:lnTo>
                  <a:pt x="105185" y="612272"/>
                </a:lnTo>
                <a:lnTo>
                  <a:pt x="105185" y="608233"/>
                </a:lnTo>
                <a:lnTo>
                  <a:pt x="106135" y="604194"/>
                </a:lnTo>
                <a:lnTo>
                  <a:pt x="107323" y="600630"/>
                </a:lnTo>
                <a:lnTo>
                  <a:pt x="109224" y="598017"/>
                </a:lnTo>
                <a:lnTo>
                  <a:pt x="111837" y="591840"/>
                </a:lnTo>
                <a:lnTo>
                  <a:pt x="113975" y="586137"/>
                </a:lnTo>
                <a:lnTo>
                  <a:pt x="115401" y="579722"/>
                </a:lnTo>
                <a:lnTo>
                  <a:pt x="115876" y="574020"/>
                </a:lnTo>
                <a:lnTo>
                  <a:pt x="115876" y="568318"/>
                </a:lnTo>
                <a:lnTo>
                  <a:pt x="115401" y="562378"/>
                </a:lnTo>
                <a:lnTo>
                  <a:pt x="114451" y="557151"/>
                </a:lnTo>
                <a:lnTo>
                  <a:pt x="112788" y="551449"/>
                </a:lnTo>
                <a:lnTo>
                  <a:pt x="110412" y="545984"/>
                </a:lnTo>
                <a:lnTo>
                  <a:pt x="108273" y="540757"/>
                </a:lnTo>
                <a:lnTo>
                  <a:pt x="105185" y="535293"/>
                </a:lnTo>
                <a:lnTo>
                  <a:pt x="102096" y="530066"/>
                </a:lnTo>
                <a:lnTo>
                  <a:pt x="94968" y="519374"/>
                </a:lnTo>
                <a:lnTo>
                  <a:pt x="86890" y="508683"/>
                </a:lnTo>
                <a:lnTo>
                  <a:pt x="78812" y="497991"/>
                </a:lnTo>
                <a:lnTo>
                  <a:pt x="70972" y="486824"/>
                </a:lnTo>
                <a:lnTo>
                  <a:pt x="67408" y="481122"/>
                </a:lnTo>
                <a:lnTo>
                  <a:pt x="64319" y="474707"/>
                </a:lnTo>
                <a:lnTo>
                  <a:pt x="61230" y="469005"/>
                </a:lnTo>
                <a:lnTo>
                  <a:pt x="58379" y="462828"/>
                </a:lnTo>
                <a:lnTo>
                  <a:pt x="56716" y="456175"/>
                </a:lnTo>
                <a:lnTo>
                  <a:pt x="54815" y="449998"/>
                </a:lnTo>
                <a:lnTo>
                  <a:pt x="54103" y="443345"/>
                </a:lnTo>
                <a:lnTo>
                  <a:pt x="53627" y="436455"/>
                </a:lnTo>
                <a:lnTo>
                  <a:pt x="53627" y="429327"/>
                </a:lnTo>
                <a:lnTo>
                  <a:pt x="54815" y="422675"/>
                </a:lnTo>
                <a:lnTo>
                  <a:pt x="56716" y="415547"/>
                </a:lnTo>
                <a:lnTo>
                  <a:pt x="59330" y="408182"/>
                </a:lnTo>
                <a:lnTo>
                  <a:pt x="60280" y="403192"/>
                </a:lnTo>
                <a:lnTo>
                  <a:pt x="61943" y="397965"/>
                </a:lnTo>
                <a:lnTo>
                  <a:pt x="65507" y="387986"/>
                </a:lnTo>
                <a:lnTo>
                  <a:pt x="69546" y="378720"/>
                </a:lnTo>
                <a:lnTo>
                  <a:pt x="74535" y="369929"/>
                </a:lnTo>
                <a:lnTo>
                  <a:pt x="79762" y="360901"/>
                </a:lnTo>
                <a:lnTo>
                  <a:pt x="85940" y="352585"/>
                </a:lnTo>
                <a:lnTo>
                  <a:pt x="98057" y="335479"/>
                </a:lnTo>
                <a:lnTo>
                  <a:pt x="102571" y="328113"/>
                </a:lnTo>
                <a:lnTo>
                  <a:pt x="106848" y="320986"/>
                </a:lnTo>
                <a:lnTo>
                  <a:pt x="116827" y="307205"/>
                </a:lnTo>
                <a:lnTo>
                  <a:pt x="127043" y="293188"/>
                </a:lnTo>
                <a:lnTo>
                  <a:pt x="137735" y="279407"/>
                </a:lnTo>
                <a:lnTo>
                  <a:pt x="159831" y="251847"/>
                </a:lnTo>
                <a:lnTo>
                  <a:pt x="170522" y="238066"/>
                </a:lnTo>
                <a:lnTo>
                  <a:pt x="181214" y="223336"/>
                </a:lnTo>
                <a:lnTo>
                  <a:pt x="164820" y="223336"/>
                </a:lnTo>
                <a:lnTo>
                  <a:pt x="137972" y="230226"/>
                </a:lnTo>
                <a:lnTo>
                  <a:pt x="125142" y="233790"/>
                </a:lnTo>
                <a:lnTo>
                  <a:pt x="112788" y="237591"/>
                </a:lnTo>
                <a:lnTo>
                  <a:pt x="100195" y="241630"/>
                </a:lnTo>
                <a:lnTo>
                  <a:pt x="87840" y="245669"/>
                </a:lnTo>
                <a:lnTo>
                  <a:pt x="75723" y="250183"/>
                </a:lnTo>
                <a:lnTo>
                  <a:pt x="64319" y="254935"/>
                </a:lnTo>
                <a:lnTo>
                  <a:pt x="52677" y="260400"/>
                </a:lnTo>
                <a:lnTo>
                  <a:pt x="41035" y="265627"/>
                </a:lnTo>
                <a:lnTo>
                  <a:pt x="29868" y="271567"/>
                </a:lnTo>
                <a:lnTo>
                  <a:pt x="18939" y="277744"/>
                </a:lnTo>
                <a:lnTo>
                  <a:pt x="7772" y="284397"/>
                </a:lnTo>
                <a:lnTo>
                  <a:pt x="0" y="289924"/>
                </a:lnTo>
                <a:lnTo>
                  <a:pt x="0" y="895572"/>
                </a:lnTo>
                <a:lnTo>
                  <a:pt x="125653" y="895572"/>
                </a:lnTo>
                <a:lnTo>
                  <a:pt x="127756" y="892155"/>
                </a:lnTo>
                <a:lnTo>
                  <a:pt x="131082" y="885502"/>
                </a:lnTo>
                <a:lnTo>
                  <a:pt x="133696" y="878374"/>
                </a:lnTo>
                <a:lnTo>
                  <a:pt x="135834" y="871722"/>
                </a:lnTo>
                <a:lnTo>
                  <a:pt x="137735" y="864594"/>
                </a:lnTo>
                <a:lnTo>
                  <a:pt x="138923" y="857466"/>
                </a:lnTo>
                <a:lnTo>
                  <a:pt x="140348" y="850339"/>
                </a:lnTo>
                <a:lnTo>
                  <a:pt x="141298" y="843211"/>
                </a:lnTo>
                <a:lnTo>
                  <a:pt x="142011" y="828955"/>
                </a:lnTo>
                <a:lnTo>
                  <a:pt x="142486" y="814225"/>
                </a:lnTo>
                <a:lnTo>
                  <a:pt x="142486" y="799494"/>
                </a:lnTo>
                <a:lnTo>
                  <a:pt x="142486" y="782625"/>
                </a:lnTo>
                <a:lnTo>
                  <a:pt x="142486" y="771458"/>
                </a:lnTo>
                <a:lnTo>
                  <a:pt x="143912" y="778586"/>
                </a:lnTo>
                <a:lnTo>
                  <a:pt x="145100" y="784526"/>
                </a:lnTo>
                <a:lnTo>
                  <a:pt x="147476" y="789753"/>
                </a:lnTo>
                <a:lnTo>
                  <a:pt x="149614" y="794267"/>
                </a:lnTo>
                <a:lnTo>
                  <a:pt x="152228" y="797831"/>
                </a:lnTo>
                <a:lnTo>
                  <a:pt x="155554" y="801395"/>
                </a:lnTo>
                <a:lnTo>
                  <a:pt x="158643" y="803533"/>
                </a:lnTo>
                <a:lnTo>
                  <a:pt x="162206" y="805909"/>
                </a:lnTo>
                <a:lnTo>
                  <a:pt x="165770" y="807572"/>
                </a:lnTo>
                <a:lnTo>
                  <a:pt x="169572" y="808523"/>
                </a:lnTo>
                <a:lnTo>
                  <a:pt x="174086" y="809473"/>
                </a:lnTo>
                <a:lnTo>
                  <a:pt x="178600" y="810186"/>
                </a:lnTo>
                <a:lnTo>
                  <a:pt x="187866" y="810661"/>
                </a:lnTo>
                <a:lnTo>
                  <a:pt x="198083" y="810661"/>
                </a:lnTo>
                <a:lnTo>
                  <a:pt x="236810" y="810661"/>
                </a:lnTo>
                <a:lnTo>
                  <a:pt x="249640" y="811136"/>
                </a:lnTo>
                <a:lnTo>
                  <a:pt x="263183" y="811611"/>
                </a:lnTo>
                <a:lnTo>
                  <a:pt x="270310" y="811611"/>
                </a:lnTo>
                <a:lnTo>
                  <a:pt x="276963" y="811136"/>
                </a:lnTo>
                <a:lnTo>
                  <a:pt x="283140" y="810186"/>
                </a:lnTo>
                <a:lnTo>
                  <a:pt x="289793" y="808523"/>
                </a:lnTo>
                <a:lnTo>
                  <a:pt x="295495" y="806147"/>
                </a:lnTo>
                <a:lnTo>
                  <a:pt x="301435" y="803058"/>
                </a:lnTo>
                <a:lnTo>
                  <a:pt x="304524" y="801395"/>
                </a:lnTo>
                <a:lnTo>
                  <a:pt x="307137" y="799256"/>
                </a:lnTo>
                <a:lnTo>
                  <a:pt x="309275" y="796881"/>
                </a:lnTo>
                <a:lnTo>
                  <a:pt x="312126" y="794267"/>
                </a:lnTo>
                <a:lnTo>
                  <a:pt x="314265" y="791178"/>
                </a:lnTo>
                <a:lnTo>
                  <a:pt x="316403" y="788090"/>
                </a:lnTo>
                <a:lnTo>
                  <a:pt x="318304" y="784051"/>
                </a:lnTo>
                <a:lnTo>
                  <a:pt x="319967" y="780012"/>
                </a:lnTo>
                <a:lnTo>
                  <a:pt x="321868" y="775973"/>
                </a:lnTo>
                <a:lnTo>
                  <a:pt x="323056" y="771221"/>
                </a:lnTo>
                <a:lnTo>
                  <a:pt x="324481" y="765756"/>
                </a:lnTo>
                <a:lnTo>
                  <a:pt x="325907" y="760529"/>
                </a:lnTo>
                <a:lnTo>
                  <a:pt x="325907" y="827530"/>
                </a:lnTo>
                <a:lnTo>
                  <a:pt x="310226" y="835608"/>
                </a:lnTo>
                <a:lnTo>
                  <a:pt x="295970" y="843686"/>
                </a:lnTo>
                <a:lnTo>
                  <a:pt x="282665" y="850339"/>
                </a:lnTo>
                <a:lnTo>
                  <a:pt x="276488" y="852952"/>
                </a:lnTo>
                <a:lnTo>
                  <a:pt x="270310" y="855565"/>
                </a:lnTo>
                <a:lnTo>
                  <a:pt x="266271" y="857942"/>
                </a:lnTo>
                <a:lnTo>
                  <a:pt x="262708" y="860080"/>
                </a:lnTo>
                <a:lnTo>
                  <a:pt x="259619" y="862693"/>
                </a:lnTo>
                <a:lnTo>
                  <a:pt x="256768" y="865544"/>
                </a:lnTo>
                <a:lnTo>
                  <a:pt x="254154" y="868633"/>
                </a:lnTo>
                <a:lnTo>
                  <a:pt x="252491" y="871722"/>
                </a:lnTo>
                <a:lnTo>
                  <a:pt x="250590" y="874810"/>
                </a:lnTo>
                <a:lnTo>
                  <a:pt x="249402" y="877899"/>
                </a:lnTo>
                <a:lnTo>
                  <a:pt x="248452" y="880988"/>
                </a:lnTo>
                <a:lnTo>
                  <a:pt x="247977" y="884076"/>
                </a:lnTo>
                <a:lnTo>
                  <a:pt x="247977" y="887165"/>
                </a:lnTo>
                <a:lnTo>
                  <a:pt x="248452" y="890016"/>
                </a:lnTo>
                <a:lnTo>
                  <a:pt x="249402" y="893105"/>
                </a:lnTo>
                <a:lnTo>
                  <a:pt x="250075" y="895572"/>
                </a:lnTo>
                <a:lnTo>
                  <a:pt x="474750" y="895572"/>
                </a:lnTo>
                <a:lnTo>
                  <a:pt x="475827" y="894768"/>
                </a:lnTo>
                <a:lnTo>
                  <a:pt x="486993" y="882889"/>
                </a:lnTo>
                <a:lnTo>
                  <a:pt x="497210" y="870296"/>
                </a:lnTo>
                <a:lnTo>
                  <a:pt x="506951" y="857942"/>
                </a:lnTo>
                <a:lnTo>
                  <a:pt x="515742" y="844636"/>
                </a:lnTo>
                <a:lnTo>
                  <a:pt x="523820" y="831094"/>
                </a:lnTo>
                <a:lnTo>
                  <a:pt x="531898" y="816838"/>
                </a:lnTo>
                <a:lnTo>
                  <a:pt x="539026" y="802583"/>
                </a:lnTo>
                <a:lnTo>
                  <a:pt x="545678" y="788565"/>
                </a:lnTo>
                <a:lnTo>
                  <a:pt x="552331" y="773359"/>
                </a:lnTo>
                <a:lnTo>
                  <a:pt x="558033" y="758628"/>
                </a:lnTo>
                <a:lnTo>
                  <a:pt x="563498" y="743185"/>
                </a:lnTo>
                <a:lnTo>
                  <a:pt x="568725" y="727979"/>
                </a:lnTo>
                <a:lnTo>
                  <a:pt x="573714" y="712298"/>
                </a:lnTo>
                <a:lnTo>
                  <a:pt x="577991" y="696855"/>
                </a:lnTo>
                <a:lnTo>
                  <a:pt x="586544" y="665255"/>
                </a:lnTo>
                <a:lnTo>
                  <a:pt x="586069" y="663117"/>
                </a:lnTo>
                <a:lnTo>
                  <a:pt x="584881" y="660266"/>
                </a:lnTo>
                <a:lnTo>
                  <a:pt x="582980" y="657177"/>
                </a:lnTo>
                <a:lnTo>
                  <a:pt x="580367" y="654088"/>
                </a:lnTo>
                <a:lnTo>
                  <a:pt x="574902" y="647911"/>
                </a:lnTo>
                <a:lnTo>
                  <a:pt x="570150" y="642922"/>
                </a:lnTo>
                <a:lnTo>
                  <a:pt x="565636" y="636744"/>
                </a:lnTo>
                <a:lnTo>
                  <a:pt x="560647" y="631517"/>
                </a:lnTo>
                <a:lnTo>
                  <a:pt x="555420" y="626053"/>
                </a:lnTo>
                <a:lnTo>
                  <a:pt x="550193" y="621301"/>
                </a:lnTo>
                <a:lnTo>
                  <a:pt x="544253" y="616787"/>
                </a:lnTo>
                <a:lnTo>
                  <a:pt x="538075" y="612272"/>
                </a:lnTo>
                <a:lnTo>
                  <a:pt x="525721" y="603719"/>
                </a:lnTo>
                <a:lnTo>
                  <a:pt x="563023" y="619875"/>
                </a:lnTo>
                <a:lnTo>
                  <a:pt x="581317" y="628191"/>
                </a:lnTo>
                <a:lnTo>
                  <a:pt x="599374" y="636744"/>
                </a:lnTo>
                <a:lnTo>
                  <a:pt x="607927" y="641259"/>
                </a:lnTo>
                <a:lnTo>
                  <a:pt x="616718" y="646010"/>
                </a:lnTo>
                <a:lnTo>
                  <a:pt x="625271" y="651000"/>
                </a:lnTo>
                <a:lnTo>
                  <a:pt x="633349" y="656227"/>
                </a:lnTo>
                <a:lnTo>
                  <a:pt x="641665" y="662167"/>
                </a:lnTo>
                <a:lnTo>
                  <a:pt x="649268" y="668344"/>
                </a:lnTo>
                <a:lnTo>
                  <a:pt x="656871" y="674996"/>
                </a:lnTo>
                <a:lnTo>
                  <a:pt x="664474" y="682124"/>
                </a:lnTo>
                <a:lnTo>
                  <a:pt x="668988" y="686163"/>
                </a:lnTo>
                <a:lnTo>
                  <a:pt x="672790" y="690202"/>
                </a:lnTo>
                <a:lnTo>
                  <a:pt x="677304" y="693291"/>
                </a:lnTo>
                <a:lnTo>
                  <a:pt x="682293" y="696855"/>
                </a:lnTo>
                <a:lnTo>
                  <a:pt x="686570" y="699468"/>
                </a:lnTo>
                <a:lnTo>
                  <a:pt x="691559" y="702082"/>
                </a:lnTo>
                <a:lnTo>
                  <a:pt x="696549" y="703983"/>
                </a:lnTo>
                <a:lnTo>
                  <a:pt x="701300" y="705646"/>
                </a:lnTo>
                <a:lnTo>
                  <a:pt x="706290" y="707071"/>
                </a:lnTo>
                <a:lnTo>
                  <a:pt x="711042" y="708497"/>
                </a:lnTo>
                <a:lnTo>
                  <a:pt x="716506" y="708734"/>
                </a:lnTo>
                <a:lnTo>
                  <a:pt x="721258" y="708734"/>
                </a:lnTo>
                <a:lnTo>
                  <a:pt x="726723" y="708497"/>
                </a:lnTo>
                <a:lnTo>
                  <a:pt x="731712" y="707546"/>
                </a:lnTo>
                <a:lnTo>
                  <a:pt x="736939" y="706121"/>
                </a:lnTo>
                <a:lnTo>
                  <a:pt x="742166" y="704458"/>
                </a:lnTo>
                <a:lnTo>
                  <a:pt x="749294" y="702082"/>
                </a:lnTo>
                <a:lnTo>
                  <a:pt x="756184" y="699468"/>
                </a:lnTo>
                <a:lnTo>
                  <a:pt x="762361" y="696380"/>
                </a:lnTo>
                <a:lnTo>
                  <a:pt x="768063" y="692816"/>
                </a:lnTo>
                <a:lnTo>
                  <a:pt x="773528" y="689252"/>
                </a:lnTo>
                <a:lnTo>
                  <a:pt x="778755" y="684738"/>
                </a:lnTo>
                <a:lnTo>
                  <a:pt x="783269" y="680461"/>
                </a:lnTo>
                <a:lnTo>
                  <a:pt x="787308" y="674996"/>
                </a:lnTo>
                <a:lnTo>
                  <a:pt x="791110" y="669769"/>
                </a:lnTo>
                <a:lnTo>
                  <a:pt x="794436" y="663830"/>
                </a:lnTo>
                <a:lnTo>
                  <a:pt x="797050" y="657652"/>
                </a:lnTo>
                <a:lnTo>
                  <a:pt x="799188" y="651000"/>
                </a:lnTo>
                <a:lnTo>
                  <a:pt x="801089" y="643872"/>
                </a:lnTo>
                <a:lnTo>
                  <a:pt x="802277" y="636744"/>
                </a:lnTo>
                <a:lnTo>
                  <a:pt x="803227" y="628666"/>
                </a:lnTo>
                <a:lnTo>
                  <a:pt x="803227" y="620826"/>
                </a:lnTo>
                <a:lnTo>
                  <a:pt x="801089" y="622489"/>
                </a:lnTo>
                <a:lnTo>
                  <a:pt x="798238" y="623914"/>
                </a:lnTo>
                <a:lnTo>
                  <a:pt x="793011" y="626053"/>
                </a:lnTo>
                <a:lnTo>
                  <a:pt x="790397" y="627478"/>
                </a:lnTo>
                <a:lnTo>
                  <a:pt x="788496" y="628191"/>
                </a:lnTo>
                <a:lnTo>
                  <a:pt x="787308" y="630092"/>
                </a:lnTo>
                <a:lnTo>
                  <a:pt x="786833" y="631755"/>
                </a:lnTo>
                <a:lnTo>
                  <a:pt x="785408" y="635794"/>
                </a:lnTo>
                <a:lnTo>
                  <a:pt x="784220" y="639833"/>
                </a:lnTo>
                <a:lnTo>
                  <a:pt x="780656" y="646485"/>
                </a:lnTo>
                <a:lnTo>
                  <a:pt x="776617" y="653138"/>
                </a:lnTo>
                <a:lnTo>
                  <a:pt x="772103" y="659078"/>
                </a:lnTo>
                <a:lnTo>
                  <a:pt x="762361" y="670007"/>
                </a:lnTo>
                <a:lnTo>
                  <a:pt x="757847" y="675947"/>
                </a:lnTo>
                <a:lnTo>
                  <a:pt x="753333" y="682124"/>
                </a:lnTo>
                <a:lnTo>
                  <a:pt x="750244" y="684738"/>
                </a:lnTo>
                <a:lnTo>
                  <a:pt x="747155" y="687589"/>
                </a:lnTo>
                <a:lnTo>
                  <a:pt x="744067" y="689252"/>
                </a:lnTo>
                <a:lnTo>
                  <a:pt x="740978" y="690915"/>
                </a:lnTo>
                <a:lnTo>
                  <a:pt x="737890" y="691865"/>
                </a:lnTo>
                <a:lnTo>
                  <a:pt x="734801" y="692816"/>
                </a:lnTo>
                <a:lnTo>
                  <a:pt x="731950" y="693291"/>
                </a:lnTo>
                <a:lnTo>
                  <a:pt x="728861" y="693291"/>
                </a:lnTo>
                <a:lnTo>
                  <a:pt x="723634" y="692816"/>
                </a:lnTo>
                <a:lnTo>
                  <a:pt x="718169" y="691390"/>
                </a:lnTo>
                <a:lnTo>
                  <a:pt x="713418" y="689727"/>
                </a:lnTo>
                <a:lnTo>
                  <a:pt x="708903" y="687826"/>
                </a:lnTo>
                <a:lnTo>
                  <a:pt x="706765" y="687589"/>
                </a:lnTo>
                <a:lnTo>
                  <a:pt x="704864" y="687114"/>
                </a:lnTo>
                <a:lnTo>
                  <a:pt x="703201" y="686163"/>
                </a:lnTo>
                <a:lnTo>
                  <a:pt x="701776" y="684738"/>
                </a:lnTo>
                <a:lnTo>
                  <a:pt x="698687" y="681649"/>
                </a:lnTo>
                <a:lnTo>
                  <a:pt x="696549" y="678085"/>
                </a:lnTo>
                <a:lnTo>
                  <a:pt x="694648" y="673571"/>
                </a:lnTo>
                <a:lnTo>
                  <a:pt x="693460" y="668819"/>
                </a:lnTo>
                <a:lnTo>
                  <a:pt x="692510" y="664305"/>
                </a:lnTo>
                <a:lnTo>
                  <a:pt x="692510" y="659790"/>
                </a:lnTo>
                <a:lnTo>
                  <a:pt x="692510" y="647436"/>
                </a:lnTo>
                <a:lnTo>
                  <a:pt x="693460" y="635319"/>
                </a:lnTo>
                <a:lnTo>
                  <a:pt x="694173" y="624389"/>
                </a:lnTo>
                <a:lnTo>
                  <a:pt x="695598" y="612748"/>
                </a:lnTo>
                <a:lnTo>
                  <a:pt x="699162" y="591364"/>
                </a:lnTo>
                <a:lnTo>
                  <a:pt x="703676" y="570456"/>
                </a:lnTo>
                <a:lnTo>
                  <a:pt x="720070" y="574971"/>
                </a:lnTo>
                <a:lnTo>
                  <a:pt x="736939" y="579247"/>
                </a:lnTo>
                <a:lnTo>
                  <a:pt x="770677" y="589226"/>
                </a:lnTo>
                <a:lnTo>
                  <a:pt x="788021" y="593503"/>
                </a:lnTo>
                <a:lnTo>
                  <a:pt x="805365" y="597542"/>
                </a:lnTo>
                <a:lnTo>
                  <a:pt x="823660" y="601106"/>
                </a:lnTo>
                <a:lnTo>
                  <a:pt x="841954" y="603719"/>
                </a:lnTo>
                <a:lnTo>
                  <a:pt x="861437" y="606570"/>
                </a:lnTo>
                <a:lnTo>
                  <a:pt x="880682" y="608233"/>
                </a:lnTo>
                <a:lnTo>
                  <a:pt x="889948" y="608708"/>
                </a:lnTo>
                <a:lnTo>
                  <a:pt x="898976" y="608708"/>
                </a:lnTo>
                <a:lnTo>
                  <a:pt x="908242" y="608708"/>
                </a:lnTo>
                <a:lnTo>
                  <a:pt x="916795" y="608233"/>
                </a:lnTo>
                <a:lnTo>
                  <a:pt x="925586" y="607283"/>
                </a:lnTo>
                <a:lnTo>
                  <a:pt x="934140" y="606095"/>
                </a:lnTo>
                <a:lnTo>
                  <a:pt x="942455" y="604669"/>
                </a:lnTo>
                <a:lnTo>
                  <a:pt x="950533" y="603006"/>
                </a:lnTo>
                <a:lnTo>
                  <a:pt x="958611" y="600630"/>
                </a:lnTo>
                <a:lnTo>
                  <a:pt x="966452" y="598017"/>
                </a:lnTo>
                <a:lnTo>
                  <a:pt x="974055" y="595403"/>
                </a:lnTo>
                <a:lnTo>
                  <a:pt x="981658" y="591840"/>
                </a:lnTo>
                <a:lnTo>
                  <a:pt x="989261" y="588276"/>
                </a:lnTo>
                <a:lnTo>
                  <a:pt x="996388" y="584237"/>
                </a:lnTo>
                <a:lnTo>
                  <a:pt x="1003041" y="579247"/>
                </a:lnTo>
                <a:lnTo>
                  <a:pt x="1009694" y="574495"/>
                </a:lnTo>
                <a:lnTo>
                  <a:pt x="1016346" y="569031"/>
                </a:lnTo>
                <a:lnTo>
                  <a:pt x="1022998" y="562853"/>
                </a:lnTo>
                <a:lnTo>
                  <a:pt x="1029176" y="556676"/>
                </a:lnTo>
                <a:lnTo>
                  <a:pt x="1035116" y="549548"/>
                </a:lnTo>
                <a:lnTo>
                  <a:pt x="1040818" y="541945"/>
                </a:lnTo>
                <a:lnTo>
                  <a:pt x="1046520" y="534342"/>
                </a:lnTo>
                <a:lnTo>
                  <a:pt x="1051985" y="526027"/>
                </a:lnTo>
                <a:lnTo>
                  <a:pt x="1056737" y="516523"/>
                </a:lnTo>
                <a:lnTo>
                  <a:pt x="1061726" y="507257"/>
                </a:lnTo>
                <a:lnTo>
                  <a:pt x="1066715" y="497041"/>
                </a:lnTo>
                <a:lnTo>
                  <a:pt x="1070992" y="486349"/>
                </a:lnTo>
                <a:lnTo>
                  <a:pt x="1075506" y="475182"/>
                </a:lnTo>
                <a:lnTo>
                  <a:pt x="1079070" y="462828"/>
                </a:lnTo>
                <a:lnTo>
                  <a:pt x="1082634" y="449998"/>
                </a:lnTo>
                <a:lnTo>
                  <a:pt x="1084772" y="437405"/>
                </a:lnTo>
                <a:lnTo>
                  <a:pt x="1087148" y="425050"/>
                </a:lnTo>
                <a:lnTo>
                  <a:pt x="1088811" y="411983"/>
                </a:lnTo>
                <a:lnTo>
                  <a:pt x="1089762" y="399628"/>
                </a:lnTo>
                <a:lnTo>
                  <a:pt x="1090712" y="386798"/>
                </a:lnTo>
                <a:lnTo>
                  <a:pt x="1090712" y="373731"/>
                </a:lnTo>
                <a:lnTo>
                  <a:pt x="1090712" y="360901"/>
                </a:lnTo>
                <a:lnTo>
                  <a:pt x="1089762" y="348071"/>
                </a:lnTo>
                <a:lnTo>
                  <a:pt x="1088811" y="335004"/>
                </a:lnTo>
                <a:lnTo>
                  <a:pt x="1088099" y="321698"/>
                </a:lnTo>
                <a:lnTo>
                  <a:pt x="1084772" y="295563"/>
                </a:lnTo>
                <a:lnTo>
                  <a:pt x="1080971" y="268478"/>
                </a:lnTo>
                <a:lnTo>
                  <a:pt x="1078595" y="258262"/>
                </a:lnTo>
                <a:lnTo>
                  <a:pt x="1075981" y="248283"/>
                </a:lnTo>
                <a:lnTo>
                  <a:pt x="1072417" y="238542"/>
                </a:lnTo>
                <a:lnTo>
                  <a:pt x="1069329" y="229275"/>
                </a:lnTo>
                <a:lnTo>
                  <a:pt x="1061251" y="210031"/>
                </a:lnTo>
                <a:lnTo>
                  <a:pt x="1053173" y="190073"/>
                </a:lnTo>
                <a:lnTo>
                  <a:pt x="1051034" y="186034"/>
                </a:lnTo>
                <a:lnTo>
                  <a:pt x="1048896" y="182470"/>
                </a:lnTo>
                <a:lnTo>
                  <a:pt x="1046045" y="179381"/>
                </a:lnTo>
                <a:lnTo>
                  <a:pt x="1043906" y="176768"/>
                </a:lnTo>
                <a:lnTo>
                  <a:pt x="1041293" y="174630"/>
                </a:lnTo>
                <a:lnTo>
                  <a:pt x="1038680" y="172729"/>
                </a:lnTo>
                <a:lnTo>
                  <a:pt x="1035828" y="171303"/>
                </a:lnTo>
                <a:lnTo>
                  <a:pt x="1032740" y="170591"/>
                </a:lnTo>
                <a:lnTo>
                  <a:pt x="1030126" y="170591"/>
                </a:lnTo>
                <a:lnTo>
                  <a:pt x="1027038" y="170591"/>
                </a:lnTo>
                <a:lnTo>
                  <a:pt x="1024424" y="171303"/>
                </a:lnTo>
                <a:lnTo>
                  <a:pt x="1021335" y="172729"/>
                </a:lnTo>
                <a:lnTo>
                  <a:pt x="1018247" y="174867"/>
                </a:lnTo>
                <a:lnTo>
                  <a:pt x="1014920" y="177718"/>
                </a:lnTo>
                <a:lnTo>
                  <a:pt x="1011832" y="180807"/>
                </a:lnTo>
                <a:lnTo>
                  <a:pt x="1008743" y="184846"/>
                </a:lnTo>
                <a:lnTo>
                  <a:pt x="991874" y="201240"/>
                </a:lnTo>
                <a:lnTo>
                  <a:pt x="983321" y="209318"/>
                </a:lnTo>
                <a:lnTo>
                  <a:pt x="974530" y="216683"/>
                </a:lnTo>
                <a:lnTo>
                  <a:pt x="965739" y="223811"/>
                </a:lnTo>
                <a:lnTo>
                  <a:pt x="956236" y="230226"/>
                </a:lnTo>
                <a:lnTo>
                  <a:pt x="946494" y="235928"/>
                </a:lnTo>
                <a:lnTo>
                  <a:pt x="941505" y="238066"/>
                </a:lnTo>
                <a:lnTo>
                  <a:pt x="936753" y="240442"/>
                </a:lnTo>
                <a:lnTo>
                  <a:pt x="932239" y="242581"/>
                </a:lnTo>
                <a:lnTo>
                  <a:pt x="928675" y="245669"/>
                </a:lnTo>
                <a:lnTo>
                  <a:pt x="925111" y="249233"/>
                </a:lnTo>
                <a:lnTo>
                  <a:pt x="922022" y="252797"/>
                </a:lnTo>
                <a:lnTo>
                  <a:pt x="919884" y="257311"/>
                </a:lnTo>
                <a:lnTo>
                  <a:pt x="918934" y="259925"/>
                </a:lnTo>
                <a:lnTo>
                  <a:pt x="918459" y="262538"/>
                </a:lnTo>
                <a:lnTo>
                  <a:pt x="918459" y="265389"/>
                </a:lnTo>
                <a:lnTo>
                  <a:pt x="918459" y="268003"/>
                </a:lnTo>
                <a:lnTo>
                  <a:pt x="918934" y="271091"/>
                </a:lnTo>
                <a:lnTo>
                  <a:pt x="919884" y="274180"/>
                </a:lnTo>
                <a:lnTo>
                  <a:pt x="921547" y="282258"/>
                </a:lnTo>
                <a:lnTo>
                  <a:pt x="922973" y="290574"/>
                </a:lnTo>
                <a:lnTo>
                  <a:pt x="923923" y="299127"/>
                </a:lnTo>
                <a:lnTo>
                  <a:pt x="924161" y="307443"/>
                </a:lnTo>
                <a:lnTo>
                  <a:pt x="924161" y="315996"/>
                </a:lnTo>
                <a:lnTo>
                  <a:pt x="923923" y="324550"/>
                </a:lnTo>
                <a:lnTo>
                  <a:pt x="922973" y="332865"/>
                </a:lnTo>
                <a:lnTo>
                  <a:pt x="922022" y="340943"/>
                </a:lnTo>
                <a:lnTo>
                  <a:pt x="920597" y="349259"/>
                </a:lnTo>
                <a:lnTo>
                  <a:pt x="918934" y="357812"/>
                </a:lnTo>
                <a:lnTo>
                  <a:pt x="914420" y="374681"/>
                </a:lnTo>
                <a:lnTo>
                  <a:pt x="909192" y="391075"/>
                </a:lnTo>
                <a:lnTo>
                  <a:pt x="903253" y="408182"/>
                </a:lnTo>
                <a:lnTo>
                  <a:pt x="903253" y="397965"/>
                </a:lnTo>
                <a:lnTo>
                  <a:pt x="904203" y="387274"/>
                </a:lnTo>
                <a:lnTo>
                  <a:pt x="906104" y="367078"/>
                </a:lnTo>
                <a:lnTo>
                  <a:pt x="907767" y="347596"/>
                </a:lnTo>
                <a:lnTo>
                  <a:pt x="908717" y="338567"/>
                </a:lnTo>
                <a:lnTo>
                  <a:pt x="908717" y="329777"/>
                </a:lnTo>
                <a:lnTo>
                  <a:pt x="908717" y="325738"/>
                </a:lnTo>
                <a:lnTo>
                  <a:pt x="907767" y="322649"/>
                </a:lnTo>
                <a:lnTo>
                  <a:pt x="906817" y="319560"/>
                </a:lnTo>
                <a:lnTo>
                  <a:pt x="905154" y="316471"/>
                </a:lnTo>
                <a:lnTo>
                  <a:pt x="903728" y="314096"/>
                </a:lnTo>
                <a:lnTo>
                  <a:pt x="901590" y="311957"/>
                </a:lnTo>
                <a:lnTo>
                  <a:pt x="897551" y="307443"/>
                </a:lnTo>
                <a:lnTo>
                  <a:pt x="895412" y="309344"/>
                </a:lnTo>
                <a:lnTo>
                  <a:pt x="892561" y="310769"/>
                </a:lnTo>
                <a:lnTo>
                  <a:pt x="887334" y="313383"/>
                </a:lnTo>
                <a:lnTo>
                  <a:pt x="884721" y="314096"/>
                </a:lnTo>
                <a:lnTo>
                  <a:pt x="882820" y="315521"/>
                </a:lnTo>
                <a:lnTo>
                  <a:pt x="881632" y="316947"/>
                </a:lnTo>
                <a:lnTo>
                  <a:pt x="881157" y="318610"/>
                </a:lnTo>
                <a:lnTo>
                  <a:pt x="872604" y="331915"/>
                </a:lnTo>
                <a:lnTo>
                  <a:pt x="864288" y="346646"/>
                </a:lnTo>
                <a:lnTo>
                  <a:pt x="856210" y="361376"/>
                </a:lnTo>
                <a:lnTo>
                  <a:pt x="847656" y="374681"/>
                </a:lnTo>
                <a:lnTo>
                  <a:pt x="841954" y="374681"/>
                </a:lnTo>
                <a:lnTo>
                  <a:pt x="846468" y="357812"/>
                </a:lnTo>
                <a:lnTo>
                  <a:pt x="850508" y="339518"/>
                </a:lnTo>
                <a:lnTo>
                  <a:pt x="854784" y="319560"/>
                </a:lnTo>
                <a:lnTo>
                  <a:pt x="858823" y="296514"/>
                </a:lnTo>
                <a:lnTo>
                  <a:pt x="848132" y="303879"/>
                </a:lnTo>
                <a:lnTo>
                  <a:pt x="840054" y="310294"/>
                </a:lnTo>
                <a:lnTo>
                  <a:pt x="833163" y="316947"/>
                </a:lnTo>
                <a:lnTo>
                  <a:pt x="825560" y="324550"/>
                </a:lnTo>
                <a:lnTo>
                  <a:pt x="823185" y="326688"/>
                </a:lnTo>
                <a:lnTo>
                  <a:pt x="821522" y="329301"/>
                </a:lnTo>
                <a:lnTo>
                  <a:pt x="817007" y="335954"/>
                </a:lnTo>
                <a:lnTo>
                  <a:pt x="812968" y="344032"/>
                </a:lnTo>
                <a:lnTo>
                  <a:pt x="808929" y="352585"/>
                </a:lnTo>
                <a:lnTo>
                  <a:pt x="809880" y="343557"/>
                </a:lnTo>
                <a:lnTo>
                  <a:pt x="811305" y="335479"/>
                </a:lnTo>
                <a:lnTo>
                  <a:pt x="812493" y="328826"/>
                </a:lnTo>
                <a:lnTo>
                  <a:pt x="814394" y="323124"/>
                </a:lnTo>
                <a:lnTo>
                  <a:pt x="816532" y="317659"/>
                </a:lnTo>
                <a:lnTo>
                  <a:pt x="819146" y="313383"/>
                </a:lnTo>
                <a:lnTo>
                  <a:pt x="822709" y="309344"/>
                </a:lnTo>
                <a:lnTo>
                  <a:pt x="826748" y="306255"/>
                </a:lnTo>
                <a:lnTo>
                  <a:pt x="832213" y="303166"/>
                </a:lnTo>
                <a:lnTo>
                  <a:pt x="838390" y="300315"/>
                </a:lnTo>
                <a:lnTo>
                  <a:pt x="845518" y="298177"/>
                </a:lnTo>
                <a:lnTo>
                  <a:pt x="854071" y="295563"/>
                </a:lnTo>
                <a:lnTo>
                  <a:pt x="875217" y="290574"/>
                </a:lnTo>
                <a:lnTo>
                  <a:pt x="903253" y="285347"/>
                </a:lnTo>
                <a:lnTo>
                  <a:pt x="886384" y="268478"/>
                </a:lnTo>
                <a:lnTo>
                  <a:pt x="879731" y="270141"/>
                </a:lnTo>
                <a:lnTo>
                  <a:pt x="873079" y="271091"/>
                </a:lnTo>
                <a:lnTo>
                  <a:pt x="867376" y="271567"/>
                </a:lnTo>
                <a:lnTo>
                  <a:pt x="862387" y="271091"/>
                </a:lnTo>
                <a:lnTo>
                  <a:pt x="857398" y="269666"/>
                </a:lnTo>
                <a:lnTo>
                  <a:pt x="853596" y="268003"/>
                </a:lnTo>
                <a:lnTo>
                  <a:pt x="849557" y="265627"/>
                </a:lnTo>
                <a:lnTo>
                  <a:pt x="846468" y="262538"/>
                </a:lnTo>
                <a:lnTo>
                  <a:pt x="843380" y="259450"/>
                </a:lnTo>
                <a:lnTo>
                  <a:pt x="840529" y="255411"/>
                </a:lnTo>
                <a:lnTo>
                  <a:pt x="838390" y="251134"/>
                </a:lnTo>
                <a:lnTo>
                  <a:pt x="836490" y="246620"/>
                </a:lnTo>
                <a:lnTo>
                  <a:pt x="834827" y="241155"/>
                </a:lnTo>
                <a:lnTo>
                  <a:pt x="833401" y="235453"/>
                </a:lnTo>
                <a:lnTo>
                  <a:pt x="831263" y="223336"/>
                </a:lnTo>
                <a:lnTo>
                  <a:pt x="897551" y="206942"/>
                </a:lnTo>
                <a:lnTo>
                  <a:pt x="888997" y="194112"/>
                </a:lnTo>
                <a:lnTo>
                  <a:pt x="880682" y="181282"/>
                </a:lnTo>
                <a:lnTo>
                  <a:pt x="871416" y="168690"/>
                </a:lnTo>
                <a:lnTo>
                  <a:pt x="866901" y="162988"/>
                </a:lnTo>
                <a:lnTo>
                  <a:pt x="861437" y="157048"/>
                </a:lnTo>
                <a:lnTo>
                  <a:pt x="856210" y="151821"/>
                </a:lnTo>
                <a:lnTo>
                  <a:pt x="850745" y="146831"/>
                </a:lnTo>
                <a:lnTo>
                  <a:pt x="844568" y="142555"/>
                </a:lnTo>
                <a:lnTo>
                  <a:pt x="838390" y="138516"/>
                </a:lnTo>
                <a:lnTo>
                  <a:pt x="831738" y="134952"/>
                </a:lnTo>
                <a:lnTo>
                  <a:pt x="824610" y="132338"/>
                </a:lnTo>
                <a:lnTo>
                  <a:pt x="817007" y="129963"/>
                </a:lnTo>
                <a:lnTo>
                  <a:pt x="808929" y="128774"/>
                </a:lnTo>
                <a:lnTo>
                  <a:pt x="806791" y="128299"/>
                </a:lnTo>
                <a:lnTo>
                  <a:pt x="804652" y="127824"/>
                </a:lnTo>
                <a:lnTo>
                  <a:pt x="802752" y="126399"/>
                </a:lnTo>
                <a:lnTo>
                  <a:pt x="801089" y="125211"/>
                </a:lnTo>
                <a:lnTo>
                  <a:pt x="799663" y="123310"/>
                </a:lnTo>
                <a:lnTo>
                  <a:pt x="798713" y="121647"/>
                </a:lnTo>
                <a:lnTo>
                  <a:pt x="798000" y="119271"/>
                </a:lnTo>
                <a:lnTo>
                  <a:pt x="798000" y="117608"/>
                </a:lnTo>
                <a:lnTo>
                  <a:pt x="785408" y="106916"/>
                </a:lnTo>
                <a:lnTo>
                  <a:pt x="772578" y="95749"/>
                </a:lnTo>
                <a:lnTo>
                  <a:pt x="747155" y="72703"/>
                </a:lnTo>
                <a:lnTo>
                  <a:pt x="733850" y="61061"/>
                </a:lnTo>
                <a:lnTo>
                  <a:pt x="720545" y="49894"/>
                </a:lnTo>
                <a:lnTo>
                  <a:pt x="706765" y="38728"/>
                </a:lnTo>
                <a:lnTo>
                  <a:pt x="692510" y="28036"/>
                </a:lnTo>
                <a:lnTo>
                  <a:pt x="679442" y="21859"/>
                </a:lnTo>
                <a:lnTo>
                  <a:pt x="666137" y="16632"/>
                </a:lnTo>
                <a:lnTo>
                  <a:pt x="652832" y="11642"/>
                </a:lnTo>
                <a:lnTo>
                  <a:pt x="639527" y="7603"/>
                </a:lnTo>
                <a:lnTo>
                  <a:pt x="626222" y="4514"/>
                </a:lnTo>
                <a:lnTo>
                  <a:pt x="612917" y="1901"/>
                </a:lnTo>
                <a:lnTo>
                  <a:pt x="599374" y="475"/>
                </a:lnTo>
                <a:close/>
              </a:path>
            </a:pathLst>
          </a:custGeom>
          <a:solidFill>
            <a:schemeClr val="bg1">
              <a:alpha val="25000"/>
            </a:schemeClr>
          </a:solidFill>
          <a:ln>
            <a:noFill/>
          </a:ln>
        </p:spPr>
        <p:txBody>
          <a:bodyPr vert="horz" wrap="square" lIns="89642" tIns="44821" rIns="89642" bIns="44821" numCol="1" anchor="t" anchorCtr="0" compatLnSpc="1">
            <a:prstTxWarp prst="textNoShape">
              <a:avLst/>
            </a:prstTxWarp>
            <a:noAutofit/>
          </a:bodyPr>
          <a:lstStyle/>
          <a:p>
            <a:endParaRPr lang="en-IN" sz="1765"/>
          </a:p>
        </p:txBody>
      </p:sp>
      <p:sp>
        <p:nvSpPr>
          <p:cNvPr id="7" name="Rectangle 6"/>
          <p:cNvSpPr/>
          <p:nvPr/>
        </p:nvSpPr>
        <p:spPr>
          <a:xfrm>
            <a:off x="8929" y="1213304"/>
            <a:ext cx="5220355" cy="825547"/>
          </a:xfrm>
          <a:prstGeom prst="rect">
            <a:avLst/>
          </a:prstGeom>
        </p:spPr>
        <p:txBody>
          <a:bodyPr wrap="square" lIns="268927">
            <a:spAutoFit/>
          </a:bodyPr>
          <a:lstStyle/>
          <a:p>
            <a:pPr defTabSz="914102" fontAlgn="base">
              <a:lnSpc>
                <a:spcPct val="90000"/>
              </a:lnSpc>
              <a:spcBef>
                <a:spcPct val="0"/>
              </a:spcBef>
              <a:spcAft>
                <a:spcPct val="0"/>
              </a:spcAft>
            </a:pPr>
            <a:r>
              <a:rPr lang="en-US" sz="5294" dirty="0" err="1">
                <a:solidFill>
                  <a:schemeClr val="bg1"/>
                </a:solidFill>
                <a:latin typeface="+mj-lt"/>
                <a:ea typeface="Segoe UI" pitchFamily="34" charset="0"/>
                <a:cs typeface="Segoe UI" pitchFamily="34" charset="0"/>
              </a:rPr>
              <a:t>HCatalog</a:t>
            </a:r>
            <a:endParaRPr lang="en-US" sz="5294" dirty="0">
              <a:solidFill>
                <a:schemeClr val="bg1"/>
              </a:solidFill>
              <a:latin typeface="+mj-lt"/>
              <a:ea typeface="Segoe UI" pitchFamily="34" charset="0"/>
              <a:cs typeface="Segoe UI" pitchFamily="34" charset="0"/>
            </a:endParaRPr>
          </a:p>
        </p:txBody>
      </p:sp>
      <p:sp>
        <p:nvSpPr>
          <p:cNvPr id="2" name="Slide Number Placeholder 1"/>
          <p:cNvSpPr>
            <a:spLocks noGrp="1"/>
          </p:cNvSpPr>
          <p:nvPr>
            <p:ph type="sldNum" sz="quarter" idx="11"/>
          </p:nvPr>
        </p:nvSpPr>
        <p:spPr/>
        <p:txBody>
          <a:bodyPr/>
          <a:lstStyle/>
          <a:p>
            <a:pPr>
              <a:defRPr/>
            </a:pPr>
            <a:fld id="{F8A0AC42-AA1D-4944-8D96-660DE70C7E1B}" type="slidenum">
              <a:rPr lang="en-IN" smtClean="0"/>
              <a:pPr>
                <a:defRPr/>
              </a:pPr>
              <a:t>24</a:t>
            </a:fld>
            <a:endParaRPr lang="en-IN" dirty="0"/>
          </a:p>
        </p:txBody>
      </p:sp>
    </p:spTree>
    <p:extLst>
      <p:ext uri="{BB962C8B-B14F-4D97-AF65-F5344CB8AC3E}">
        <p14:creationId xmlns:p14="http://schemas.microsoft.com/office/powerpoint/2010/main" val="2497737911"/>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Rectangle 51"/>
          <p:cNvSpPr/>
          <p:nvPr/>
        </p:nvSpPr>
        <p:spPr bwMode="auto">
          <a:xfrm>
            <a:off x="7595118" y="1770471"/>
            <a:ext cx="4213254" cy="4396540"/>
          </a:xfrm>
          <a:prstGeom prst="rect">
            <a:avLst/>
          </a:prstGeom>
          <a:solidFill>
            <a:schemeClr val="bg1"/>
          </a:solidFill>
          <a:ln>
            <a:solidFill>
              <a:schemeClr val="bg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2" name="Title 1"/>
          <p:cNvSpPr>
            <a:spLocks noGrp="1"/>
          </p:cNvSpPr>
          <p:nvPr>
            <p:ph type="title"/>
          </p:nvPr>
        </p:nvSpPr>
        <p:spPr/>
        <p:txBody>
          <a:bodyPr/>
          <a:lstStyle/>
          <a:p>
            <a:r>
              <a:rPr lang="en-US" dirty="0" err="1"/>
              <a:t>Hcatalog</a:t>
            </a:r>
            <a:r>
              <a:rPr lang="en-US" dirty="0"/>
              <a:t>: What is it?</a:t>
            </a:r>
          </a:p>
        </p:txBody>
      </p:sp>
      <p:sp>
        <p:nvSpPr>
          <p:cNvPr id="4" name="Slide Number Placeholder 3"/>
          <p:cNvSpPr>
            <a:spLocks noGrp="1"/>
          </p:cNvSpPr>
          <p:nvPr>
            <p:ph type="sldNum" sz="quarter" idx="11"/>
          </p:nvPr>
        </p:nvSpPr>
        <p:spPr/>
        <p:txBody>
          <a:bodyPr/>
          <a:lstStyle/>
          <a:p>
            <a:pPr>
              <a:defRPr/>
            </a:pPr>
            <a:fld id="{F8A0AC42-AA1D-4944-8D96-660DE70C7E1B}" type="slidenum">
              <a:rPr lang="en-IN"/>
              <a:pPr>
                <a:defRPr/>
              </a:pPr>
              <a:t>25</a:t>
            </a:fld>
            <a:endParaRPr lang="en-IN" dirty="0"/>
          </a:p>
        </p:txBody>
      </p:sp>
      <p:sp>
        <p:nvSpPr>
          <p:cNvPr id="3" name="Content Placeholder 2"/>
          <p:cNvSpPr>
            <a:spLocks noGrp="1"/>
          </p:cNvSpPr>
          <p:nvPr>
            <p:ph idx="4294967295"/>
          </p:nvPr>
        </p:nvSpPr>
        <p:spPr>
          <a:xfrm>
            <a:off x="496381" y="1691700"/>
            <a:ext cx="6967812" cy="4554081"/>
          </a:xfrm>
          <a:prstGeom prst="rect">
            <a:avLst/>
          </a:prstGeom>
        </p:spPr>
        <p:txBody>
          <a:bodyPr lIns="91440" rIns="91440"/>
          <a:lstStyle/>
          <a:p>
            <a:pPr marL="342900" indent="-342900" defTabSz="914400">
              <a:lnSpc>
                <a:spcPts val="2200"/>
              </a:lnSpc>
              <a:spcBef>
                <a:spcPts val="0"/>
              </a:spcBef>
              <a:spcAft>
                <a:spcPts val="600"/>
              </a:spcAft>
              <a:buClr>
                <a:schemeClr val="accent3"/>
              </a:buClr>
              <a:buSzPct val="75000"/>
              <a:buFont typeface="Wingdings" panose="05000000000000000000" pitchFamily="2" charset="2"/>
              <a:buChar char="v"/>
            </a:pPr>
            <a:r>
              <a:rPr lang="en-US" sz="1800" dirty="0" err="1">
                <a:solidFill>
                  <a:schemeClr val="tx1">
                    <a:lumMod val="65000"/>
                    <a:lumOff val="35000"/>
                  </a:schemeClr>
                </a:solidFill>
                <a:latin typeface="+mn-lt"/>
                <a:ea typeface="+mn-ea"/>
                <a:cs typeface="+mn-cs"/>
              </a:rPr>
              <a:t>HCatalog</a:t>
            </a:r>
            <a:r>
              <a:rPr lang="en-US" sz="1800" dirty="0">
                <a:solidFill>
                  <a:schemeClr val="tx1">
                    <a:lumMod val="65000"/>
                    <a:lumOff val="35000"/>
                  </a:schemeClr>
                </a:solidFill>
                <a:latin typeface="+mn-lt"/>
                <a:ea typeface="+mn-ea"/>
                <a:cs typeface="+mn-cs"/>
              </a:rPr>
              <a:t> displays data from </a:t>
            </a:r>
            <a:r>
              <a:rPr lang="en-US" sz="1800" dirty="0" err="1">
                <a:solidFill>
                  <a:schemeClr val="tx1">
                    <a:lumMod val="65000"/>
                    <a:lumOff val="35000"/>
                  </a:schemeClr>
                </a:solidFill>
                <a:latin typeface="+mn-lt"/>
                <a:ea typeface="+mn-ea"/>
                <a:cs typeface="+mn-cs"/>
              </a:rPr>
              <a:t>RCFile</a:t>
            </a:r>
            <a:r>
              <a:rPr lang="en-US" sz="1800" dirty="0">
                <a:solidFill>
                  <a:schemeClr val="tx1">
                    <a:lumMod val="65000"/>
                    <a:lumOff val="35000"/>
                  </a:schemeClr>
                </a:solidFill>
                <a:latin typeface="+mn-lt"/>
                <a:ea typeface="+mn-ea"/>
                <a:cs typeface="+mn-cs"/>
              </a:rPr>
              <a:t> format, text files, or sequence files in a tabular view. </a:t>
            </a:r>
          </a:p>
          <a:p>
            <a:pPr marL="342900" indent="-342900" defTabSz="914400">
              <a:lnSpc>
                <a:spcPts val="2200"/>
              </a:lnSpc>
              <a:spcBef>
                <a:spcPts val="0"/>
              </a:spcBef>
              <a:spcAft>
                <a:spcPts val="600"/>
              </a:spcAft>
              <a:buClr>
                <a:schemeClr val="accent3"/>
              </a:buClr>
              <a:buSzPct val="75000"/>
              <a:buFont typeface="Wingdings" panose="05000000000000000000" pitchFamily="2" charset="2"/>
              <a:buChar char="v"/>
            </a:pPr>
            <a:r>
              <a:rPr lang="en-US" sz="1800" dirty="0">
                <a:solidFill>
                  <a:schemeClr val="tx1">
                    <a:lumMod val="65000"/>
                    <a:lumOff val="35000"/>
                  </a:schemeClr>
                </a:solidFill>
                <a:latin typeface="+mn-lt"/>
                <a:ea typeface="+mn-ea"/>
                <a:cs typeface="+mn-cs"/>
              </a:rPr>
              <a:t>Is a table management layer that exposes Hive metadata (as REST APIs) to other Hadoop applications.</a:t>
            </a:r>
          </a:p>
          <a:p>
            <a:pPr marL="342900" indent="-342900" defTabSz="914400">
              <a:lnSpc>
                <a:spcPts val="2200"/>
              </a:lnSpc>
              <a:spcBef>
                <a:spcPts val="0"/>
              </a:spcBef>
              <a:spcAft>
                <a:spcPts val="600"/>
              </a:spcAft>
              <a:buClr>
                <a:schemeClr val="accent3"/>
              </a:buClr>
              <a:buSzPct val="75000"/>
              <a:buFont typeface="Wingdings" panose="05000000000000000000" pitchFamily="2" charset="2"/>
              <a:buChar char="v"/>
            </a:pPr>
            <a:r>
              <a:rPr lang="en-US" sz="1800" dirty="0" err="1">
                <a:solidFill>
                  <a:schemeClr val="tx1">
                    <a:lumMod val="65000"/>
                    <a:lumOff val="35000"/>
                  </a:schemeClr>
                </a:solidFill>
                <a:latin typeface="+mn-lt"/>
                <a:ea typeface="+mn-ea"/>
                <a:cs typeface="+mn-cs"/>
              </a:rPr>
              <a:t>HCatalog’s</a:t>
            </a:r>
            <a:r>
              <a:rPr lang="en-US" sz="1800" dirty="0">
                <a:solidFill>
                  <a:schemeClr val="tx1">
                    <a:lumMod val="65000"/>
                    <a:lumOff val="35000"/>
                  </a:schemeClr>
                </a:solidFill>
                <a:latin typeface="+mn-lt"/>
                <a:ea typeface="+mn-ea"/>
                <a:cs typeface="+mn-cs"/>
              </a:rPr>
              <a:t> table abstraction presents users with a relational view of data in HDFS </a:t>
            </a:r>
          </a:p>
          <a:p>
            <a:pPr marL="800100" lvl="1" indent="-342900" defTabSz="914400">
              <a:lnSpc>
                <a:spcPts val="2200"/>
              </a:lnSpc>
              <a:spcBef>
                <a:spcPts val="0"/>
              </a:spcBef>
              <a:spcAft>
                <a:spcPts val="300"/>
              </a:spcAft>
              <a:buClr>
                <a:schemeClr val="accent3"/>
              </a:buClr>
              <a:buSzPct val="100000"/>
              <a:buFont typeface="Wingdings" panose="05000000000000000000" pitchFamily="2" charset="2"/>
              <a:buChar char="§"/>
            </a:pPr>
            <a:r>
              <a:rPr lang="en-US" sz="1600" dirty="0">
                <a:solidFill>
                  <a:schemeClr val="tx1">
                    <a:lumMod val="65000"/>
                    <a:lumOff val="35000"/>
                  </a:schemeClr>
                </a:solidFill>
                <a:ea typeface="+mn-ea"/>
              </a:rPr>
              <a:t>Ensures users need not worry about where or in what format their data is stored.</a:t>
            </a:r>
          </a:p>
          <a:p>
            <a:pPr marL="342900" indent="-342900" defTabSz="914400">
              <a:lnSpc>
                <a:spcPts val="2200"/>
              </a:lnSpc>
              <a:spcBef>
                <a:spcPts val="0"/>
              </a:spcBef>
              <a:spcAft>
                <a:spcPts val="300"/>
              </a:spcAft>
              <a:buClr>
                <a:schemeClr val="accent3"/>
              </a:buClr>
              <a:buSzPct val="75000"/>
              <a:buFont typeface="Wingdings" panose="05000000000000000000" pitchFamily="2" charset="2"/>
              <a:buChar char="v"/>
            </a:pPr>
            <a:r>
              <a:rPr lang="en-US" sz="1800" dirty="0">
                <a:solidFill>
                  <a:schemeClr val="tx1">
                    <a:lumMod val="65000"/>
                    <a:lumOff val="35000"/>
                  </a:schemeClr>
                </a:solidFill>
                <a:latin typeface="+mn-lt"/>
                <a:ea typeface="+mn-ea"/>
                <a:cs typeface="+mn-cs"/>
              </a:rPr>
              <a:t>Benefits:</a:t>
            </a:r>
          </a:p>
          <a:p>
            <a:pPr marL="800100" lvl="1" indent="-342900" defTabSz="914400">
              <a:lnSpc>
                <a:spcPts val="2200"/>
              </a:lnSpc>
              <a:spcBef>
                <a:spcPts val="0"/>
              </a:spcBef>
              <a:spcAft>
                <a:spcPts val="300"/>
              </a:spcAft>
              <a:buClr>
                <a:schemeClr val="accent3"/>
              </a:buClr>
              <a:buSzPct val="100000"/>
              <a:buFont typeface="Wingdings" panose="05000000000000000000" pitchFamily="2" charset="2"/>
              <a:buChar char="§"/>
            </a:pPr>
            <a:r>
              <a:rPr lang="en-US" sz="1600" dirty="0">
                <a:solidFill>
                  <a:schemeClr val="tx1">
                    <a:lumMod val="65000"/>
                    <a:lumOff val="35000"/>
                  </a:schemeClr>
                </a:solidFill>
                <a:ea typeface="+mn-ea"/>
              </a:rPr>
              <a:t>Frees the user from having to know where the data is stored, with the table abstraction</a:t>
            </a:r>
          </a:p>
          <a:p>
            <a:pPr marL="800100" lvl="1" indent="-342900" defTabSz="914400">
              <a:lnSpc>
                <a:spcPts val="2200"/>
              </a:lnSpc>
              <a:spcBef>
                <a:spcPts val="0"/>
              </a:spcBef>
              <a:spcAft>
                <a:spcPts val="300"/>
              </a:spcAft>
              <a:buClr>
                <a:schemeClr val="accent3"/>
              </a:buClr>
              <a:buSzPct val="100000"/>
              <a:buFont typeface="Wingdings" panose="05000000000000000000" pitchFamily="2" charset="2"/>
              <a:buChar char="§"/>
            </a:pPr>
            <a:r>
              <a:rPr lang="en-US" sz="1600" dirty="0">
                <a:solidFill>
                  <a:schemeClr val="tx1">
                    <a:lumMod val="65000"/>
                    <a:lumOff val="35000"/>
                  </a:schemeClr>
                </a:solidFill>
                <a:ea typeface="+mn-ea"/>
              </a:rPr>
              <a:t>Enables notifications of data availability</a:t>
            </a:r>
          </a:p>
          <a:p>
            <a:pPr marL="800100" lvl="1" indent="-342900" defTabSz="914400">
              <a:lnSpc>
                <a:spcPts val="2200"/>
              </a:lnSpc>
              <a:spcBef>
                <a:spcPts val="0"/>
              </a:spcBef>
              <a:spcAft>
                <a:spcPts val="300"/>
              </a:spcAft>
              <a:buClr>
                <a:schemeClr val="accent3"/>
              </a:buClr>
              <a:buSzPct val="100000"/>
              <a:buFont typeface="Wingdings" panose="05000000000000000000" pitchFamily="2" charset="2"/>
              <a:buChar char="§"/>
            </a:pPr>
            <a:r>
              <a:rPr lang="en-US" sz="1600" dirty="0">
                <a:solidFill>
                  <a:schemeClr val="tx1">
                    <a:lumMod val="65000"/>
                    <a:lumOff val="35000"/>
                  </a:schemeClr>
                </a:solidFill>
                <a:ea typeface="+mn-ea"/>
              </a:rPr>
              <a:t>Provides visibility for data cleaning and archiving tools</a:t>
            </a:r>
          </a:p>
          <a:p>
            <a:pPr marL="342900" indent="-342900" defTabSz="914400">
              <a:lnSpc>
                <a:spcPts val="2100"/>
              </a:lnSpc>
              <a:spcBef>
                <a:spcPts val="0"/>
              </a:spcBef>
              <a:spcAft>
                <a:spcPts val="600"/>
              </a:spcAft>
              <a:buClr>
                <a:schemeClr val="accent3"/>
              </a:buClr>
              <a:buSzPct val="75000"/>
              <a:buFont typeface="Wingdings" panose="05000000000000000000" pitchFamily="2" charset="2"/>
              <a:buChar char="v"/>
            </a:pPr>
            <a:endParaRPr lang="en-US" sz="1800" dirty="0">
              <a:solidFill>
                <a:schemeClr val="tx1">
                  <a:lumMod val="65000"/>
                  <a:lumOff val="35000"/>
                </a:schemeClr>
              </a:solidFill>
              <a:latin typeface="Helvetica Neue"/>
            </a:endParaRPr>
          </a:p>
        </p:txBody>
      </p:sp>
      <p:sp>
        <p:nvSpPr>
          <p:cNvPr id="6" name="Rectangle 5"/>
          <p:cNvSpPr/>
          <p:nvPr/>
        </p:nvSpPr>
        <p:spPr>
          <a:xfrm>
            <a:off x="512380" y="1214930"/>
            <a:ext cx="11295992" cy="461665"/>
          </a:xfrm>
          <a:prstGeom prst="rect">
            <a:avLst/>
          </a:prstGeom>
          <a:solidFill>
            <a:schemeClr val="accent3"/>
          </a:solidFill>
        </p:spPr>
        <p:txBody>
          <a:bodyPr wrap="square" tIns="0" bIns="0" anchor="ctr">
            <a:spAutoFit/>
          </a:bodyPr>
          <a:lstStyle/>
          <a:p>
            <a:pPr algn="ctr">
              <a:lnSpc>
                <a:spcPts val="3600"/>
              </a:lnSpc>
            </a:pPr>
            <a:r>
              <a:rPr lang="en-US" dirty="0">
                <a:solidFill>
                  <a:schemeClr val="bg1"/>
                </a:solidFill>
                <a:latin typeface="Segoe UI Semibold" panose="020B0702040204020203" pitchFamily="34" charset="0"/>
                <a:cs typeface="Segoe UI Semibold" panose="020B0702040204020203" pitchFamily="34" charset="0"/>
              </a:rPr>
              <a:t>Is a metadata and table management system for the  Hadoop platform that enables sharing</a:t>
            </a:r>
            <a:endParaRPr lang="en-US" b="1" dirty="0">
              <a:solidFill>
                <a:schemeClr val="bg1"/>
              </a:solidFill>
              <a:latin typeface="Segoe UI Semibold" panose="020B0702040204020203" pitchFamily="34" charset="0"/>
              <a:cs typeface="Segoe UI Semibold" panose="020B0702040204020203" pitchFamily="34" charset="0"/>
            </a:endParaRPr>
          </a:p>
        </p:txBody>
      </p:sp>
      <p:grpSp>
        <p:nvGrpSpPr>
          <p:cNvPr id="23" name="Group 22"/>
          <p:cNvGrpSpPr/>
          <p:nvPr/>
        </p:nvGrpSpPr>
        <p:grpSpPr>
          <a:xfrm>
            <a:off x="7729316" y="1887401"/>
            <a:ext cx="3884656" cy="4043351"/>
            <a:chOff x="7729316" y="1887401"/>
            <a:chExt cx="3884656" cy="4043351"/>
          </a:xfrm>
        </p:grpSpPr>
        <p:sp>
          <p:nvSpPr>
            <p:cNvPr id="16" name="Rectangle 15"/>
            <p:cNvSpPr/>
            <p:nvPr/>
          </p:nvSpPr>
          <p:spPr bwMode="auto">
            <a:xfrm>
              <a:off x="7729317" y="4811477"/>
              <a:ext cx="3884655" cy="1119275"/>
            </a:xfrm>
            <a:prstGeom prst="rect">
              <a:avLst/>
            </a:prstGeom>
            <a:solidFill>
              <a:schemeClr val="accent1">
                <a:lumMod val="20000"/>
                <a:lumOff val="80000"/>
              </a:schemeClr>
            </a:solidFill>
            <a:ln w="317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cs typeface="Segoe UI Semibold" panose="020B0702040204020203" pitchFamily="34" charset="0"/>
              </a:endParaRPr>
            </a:p>
          </p:txBody>
        </p:sp>
        <p:sp>
          <p:nvSpPr>
            <p:cNvPr id="21" name="Rounded Rectangle 20"/>
            <p:cNvSpPr/>
            <p:nvPr/>
          </p:nvSpPr>
          <p:spPr bwMode="auto">
            <a:xfrm>
              <a:off x="7896612" y="5045667"/>
              <a:ext cx="843547" cy="650895"/>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a:solidFill>
                    <a:schemeClr val="bg1"/>
                  </a:solidFill>
                  <a:latin typeface="Segoe UI Semibold" panose="020B0702040204020203" pitchFamily="34" charset="0"/>
                  <a:ea typeface="Segoe UI" pitchFamily="34" charset="0"/>
                  <a:cs typeface="Segoe UI Semibold" panose="020B0702040204020203" pitchFamily="34" charset="0"/>
                </a:rPr>
                <a:t>ORC</a:t>
              </a:r>
            </a:p>
            <a:p>
              <a:pPr algn="ctr" defTabSz="932472" fontAlgn="base">
                <a:lnSpc>
                  <a:spcPct val="90000"/>
                </a:lnSpc>
                <a:spcBef>
                  <a:spcPct val="0"/>
                </a:spcBef>
                <a:spcAft>
                  <a:spcPct val="0"/>
                </a:spcAft>
              </a:pPr>
              <a:r>
                <a:rPr lang="en-US" sz="1200" b="1" dirty="0">
                  <a:solidFill>
                    <a:schemeClr val="bg1"/>
                  </a:solidFill>
                  <a:latin typeface="Segoe UI Semibold" panose="020B0702040204020203" pitchFamily="34" charset="0"/>
                  <a:ea typeface="Segoe UI" pitchFamily="34" charset="0"/>
                  <a:cs typeface="Segoe UI Semibold" panose="020B0702040204020203" pitchFamily="34" charset="0"/>
                </a:rPr>
                <a:t>File</a:t>
              </a:r>
            </a:p>
          </p:txBody>
        </p:sp>
        <p:sp>
          <p:nvSpPr>
            <p:cNvPr id="8" name="Rectangle 7"/>
            <p:cNvSpPr/>
            <p:nvPr/>
          </p:nvSpPr>
          <p:spPr bwMode="auto">
            <a:xfrm>
              <a:off x="8358715" y="3310730"/>
              <a:ext cx="2625858" cy="809789"/>
            </a:xfrm>
            <a:prstGeom prst="rect">
              <a:avLst/>
            </a:prstGeom>
            <a:solidFill>
              <a:schemeClr val="tx2">
                <a:lumMod val="40000"/>
                <a:lumOff val="60000"/>
              </a:schemeClr>
            </a:solid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grpSp>
          <p:nvGrpSpPr>
            <p:cNvPr id="29" name="Group 28"/>
            <p:cNvGrpSpPr/>
            <p:nvPr/>
          </p:nvGrpSpPr>
          <p:grpSpPr>
            <a:xfrm>
              <a:off x="8471183" y="3411265"/>
              <a:ext cx="770046" cy="607915"/>
              <a:chOff x="10450072" y="3249718"/>
              <a:chExt cx="843834" cy="700526"/>
            </a:xfrm>
          </p:grpSpPr>
          <p:sp>
            <p:nvSpPr>
              <p:cNvPr id="90" name="Rectangle 89"/>
              <p:cNvSpPr/>
              <p:nvPr/>
            </p:nvSpPr>
            <p:spPr bwMode="auto">
              <a:xfrm>
                <a:off x="10455346" y="3251213"/>
                <a:ext cx="838560" cy="699031"/>
              </a:xfrm>
              <a:prstGeom prst="rect">
                <a:avLst/>
              </a:prstGeom>
              <a:solidFill>
                <a:schemeClr val="accent1"/>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cxnSp>
            <p:nvCxnSpPr>
              <p:cNvPr id="91" name="Straight Connector 90"/>
              <p:cNvCxnSpPr/>
              <p:nvPr/>
            </p:nvCxnSpPr>
            <p:spPr>
              <a:xfrm>
                <a:off x="10455346" y="3374282"/>
                <a:ext cx="838560" cy="0"/>
              </a:xfrm>
              <a:prstGeom prst="line">
                <a:avLst/>
              </a:prstGeom>
              <a:solidFill>
                <a:schemeClr val="accent1"/>
              </a:solid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0455346" y="3482583"/>
                <a:ext cx="838560" cy="0"/>
              </a:xfrm>
              <a:prstGeom prst="line">
                <a:avLst/>
              </a:prstGeom>
              <a:solidFill>
                <a:schemeClr val="accent1"/>
              </a:solid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a:off x="10455346" y="3590884"/>
                <a:ext cx="838560" cy="0"/>
              </a:xfrm>
              <a:prstGeom prst="line">
                <a:avLst/>
              </a:prstGeom>
              <a:solidFill>
                <a:schemeClr val="accent1"/>
              </a:solid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a:off x="10455346" y="3699184"/>
                <a:ext cx="838560" cy="0"/>
              </a:xfrm>
              <a:prstGeom prst="line">
                <a:avLst/>
              </a:prstGeom>
              <a:solidFill>
                <a:schemeClr val="accent1"/>
              </a:solid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a:off x="10450072" y="3817332"/>
                <a:ext cx="838560" cy="0"/>
              </a:xfrm>
              <a:prstGeom prst="line">
                <a:avLst/>
              </a:prstGeom>
              <a:solidFill>
                <a:schemeClr val="accent1"/>
              </a:solid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rot="5400000">
                <a:off x="10305031" y="3592618"/>
                <a:ext cx="685800" cy="0"/>
              </a:xfrm>
              <a:prstGeom prst="line">
                <a:avLst/>
              </a:prstGeom>
              <a:solidFill>
                <a:schemeClr val="accent1"/>
              </a:solid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rot="5400000">
                <a:off x="10466484" y="3592618"/>
                <a:ext cx="685800" cy="0"/>
              </a:xfrm>
              <a:prstGeom prst="line">
                <a:avLst/>
              </a:prstGeom>
              <a:solidFill>
                <a:schemeClr val="accent1"/>
              </a:solid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rot="5400000">
                <a:off x="10618884" y="3592618"/>
                <a:ext cx="685800" cy="0"/>
              </a:xfrm>
              <a:prstGeom prst="line">
                <a:avLst/>
              </a:prstGeom>
              <a:solidFill>
                <a:schemeClr val="accent1"/>
              </a:solid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rot="5400000">
                <a:off x="10780337" y="3592618"/>
                <a:ext cx="685800" cy="0"/>
              </a:xfrm>
              <a:prstGeom prst="line">
                <a:avLst/>
              </a:prstGeom>
              <a:solidFill>
                <a:schemeClr val="accent1"/>
              </a:solid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04" name="Group 103"/>
            <p:cNvGrpSpPr/>
            <p:nvPr/>
          </p:nvGrpSpPr>
          <p:grpSpPr>
            <a:xfrm>
              <a:off x="9281333" y="3411265"/>
              <a:ext cx="770046" cy="607915"/>
              <a:chOff x="10450072" y="3249718"/>
              <a:chExt cx="843834" cy="700526"/>
            </a:xfrm>
            <a:solidFill>
              <a:schemeClr val="accent2"/>
            </a:solidFill>
          </p:grpSpPr>
          <p:sp>
            <p:nvSpPr>
              <p:cNvPr id="122" name="Rectangle 121"/>
              <p:cNvSpPr/>
              <p:nvPr/>
            </p:nvSpPr>
            <p:spPr bwMode="auto">
              <a:xfrm>
                <a:off x="10455346" y="3251213"/>
                <a:ext cx="838560" cy="699031"/>
              </a:xfrm>
              <a:prstGeom prst="rect">
                <a:avLst/>
              </a:prstGeom>
              <a:solidFill>
                <a:schemeClr val="accent5">
                  <a:lumMod val="60000"/>
                  <a:lumOff val="40000"/>
                </a:schemeClr>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cxnSp>
            <p:nvCxnSpPr>
              <p:cNvPr id="129" name="Straight Connector 128"/>
              <p:cNvCxnSpPr/>
              <p:nvPr/>
            </p:nvCxnSpPr>
            <p:spPr>
              <a:xfrm>
                <a:off x="10455346" y="3374282"/>
                <a:ext cx="838560" cy="0"/>
              </a:xfrm>
              <a:prstGeom prst="line">
                <a:avLst/>
              </a:prstGeom>
              <a:grp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a:off x="10455346" y="3482583"/>
                <a:ext cx="838560" cy="0"/>
              </a:xfrm>
              <a:prstGeom prst="line">
                <a:avLst/>
              </a:prstGeom>
              <a:grp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a:off x="10455346" y="3590884"/>
                <a:ext cx="838560" cy="0"/>
              </a:xfrm>
              <a:prstGeom prst="line">
                <a:avLst/>
              </a:prstGeom>
              <a:grp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nvCxnSpPr>
            <p:spPr>
              <a:xfrm>
                <a:off x="10455346" y="3699184"/>
                <a:ext cx="838560" cy="0"/>
              </a:xfrm>
              <a:prstGeom prst="line">
                <a:avLst/>
              </a:prstGeom>
              <a:grp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p:nvPr/>
            </p:nvCxnSpPr>
            <p:spPr>
              <a:xfrm>
                <a:off x="10450072" y="3817332"/>
                <a:ext cx="838560" cy="0"/>
              </a:xfrm>
              <a:prstGeom prst="line">
                <a:avLst/>
              </a:prstGeom>
              <a:grp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1" name="Straight Connector 140"/>
              <p:cNvCxnSpPr/>
              <p:nvPr/>
            </p:nvCxnSpPr>
            <p:spPr>
              <a:xfrm rot="5400000">
                <a:off x="10305031" y="3592618"/>
                <a:ext cx="685800" cy="0"/>
              </a:xfrm>
              <a:prstGeom prst="line">
                <a:avLst/>
              </a:prstGeom>
              <a:grp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p:nvPr/>
            </p:nvCxnSpPr>
            <p:spPr>
              <a:xfrm rot="5400000">
                <a:off x="10466484" y="3592618"/>
                <a:ext cx="685800" cy="0"/>
              </a:xfrm>
              <a:prstGeom prst="line">
                <a:avLst/>
              </a:prstGeom>
              <a:grp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3" name="Straight Connector 142"/>
              <p:cNvCxnSpPr/>
              <p:nvPr/>
            </p:nvCxnSpPr>
            <p:spPr>
              <a:xfrm rot="5400000">
                <a:off x="10618884" y="3592618"/>
                <a:ext cx="685800" cy="0"/>
              </a:xfrm>
              <a:prstGeom prst="line">
                <a:avLst/>
              </a:prstGeom>
              <a:grp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4" name="Straight Connector 143"/>
              <p:cNvCxnSpPr/>
              <p:nvPr/>
            </p:nvCxnSpPr>
            <p:spPr>
              <a:xfrm rot="5400000">
                <a:off x="10780337" y="3592618"/>
                <a:ext cx="685800" cy="0"/>
              </a:xfrm>
              <a:prstGeom prst="line">
                <a:avLst/>
              </a:prstGeom>
              <a:grp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45" name="Group 144"/>
            <p:cNvGrpSpPr/>
            <p:nvPr/>
          </p:nvGrpSpPr>
          <p:grpSpPr>
            <a:xfrm>
              <a:off x="10089022" y="3411265"/>
              <a:ext cx="770046" cy="607915"/>
              <a:chOff x="10450072" y="3249718"/>
              <a:chExt cx="843834" cy="700526"/>
            </a:xfrm>
            <a:solidFill>
              <a:schemeClr val="accent4">
                <a:lumMod val="75000"/>
              </a:schemeClr>
            </a:solidFill>
          </p:grpSpPr>
          <p:sp>
            <p:nvSpPr>
              <p:cNvPr id="146" name="Rectangle 145"/>
              <p:cNvSpPr/>
              <p:nvPr/>
            </p:nvSpPr>
            <p:spPr bwMode="auto">
              <a:xfrm>
                <a:off x="10455346" y="3251213"/>
                <a:ext cx="838560" cy="699031"/>
              </a:xfrm>
              <a:prstGeom prst="rect">
                <a:avLst/>
              </a:prstGeom>
              <a:grp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cxnSp>
            <p:nvCxnSpPr>
              <p:cNvPr id="147" name="Straight Connector 146"/>
              <p:cNvCxnSpPr/>
              <p:nvPr/>
            </p:nvCxnSpPr>
            <p:spPr>
              <a:xfrm>
                <a:off x="10455346" y="3374282"/>
                <a:ext cx="838560" cy="0"/>
              </a:xfrm>
              <a:prstGeom prst="line">
                <a:avLst/>
              </a:prstGeom>
              <a:grp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8" name="Straight Connector 147"/>
              <p:cNvCxnSpPr/>
              <p:nvPr/>
            </p:nvCxnSpPr>
            <p:spPr>
              <a:xfrm>
                <a:off x="10455346" y="3482583"/>
                <a:ext cx="838560" cy="0"/>
              </a:xfrm>
              <a:prstGeom prst="line">
                <a:avLst/>
              </a:prstGeom>
              <a:grp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9" name="Straight Connector 148"/>
              <p:cNvCxnSpPr/>
              <p:nvPr/>
            </p:nvCxnSpPr>
            <p:spPr>
              <a:xfrm>
                <a:off x="10455346" y="3590884"/>
                <a:ext cx="838560" cy="0"/>
              </a:xfrm>
              <a:prstGeom prst="line">
                <a:avLst/>
              </a:prstGeom>
              <a:grp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0" name="Straight Connector 149"/>
              <p:cNvCxnSpPr/>
              <p:nvPr/>
            </p:nvCxnSpPr>
            <p:spPr>
              <a:xfrm>
                <a:off x="10455346" y="3699184"/>
                <a:ext cx="838560" cy="0"/>
              </a:xfrm>
              <a:prstGeom prst="line">
                <a:avLst/>
              </a:prstGeom>
              <a:grp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1" name="Straight Connector 150"/>
              <p:cNvCxnSpPr/>
              <p:nvPr/>
            </p:nvCxnSpPr>
            <p:spPr>
              <a:xfrm>
                <a:off x="10450072" y="3817332"/>
                <a:ext cx="838560" cy="0"/>
              </a:xfrm>
              <a:prstGeom prst="line">
                <a:avLst/>
              </a:prstGeom>
              <a:grp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2" name="Straight Connector 151"/>
              <p:cNvCxnSpPr/>
              <p:nvPr/>
            </p:nvCxnSpPr>
            <p:spPr>
              <a:xfrm rot="5400000">
                <a:off x="10305031" y="3592618"/>
                <a:ext cx="685800" cy="0"/>
              </a:xfrm>
              <a:prstGeom prst="line">
                <a:avLst/>
              </a:prstGeom>
              <a:grp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3" name="Straight Connector 152"/>
              <p:cNvCxnSpPr/>
              <p:nvPr/>
            </p:nvCxnSpPr>
            <p:spPr>
              <a:xfrm rot="5400000">
                <a:off x="10466484" y="3592618"/>
                <a:ext cx="685800" cy="0"/>
              </a:xfrm>
              <a:prstGeom prst="line">
                <a:avLst/>
              </a:prstGeom>
              <a:grp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4" name="Straight Connector 153"/>
              <p:cNvCxnSpPr/>
              <p:nvPr/>
            </p:nvCxnSpPr>
            <p:spPr>
              <a:xfrm rot="5400000">
                <a:off x="10618884" y="3592618"/>
                <a:ext cx="685800" cy="0"/>
              </a:xfrm>
              <a:prstGeom prst="line">
                <a:avLst/>
              </a:prstGeom>
              <a:grp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p:nvPr/>
            </p:nvCxnSpPr>
            <p:spPr>
              <a:xfrm rot="5400000">
                <a:off x="10780337" y="3592618"/>
                <a:ext cx="685800" cy="0"/>
              </a:xfrm>
              <a:prstGeom prst="line">
                <a:avLst/>
              </a:prstGeom>
              <a:grp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1" name="Trapezoid 30"/>
            <p:cNvSpPr/>
            <p:nvPr/>
          </p:nvSpPr>
          <p:spPr bwMode="auto">
            <a:xfrm>
              <a:off x="7729316" y="4388946"/>
              <a:ext cx="3859736" cy="414028"/>
            </a:xfrm>
            <a:prstGeom prst="trapezoid">
              <a:avLst>
                <a:gd name="adj" fmla="val 64879"/>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200" b="1"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33" name="Left-Right Arrow 32"/>
            <p:cNvSpPr/>
            <p:nvPr/>
          </p:nvSpPr>
          <p:spPr bwMode="auto">
            <a:xfrm rot="16200000">
              <a:off x="9411524" y="2894868"/>
              <a:ext cx="583288" cy="231426"/>
            </a:xfrm>
            <a:prstGeom prst="lef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grpSp>
          <p:nvGrpSpPr>
            <p:cNvPr id="9" name="Group 8"/>
            <p:cNvGrpSpPr/>
            <p:nvPr/>
          </p:nvGrpSpPr>
          <p:grpSpPr>
            <a:xfrm>
              <a:off x="8082397" y="1887401"/>
              <a:ext cx="3166182" cy="801867"/>
              <a:chOff x="8082397" y="1887401"/>
              <a:chExt cx="3166182" cy="801867"/>
            </a:xfrm>
          </p:grpSpPr>
          <p:sp>
            <p:nvSpPr>
              <p:cNvPr id="71" name="Rectangle 70"/>
              <p:cNvSpPr/>
              <p:nvPr/>
            </p:nvSpPr>
            <p:spPr bwMode="auto">
              <a:xfrm>
                <a:off x="9700079" y="1887401"/>
                <a:ext cx="741867" cy="801867"/>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70" name="Rectangle 69"/>
              <p:cNvSpPr/>
              <p:nvPr/>
            </p:nvSpPr>
            <p:spPr bwMode="auto">
              <a:xfrm>
                <a:off x="8929070" y="1887401"/>
                <a:ext cx="741867" cy="80186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119" name="Rectangle 118"/>
              <p:cNvSpPr/>
              <p:nvPr/>
            </p:nvSpPr>
            <p:spPr bwMode="auto">
              <a:xfrm>
                <a:off x="8082397" y="1887401"/>
                <a:ext cx="741867" cy="801867"/>
              </a:xfrm>
              <a:prstGeom prst="rect">
                <a:avLst/>
              </a:prstGeom>
              <a:solidFill>
                <a:srgbClr val="FFC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grpSp>
            <p:nvGrpSpPr>
              <p:cNvPr id="7" name="Group 6"/>
              <p:cNvGrpSpPr/>
              <p:nvPr/>
            </p:nvGrpSpPr>
            <p:grpSpPr>
              <a:xfrm>
                <a:off x="8174760" y="2006031"/>
                <a:ext cx="557141" cy="564606"/>
                <a:chOff x="7776655" y="2038927"/>
                <a:chExt cx="557141" cy="564606"/>
              </a:xfrm>
            </p:grpSpPr>
            <p:sp>
              <p:nvSpPr>
                <p:cNvPr id="10" name="Freeform 9"/>
                <p:cNvSpPr/>
                <p:nvPr/>
              </p:nvSpPr>
              <p:spPr bwMode="auto">
                <a:xfrm>
                  <a:off x="7929674" y="2272412"/>
                  <a:ext cx="302436" cy="331121"/>
                </a:xfrm>
                <a:custGeom>
                  <a:avLst/>
                  <a:gdLst>
                    <a:gd name="connsiteX0" fmla="*/ 338138 w 728663"/>
                    <a:gd name="connsiteY0" fmla="*/ 0 h 823912"/>
                    <a:gd name="connsiteX1" fmla="*/ 73819 w 728663"/>
                    <a:gd name="connsiteY1" fmla="*/ 97631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38138 w 728663"/>
                    <a:gd name="connsiteY0" fmla="*/ 0 h 823912"/>
                    <a:gd name="connsiteX1" fmla="*/ 35719 w 728663"/>
                    <a:gd name="connsiteY1" fmla="*/ 73819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38138 w 728663"/>
                    <a:gd name="connsiteY0" fmla="*/ 0 h 823912"/>
                    <a:gd name="connsiteX1" fmla="*/ 97631 w 728663"/>
                    <a:gd name="connsiteY1" fmla="*/ 66675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38138 w 728663"/>
                    <a:gd name="connsiteY0" fmla="*/ 0 h 823912"/>
                    <a:gd name="connsiteX1" fmla="*/ 97631 w 728663"/>
                    <a:gd name="connsiteY1" fmla="*/ 66675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38138 w 728663"/>
                    <a:gd name="connsiteY0" fmla="*/ 0 h 823912"/>
                    <a:gd name="connsiteX1" fmla="*/ 97631 w 728663"/>
                    <a:gd name="connsiteY1" fmla="*/ 66675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21470 w 711995"/>
                    <a:gd name="connsiteY0" fmla="*/ 0 h 823912"/>
                    <a:gd name="connsiteX1" fmla="*/ 80963 w 711995"/>
                    <a:gd name="connsiteY1" fmla="*/ 66675 h 823912"/>
                    <a:gd name="connsiteX2" fmla="*/ 0 w 711995"/>
                    <a:gd name="connsiteY2" fmla="*/ 497681 h 823912"/>
                    <a:gd name="connsiteX3" fmla="*/ 450057 w 711995"/>
                    <a:gd name="connsiteY3" fmla="*/ 823912 h 823912"/>
                    <a:gd name="connsiteX4" fmla="*/ 711995 w 711995"/>
                    <a:gd name="connsiteY4" fmla="*/ 733425 h 823912"/>
                    <a:gd name="connsiteX5" fmla="*/ 476251 w 711995"/>
                    <a:gd name="connsiteY5" fmla="*/ 707231 h 823912"/>
                    <a:gd name="connsiteX6" fmla="*/ 495301 w 711995"/>
                    <a:gd name="connsiteY6" fmla="*/ 621506 h 823912"/>
                    <a:gd name="connsiteX7" fmla="*/ 497682 w 711995"/>
                    <a:gd name="connsiteY7" fmla="*/ 571500 h 823912"/>
                    <a:gd name="connsiteX8" fmla="*/ 350045 w 711995"/>
                    <a:gd name="connsiteY8" fmla="*/ 423862 h 823912"/>
                    <a:gd name="connsiteX9" fmla="*/ 521495 w 711995"/>
                    <a:gd name="connsiteY9" fmla="*/ 528637 h 823912"/>
                    <a:gd name="connsiteX10" fmla="*/ 521495 w 711995"/>
                    <a:gd name="connsiteY10" fmla="*/ 302418 h 823912"/>
                    <a:gd name="connsiteX11" fmla="*/ 357189 w 711995"/>
                    <a:gd name="connsiteY11" fmla="*/ 54768 h 823912"/>
                    <a:gd name="connsiteX12" fmla="*/ 321470 w 711995"/>
                    <a:gd name="connsiteY12" fmla="*/ 0 h 823912"/>
                    <a:gd name="connsiteX0" fmla="*/ 347343 w 737868"/>
                    <a:gd name="connsiteY0" fmla="*/ 0 h 823912"/>
                    <a:gd name="connsiteX1" fmla="*/ 106836 w 737868"/>
                    <a:gd name="connsiteY1" fmla="*/ 66675 h 823912"/>
                    <a:gd name="connsiteX2" fmla="*/ 25873 w 737868"/>
                    <a:gd name="connsiteY2" fmla="*/ 497681 h 823912"/>
                    <a:gd name="connsiteX3" fmla="*/ 475930 w 737868"/>
                    <a:gd name="connsiteY3" fmla="*/ 823912 h 823912"/>
                    <a:gd name="connsiteX4" fmla="*/ 737868 w 737868"/>
                    <a:gd name="connsiteY4" fmla="*/ 733425 h 823912"/>
                    <a:gd name="connsiteX5" fmla="*/ 502124 w 737868"/>
                    <a:gd name="connsiteY5" fmla="*/ 707231 h 823912"/>
                    <a:gd name="connsiteX6" fmla="*/ 521174 w 737868"/>
                    <a:gd name="connsiteY6" fmla="*/ 621506 h 823912"/>
                    <a:gd name="connsiteX7" fmla="*/ 523555 w 737868"/>
                    <a:gd name="connsiteY7" fmla="*/ 571500 h 823912"/>
                    <a:gd name="connsiteX8" fmla="*/ 375918 w 737868"/>
                    <a:gd name="connsiteY8" fmla="*/ 423862 h 823912"/>
                    <a:gd name="connsiteX9" fmla="*/ 547368 w 737868"/>
                    <a:gd name="connsiteY9" fmla="*/ 528637 h 823912"/>
                    <a:gd name="connsiteX10" fmla="*/ 547368 w 737868"/>
                    <a:gd name="connsiteY10" fmla="*/ 302418 h 823912"/>
                    <a:gd name="connsiteX11" fmla="*/ 383062 w 737868"/>
                    <a:gd name="connsiteY11" fmla="*/ 54768 h 823912"/>
                    <a:gd name="connsiteX12" fmla="*/ 347343 w 737868"/>
                    <a:gd name="connsiteY12" fmla="*/ 0 h 823912"/>
                    <a:gd name="connsiteX0" fmla="*/ 347343 w 737868"/>
                    <a:gd name="connsiteY0" fmla="*/ 0 h 823912"/>
                    <a:gd name="connsiteX1" fmla="*/ 106836 w 737868"/>
                    <a:gd name="connsiteY1" fmla="*/ 66675 h 823912"/>
                    <a:gd name="connsiteX2" fmla="*/ 25873 w 737868"/>
                    <a:gd name="connsiteY2" fmla="*/ 497681 h 823912"/>
                    <a:gd name="connsiteX3" fmla="*/ 475930 w 737868"/>
                    <a:gd name="connsiteY3" fmla="*/ 823912 h 823912"/>
                    <a:gd name="connsiteX4" fmla="*/ 737868 w 737868"/>
                    <a:gd name="connsiteY4" fmla="*/ 733425 h 823912"/>
                    <a:gd name="connsiteX5" fmla="*/ 502124 w 737868"/>
                    <a:gd name="connsiteY5" fmla="*/ 707231 h 823912"/>
                    <a:gd name="connsiteX6" fmla="*/ 521174 w 737868"/>
                    <a:gd name="connsiteY6" fmla="*/ 621506 h 823912"/>
                    <a:gd name="connsiteX7" fmla="*/ 523555 w 737868"/>
                    <a:gd name="connsiteY7" fmla="*/ 571500 h 823912"/>
                    <a:gd name="connsiteX8" fmla="*/ 375918 w 737868"/>
                    <a:gd name="connsiteY8" fmla="*/ 423862 h 823912"/>
                    <a:gd name="connsiteX9" fmla="*/ 547368 w 737868"/>
                    <a:gd name="connsiteY9" fmla="*/ 528637 h 823912"/>
                    <a:gd name="connsiteX10" fmla="*/ 547368 w 737868"/>
                    <a:gd name="connsiteY10" fmla="*/ 302418 h 823912"/>
                    <a:gd name="connsiteX11" fmla="*/ 383062 w 737868"/>
                    <a:gd name="connsiteY11" fmla="*/ 54768 h 823912"/>
                    <a:gd name="connsiteX12" fmla="*/ 347343 w 737868"/>
                    <a:gd name="connsiteY12" fmla="*/ 0 h 823912"/>
                    <a:gd name="connsiteX0" fmla="*/ 347343 w 737868"/>
                    <a:gd name="connsiteY0" fmla="*/ 0 h 795337"/>
                    <a:gd name="connsiteX1" fmla="*/ 106836 w 737868"/>
                    <a:gd name="connsiteY1" fmla="*/ 66675 h 795337"/>
                    <a:gd name="connsiteX2" fmla="*/ 25873 w 737868"/>
                    <a:gd name="connsiteY2" fmla="*/ 497681 h 795337"/>
                    <a:gd name="connsiteX3" fmla="*/ 487836 w 737868"/>
                    <a:gd name="connsiteY3" fmla="*/ 795337 h 795337"/>
                    <a:gd name="connsiteX4" fmla="*/ 737868 w 737868"/>
                    <a:gd name="connsiteY4" fmla="*/ 733425 h 795337"/>
                    <a:gd name="connsiteX5" fmla="*/ 502124 w 737868"/>
                    <a:gd name="connsiteY5" fmla="*/ 707231 h 795337"/>
                    <a:gd name="connsiteX6" fmla="*/ 521174 w 737868"/>
                    <a:gd name="connsiteY6" fmla="*/ 621506 h 795337"/>
                    <a:gd name="connsiteX7" fmla="*/ 523555 w 737868"/>
                    <a:gd name="connsiteY7" fmla="*/ 571500 h 795337"/>
                    <a:gd name="connsiteX8" fmla="*/ 375918 w 737868"/>
                    <a:gd name="connsiteY8" fmla="*/ 423862 h 795337"/>
                    <a:gd name="connsiteX9" fmla="*/ 547368 w 737868"/>
                    <a:gd name="connsiteY9" fmla="*/ 528637 h 795337"/>
                    <a:gd name="connsiteX10" fmla="*/ 547368 w 737868"/>
                    <a:gd name="connsiteY10" fmla="*/ 302418 h 795337"/>
                    <a:gd name="connsiteX11" fmla="*/ 383062 w 737868"/>
                    <a:gd name="connsiteY11" fmla="*/ 54768 h 795337"/>
                    <a:gd name="connsiteX12" fmla="*/ 347343 w 737868"/>
                    <a:gd name="connsiteY12" fmla="*/ 0 h 795337"/>
                    <a:gd name="connsiteX0" fmla="*/ 347343 w 737868"/>
                    <a:gd name="connsiteY0" fmla="*/ 0 h 800325"/>
                    <a:gd name="connsiteX1" fmla="*/ 106836 w 737868"/>
                    <a:gd name="connsiteY1" fmla="*/ 66675 h 800325"/>
                    <a:gd name="connsiteX2" fmla="*/ 25873 w 737868"/>
                    <a:gd name="connsiteY2" fmla="*/ 497681 h 800325"/>
                    <a:gd name="connsiteX3" fmla="*/ 487836 w 737868"/>
                    <a:gd name="connsiteY3" fmla="*/ 795337 h 800325"/>
                    <a:gd name="connsiteX4" fmla="*/ 737868 w 737868"/>
                    <a:gd name="connsiteY4" fmla="*/ 733425 h 800325"/>
                    <a:gd name="connsiteX5" fmla="*/ 502124 w 737868"/>
                    <a:gd name="connsiteY5" fmla="*/ 707231 h 800325"/>
                    <a:gd name="connsiteX6" fmla="*/ 521174 w 737868"/>
                    <a:gd name="connsiteY6" fmla="*/ 621506 h 800325"/>
                    <a:gd name="connsiteX7" fmla="*/ 523555 w 737868"/>
                    <a:gd name="connsiteY7" fmla="*/ 571500 h 800325"/>
                    <a:gd name="connsiteX8" fmla="*/ 375918 w 737868"/>
                    <a:gd name="connsiteY8" fmla="*/ 423862 h 800325"/>
                    <a:gd name="connsiteX9" fmla="*/ 547368 w 737868"/>
                    <a:gd name="connsiteY9" fmla="*/ 528637 h 800325"/>
                    <a:gd name="connsiteX10" fmla="*/ 547368 w 737868"/>
                    <a:gd name="connsiteY10" fmla="*/ 302418 h 800325"/>
                    <a:gd name="connsiteX11" fmla="*/ 383062 w 737868"/>
                    <a:gd name="connsiteY11" fmla="*/ 54768 h 800325"/>
                    <a:gd name="connsiteX12" fmla="*/ 347343 w 737868"/>
                    <a:gd name="connsiteY12" fmla="*/ 0 h 800325"/>
                    <a:gd name="connsiteX0" fmla="*/ 347343 w 771205"/>
                    <a:gd name="connsiteY0" fmla="*/ 0 h 800325"/>
                    <a:gd name="connsiteX1" fmla="*/ 106836 w 771205"/>
                    <a:gd name="connsiteY1" fmla="*/ 66675 h 800325"/>
                    <a:gd name="connsiteX2" fmla="*/ 25873 w 771205"/>
                    <a:gd name="connsiteY2" fmla="*/ 497681 h 800325"/>
                    <a:gd name="connsiteX3" fmla="*/ 487836 w 771205"/>
                    <a:gd name="connsiteY3" fmla="*/ 795337 h 800325"/>
                    <a:gd name="connsiteX4" fmla="*/ 771205 w 771205"/>
                    <a:gd name="connsiteY4" fmla="*/ 707232 h 800325"/>
                    <a:gd name="connsiteX5" fmla="*/ 502124 w 771205"/>
                    <a:gd name="connsiteY5" fmla="*/ 707231 h 800325"/>
                    <a:gd name="connsiteX6" fmla="*/ 521174 w 771205"/>
                    <a:gd name="connsiteY6" fmla="*/ 621506 h 800325"/>
                    <a:gd name="connsiteX7" fmla="*/ 523555 w 771205"/>
                    <a:gd name="connsiteY7" fmla="*/ 571500 h 800325"/>
                    <a:gd name="connsiteX8" fmla="*/ 375918 w 771205"/>
                    <a:gd name="connsiteY8" fmla="*/ 423862 h 800325"/>
                    <a:gd name="connsiteX9" fmla="*/ 547368 w 771205"/>
                    <a:gd name="connsiteY9" fmla="*/ 528637 h 800325"/>
                    <a:gd name="connsiteX10" fmla="*/ 547368 w 771205"/>
                    <a:gd name="connsiteY10" fmla="*/ 302418 h 800325"/>
                    <a:gd name="connsiteX11" fmla="*/ 383062 w 771205"/>
                    <a:gd name="connsiteY11" fmla="*/ 54768 h 800325"/>
                    <a:gd name="connsiteX12" fmla="*/ 347343 w 771205"/>
                    <a:gd name="connsiteY12" fmla="*/ 0 h 800325"/>
                    <a:gd name="connsiteX0" fmla="*/ 347343 w 771205"/>
                    <a:gd name="connsiteY0" fmla="*/ 0 h 800325"/>
                    <a:gd name="connsiteX1" fmla="*/ 106836 w 771205"/>
                    <a:gd name="connsiteY1" fmla="*/ 66675 h 800325"/>
                    <a:gd name="connsiteX2" fmla="*/ 25873 w 771205"/>
                    <a:gd name="connsiteY2" fmla="*/ 497681 h 800325"/>
                    <a:gd name="connsiteX3" fmla="*/ 487836 w 771205"/>
                    <a:gd name="connsiteY3" fmla="*/ 795337 h 800325"/>
                    <a:gd name="connsiteX4" fmla="*/ 771205 w 771205"/>
                    <a:gd name="connsiteY4" fmla="*/ 707232 h 800325"/>
                    <a:gd name="connsiteX5" fmla="*/ 502124 w 771205"/>
                    <a:gd name="connsiteY5" fmla="*/ 707231 h 800325"/>
                    <a:gd name="connsiteX6" fmla="*/ 521174 w 771205"/>
                    <a:gd name="connsiteY6" fmla="*/ 621506 h 800325"/>
                    <a:gd name="connsiteX7" fmla="*/ 523555 w 771205"/>
                    <a:gd name="connsiteY7" fmla="*/ 571500 h 800325"/>
                    <a:gd name="connsiteX8" fmla="*/ 375918 w 771205"/>
                    <a:gd name="connsiteY8" fmla="*/ 423862 h 800325"/>
                    <a:gd name="connsiteX9" fmla="*/ 547368 w 771205"/>
                    <a:gd name="connsiteY9" fmla="*/ 528637 h 800325"/>
                    <a:gd name="connsiteX10" fmla="*/ 547368 w 771205"/>
                    <a:gd name="connsiteY10" fmla="*/ 302418 h 800325"/>
                    <a:gd name="connsiteX11" fmla="*/ 383062 w 771205"/>
                    <a:gd name="connsiteY11" fmla="*/ 54768 h 800325"/>
                    <a:gd name="connsiteX12" fmla="*/ 347343 w 77120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502124 w 752155"/>
                    <a:gd name="connsiteY5" fmla="*/ 707231 h 800325"/>
                    <a:gd name="connsiteX6" fmla="*/ 521174 w 752155"/>
                    <a:gd name="connsiteY6" fmla="*/ 621506 h 800325"/>
                    <a:gd name="connsiteX7" fmla="*/ 523555 w 752155"/>
                    <a:gd name="connsiteY7" fmla="*/ 571500 h 800325"/>
                    <a:gd name="connsiteX8" fmla="*/ 375918 w 752155"/>
                    <a:gd name="connsiteY8" fmla="*/ 423862 h 800325"/>
                    <a:gd name="connsiteX9" fmla="*/ 547368 w 752155"/>
                    <a:gd name="connsiteY9" fmla="*/ 528637 h 800325"/>
                    <a:gd name="connsiteX10" fmla="*/ 547368 w 752155"/>
                    <a:gd name="connsiteY10" fmla="*/ 302418 h 800325"/>
                    <a:gd name="connsiteX11" fmla="*/ 383062 w 752155"/>
                    <a:gd name="connsiteY11" fmla="*/ 54768 h 800325"/>
                    <a:gd name="connsiteX12" fmla="*/ 347343 w 75215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1174 w 752155"/>
                    <a:gd name="connsiteY6" fmla="*/ 621506 h 800325"/>
                    <a:gd name="connsiteX7" fmla="*/ 523555 w 752155"/>
                    <a:gd name="connsiteY7" fmla="*/ 571500 h 800325"/>
                    <a:gd name="connsiteX8" fmla="*/ 375918 w 752155"/>
                    <a:gd name="connsiteY8" fmla="*/ 423862 h 800325"/>
                    <a:gd name="connsiteX9" fmla="*/ 547368 w 752155"/>
                    <a:gd name="connsiteY9" fmla="*/ 528637 h 800325"/>
                    <a:gd name="connsiteX10" fmla="*/ 547368 w 752155"/>
                    <a:gd name="connsiteY10" fmla="*/ 302418 h 800325"/>
                    <a:gd name="connsiteX11" fmla="*/ 383062 w 752155"/>
                    <a:gd name="connsiteY11" fmla="*/ 54768 h 800325"/>
                    <a:gd name="connsiteX12" fmla="*/ 347343 w 75215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1174 w 752155"/>
                    <a:gd name="connsiteY6" fmla="*/ 621506 h 800325"/>
                    <a:gd name="connsiteX7" fmla="*/ 523555 w 752155"/>
                    <a:gd name="connsiteY7" fmla="*/ 571500 h 800325"/>
                    <a:gd name="connsiteX8" fmla="*/ 375918 w 752155"/>
                    <a:gd name="connsiteY8" fmla="*/ 423862 h 800325"/>
                    <a:gd name="connsiteX9" fmla="*/ 547368 w 752155"/>
                    <a:gd name="connsiteY9" fmla="*/ 528637 h 800325"/>
                    <a:gd name="connsiteX10" fmla="*/ 547368 w 752155"/>
                    <a:gd name="connsiteY10" fmla="*/ 302418 h 800325"/>
                    <a:gd name="connsiteX11" fmla="*/ 383062 w 752155"/>
                    <a:gd name="connsiteY11" fmla="*/ 54768 h 800325"/>
                    <a:gd name="connsiteX12" fmla="*/ 347343 w 75215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1174 w 752155"/>
                    <a:gd name="connsiteY6" fmla="*/ 621506 h 800325"/>
                    <a:gd name="connsiteX7" fmla="*/ 523555 w 752155"/>
                    <a:gd name="connsiteY7" fmla="*/ 571500 h 800325"/>
                    <a:gd name="connsiteX8" fmla="*/ 375918 w 752155"/>
                    <a:gd name="connsiteY8" fmla="*/ 423862 h 800325"/>
                    <a:gd name="connsiteX9" fmla="*/ 547368 w 752155"/>
                    <a:gd name="connsiteY9" fmla="*/ 528637 h 800325"/>
                    <a:gd name="connsiteX10" fmla="*/ 547368 w 752155"/>
                    <a:gd name="connsiteY10" fmla="*/ 302418 h 800325"/>
                    <a:gd name="connsiteX11" fmla="*/ 383062 w 752155"/>
                    <a:gd name="connsiteY11" fmla="*/ 54768 h 800325"/>
                    <a:gd name="connsiteX12" fmla="*/ 347343 w 75215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11649 w 752155"/>
                    <a:gd name="connsiteY6" fmla="*/ 666751 h 800325"/>
                    <a:gd name="connsiteX7" fmla="*/ 521174 w 752155"/>
                    <a:gd name="connsiteY7" fmla="*/ 621506 h 800325"/>
                    <a:gd name="connsiteX8" fmla="*/ 523555 w 752155"/>
                    <a:gd name="connsiteY8" fmla="*/ 571500 h 800325"/>
                    <a:gd name="connsiteX9" fmla="*/ 375918 w 752155"/>
                    <a:gd name="connsiteY9" fmla="*/ 423862 h 800325"/>
                    <a:gd name="connsiteX10" fmla="*/ 547368 w 752155"/>
                    <a:gd name="connsiteY10" fmla="*/ 528637 h 800325"/>
                    <a:gd name="connsiteX11" fmla="*/ 547368 w 752155"/>
                    <a:gd name="connsiteY11" fmla="*/ 302418 h 800325"/>
                    <a:gd name="connsiteX12" fmla="*/ 383062 w 752155"/>
                    <a:gd name="connsiteY12" fmla="*/ 54768 h 800325"/>
                    <a:gd name="connsiteX13" fmla="*/ 347343 w 752155"/>
                    <a:gd name="connsiteY13"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3419 h 800325"/>
                    <a:gd name="connsiteX7" fmla="*/ 521174 w 752155"/>
                    <a:gd name="connsiteY7" fmla="*/ 621506 h 800325"/>
                    <a:gd name="connsiteX8" fmla="*/ 523555 w 752155"/>
                    <a:gd name="connsiteY8" fmla="*/ 571500 h 800325"/>
                    <a:gd name="connsiteX9" fmla="*/ 375918 w 752155"/>
                    <a:gd name="connsiteY9" fmla="*/ 423862 h 800325"/>
                    <a:gd name="connsiteX10" fmla="*/ 547368 w 752155"/>
                    <a:gd name="connsiteY10" fmla="*/ 528637 h 800325"/>
                    <a:gd name="connsiteX11" fmla="*/ 547368 w 752155"/>
                    <a:gd name="connsiteY11" fmla="*/ 302418 h 800325"/>
                    <a:gd name="connsiteX12" fmla="*/ 383062 w 752155"/>
                    <a:gd name="connsiteY12" fmla="*/ 54768 h 800325"/>
                    <a:gd name="connsiteX13" fmla="*/ 347343 w 752155"/>
                    <a:gd name="connsiteY13"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3419 h 800325"/>
                    <a:gd name="connsiteX7" fmla="*/ 528318 w 752155"/>
                    <a:gd name="connsiteY7" fmla="*/ 642938 h 800325"/>
                    <a:gd name="connsiteX8" fmla="*/ 521174 w 752155"/>
                    <a:gd name="connsiteY8" fmla="*/ 621506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3419 h 800325"/>
                    <a:gd name="connsiteX7" fmla="*/ 387824 w 752155"/>
                    <a:gd name="connsiteY7" fmla="*/ 614363 h 800325"/>
                    <a:gd name="connsiteX8" fmla="*/ 521174 w 752155"/>
                    <a:gd name="connsiteY8" fmla="*/ 621506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3419 h 800325"/>
                    <a:gd name="connsiteX7" fmla="*/ 387824 w 752155"/>
                    <a:gd name="connsiteY7" fmla="*/ 614363 h 800325"/>
                    <a:gd name="connsiteX8" fmla="*/ 521174 w 752155"/>
                    <a:gd name="connsiteY8" fmla="*/ 621506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1174 w 752155"/>
                    <a:gd name="connsiteY8" fmla="*/ 621506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547368 w 752155"/>
                    <a:gd name="connsiteY9" fmla="*/ 545306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537843 w 752155"/>
                    <a:gd name="connsiteY9" fmla="*/ 578644 h 800325"/>
                    <a:gd name="connsiteX10" fmla="*/ 547368 w 752155"/>
                    <a:gd name="connsiteY10" fmla="*/ 545306 h 800325"/>
                    <a:gd name="connsiteX11" fmla="*/ 375918 w 752155"/>
                    <a:gd name="connsiteY11" fmla="*/ 423862 h 800325"/>
                    <a:gd name="connsiteX12" fmla="*/ 547368 w 752155"/>
                    <a:gd name="connsiteY12" fmla="*/ 528637 h 800325"/>
                    <a:gd name="connsiteX13" fmla="*/ 547368 w 752155"/>
                    <a:gd name="connsiteY13" fmla="*/ 302418 h 800325"/>
                    <a:gd name="connsiteX14" fmla="*/ 383062 w 752155"/>
                    <a:gd name="connsiteY14" fmla="*/ 54768 h 800325"/>
                    <a:gd name="connsiteX15" fmla="*/ 347343 w 752155"/>
                    <a:gd name="connsiteY15"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1630 w 752155"/>
                    <a:gd name="connsiteY9" fmla="*/ 554831 h 800325"/>
                    <a:gd name="connsiteX10" fmla="*/ 547368 w 752155"/>
                    <a:gd name="connsiteY10" fmla="*/ 545306 h 800325"/>
                    <a:gd name="connsiteX11" fmla="*/ 375918 w 752155"/>
                    <a:gd name="connsiteY11" fmla="*/ 423862 h 800325"/>
                    <a:gd name="connsiteX12" fmla="*/ 547368 w 752155"/>
                    <a:gd name="connsiteY12" fmla="*/ 528637 h 800325"/>
                    <a:gd name="connsiteX13" fmla="*/ 547368 w 752155"/>
                    <a:gd name="connsiteY13" fmla="*/ 302418 h 800325"/>
                    <a:gd name="connsiteX14" fmla="*/ 383062 w 752155"/>
                    <a:gd name="connsiteY14" fmla="*/ 54768 h 800325"/>
                    <a:gd name="connsiteX15" fmla="*/ 347343 w 752155"/>
                    <a:gd name="connsiteY15"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1630 w 752155"/>
                    <a:gd name="connsiteY9" fmla="*/ 554831 h 800325"/>
                    <a:gd name="connsiteX10" fmla="*/ 447355 w 752155"/>
                    <a:gd name="connsiteY10" fmla="*/ 552451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1630 w 752155"/>
                    <a:gd name="connsiteY9" fmla="*/ 554831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99730 w 752155"/>
                    <a:gd name="connsiteY12" fmla="*/ 428624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99730 w 752155"/>
                    <a:gd name="connsiteY12" fmla="*/ 428624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99730 w 752155"/>
                    <a:gd name="connsiteY12" fmla="*/ 428624 h 800325"/>
                    <a:gd name="connsiteX13" fmla="*/ 533080 w 752155"/>
                    <a:gd name="connsiteY13" fmla="*/ 435768 h 800325"/>
                    <a:gd name="connsiteX14" fmla="*/ 547368 w 752155"/>
                    <a:gd name="connsiteY14" fmla="*/ 302418 h 800325"/>
                    <a:gd name="connsiteX15" fmla="*/ 383062 w 752155"/>
                    <a:gd name="connsiteY15" fmla="*/ 54768 h 800325"/>
                    <a:gd name="connsiteX16" fmla="*/ 347343 w 752155"/>
                    <a:gd name="connsiteY16" fmla="*/ 0 h 800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52155" h="800325">
                      <a:moveTo>
                        <a:pt x="347343" y="0"/>
                      </a:moveTo>
                      <a:cubicBezTo>
                        <a:pt x="267174" y="22225"/>
                        <a:pt x="165574" y="11112"/>
                        <a:pt x="106836" y="66675"/>
                      </a:cubicBezTo>
                      <a:cubicBezTo>
                        <a:pt x="-11433" y="199230"/>
                        <a:pt x="-20164" y="298450"/>
                        <a:pt x="25873" y="497681"/>
                      </a:cubicBezTo>
                      <a:cubicBezTo>
                        <a:pt x="106835" y="742156"/>
                        <a:pt x="421161" y="822324"/>
                        <a:pt x="487836" y="795337"/>
                      </a:cubicBezTo>
                      <a:lnTo>
                        <a:pt x="752155" y="709613"/>
                      </a:lnTo>
                      <a:cubicBezTo>
                        <a:pt x="660079" y="719138"/>
                        <a:pt x="534668" y="731044"/>
                        <a:pt x="464024" y="695325"/>
                      </a:cubicBezTo>
                      <a:cubicBezTo>
                        <a:pt x="423940" y="688181"/>
                        <a:pt x="518793" y="698103"/>
                        <a:pt x="528318" y="685800"/>
                      </a:cubicBezTo>
                      <a:cubicBezTo>
                        <a:pt x="539034" y="677069"/>
                        <a:pt x="431878" y="688975"/>
                        <a:pt x="387824" y="614363"/>
                      </a:cubicBezTo>
                      <a:cubicBezTo>
                        <a:pt x="469976" y="611188"/>
                        <a:pt x="524349" y="619123"/>
                        <a:pt x="523555" y="607217"/>
                      </a:cubicBezTo>
                      <a:cubicBezTo>
                        <a:pt x="474343" y="604837"/>
                        <a:pt x="408461" y="600074"/>
                        <a:pt x="366392" y="557212"/>
                      </a:cubicBezTo>
                      <a:lnTo>
                        <a:pt x="383061" y="483395"/>
                      </a:lnTo>
                      <a:cubicBezTo>
                        <a:pt x="425923" y="532607"/>
                        <a:pt x="473550" y="553243"/>
                        <a:pt x="533080" y="559594"/>
                      </a:cubicBezTo>
                      <a:cubicBezTo>
                        <a:pt x="466405" y="540544"/>
                        <a:pt x="418779" y="488155"/>
                        <a:pt x="399730" y="428624"/>
                      </a:cubicBezTo>
                      <a:lnTo>
                        <a:pt x="533080" y="435768"/>
                      </a:lnTo>
                      <a:lnTo>
                        <a:pt x="547368" y="302418"/>
                      </a:lnTo>
                      <a:lnTo>
                        <a:pt x="383062" y="54768"/>
                      </a:lnTo>
                      <a:lnTo>
                        <a:pt x="347343" y="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IN" sz="1961"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grpSp>
              <p:nvGrpSpPr>
                <p:cNvPr id="11" name="Group 10"/>
                <p:cNvGrpSpPr/>
                <p:nvPr/>
              </p:nvGrpSpPr>
              <p:grpSpPr>
                <a:xfrm>
                  <a:off x="7776655" y="2038927"/>
                  <a:ext cx="557141" cy="558980"/>
                  <a:chOff x="1058398" y="3354142"/>
                  <a:chExt cx="533724" cy="520421"/>
                </a:xfrm>
              </p:grpSpPr>
              <p:sp>
                <p:nvSpPr>
                  <p:cNvPr id="12" name="Freeform 11"/>
                  <p:cNvSpPr/>
                  <p:nvPr/>
                </p:nvSpPr>
                <p:spPr bwMode="auto">
                  <a:xfrm>
                    <a:off x="1058398" y="3354142"/>
                    <a:ext cx="533723" cy="415322"/>
                  </a:xfrm>
                  <a:custGeom>
                    <a:avLst/>
                    <a:gdLst>
                      <a:gd name="connsiteX0" fmla="*/ 528506 w 533723"/>
                      <a:gd name="connsiteY0" fmla="*/ 291832 h 418083"/>
                      <a:gd name="connsiteX1" fmla="*/ 510121 w 533723"/>
                      <a:gd name="connsiteY1" fmla="*/ 300446 h 418083"/>
                      <a:gd name="connsiteX2" fmla="*/ 500354 w 533723"/>
                      <a:gd name="connsiteY2" fmla="*/ 302312 h 418083"/>
                      <a:gd name="connsiteX3" fmla="*/ 489695 w 533723"/>
                      <a:gd name="connsiteY3" fmla="*/ 299159 h 418083"/>
                      <a:gd name="connsiteX4" fmla="*/ 490953 w 533723"/>
                      <a:gd name="connsiteY4" fmla="*/ 302242 h 418083"/>
                      <a:gd name="connsiteX5" fmla="*/ 490826 w 533723"/>
                      <a:gd name="connsiteY5" fmla="*/ 302554 h 418083"/>
                      <a:gd name="connsiteX6" fmla="*/ 497481 w 533723"/>
                      <a:gd name="connsiteY6" fmla="*/ 306188 h 418083"/>
                      <a:gd name="connsiteX7" fmla="*/ 505812 w 533723"/>
                      <a:gd name="connsiteY7" fmla="*/ 305901 h 418083"/>
                      <a:gd name="connsiteX8" fmla="*/ 523335 w 533723"/>
                      <a:gd name="connsiteY8" fmla="*/ 297575 h 418083"/>
                      <a:gd name="connsiteX9" fmla="*/ 528506 w 533723"/>
                      <a:gd name="connsiteY9" fmla="*/ 291832 h 418083"/>
                      <a:gd name="connsiteX10" fmla="*/ 459095 w 533723"/>
                      <a:gd name="connsiteY10" fmla="*/ 214354 h 418083"/>
                      <a:gd name="connsiteX11" fmla="*/ 470185 w 533723"/>
                      <a:gd name="connsiteY11" fmla="*/ 232917 h 418083"/>
                      <a:gd name="connsiteX12" fmla="*/ 469083 w 533723"/>
                      <a:gd name="connsiteY12" fmla="*/ 236710 h 418083"/>
                      <a:gd name="connsiteX13" fmla="*/ 465107 w 533723"/>
                      <a:gd name="connsiteY13" fmla="*/ 228628 h 418083"/>
                      <a:gd name="connsiteX14" fmla="*/ 462850 w 533723"/>
                      <a:gd name="connsiteY14" fmla="*/ 223907 h 418083"/>
                      <a:gd name="connsiteX15" fmla="*/ 461361 w 533723"/>
                      <a:gd name="connsiteY15" fmla="*/ 220754 h 418083"/>
                      <a:gd name="connsiteX16" fmla="*/ 458921 w 533723"/>
                      <a:gd name="connsiteY16" fmla="*/ 213862 h 418083"/>
                      <a:gd name="connsiteX17" fmla="*/ 459095 w 533723"/>
                      <a:gd name="connsiteY17" fmla="*/ 214354 h 418083"/>
                      <a:gd name="connsiteX18" fmla="*/ 458953 w 533723"/>
                      <a:gd name="connsiteY18" fmla="*/ 214116 h 418083"/>
                      <a:gd name="connsiteX19" fmla="*/ 231642 w 533723"/>
                      <a:gd name="connsiteY19" fmla="*/ 117869 h 418083"/>
                      <a:gd name="connsiteX20" fmla="*/ 245739 w 533723"/>
                      <a:gd name="connsiteY20" fmla="*/ 119960 h 418083"/>
                      <a:gd name="connsiteX21" fmla="*/ 247479 w 533723"/>
                      <a:gd name="connsiteY21" fmla="*/ 117948 h 418083"/>
                      <a:gd name="connsiteX22" fmla="*/ 241439 w 533723"/>
                      <a:gd name="connsiteY22" fmla="*/ 117896 h 418083"/>
                      <a:gd name="connsiteX23" fmla="*/ 231642 w 533723"/>
                      <a:gd name="connsiteY23" fmla="*/ 117869 h 418083"/>
                      <a:gd name="connsiteX24" fmla="*/ 393966 w 533723"/>
                      <a:gd name="connsiteY24" fmla="*/ 59548 h 418083"/>
                      <a:gd name="connsiteX25" fmla="*/ 394760 w 533723"/>
                      <a:gd name="connsiteY25" fmla="*/ 61641 h 418083"/>
                      <a:gd name="connsiteX26" fmla="*/ 396543 w 533723"/>
                      <a:gd name="connsiteY26" fmla="*/ 61922 h 418083"/>
                      <a:gd name="connsiteX27" fmla="*/ 135290 w 533723"/>
                      <a:gd name="connsiteY27" fmla="*/ 95 h 418083"/>
                      <a:gd name="connsiteX28" fmla="*/ 142002 w 533723"/>
                      <a:gd name="connsiteY28" fmla="*/ 118 h 418083"/>
                      <a:gd name="connsiteX29" fmla="*/ 184247 w 533723"/>
                      <a:gd name="connsiteY29" fmla="*/ 9888 h 418083"/>
                      <a:gd name="connsiteX30" fmla="*/ 237411 w 533723"/>
                      <a:gd name="connsiteY30" fmla="*/ 31727 h 418083"/>
                      <a:gd name="connsiteX31" fmla="*/ 273908 w 533723"/>
                      <a:gd name="connsiteY31" fmla="*/ 50693 h 418083"/>
                      <a:gd name="connsiteX32" fmla="*/ 300993 w 533723"/>
                      <a:gd name="connsiteY32" fmla="*/ 65241 h 418083"/>
                      <a:gd name="connsiteX33" fmla="*/ 313770 w 533723"/>
                      <a:gd name="connsiteY33" fmla="*/ 72415 h 418083"/>
                      <a:gd name="connsiteX34" fmla="*/ 317458 w 533723"/>
                      <a:gd name="connsiteY34" fmla="*/ 74704 h 418083"/>
                      <a:gd name="connsiteX35" fmla="*/ 321989 w 533723"/>
                      <a:gd name="connsiteY35" fmla="*/ 77518 h 418083"/>
                      <a:gd name="connsiteX36" fmla="*/ 328509 w 533723"/>
                      <a:gd name="connsiteY36" fmla="*/ 81728 h 418083"/>
                      <a:gd name="connsiteX37" fmla="*/ 329950 w 533723"/>
                      <a:gd name="connsiteY37" fmla="*/ 82770 h 418083"/>
                      <a:gd name="connsiteX38" fmla="*/ 322786 w 533723"/>
                      <a:gd name="connsiteY38" fmla="*/ 67357 h 418083"/>
                      <a:gd name="connsiteX39" fmla="*/ 318179 w 533723"/>
                      <a:gd name="connsiteY39" fmla="*/ 66024 h 418083"/>
                      <a:gd name="connsiteX40" fmla="*/ 315145 w 533723"/>
                      <a:gd name="connsiteY40" fmla="*/ 65146 h 418083"/>
                      <a:gd name="connsiteX41" fmla="*/ 315984 w 533723"/>
                      <a:gd name="connsiteY41" fmla="*/ 64282 h 418083"/>
                      <a:gd name="connsiteX42" fmla="*/ 336115 w 533723"/>
                      <a:gd name="connsiteY42" fmla="*/ 45493 h 418083"/>
                      <a:gd name="connsiteX43" fmla="*/ 339135 w 533723"/>
                      <a:gd name="connsiteY43" fmla="*/ 43303 h 418083"/>
                      <a:gd name="connsiteX44" fmla="*/ 344556 w 533723"/>
                      <a:gd name="connsiteY44" fmla="*/ 40552 h 418083"/>
                      <a:gd name="connsiteX45" fmla="*/ 348957 w 533723"/>
                      <a:gd name="connsiteY45" fmla="*/ 38760 h 418083"/>
                      <a:gd name="connsiteX46" fmla="*/ 368054 w 533723"/>
                      <a:gd name="connsiteY46" fmla="*/ 34807 h 418083"/>
                      <a:gd name="connsiteX47" fmla="*/ 382234 w 533723"/>
                      <a:gd name="connsiteY47" fmla="*/ 37952 h 418083"/>
                      <a:gd name="connsiteX48" fmla="*/ 390275 w 533723"/>
                      <a:gd name="connsiteY48" fmla="*/ 35652 h 418083"/>
                      <a:gd name="connsiteX49" fmla="*/ 390840 w 533723"/>
                      <a:gd name="connsiteY49" fmla="*/ 35749 h 418083"/>
                      <a:gd name="connsiteX50" fmla="*/ 391575 w 533723"/>
                      <a:gd name="connsiteY50" fmla="*/ 35894 h 418083"/>
                      <a:gd name="connsiteX51" fmla="*/ 391750 w 533723"/>
                      <a:gd name="connsiteY51" fmla="*/ 35955 h 418083"/>
                      <a:gd name="connsiteX52" fmla="*/ 392615 w 533723"/>
                      <a:gd name="connsiteY52" fmla="*/ 36327 h 418083"/>
                      <a:gd name="connsiteX53" fmla="*/ 393242 w 533723"/>
                      <a:gd name="connsiteY53" fmla="*/ 36306 h 418083"/>
                      <a:gd name="connsiteX54" fmla="*/ 393406 w 533723"/>
                      <a:gd name="connsiteY54" fmla="*/ 36317 h 418083"/>
                      <a:gd name="connsiteX55" fmla="*/ 397383 w 533723"/>
                      <a:gd name="connsiteY55" fmla="*/ 37341 h 418083"/>
                      <a:gd name="connsiteX56" fmla="*/ 408367 w 533723"/>
                      <a:gd name="connsiteY56" fmla="*/ 43126 h 418083"/>
                      <a:gd name="connsiteX57" fmla="*/ 459773 w 533723"/>
                      <a:gd name="connsiteY57" fmla="*/ 126491 h 418083"/>
                      <a:gd name="connsiteX58" fmla="*/ 441680 w 533723"/>
                      <a:gd name="connsiteY58" fmla="*/ 188008 h 418083"/>
                      <a:gd name="connsiteX59" fmla="*/ 442553 w 533723"/>
                      <a:gd name="connsiteY59" fmla="*/ 192637 h 418083"/>
                      <a:gd name="connsiteX60" fmla="*/ 443081 w 533723"/>
                      <a:gd name="connsiteY60" fmla="*/ 194875 h 418083"/>
                      <a:gd name="connsiteX61" fmla="*/ 451172 w 533723"/>
                      <a:gd name="connsiteY61" fmla="*/ 201092 h 418083"/>
                      <a:gd name="connsiteX62" fmla="*/ 458953 w 533723"/>
                      <a:gd name="connsiteY62" fmla="*/ 214116 h 418083"/>
                      <a:gd name="connsiteX63" fmla="*/ 459209 w 533723"/>
                      <a:gd name="connsiteY63" fmla="*/ 216161 h 418083"/>
                      <a:gd name="connsiteX64" fmla="*/ 460971 w 533723"/>
                      <a:gd name="connsiteY64" fmla="*/ 219929 h 418083"/>
                      <a:gd name="connsiteX65" fmla="*/ 461361 w 533723"/>
                      <a:gd name="connsiteY65" fmla="*/ 220754 h 418083"/>
                      <a:gd name="connsiteX66" fmla="*/ 470303 w 533723"/>
                      <a:gd name="connsiteY66" fmla="*/ 246015 h 418083"/>
                      <a:gd name="connsiteX67" fmla="*/ 469962 w 533723"/>
                      <a:gd name="connsiteY67" fmla="*/ 245448 h 418083"/>
                      <a:gd name="connsiteX68" fmla="*/ 468971 w 533723"/>
                      <a:gd name="connsiteY68" fmla="*/ 243799 h 418083"/>
                      <a:gd name="connsiteX69" fmla="*/ 464115 w 533723"/>
                      <a:gd name="connsiteY69" fmla="*/ 240660 h 418083"/>
                      <a:gd name="connsiteX70" fmla="*/ 457544 w 533723"/>
                      <a:gd name="connsiteY70" fmla="*/ 239804 h 418083"/>
                      <a:gd name="connsiteX71" fmla="*/ 463829 w 533723"/>
                      <a:gd name="connsiteY71" fmla="*/ 242086 h 418083"/>
                      <a:gd name="connsiteX72" fmla="*/ 469895 w 533723"/>
                      <a:gd name="connsiteY72" fmla="*/ 245979 h 418083"/>
                      <a:gd name="connsiteX73" fmla="*/ 470460 w 533723"/>
                      <a:gd name="connsiteY73" fmla="*/ 246460 h 418083"/>
                      <a:gd name="connsiteX74" fmla="*/ 485321 w 533723"/>
                      <a:gd name="connsiteY74" fmla="*/ 288443 h 418083"/>
                      <a:gd name="connsiteX75" fmla="*/ 485666 w 533723"/>
                      <a:gd name="connsiteY75" fmla="*/ 289289 h 418083"/>
                      <a:gd name="connsiteX76" fmla="*/ 485392 w 533723"/>
                      <a:gd name="connsiteY76" fmla="*/ 285754 h 418083"/>
                      <a:gd name="connsiteX77" fmla="*/ 485409 w 533723"/>
                      <a:gd name="connsiteY77" fmla="*/ 284254 h 418083"/>
                      <a:gd name="connsiteX78" fmla="*/ 485552 w 533723"/>
                      <a:gd name="connsiteY78" fmla="*/ 284634 h 418083"/>
                      <a:gd name="connsiteX79" fmla="*/ 487684 w 533723"/>
                      <a:gd name="connsiteY79" fmla="*/ 290297 h 418083"/>
                      <a:gd name="connsiteX80" fmla="*/ 487716 w 533723"/>
                      <a:gd name="connsiteY80" fmla="*/ 290381 h 418083"/>
                      <a:gd name="connsiteX81" fmla="*/ 487709 w 533723"/>
                      <a:gd name="connsiteY81" fmla="*/ 290382 h 418083"/>
                      <a:gd name="connsiteX82" fmla="*/ 486150 w 533723"/>
                      <a:gd name="connsiteY82" fmla="*/ 290474 h 418083"/>
                      <a:gd name="connsiteX83" fmla="*/ 488742 w 533723"/>
                      <a:gd name="connsiteY83" fmla="*/ 296824 h 418083"/>
                      <a:gd name="connsiteX84" fmla="*/ 494320 w 533723"/>
                      <a:gd name="connsiteY84" fmla="*/ 295556 h 418083"/>
                      <a:gd name="connsiteX85" fmla="*/ 512429 w 533723"/>
                      <a:gd name="connsiteY85" fmla="*/ 291820 h 418083"/>
                      <a:gd name="connsiteX86" fmla="*/ 519005 w 533723"/>
                      <a:gd name="connsiteY86" fmla="*/ 287509 h 418083"/>
                      <a:gd name="connsiteX87" fmla="*/ 520508 w 533723"/>
                      <a:gd name="connsiteY87" fmla="*/ 286839 h 418083"/>
                      <a:gd name="connsiteX88" fmla="*/ 522424 w 533723"/>
                      <a:gd name="connsiteY88" fmla="*/ 286502 h 418083"/>
                      <a:gd name="connsiteX89" fmla="*/ 523091 w 533723"/>
                      <a:gd name="connsiteY89" fmla="*/ 286385 h 418083"/>
                      <a:gd name="connsiteX90" fmla="*/ 525364 w 533723"/>
                      <a:gd name="connsiteY90" fmla="*/ 286646 h 418083"/>
                      <a:gd name="connsiteX91" fmla="*/ 533413 w 533723"/>
                      <a:gd name="connsiteY91" fmla="*/ 297855 h 418083"/>
                      <a:gd name="connsiteX92" fmla="*/ 530826 w 533723"/>
                      <a:gd name="connsiteY92" fmla="*/ 316249 h 418083"/>
                      <a:gd name="connsiteX93" fmla="*/ 530588 w 533723"/>
                      <a:gd name="connsiteY93" fmla="*/ 318085 h 418083"/>
                      <a:gd name="connsiteX94" fmla="*/ 530192 w 533723"/>
                      <a:gd name="connsiteY94" fmla="*/ 320320 h 418083"/>
                      <a:gd name="connsiteX95" fmla="*/ 529838 w 533723"/>
                      <a:gd name="connsiteY95" fmla="*/ 321637 h 418083"/>
                      <a:gd name="connsiteX96" fmla="*/ 526883 w 533723"/>
                      <a:gd name="connsiteY96" fmla="*/ 332653 h 418083"/>
                      <a:gd name="connsiteX97" fmla="*/ 524435 w 533723"/>
                      <a:gd name="connsiteY97" fmla="*/ 341781 h 418083"/>
                      <a:gd name="connsiteX98" fmla="*/ 519934 w 533723"/>
                      <a:gd name="connsiteY98" fmla="*/ 353045 h 418083"/>
                      <a:gd name="connsiteX99" fmla="*/ 493458 w 533723"/>
                      <a:gd name="connsiteY99" fmla="*/ 392987 h 418083"/>
                      <a:gd name="connsiteX100" fmla="*/ 421143 w 533723"/>
                      <a:gd name="connsiteY100" fmla="*/ 403455 h 418083"/>
                      <a:gd name="connsiteX101" fmla="*/ 416615 w 533723"/>
                      <a:gd name="connsiteY101" fmla="*/ 401105 h 418083"/>
                      <a:gd name="connsiteX102" fmla="*/ 415306 w 533723"/>
                      <a:gd name="connsiteY102" fmla="*/ 404311 h 418083"/>
                      <a:gd name="connsiteX103" fmla="*/ 382546 w 533723"/>
                      <a:gd name="connsiteY103" fmla="*/ 418083 h 418083"/>
                      <a:gd name="connsiteX104" fmla="*/ 364512 w 533723"/>
                      <a:gd name="connsiteY104" fmla="*/ 414388 h 418083"/>
                      <a:gd name="connsiteX105" fmla="*/ 362260 w 533723"/>
                      <a:gd name="connsiteY105" fmla="*/ 412847 h 418083"/>
                      <a:gd name="connsiteX106" fmla="*/ 359508 w 533723"/>
                      <a:gd name="connsiteY106" fmla="*/ 412530 h 418083"/>
                      <a:gd name="connsiteX107" fmla="*/ 354180 w 533723"/>
                      <a:gd name="connsiteY107" fmla="*/ 409493 h 418083"/>
                      <a:gd name="connsiteX108" fmla="*/ 351263 w 533723"/>
                      <a:gd name="connsiteY108" fmla="*/ 406931 h 418083"/>
                      <a:gd name="connsiteX109" fmla="*/ 351015 w 533723"/>
                      <a:gd name="connsiteY109" fmla="*/ 406713 h 418083"/>
                      <a:gd name="connsiteX110" fmla="*/ 348397 w 533723"/>
                      <a:gd name="connsiteY110" fmla="*/ 403432 h 418083"/>
                      <a:gd name="connsiteX111" fmla="*/ 347445 w 533723"/>
                      <a:gd name="connsiteY111" fmla="*/ 401927 h 418083"/>
                      <a:gd name="connsiteX112" fmla="*/ 345319 w 533723"/>
                      <a:gd name="connsiteY112" fmla="*/ 397536 h 418083"/>
                      <a:gd name="connsiteX113" fmla="*/ 344561 w 533723"/>
                      <a:gd name="connsiteY113" fmla="*/ 395286 h 418083"/>
                      <a:gd name="connsiteX114" fmla="*/ 335650 w 533723"/>
                      <a:gd name="connsiteY114" fmla="*/ 375455 h 418083"/>
                      <a:gd name="connsiteX115" fmla="*/ 322714 w 533723"/>
                      <a:gd name="connsiteY115" fmla="*/ 362234 h 418083"/>
                      <a:gd name="connsiteX116" fmla="*/ 319648 w 533723"/>
                      <a:gd name="connsiteY116" fmla="*/ 358159 h 418083"/>
                      <a:gd name="connsiteX117" fmla="*/ 319434 w 533723"/>
                      <a:gd name="connsiteY117" fmla="*/ 357823 h 418083"/>
                      <a:gd name="connsiteX118" fmla="*/ 314734 w 533723"/>
                      <a:gd name="connsiteY118" fmla="*/ 350455 h 418083"/>
                      <a:gd name="connsiteX119" fmla="*/ 319052 w 533723"/>
                      <a:gd name="connsiteY119" fmla="*/ 316733 h 418083"/>
                      <a:gd name="connsiteX120" fmla="*/ 323333 w 533723"/>
                      <a:gd name="connsiteY120" fmla="*/ 310656 h 418083"/>
                      <a:gd name="connsiteX121" fmla="*/ 320679 w 533723"/>
                      <a:gd name="connsiteY121" fmla="*/ 310837 h 418083"/>
                      <a:gd name="connsiteX122" fmla="*/ 316984 w 533723"/>
                      <a:gd name="connsiteY122" fmla="*/ 309959 h 418083"/>
                      <a:gd name="connsiteX123" fmla="*/ 278469 w 533723"/>
                      <a:gd name="connsiteY123" fmla="*/ 281787 h 418083"/>
                      <a:gd name="connsiteX124" fmla="*/ 279196 w 533723"/>
                      <a:gd name="connsiteY124" fmla="*/ 221148 h 418083"/>
                      <a:gd name="connsiteX125" fmla="*/ 281137 w 533723"/>
                      <a:gd name="connsiteY125" fmla="*/ 212759 h 418083"/>
                      <a:gd name="connsiteX126" fmla="*/ 280817 w 533723"/>
                      <a:gd name="connsiteY126" fmla="*/ 212855 h 418083"/>
                      <a:gd name="connsiteX127" fmla="*/ 280074 w 533723"/>
                      <a:gd name="connsiteY127" fmla="*/ 213019 h 418083"/>
                      <a:gd name="connsiteX128" fmla="*/ 208386 w 533723"/>
                      <a:gd name="connsiteY128" fmla="*/ 230868 h 418083"/>
                      <a:gd name="connsiteX129" fmla="*/ 129358 w 533723"/>
                      <a:gd name="connsiteY129" fmla="*/ 256155 h 418083"/>
                      <a:gd name="connsiteX130" fmla="*/ 76481 w 533723"/>
                      <a:gd name="connsiteY130" fmla="*/ 253856 h 418083"/>
                      <a:gd name="connsiteX131" fmla="*/ 56365 w 533723"/>
                      <a:gd name="connsiteY131" fmla="*/ 204718 h 418083"/>
                      <a:gd name="connsiteX132" fmla="*/ 6361 w 533723"/>
                      <a:gd name="connsiteY132" fmla="*/ 145234 h 418083"/>
                      <a:gd name="connsiteX133" fmla="*/ 4924 w 533723"/>
                      <a:gd name="connsiteY133" fmla="*/ 90923 h 418083"/>
                      <a:gd name="connsiteX134" fmla="*/ 26190 w 533723"/>
                      <a:gd name="connsiteY134" fmla="*/ 62762 h 418083"/>
                      <a:gd name="connsiteX135" fmla="*/ 51192 w 533723"/>
                      <a:gd name="connsiteY135" fmla="*/ 63624 h 418083"/>
                      <a:gd name="connsiteX136" fmla="*/ 92574 w 533723"/>
                      <a:gd name="connsiteY136" fmla="*/ 72245 h 418083"/>
                      <a:gd name="connsiteX137" fmla="*/ 148899 w 533723"/>
                      <a:gd name="connsiteY137" fmla="*/ 97533 h 418083"/>
                      <a:gd name="connsiteX138" fmla="*/ 100620 w 533723"/>
                      <a:gd name="connsiteY138" fmla="*/ 70233 h 418083"/>
                      <a:gd name="connsiteX139" fmla="*/ 68722 w 533723"/>
                      <a:gd name="connsiteY139" fmla="*/ 57877 h 418083"/>
                      <a:gd name="connsiteX140" fmla="*/ 95735 w 533723"/>
                      <a:gd name="connsiteY140" fmla="*/ 33739 h 418083"/>
                      <a:gd name="connsiteX141" fmla="*/ 118438 w 533723"/>
                      <a:gd name="connsiteY141" fmla="*/ 6440 h 418083"/>
                      <a:gd name="connsiteX142" fmla="*/ 135290 w 533723"/>
                      <a:gd name="connsiteY142" fmla="*/ 95 h 418083"/>
                      <a:gd name="connsiteX0" fmla="*/ 528506 w 533723"/>
                      <a:gd name="connsiteY0" fmla="*/ 291832 h 419386"/>
                      <a:gd name="connsiteX1" fmla="*/ 510121 w 533723"/>
                      <a:gd name="connsiteY1" fmla="*/ 300446 h 419386"/>
                      <a:gd name="connsiteX2" fmla="*/ 500354 w 533723"/>
                      <a:gd name="connsiteY2" fmla="*/ 302312 h 419386"/>
                      <a:gd name="connsiteX3" fmla="*/ 489695 w 533723"/>
                      <a:gd name="connsiteY3" fmla="*/ 299159 h 419386"/>
                      <a:gd name="connsiteX4" fmla="*/ 490953 w 533723"/>
                      <a:gd name="connsiteY4" fmla="*/ 302242 h 419386"/>
                      <a:gd name="connsiteX5" fmla="*/ 490826 w 533723"/>
                      <a:gd name="connsiteY5" fmla="*/ 302554 h 419386"/>
                      <a:gd name="connsiteX6" fmla="*/ 497481 w 533723"/>
                      <a:gd name="connsiteY6" fmla="*/ 306188 h 419386"/>
                      <a:gd name="connsiteX7" fmla="*/ 505812 w 533723"/>
                      <a:gd name="connsiteY7" fmla="*/ 305901 h 419386"/>
                      <a:gd name="connsiteX8" fmla="*/ 523335 w 533723"/>
                      <a:gd name="connsiteY8" fmla="*/ 297575 h 419386"/>
                      <a:gd name="connsiteX9" fmla="*/ 528506 w 533723"/>
                      <a:gd name="connsiteY9" fmla="*/ 291832 h 419386"/>
                      <a:gd name="connsiteX10" fmla="*/ 459095 w 533723"/>
                      <a:gd name="connsiteY10" fmla="*/ 214354 h 419386"/>
                      <a:gd name="connsiteX11" fmla="*/ 470185 w 533723"/>
                      <a:gd name="connsiteY11" fmla="*/ 232917 h 419386"/>
                      <a:gd name="connsiteX12" fmla="*/ 469083 w 533723"/>
                      <a:gd name="connsiteY12" fmla="*/ 236710 h 419386"/>
                      <a:gd name="connsiteX13" fmla="*/ 465107 w 533723"/>
                      <a:gd name="connsiteY13" fmla="*/ 228628 h 419386"/>
                      <a:gd name="connsiteX14" fmla="*/ 462850 w 533723"/>
                      <a:gd name="connsiteY14" fmla="*/ 223907 h 419386"/>
                      <a:gd name="connsiteX15" fmla="*/ 461361 w 533723"/>
                      <a:gd name="connsiteY15" fmla="*/ 220754 h 419386"/>
                      <a:gd name="connsiteX16" fmla="*/ 459095 w 533723"/>
                      <a:gd name="connsiteY16" fmla="*/ 214354 h 419386"/>
                      <a:gd name="connsiteX17" fmla="*/ 458921 w 533723"/>
                      <a:gd name="connsiteY17" fmla="*/ 213862 h 419386"/>
                      <a:gd name="connsiteX18" fmla="*/ 459095 w 533723"/>
                      <a:gd name="connsiteY18" fmla="*/ 214354 h 419386"/>
                      <a:gd name="connsiteX19" fmla="*/ 458953 w 533723"/>
                      <a:gd name="connsiteY19" fmla="*/ 214116 h 419386"/>
                      <a:gd name="connsiteX20" fmla="*/ 458921 w 533723"/>
                      <a:gd name="connsiteY20" fmla="*/ 213862 h 419386"/>
                      <a:gd name="connsiteX21" fmla="*/ 231642 w 533723"/>
                      <a:gd name="connsiteY21" fmla="*/ 117869 h 419386"/>
                      <a:gd name="connsiteX22" fmla="*/ 245739 w 533723"/>
                      <a:gd name="connsiteY22" fmla="*/ 119960 h 419386"/>
                      <a:gd name="connsiteX23" fmla="*/ 247479 w 533723"/>
                      <a:gd name="connsiteY23" fmla="*/ 117948 h 419386"/>
                      <a:gd name="connsiteX24" fmla="*/ 241439 w 533723"/>
                      <a:gd name="connsiteY24" fmla="*/ 117896 h 419386"/>
                      <a:gd name="connsiteX25" fmla="*/ 231642 w 533723"/>
                      <a:gd name="connsiteY25" fmla="*/ 117869 h 419386"/>
                      <a:gd name="connsiteX26" fmla="*/ 393966 w 533723"/>
                      <a:gd name="connsiteY26" fmla="*/ 59548 h 419386"/>
                      <a:gd name="connsiteX27" fmla="*/ 394760 w 533723"/>
                      <a:gd name="connsiteY27" fmla="*/ 61641 h 419386"/>
                      <a:gd name="connsiteX28" fmla="*/ 396543 w 533723"/>
                      <a:gd name="connsiteY28" fmla="*/ 61922 h 419386"/>
                      <a:gd name="connsiteX29" fmla="*/ 393966 w 533723"/>
                      <a:gd name="connsiteY29" fmla="*/ 59548 h 419386"/>
                      <a:gd name="connsiteX30" fmla="*/ 135290 w 533723"/>
                      <a:gd name="connsiteY30" fmla="*/ 95 h 419386"/>
                      <a:gd name="connsiteX31" fmla="*/ 142002 w 533723"/>
                      <a:gd name="connsiteY31" fmla="*/ 118 h 419386"/>
                      <a:gd name="connsiteX32" fmla="*/ 184247 w 533723"/>
                      <a:gd name="connsiteY32" fmla="*/ 9888 h 419386"/>
                      <a:gd name="connsiteX33" fmla="*/ 237411 w 533723"/>
                      <a:gd name="connsiteY33" fmla="*/ 31727 h 419386"/>
                      <a:gd name="connsiteX34" fmla="*/ 273908 w 533723"/>
                      <a:gd name="connsiteY34" fmla="*/ 50693 h 419386"/>
                      <a:gd name="connsiteX35" fmla="*/ 300993 w 533723"/>
                      <a:gd name="connsiteY35" fmla="*/ 65241 h 419386"/>
                      <a:gd name="connsiteX36" fmla="*/ 313770 w 533723"/>
                      <a:gd name="connsiteY36" fmla="*/ 72415 h 419386"/>
                      <a:gd name="connsiteX37" fmla="*/ 317458 w 533723"/>
                      <a:gd name="connsiteY37" fmla="*/ 74704 h 419386"/>
                      <a:gd name="connsiteX38" fmla="*/ 321989 w 533723"/>
                      <a:gd name="connsiteY38" fmla="*/ 77518 h 419386"/>
                      <a:gd name="connsiteX39" fmla="*/ 328509 w 533723"/>
                      <a:gd name="connsiteY39" fmla="*/ 81728 h 419386"/>
                      <a:gd name="connsiteX40" fmla="*/ 329950 w 533723"/>
                      <a:gd name="connsiteY40" fmla="*/ 82770 h 419386"/>
                      <a:gd name="connsiteX41" fmla="*/ 322786 w 533723"/>
                      <a:gd name="connsiteY41" fmla="*/ 67357 h 419386"/>
                      <a:gd name="connsiteX42" fmla="*/ 318179 w 533723"/>
                      <a:gd name="connsiteY42" fmla="*/ 66024 h 419386"/>
                      <a:gd name="connsiteX43" fmla="*/ 315145 w 533723"/>
                      <a:gd name="connsiteY43" fmla="*/ 65146 h 419386"/>
                      <a:gd name="connsiteX44" fmla="*/ 315984 w 533723"/>
                      <a:gd name="connsiteY44" fmla="*/ 64282 h 419386"/>
                      <a:gd name="connsiteX45" fmla="*/ 336115 w 533723"/>
                      <a:gd name="connsiteY45" fmla="*/ 45493 h 419386"/>
                      <a:gd name="connsiteX46" fmla="*/ 339135 w 533723"/>
                      <a:gd name="connsiteY46" fmla="*/ 43303 h 419386"/>
                      <a:gd name="connsiteX47" fmla="*/ 344556 w 533723"/>
                      <a:gd name="connsiteY47" fmla="*/ 40552 h 419386"/>
                      <a:gd name="connsiteX48" fmla="*/ 348957 w 533723"/>
                      <a:gd name="connsiteY48" fmla="*/ 38760 h 419386"/>
                      <a:gd name="connsiteX49" fmla="*/ 368054 w 533723"/>
                      <a:gd name="connsiteY49" fmla="*/ 34807 h 419386"/>
                      <a:gd name="connsiteX50" fmla="*/ 382234 w 533723"/>
                      <a:gd name="connsiteY50" fmla="*/ 37952 h 419386"/>
                      <a:gd name="connsiteX51" fmla="*/ 390275 w 533723"/>
                      <a:gd name="connsiteY51" fmla="*/ 35652 h 419386"/>
                      <a:gd name="connsiteX52" fmla="*/ 390840 w 533723"/>
                      <a:gd name="connsiteY52" fmla="*/ 35749 h 419386"/>
                      <a:gd name="connsiteX53" fmla="*/ 391575 w 533723"/>
                      <a:gd name="connsiteY53" fmla="*/ 35894 h 419386"/>
                      <a:gd name="connsiteX54" fmla="*/ 391750 w 533723"/>
                      <a:gd name="connsiteY54" fmla="*/ 35955 h 419386"/>
                      <a:gd name="connsiteX55" fmla="*/ 392615 w 533723"/>
                      <a:gd name="connsiteY55" fmla="*/ 36327 h 419386"/>
                      <a:gd name="connsiteX56" fmla="*/ 393242 w 533723"/>
                      <a:gd name="connsiteY56" fmla="*/ 36306 h 419386"/>
                      <a:gd name="connsiteX57" fmla="*/ 393406 w 533723"/>
                      <a:gd name="connsiteY57" fmla="*/ 36317 h 419386"/>
                      <a:gd name="connsiteX58" fmla="*/ 397383 w 533723"/>
                      <a:gd name="connsiteY58" fmla="*/ 37341 h 419386"/>
                      <a:gd name="connsiteX59" fmla="*/ 408367 w 533723"/>
                      <a:gd name="connsiteY59" fmla="*/ 43126 h 419386"/>
                      <a:gd name="connsiteX60" fmla="*/ 459773 w 533723"/>
                      <a:gd name="connsiteY60" fmla="*/ 126491 h 419386"/>
                      <a:gd name="connsiteX61" fmla="*/ 441680 w 533723"/>
                      <a:gd name="connsiteY61" fmla="*/ 188008 h 419386"/>
                      <a:gd name="connsiteX62" fmla="*/ 442553 w 533723"/>
                      <a:gd name="connsiteY62" fmla="*/ 192637 h 419386"/>
                      <a:gd name="connsiteX63" fmla="*/ 443081 w 533723"/>
                      <a:gd name="connsiteY63" fmla="*/ 194875 h 419386"/>
                      <a:gd name="connsiteX64" fmla="*/ 451172 w 533723"/>
                      <a:gd name="connsiteY64" fmla="*/ 201092 h 419386"/>
                      <a:gd name="connsiteX65" fmla="*/ 458953 w 533723"/>
                      <a:gd name="connsiteY65" fmla="*/ 214116 h 419386"/>
                      <a:gd name="connsiteX66" fmla="*/ 459209 w 533723"/>
                      <a:gd name="connsiteY66" fmla="*/ 216161 h 419386"/>
                      <a:gd name="connsiteX67" fmla="*/ 460971 w 533723"/>
                      <a:gd name="connsiteY67" fmla="*/ 219929 h 419386"/>
                      <a:gd name="connsiteX68" fmla="*/ 461361 w 533723"/>
                      <a:gd name="connsiteY68" fmla="*/ 220754 h 419386"/>
                      <a:gd name="connsiteX69" fmla="*/ 470303 w 533723"/>
                      <a:gd name="connsiteY69" fmla="*/ 246015 h 419386"/>
                      <a:gd name="connsiteX70" fmla="*/ 469962 w 533723"/>
                      <a:gd name="connsiteY70" fmla="*/ 245448 h 419386"/>
                      <a:gd name="connsiteX71" fmla="*/ 468971 w 533723"/>
                      <a:gd name="connsiteY71" fmla="*/ 243799 h 419386"/>
                      <a:gd name="connsiteX72" fmla="*/ 464115 w 533723"/>
                      <a:gd name="connsiteY72" fmla="*/ 240660 h 419386"/>
                      <a:gd name="connsiteX73" fmla="*/ 457544 w 533723"/>
                      <a:gd name="connsiteY73" fmla="*/ 239804 h 419386"/>
                      <a:gd name="connsiteX74" fmla="*/ 463829 w 533723"/>
                      <a:gd name="connsiteY74" fmla="*/ 242086 h 419386"/>
                      <a:gd name="connsiteX75" fmla="*/ 469895 w 533723"/>
                      <a:gd name="connsiteY75" fmla="*/ 245979 h 419386"/>
                      <a:gd name="connsiteX76" fmla="*/ 470460 w 533723"/>
                      <a:gd name="connsiteY76" fmla="*/ 246460 h 419386"/>
                      <a:gd name="connsiteX77" fmla="*/ 485321 w 533723"/>
                      <a:gd name="connsiteY77" fmla="*/ 288443 h 419386"/>
                      <a:gd name="connsiteX78" fmla="*/ 485666 w 533723"/>
                      <a:gd name="connsiteY78" fmla="*/ 289289 h 419386"/>
                      <a:gd name="connsiteX79" fmla="*/ 485392 w 533723"/>
                      <a:gd name="connsiteY79" fmla="*/ 285754 h 419386"/>
                      <a:gd name="connsiteX80" fmla="*/ 485409 w 533723"/>
                      <a:gd name="connsiteY80" fmla="*/ 284254 h 419386"/>
                      <a:gd name="connsiteX81" fmla="*/ 485552 w 533723"/>
                      <a:gd name="connsiteY81" fmla="*/ 284634 h 419386"/>
                      <a:gd name="connsiteX82" fmla="*/ 487684 w 533723"/>
                      <a:gd name="connsiteY82" fmla="*/ 290297 h 419386"/>
                      <a:gd name="connsiteX83" fmla="*/ 487716 w 533723"/>
                      <a:gd name="connsiteY83" fmla="*/ 290381 h 419386"/>
                      <a:gd name="connsiteX84" fmla="*/ 487709 w 533723"/>
                      <a:gd name="connsiteY84" fmla="*/ 290382 h 419386"/>
                      <a:gd name="connsiteX85" fmla="*/ 486150 w 533723"/>
                      <a:gd name="connsiteY85" fmla="*/ 290474 h 419386"/>
                      <a:gd name="connsiteX86" fmla="*/ 488742 w 533723"/>
                      <a:gd name="connsiteY86" fmla="*/ 296824 h 419386"/>
                      <a:gd name="connsiteX87" fmla="*/ 494320 w 533723"/>
                      <a:gd name="connsiteY87" fmla="*/ 295556 h 419386"/>
                      <a:gd name="connsiteX88" fmla="*/ 512429 w 533723"/>
                      <a:gd name="connsiteY88" fmla="*/ 291820 h 419386"/>
                      <a:gd name="connsiteX89" fmla="*/ 519005 w 533723"/>
                      <a:gd name="connsiteY89" fmla="*/ 287509 h 419386"/>
                      <a:gd name="connsiteX90" fmla="*/ 520508 w 533723"/>
                      <a:gd name="connsiteY90" fmla="*/ 286839 h 419386"/>
                      <a:gd name="connsiteX91" fmla="*/ 522424 w 533723"/>
                      <a:gd name="connsiteY91" fmla="*/ 286502 h 419386"/>
                      <a:gd name="connsiteX92" fmla="*/ 523091 w 533723"/>
                      <a:gd name="connsiteY92" fmla="*/ 286385 h 419386"/>
                      <a:gd name="connsiteX93" fmla="*/ 525364 w 533723"/>
                      <a:gd name="connsiteY93" fmla="*/ 286646 h 419386"/>
                      <a:gd name="connsiteX94" fmla="*/ 533413 w 533723"/>
                      <a:gd name="connsiteY94" fmla="*/ 297855 h 419386"/>
                      <a:gd name="connsiteX95" fmla="*/ 530826 w 533723"/>
                      <a:gd name="connsiteY95" fmla="*/ 316249 h 419386"/>
                      <a:gd name="connsiteX96" fmla="*/ 530588 w 533723"/>
                      <a:gd name="connsiteY96" fmla="*/ 318085 h 419386"/>
                      <a:gd name="connsiteX97" fmla="*/ 530192 w 533723"/>
                      <a:gd name="connsiteY97" fmla="*/ 320320 h 419386"/>
                      <a:gd name="connsiteX98" fmla="*/ 529838 w 533723"/>
                      <a:gd name="connsiteY98" fmla="*/ 321637 h 419386"/>
                      <a:gd name="connsiteX99" fmla="*/ 526883 w 533723"/>
                      <a:gd name="connsiteY99" fmla="*/ 332653 h 419386"/>
                      <a:gd name="connsiteX100" fmla="*/ 524435 w 533723"/>
                      <a:gd name="connsiteY100" fmla="*/ 341781 h 419386"/>
                      <a:gd name="connsiteX101" fmla="*/ 519934 w 533723"/>
                      <a:gd name="connsiteY101" fmla="*/ 353045 h 419386"/>
                      <a:gd name="connsiteX102" fmla="*/ 493458 w 533723"/>
                      <a:gd name="connsiteY102" fmla="*/ 392987 h 419386"/>
                      <a:gd name="connsiteX103" fmla="*/ 421143 w 533723"/>
                      <a:gd name="connsiteY103" fmla="*/ 403455 h 419386"/>
                      <a:gd name="connsiteX104" fmla="*/ 416615 w 533723"/>
                      <a:gd name="connsiteY104" fmla="*/ 401105 h 419386"/>
                      <a:gd name="connsiteX105" fmla="*/ 401019 w 533723"/>
                      <a:gd name="connsiteY105" fmla="*/ 392405 h 419386"/>
                      <a:gd name="connsiteX106" fmla="*/ 382546 w 533723"/>
                      <a:gd name="connsiteY106" fmla="*/ 418083 h 419386"/>
                      <a:gd name="connsiteX107" fmla="*/ 364512 w 533723"/>
                      <a:gd name="connsiteY107" fmla="*/ 414388 h 419386"/>
                      <a:gd name="connsiteX108" fmla="*/ 362260 w 533723"/>
                      <a:gd name="connsiteY108" fmla="*/ 412847 h 419386"/>
                      <a:gd name="connsiteX109" fmla="*/ 359508 w 533723"/>
                      <a:gd name="connsiteY109" fmla="*/ 412530 h 419386"/>
                      <a:gd name="connsiteX110" fmla="*/ 354180 w 533723"/>
                      <a:gd name="connsiteY110" fmla="*/ 409493 h 419386"/>
                      <a:gd name="connsiteX111" fmla="*/ 351263 w 533723"/>
                      <a:gd name="connsiteY111" fmla="*/ 406931 h 419386"/>
                      <a:gd name="connsiteX112" fmla="*/ 351015 w 533723"/>
                      <a:gd name="connsiteY112" fmla="*/ 406713 h 419386"/>
                      <a:gd name="connsiteX113" fmla="*/ 348397 w 533723"/>
                      <a:gd name="connsiteY113" fmla="*/ 403432 h 419386"/>
                      <a:gd name="connsiteX114" fmla="*/ 347445 w 533723"/>
                      <a:gd name="connsiteY114" fmla="*/ 401927 h 419386"/>
                      <a:gd name="connsiteX115" fmla="*/ 345319 w 533723"/>
                      <a:gd name="connsiteY115" fmla="*/ 397536 h 419386"/>
                      <a:gd name="connsiteX116" fmla="*/ 344561 w 533723"/>
                      <a:gd name="connsiteY116" fmla="*/ 395286 h 419386"/>
                      <a:gd name="connsiteX117" fmla="*/ 335650 w 533723"/>
                      <a:gd name="connsiteY117" fmla="*/ 375455 h 419386"/>
                      <a:gd name="connsiteX118" fmla="*/ 322714 w 533723"/>
                      <a:gd name="connsiteY118" fmla="*/ 362234 h 419386"/>
                      <a:gd name="connsiteX119" fmla="*/ 319648 w 533723"/>
                      <a:gd name="connsiteY119" fmla="*/ 358159 h 419386"/>
                      <a:gd name="connsiteX120" fmla="*/ 319434 w 533723"/>
                      <a:gd name="connsiteY120" fmla="*/ 357823 h 419386"/>
                      <a:gd name="connsiteX121" fmla="*/ 314734 w 533723"/>
                      <a:gd name="connsiteY121" fmla="*/ 350455 h 419386"/>
                      <a:gd name="connsiteX122" fmla="*/ 319052 w 533723"/>
                      <a:gd name="connsiteY122" fmla="*/ 316733 h 419386"/>
                      <a:gd name="connsiteX123" fmla="*/ 323333 w 533723"/>
                      <a:gd name="connsiteY123" fmla="*/ 310656 h 419386"/>
                      <a:gd name="connsiteX124" fmla="*/ 320679 w 533723"/>
                      <a:gd name="connsiteY124" fmla="*/ 310837 h 419386"/>
                      <a:gd name="connsiteX125" fmla="*/ 316984 w 533723"/>
                      <a:gd name="connsiteY125" fmla="*/ 309959 h 419386"/>
                      <a:gd name="connsiteX126" fmla="*/ 278469 w 533723"/>
                      <a:gd name="connsiteY126" fmla="*/ 281787 h 419386"/>
                      <a:gd name="connsiteX127" fmla="*/ 279196 w 533723"/>
                      <a:gd name="connsiteY127" fmla="*/ 221148 h 419386"/>
                      <a:gd name="connsiteX128" fmla="*/ 281137 w 533723"/>
                      <a:gd name="connsiteY128" fmla="*/ 212759 h 419386"/>
                      <a:gd name="connsiteX129" fmla="*/ 280817 w 533723"/>
                      <a:gd name="connsiteY129" fmla="*/ 212855 h 419386"/>
                      <a:gd name="connsiteX130" fmla="*/ 280074 w 533723"/>
                      <a:gd name="connsiteY130" fmla="*/ 213019 h 419386"/>
                      <a:gd name="connsiteX131" fmla="*/ 208386 w 533723"/>
                      <a:gd name="connsiteY131" fmla="*/ 230868 h 419386"/>
                      <a:gd name="connsiteX132" fmla="*/ 129358 w 533723"/>
                      <a:gd name="connsiteY132" fmla="*/ 256155 h 419386"/>
                      <a:gd name="connsiteX133" fmla="*/ 76481 w 533723"/>
                      <a:gd name="connsiteY133" fmla="*/ 253856 h 419386"/>
                      <a:gd name="connsiteX134" fmla="*/ 56365 w 533723"/>
                      <a:gd name="connsiteY134" fmla="*/ 204718 h 419386"/>
                      <a:gd name="connsiteX135" fmla="*/ 6361 w 533723"/>
                      <a:gd name="connsiteY135" fmla="*/ 145234 h 419386"/>
                      <a:gd name="connsiteX136" fmla="*/ 4924 w 533723"/>
                      <a:gd name="connsiteY136" fmla="*/ 90923 h 419386"/>
                      <a:gd name="connsiteX137" fmla="*/ 26190 w 533723"/>
                      <a:gd name="connsiteY137" fmla="*/ 62762 h 419386"/>
                      <a:gd name="connsiteX138" fmla="*/ 51192 w 533723"/>
                      <a:gd name="connsiteY138" fmla="*/ 63624 h 419386"/>
                      <a:gd name="connsiteX139" fmla="*/ 92574 w 533723"/>
                      <a:gd name="connsiteY139" fmla="*/ 72245 h 419386"/>
                      <a:gd name="connsiteX140" fmla="*/ 148899 w 533723"/>
                      <a:gd name="connsiteY140" fmla="*/ 97533 h 419386"/>
                      <a:gd name="connsiteX141" fmla="*/ 100620 w 533723"/>
                      <a:gd name="connsiteY141" fmla="*/ 70233 h 419386"/>
                      <a:gd name="connsiteX142" fmla="*/ 68722 w 533723"/>
                      <a:gd name="connsiteY142" fmla="*/ 57877 h 419386"/>
                      <a:gd name="connsiteX143" fmla="*/ 95735 w 533723"/>
                      <a:gd name="connsiteY143" fmla="*/ 33739 h 419386"/>
                      <a:gd name="connsiteX144" fmla="*/ 118438 w 533723"/>
                      <a:gd name="connsiteY144" fmla="*/ 6440 h 419386"/>
                      <a:gd name="connsiteX145" fmla="*/ 135290 w 533723"/>
                      <a:gd name="connsiteY145" fmla="*/ 95 h 419386"/>
                      <a:gd name="connsiteX0" fmla="*/ 528506 w 533723"/>
                      <a:gd name="connsiteY0" fmla="*/ 291832 h 415347"/>
                      <a:gd name="connsiteX1" fmla="*/ 510121 w 533723"/>
                      <a:gd name="connsiteY1" fmla="*/ 300446 h 415347"/>
                      <a:gd name="connsiteX2" fmla="*/ 500354 w 533723"/>
                      <a:gd name="connsiteY2" fmla="*/ 302312 h 415347"/>
                      <a:gd name="connsiteX3" fmla="*/ 489695 w 533723"/>
                      <a:gd name="connsiteY3" fmla="*/ 299159 h 415347"/>
                      <a:gd name="connsiteX4" fmla="*/ 490953 w 533723"/>
                      <a:gd name="connsiteY4" fmla="*/ 302242 h 415347"/>
                      <a:gd name="connsiteX5" fmla="*/ 490826 w 533723"/>
                      <a:gd name="connsiteY5" fmla="*/ 302554 h 415347"/>
                      <a:gd name="connsiteX6" fmla="*/ 497481 w 533723"/>
                      <a:gd name="connsiteY6" fmla="*/ 306188 h 415347"/>
                      <a:gd name="connsiteX7" fmla="*/ 505812 w 533723"/>
                      <a:gd name="connsiteY7" fmla="*/ 305901 h 415347"/>
                      <a:gd name="connsiteX8" fmla="*/ 523335 w 533723"/>
                      <a:gd name="connsiteY8" fmla="*/ 297575 h 415347"/>
                      <a:gd name="connsiteX9" fmla="*/ 528506 w 533723"/>
                      <a:gd name="connsiteY9" fmla="*/ 291832 h 415347"/>
                      <a:gd name="connsiteX10" fmla="*/ 459095 w 533723"/>
                      <a:gd name="connsiteY10" fmla="*/ 214354 h 415347"/>
                      <a:gd name="connsiteX11" fmla="*/ 470185 w 533723"/>
                      <a:gd name="connsiteY11" fmla="*/ 232917 h 415347"/>
                      <a:gd name="connsiteX12" fmla="*/ 469083 w 533723"/>
                      <a:gd name="connsiteY12" fmla="*/ 236710 h 415347"/>
                      <a:gd name="connsiteX13" fmla="*/ 465107 w 533723"/>
                      <a:gd name="connsiteY13" fmla="*/ 228628 h 415347"/>
                      <a:gd name="connsiteX14" fmla="*/ 462850 w 533723"/>
                      <a:gd name="connsiteY14" fmla="*/ 223907 h 415347"/>
                      <a:gd name="connsiteX15" fmla="*/ 461361 w 533723"/>
                      <a:gd name="connsiteY15" fmla="*/ 220754 h 415347"/>
                      <a:gd name="connsiteX16" fmla="*/ 459095 w 533723"/>
                      <a:gd name="connsiteY16" fmla="*/ 214354 h 415347"/>
                      <a:gd name="connsiteX17" fmla="*/ 458921 w 533723"/>
                      <a:gd name="connsiteY17" fmla="*/ 213862 h 415347"/>
                      <a:gd name="connsiteX18" fmla="*/ 459095 w 533723"/>
                      <a:gd name="connsiteY18" fmla="*/ 214354 h 415347"/>
                      <a:gd name="connsiteX19" fmla="*/ 458953 w 533723"/>
                      <a:gd name="connsiteY19" fmla="*/ 214116 h 415347"/>
                      <a:gd name="connsiteX20" fmla="*/ 458921 w 533723"/>
                      <a:gd name="connsiteY20" fmla="*/ 213862 h 415347"/>
                      <a:gd name="connsiteX21" fmla="*/ 231642 w 533723"/>
                      <a:gd name="connsiteY21" fmla="*/ 117869 h 415347"/>
                      <a:gd name="connsiteX22" fmla="*/ 245739 w 533723"/>
                      <a:gd name="connsiteY22" fmla="*/ 119960 h 415347"/>
                      <a:gd name="connsiteX23" fmla="*/ 247479 w 533723"/>
                      <a:gd name="connsiteY23" fmla="*/ 117948 h 415347"/>
                      <a:gd name="connsiteX24" fmla="*/ 241439 w 533723"/>
                      <a:gd name="connsiteY24" fmla="*/ 117896 h 415347"/>
                      <a:gd name="connsiteX25" fmla="*/ 231642 w 533723"/>
                      <a:gd name="connsiteY25" fmla="*/ 117869 h 415347"/>
                      <a:gd name="connsiteX26" fmla="*/ 393966 w 533723"/>
                      <a:gd name="connsiteY26" fmla="*/ 59548 h 415347"/>
                      <a:gd name="connsiteX27" fmla="*/ 394760 w 533723"/>
                      <a:gd name="connsiteY27" fmla="*/ 61641 h 415347"/>
                      <a:gd name="connsiteX28" fmla="*/ 396543 w 533723"/>
                      <a:gd name="connsiteY28" fmla="*/ 61922 h 415347"/>
                      <a:gd name="connsiteX29" fmla="*/ 393966 w 533723"/>
                      <a:gd name="connsiteY29" fmla="*/ 59548 h 415347"/>
                      <a:gd name="connsiteX30" fmla="*/ 135290 w 533723"/>
                      <a:gd name="connsiteY30" fmla="*/ 95 h 415347"/>
                      <a:gd name="connsiteX31" fmla="*/ 142002 w 533723"/>
                      <a:gd name="connsiteY31" fmla="*/ 118 h 415347"/>
                      <a:gd name="connsiteX32" fmla="*/ 184247 w 533723"/>
                      <a:gd name="connsiteY32" fmla="*/ 9888 h 415347"/>
                      <a:gd name="connsiteX33" fmla="*/ 237411 w 533723"/>
                      <a:gd name="connsiteY33" fmla="*/ 31727 h 415347"/>
                      <a:gd name="connsiteX34" fmla="*/ 273908 w 533723"/>
                      <a:gd name="connsiteY34" fmla="*/ 50693 h 415347"/>
                      <a:gd name="connsiteX35" fmla="*/ 300993 w 533723"/>
                      <a:gd name="connsiteY35" fmla="*/ 65241 h 415347"/>
                      <a:gd name="connsiteX36" fmla="*/ 313770 w 533723"/>
                      <a:gd name="connsiteY36" fmla="*/ 72415 h 415347"/>
                      <a:gd name="connsiteX37" fmla="*/ 317458 w 533723"/>
                      <a:gd name="connsiteY37" fmla="*/ 74704 h 415347"/>
                      <a:gd name="connsiteX38" fmla="*/ 321989 w 533723"/>
                      <a:gd name="connsiteY38" fmla="*/ 77518 h 415347"/>
                      <a:gd name="connsiteX39" fmla="*/ 328509 w 533723"/>
                      <a:gd name="connsiteY39" fmla="*/ 81728 h 415347"/>
                      <a:gd name="connsiteX40" fmla="*/ 329950 w 533723"/>
                      <a:gd name="connsiteY40" fmla="*/ 82770 h 415347"/>
                      <a:gd name="connsiteX41" fmla="*/ 322786 w 533723"/>
                      <a:gd name="connsiteY41" fmla="*/ 67357 h 415347"/>
                      <a:gd name="connsiteX42" fmla="*/ 318179 w 533723"/>
                      <a:gd name="connsiteY42" fmla="*/ 66024 h 415347"/>
                      <a:gd name="connsiteX43" fmla="*/ 315145 w 533723"/>
                      <a:gd name="connsiteY43" fmla="*/ 65146 h 415347"/>
                      <a:gd name="connsiteX44" fmla="*/ 315984 w 533723"/>
                      <a:gd name="connsiteY44" fmla="*/ 64282 h 415347"/>
                      <a:gd name="connsiteX45" fmla="*/ 336115 w 533723"/>
                      <a:gd name="connsiteY45" fmla="*/ 45493 h 415347"/>
                      <a:gd name="connsiteX46" fmla="*/ 339135 w 533723"/>
                      <a:gd name="connsiteY46" fmla="*/ 43303 h 415347"/>
                      <a:gd name="connsiteX47" fmla="*/ 344556 w 533723"/>
                      <a:gd name="connsiteY47" fmla="*/ 40552 h 415347"/>
                      <a:gd name="connsiteX48" fmla="*/ 348957 w 533723"/>
                      <a:gd name="connsiteY48" fmla="*/ 38760 h 415347"/>
                      <a:gd name="connsiteX49" fmla="*/ 368054 w 533723"/>
                      <a:gd name="connsiteY49" fmla="*/ 34807 h 415347"/>
                      <a:gd name="connsiteX50" fmla="*/ 382234 w 533723"/>
                      <a:gd name="connsiteY50" fmla="*/ 37952 h 415347"/>
                      <a:gd name="connsiteX51" fmla="*/ 390275 w 533723"/>
                      <a:gd name="connsiteY51" fmla="*/ 35652 h 415347"/>
                      <a:gd name="connsiteX52" fmla="*/ 390840 w 533723"/>
                      <a:gd name="connsiteY52" fmla="*/ 35749 h 415347"/>
                      <a:gd name="connsiteX53" fmla="*/ 391575 w 533723"/>
                      <a:gd name="connsiteY53" fmla="*/ 35894 h 415347"/>
                      <a:gd name="connsiteX54" fmla="*/ 391750 w 533723"/>
                      <a:gd name="connsiteY54" fmla="*/ 35955 h 415347"/>
                      <a:gd name="connsiteX55" fmla="*/ 392615 w 533723"/>
                      <a:gd name="connsiteY55" fmla="*/ 36327 h 415347"/>
                      <a:gd name="connsiteX56" fmla="*/ 393242 w 533723"/>
                      <a:gd name="connsiteY56" fmla="*/ 36306 h 415347"/>
                      <a:gd name="connsiteX57" fmla="*/ 393406 w 533723"/>
                      <a:gd name="connsiteY57" fmla="*/ 36317 h 415347"/>
                      <a:gd name="connsiteX58" fmla="*/ 397383 w 533723"/>
                      <a:gd name="connsiteY58" fmla="*/ 37341 h 415347"/>
                      <a:gd name="connsiteX59" fmla="*/ 408367 w 533723"/>
                      <a:gd name="connsiteY59" fmla="*/ 43126 h 415347"/>
                      <a:gd name="connsiteX60" fmla="*/ 459773 w 533723"/>
                      <a:gd name="connsiteY60" fmla="*/ 126491 h 415347"/>
                      <a:gd name="connsiteX61" fmla="*/ 441680 w 533723"/>
                      <a:gd name="connsiteY61" fmla="*/ 188008 h 415347"/>
                      <a:gd name="connsiteX62" fmla="*/ 442553 w 533723"/>
                      <a:gd name="connsiteY62" fmla="*/ 192637 h 415347"/>
                      <a:gd name="connsiteX63" fmla="*/ 443081 w 533723"/>
                      <a:gd name="connsiteY63" fmla="*/ 194875 h 415347"/>
                      <a:gd name="connsiteX64" fmla="*/ 451172 w 533723"/>
                      <a:gd name="connsiteY64" fmla="*/ 201092 h 415347"/>
                      <a:gd name="connsiteX65" fmla="*/ 458953 w 533723"/>
                      <a:gd name="connsiteY65" fmla="*/ 214116 h 415347"/>
                      <a:gd name="connsiteX66" fmla="*/ 459209 w 533723"/>
                      <a:gd name="connsiteY66" fmla="*/ 216161 h 415347"/>
                      <a:gd name="connsiteX67" fmla="*/ 460971 w 533723"/>
                      <a:gd name="connsiteY67" fmla="*/ 219929 h 415347"/>
                      <a:gd name="connsiteX68" fmla="*/ 461361 w 533723"/>
                      <a:gd name="connsiteY68" fmla="*/ 220754 h 415347"/>
                      <a:gd name="connsiteX69" fmla="*/ 470303 w 533723"/>
                      <a:gd name="connsiteY69" fmla="*/ 246015 h 415347"/>
                      <a:gd name="connsiteX70" fmla="*/ 469962 w 533723"/>
                      <a:gd name="connsiteY70" fmla="*/ 245448 h 415347"/>
                      <a:gd name="connsiteX71" fmla="*/ 468971 w 533723"/>
                      <a:gd name="connsiteY71" fmla="*/ 243799 h 415347"/>
                      <a:gd name="connsiteX72" fmla="*/ 464115 w 533723"/>
                      <a:gd name="connsiteY72" fmla="*/ 240660 h 415347"/>
                      <a:gd name="connsiteX73" fmla="*/ 457544 w 533723"/>
                      <a:gd name="connsiteY73" fmla="*/ 239804 h 415347"/>
                      <a:gd name="connsiteX74" fmla="*/ 463829 w 533723"/>
                      <a:gd name="connsiteY74" fmla="*/ 242086 h 415347"/>
                      <a:gd name="connsiteX75" fmla="*/ 469895 w 533723"/>
                      <a:gd name="connsiteY75" fmla="*/ 245979 h 415347"/>
                      <a:gd name="connsiteX76" fmla="*/ 470460 w 533723"/>
                      <a:gd name="connsiteY76" fmla="*/ 246460 h 415347"/>
                      <a:gd name="connsiteX77" fmla="*/ 485321 w 533723"/>
                      <a:gd name="connsiteY77" fmla="*/ 288443 h 415347"/>
                      <a:gd name="connsiteX78" fmla="*/ 485666 w 533723"/>
                      <a:gd name="connsiteY78" fmla="*/ 289289 h 415347"/>
                      <a:gd name="connsiteX79" fmla="*/ 485392 w 533723"/>
                      <a:gd name="connsiteY79" fmla="*/ 285754 h 415347"/>
                      <a:gd name="connsiteX80" fmla="*/ 485409 w 533723"/>
                      <a:gd name="connsiteY80" fmla="*/ 284254 h 415347"/>
                      <a:gd name="connsiteX81" fmla="*/ 485552 w 533723"/>
                      <a:gd name="connsiteY81" fmla="*/ 284634 h 415347"/>
                      <a:gd name="connsiteX82" fmla="*/ 487684 w 533723"/>
                      <a:gd name="connsiteY82" fmla="*/ 290297 h 415347"/>
                      <a:gd name="connsiteX83" fmla="*/ 487716 w 533723"/>
                      <a:gd name="connsiteY83" fmla="*/ 290381 h 415347"/>
                      <a:gd name="connsiteX84" fmla="*/ 487709 w 533723"/>
                      <a:gd name="connsiteY84" fmla="*/ 290382 h 415347"/>
                      <a:gd name="connsiteX85" fmla="*/ 486150 w 533723"/>
                      <a:gd name="connsiteY85" fmla="*/ 290474 h 415347"/>
                      <a:gd name="connsiteX86" fmla="*/ 488742 w 533723"/>
                      <a:gd name="connsiteY86" fmla="*/ 296824 h 415347"/>
                      <a:gd name="connsiteX87" fmla="*/ 494320 w 533723"/>
                      <a:gd name="connsiteY87" fmla="*/ 295556 h 415347"/>
                      <a:gd name="connsiteX88" fmla="*/ 512429 w 533723"/>
                      <a:gd name="connsiteY88" fmla="*/ 291820 h 415347"/>
                      <a:gd name="connsiteX89" fmla="*/ 519005 w 533723"/>
                      <a:gd name="connsiteY89" fmla="*/ 287509 h 415347"/>
                      <a:gd name="connsiteX90" fmla="*/ 520508 w 533723"/>
                      <a:gd name="connsiteY90" fmla="*/ 286839 h 415347"/>
                      <a:gd name="connsiteX91" fmla="*/ 522424 w 533723"/>
                      <a:gd name="connsiteY91" fmla="*/ 286502 h 415347"/>
                      <a:gd name="connsiteX92" fmla="*/ 523091 w 533723"/>
                      <a:gd name="connsiteY92" fmla="*/ 286385 h 415347"/>
                      <a:gd name="connsiteX93" fmla="*/ 525364 w 533723"/>
                      <a:gd name="connsiteY93" fmla="*/ 286646 h 415347"/>
                      <a:gd name="connsiteX94" fmla="*/ 533413 w 533723"/>
                      <a:gd name="connsiteY94" fmla="*/ 297855 h 415347"/>
                      <a:gd name="connsiteX95" fmla="*/ 530826 w 533723"/>
                      <a:gd name="connsiteY95" fmla="*/ 316249 h 415347"/>
                      <a:gd name="connsiteX96" fmla="*/ 530588 w 533723"/>
                      <a:gd name="connsiteY96" fmla="*/ 318085 h 415347"/>
                      <a:gd name="connsiteX97" fmla="*/ 530192 w 533723"/>
                      <a:gd name="connsiteY97" fmla="*/ 320320 h 415347"/>
                      <a:gd name="connsiteX98" fmla="*/ 529838 w 533723"/>
                      <a:gd name="connsiteY98" fmla="*/ 321637 h 415347"/>
                      <a:gd name="connsiteX99" fmla="*/ 526883 w 533723"/>
                      <a:gd name="connsiteY99" fmla="*/ 332653 h 415347"/>
                      <a:gd name="connsiteX100" fmla="*/ 524435 w 533723"/>
                      <a:gd name="connsiteY100" fmla="*/ 341781 h 415347"/>
                      <a:gd name="connsiteX101" fmla="*/ 519934 w 533723"/>
                      <a:gd name="connsiteY101" fmla="*/ 353045 h 415347"/>
                      <a:gd name="connsiteX102" fmla="*/ 493458 w 533723"/>
                      <a:gd name="connsiteY102" fmla="*/ 392987 h 415347"/>
                      <a:gd name="connsiteX103" fmla="*/ 421143 w 533723"/>
                      <a:gd name="connsiteY103" fmla="*/ 403455 h 415347"/>
                      <a:gd name="connsiteX104" fmla="*/ 416615 w 533723"/>
                      <a:gd name="connsiteY104" fmla="*/ 401105 h 415347"/>
                      <a:gd name="connsiteX105" fmla="*/ 401019 w 533723"/>
                      <a:gd name="connsiteY105" fmla="*/ 392405 h 415347"/>
                      <a:gd name="connsiteX106" fmla="*/ 381629 w 533723"/>
                      <a:gd name="connsiteY106" fmla="*/ 410745 h 415347"/>
                      <a:gd name="connsiteX107" fmla="*/ 364512 w 533723"/>
                      <a:gd name="connsiteY107" fmla="*/ 414388 h 415347"/>
                      <a:gd name="connsiteX108" fmla="*/ 362260 w 533723"/>
                      <a:gd name="connsiteY108" fmla="*/ 412847 h 415347"/>
                      <a:gd name="connsiteX109" fmla="*/ 359508 w 533723"/>
                      <a:gd name="connsiteY109" fmla="*/ 412530 h 415347"/>
                      <a:gd name="connsiteX110" fmla="*/ 354180 w 533723"/>
                      <a:gd name="connsiteY110" fmla="*/ 409493 h 415347"/>
                      <a:gd name="connsiteX111" fmla="*/ 351263 w 533723"/>
                      <a:gd name="connsiteY111" fmla="*/ 406931 h 415347"/>
                      <a:gd name="connsiteX112" fmla="*/ 351015 w 533723"/>
                      <a:gd name="connsiteY112" fmla="*/ 406713 h 415347"/>
                      <a:gd name="connsiteX113" fmla="*/ 348397 w 533723"/>
                      <a:gd name="connsiteY113" fmla="*/ 403432 h 415347"/>
                      <a:gd name="connsiteX114" fmla="*/ 347445 w 533723"/>
                      <a:gd name="connsiteY114" fmla="*/ 401927 h 415347"/>
                      <a:gd name="connsiteX115" fmla="*/ 345319 w 533723"/>
                      <a:gd name="connsiteY115" fmla="*/ 397536 h 415347"/>
                      <a:gd name="connsiteX116" fmla="*/ 344561 w 533723"/>
                      <a:gd name="connsiteY116" fmla="*/ 395286 h 415347"/>
                      <a:gd name="connsiteX117" fmla="*/ 335650 w 533723"/>
                      <a:gd name="connsiteY117" fmla="*/ 375455 h 415347"/>
                      <a:gd name="connsiteX118" fmla="*/ 322714 w 533723"/>
                      <a:gd name="connsiteY118" fmla="*/ 362234 h 415347"/>
                      <a:gd name="connsiteX119" fmla="*/ 319648 w 533723"/>
                      <a:gd name="connsiteY119" fmla="*/ 358159 h 415347"/>
                      <a:gd name="connsiteX120" fmla="*/ 319434 w 533723"/>
                      <a:gd name="connsiteY120" fmla="*/ 357823 h 415347"/>
                      <a:gd name="connsiteX121" fmla="*/ 314734 w 533723"/>
                      <a:gd name="connsiteY121" fmla="*/ 350455 h 415347"/>
                      <a:gd name="connsiteX122" fmla="*/ 319052 w 533723"/>
                      <a:gd name="connsiteY122" fmla="*/ 316733 h 415347"/>
                      <a:gd name="connsiteX123" fmla="*/ 323333 w 533723"/>
                      <a:gd name="connsiteY123" fmla="*/ 310656 h 415347"/>
                      <a:gd name="connsiteX124" fmla="*/ 320679 w 533723"/>
                      <a:gd name="connsiteY124" fmla="*/ 310837 h 415347"/>
                      <a:gd name="connsiteX125" fmla="*/ 316984 w 533723"/>
                      <a:gd name="connsiteY125" fmla="*/ 309959 h 415347"/>
                      <a:gd name="connsiteX126" fmla="*/ 278469 w 533723"/>
                      <a:gd name="connsiteY126" fmla="*/ 281787 h 415347"/>
                      <a:gd name="connsiteX127" fmla="*/ 279196 w 533723"/>
                      <a:gd name="connsiteY127" fmla="*/ 221148 h 415347"/>
                      <a:gd name="connsiteX128" fmla="*/ 281137 w 533723"/>
                      <a:gd name="connsiteY128" fmla="*/ 212759 h 415347"/>
                      <a:gd name="connsiteX129" fmla="*/ 280817 w 533723"/>
                      <a:gd name="connsiteY129" fmla="*/ 212855 h 415347"/>
                      <a:gd name="connsiteX130" fmla="*/ 280074 w 533723"/>
                      <a:gd name="connsiteY130" fmla="*/ 213019 h 415347"/>
                      <a:gd name="connsiteX131" fmla="*/ 208386 w 533723"/>
                      <a:gd name="connsiteY131" fmla="*/ 230868 h 415347"/>
                      <a:gd name="connsiteX132" fmla="*/ 129358 w 533723"/>
                      <a:gd name="connsiteY132" fmla="*/ 256155 h 415347"/>
                      <a:gd name="connsiteX133" fmla="*/ 76481 w 533723"/>
                      <a:gd name="connsiteY133" fmla="*/ 253856 h 415347"/>
                      <a:gd name="connsiteX134" fmla="*/ 56365 w 533723"/>
                      <a:gd name="connsiteY134" fmla="*/ 204718 h 415347"/>
                      <a:gd name="connsiteX135" fmla="*/ 6361 w 533723"/>
                      <a:gd name="connsiteY135" fmla="*/ 145234 h 415347"/>
                      <a:gd name="connsiteX136" fmla="*/ 4924 w 533723"/>
                      <a:gd name="connsiteY136" fmla="*/ 90923 h 415347"/>
                      <a:gd name="connsiteX137" fmla="*/ 26190 w 533723"/>
                      <a:gd name="connsiteY137" fmla="*/ 62762 h 415347"/>
                      <a:gd name="connsiteX138" fmla="*/ 51192 w 533723"/>
                      <a:gd name="connsiteY138" fmla="*/ 63624 h 415347"/>
                      <a:gd name="connsiteX139" fmla="*/ 92574 w 533723"/>
                      <a:gd name="connsiteY139" fmla="*/ 72245 h 415347"/>
                      <a:gd name="connsiteX140" fmla="*/ 148899 w 533723"/>
                      <a:gd name="connsiteY140" fmla="*/ 97533 h 415347"/>
                      <a:gd name="connsiteX141" fmla="*/ 100620 w 533723"/>
                      <a:gd name="connsiteY141" fmla="*/ 70233 h 415347"/>
                      <a:gd name="connsiteX142" fmla="*/ 68722 w 533723"/>
                      <a:gd name="connsiteY142" fmla="*/ 57877 h 415347"/>
                      <a:gd name="connsiteX143" fmla="*/ 95735 w 533723"/>
                      <a:gd name="connsiteY143" fmla="*/ 33739 h 415347"/>
                      <a:gd name="connsiteX144" fmla="*/ 118438 w 533723"/>
                      <a:gd name="connsiteY144" fmla="*/ 6440 h 415347"/>
                      <a:gd name="connsiteX145" fmla="*/ 135290 w 533723"/>
                      <a:gd name="connsiteY145" fmla="*/ 95 h 415347"/>
                      <a:gd name="connsiteX0" fmla="*/ 528506 w 533723"/>
                      <a:gd name="connsiteY0" fmla="*/ 291832 h 415322"/>
                      <a:gd name="connsiteX1" fmla="*/ 510121 w 533723"/>
                      <a:gd name="connsiteY1" fmla="*/ 300446 h 415322"/>
                      <a:gd name="connsiteX2" fmla="*/ 500354 w 533723"/>
                      <a:gd name="connsiteY2" fmla="*/ 302312 h 415322"/>
                      <a:gd name="connsiteX3" fmla="*/ 489695 w 533723"/>
                      <a:gd name="connsiteY3" fmla="*/ 299159 h 415322"/>
                      <a:gd name="connsiteX4" fmla="*/ 490953 w 533723"/>
                      <a:gd name="connsiteY4" fmla="*/ 302242 h 415322"/>
                      <a:gd name="connsiteX5" fmla="*/ 490826 w 533723"/>
                      <a:gd name="connsiteY5" fmla="*/ 302554 h 415322"/>
                      <a:gd name="connsiteX6" fmla="*/ 497481 w 533723"/>
                      <a:gd name="connsiteY6" fmla="*/ 306188 h 415322"/>
                      <a:gd name="connsiteX7" fmla="*/ 505812 w 533723"/>
                      <a:gd name="connsiteY7" fmla="*/ 305901 h 415322"/>
                      <a:gd name="connsiteX8" fmla="*/ 523335 w 533723"/>
                      <a:gd name="connsiteY8" fmla="*/ 297575 h 415322"/>
                      <a:gd name="connsiteX9" fmla="*/ 528506 w 533723"/>
                      <a:gd name="connsiteY9" fmla="*/ 291832 h 415322"/>
                      <a:gd name="connsiteX10" fmla="*/ 459095 w 533723"/>
                      <a:gd name="connsiteY10" fmla="*/ 214354 h 415322"/>
                      <a:gd name="connsiteX11" fmla="*/ 470185 w 533723"/>
                      <a:gd name="connsiteY11" fmla="*/ 232917 h 415322"/>
                      <a:gd name="connsiteX12" fmla="*/ 469083 w 533723"/>
                      <a:gd name="connsiteY12" fmla="*/ 236710 h 415322"/>
                      <a:gd name="connsiteX13" fmla="*/ 465107 w 533723"/>
                      <a:gd name="connsiteY13" fmla="*/ 228628 h 415322"/>
                      <a:gd name="connsiteX14" fmla="*/ 462850 w 533723"/>
                      <a:gd name="connsiteY14" fmla="*/ 223907 h 415322"/>
                      <a:gd name="connsiteX15" fmla="*/ 461361 w 533723"/>
                      <a:gd name="connsiteY15" fmla="*/ 220754 h 415322"/>
                      <a:gd name="connsiteX16" fmla="*/ 459095 w 533723"/>
                      <a:gd name="connsiteY16" fmla="*/ 214354 h 415322"/>
                      <a:gd name="connsiteX17" fmla="*/ 458921 w 533723"/>
                      <a:gd name="connsiteY17" fmla="*/ 213862 h 415322"/>
                      <a:gd name="connsiteX18" fmla="*/ 459095 w 533723"/>
                      <a:gd name="connsiteY18" fmla="*/ 214354 h 415322"/>
                      <a:gd name="connsiteX19" fmla="*/ 458953 w 533723"/>
                      <a:gd name="connsiteY19" fmla="*/ 214116 h 415322"/>
                      <a:gd name="connsiteX20" fmla="*/ 458921 w 533723"/>
                      <a:gd name="connsiteY20" fmla="*/ 213862 h 415322"/>
                      <a:gd name="connsiteX21" fmla="*/ 231642 w 533723"/>
                      <a:gd name="connsiteY21" fmla="*/ 117869 h 415322"/>
                      <a:gd name="connsiteX22" fmla="*/ 245739 w 533723"/>
                      <a:gd name="connsiteY22" fmla="*/ 119960 h 415322"/>
                      <a:gd name="connsiteX23" fmla="*/ 247479 w 533723"/>
                      <a:gd name="connsiteY23" fmla="*/ 117948 h 415322"/>
                      <a:gd name="connsiteX24" fmla="*/ 241439 w 533723"/>
                      <a:gd name="connsiteY24" fmla="*/ 117896 h 415322"/>
                      <a:gd name="connsiteX25" fmla="*/ 231642 w 533723"/>
                      <a:gd name="connsiteY25" fmla="*/ 117869 h 415322"/>
                      <a:gd name="connsiteX26" fmla="*/ 393966 w 533723"/>
                      <a:gd name="connsiteY26" fmla="*/ 59548 h 415322"/>
                      <a:gd name="connsiteX27" fmla="*/ 394760 w 533723"/>
                      <a:gd name="connsiteY27" fmla="*/ 61641 h 415322"/>
                      <a:gd name="connsiteX28" fmla="*/ 396543 w 533723"/>
                      <a:gd name="connsiteY28" fmla="*/ 61922 h 415322"/>
                      <a:gd name="connsiteX29" fmla="*/ 393966 w 533723"/>
                      <a:gd name="connsiteY29" fmla="*/ 59548 h 415322"/>
                      <a:gd name="connsiteX30" fmla="*/ 135290 w 533723"/>
                      <a:gd name="connsiteY30" fmla="*/ 95 h 415322"/>
                      <a:gd name="connsiteX31" fmla="*/ 142002 w 533723"/>
                      <a:gd name="connsiteY31" fmla="*/ 118 h 415322"/>
                      <a:gd name="connsiteX32" fmla="*/ 184247 w 533723"/>
                      <a:gd name="connsiteY32" fmla="*/ 9888 h 415322"/>
                      <a:gd name="connsiteX33" fmla="*/ 237411 w 533723"/>
                      <a:gd name="connsiteY33" fmla="*/ 31727 h 415322"/>
                      <a:gd name="connsiteX34" fmla="*/ 273908 w 533723"/>
                      <a:gd name="connsiteY34" fmla="*/ 50693 h 415322"/>
                      <a:gd name="connsiteX35" fmla="*/ 300993 w 533723"/>
                      <a:gd name="connsiteY35" fmla="*/ 65241 h 415322"/>
                      <a:gd name="connsiteX36" fmla="*/ 313770 w 533723"/>
                      <a:gd name="connsiteY36" fmla="*/ 72415 h 415322"/>
                      <a:gd name="connsiteX37" fmla="*/ 317458 w 533723"/>
                      <a:gd name="connsiteY37" fmla="*/ 74704 h 415322"/>
                      <a:gd name="connsiteX38" fmla="*/ 321989 w 533723"/>
                      <a:gd name="connsiteY38" fmla="*/ 77518 h 415322"/>
                      <a:gd name="connsiteX39" fmla="*/ 328509 w 533723"/>
                      <a:gd name="connsiteY39" fmla="*/ 81728 h 415322"/>
                      <a:gd name="connsiteX40" fmla="*/ 329950 w 533723"/>
                      <a:gd name="connsiteY40" fmla="*/ 82770 h 415322"/>
                      <a:gd name="connsiteX41" fmla="*/ 322786 w 533723"/>
                      <a:gd name="connsiteY41" fmla="*/ 67357 h 415322"/>
                      <a:gd name="connsiteX42" fmla="*/ 318179 w 533723"/>
                      <a:gd name="connsiteY42" fmla="*/ 66024 h 415322"/>
                      <a:gd name="connsiteX43" fmla="*/ 315145 w 533723"/>
                      <a:gd name="connsiteY43" fmla="*/ 65146 h 415322"/>
                      <a:gd name="connsiteX44" fmla="*/ 315984 w 533723"/>
                      <a:gd name="connsiteY44" fmla="*/ 64282 h 415322"/>
                      <a:gd name="connsiteX45" fmla="*/ 336115 w 533723"/>
                      <a:gd name="connsiteY45" fmla="*/ 45493 h 415322"/>
                      <a:gd name="connsiteX46" fmla="*/ 339135 w 533723"/>
                      <a:gd name="connsiteY46" fmla="*/ 43303 h 415322"/>
                      <a:gd name="connsiteX47" fmla="*/ 344556 w 533723"/>
                      <a:gd name="connsiteY47" fmla="*/ 40552 h 415322"/>
                      <a:gd name="connsiteX48" fmla="*/ 348957 w 533723"/>
                      <a:gd name="connsiteY48" fmla="*/ 38760 h 415322"/>
                      <a:gd name="connsiteX49" fmla="*/ 368054 w 533723"/>
                      <a:gd name="connsiteY49" fmla="*/ 34807 h 415322"/>
                      <a:gd name="connsiteX50" fmla="*/ 382234 w 533723"/>
                      <a:gd name="connsiteY50" fmla="*/ 37952 h 415322"/>
                      <a:gd name="connsiteX51" fmla="*/ 390275 w 533723"/>
                      <a:gd name="connsiteY51" fmla="*/ 35652 h 415322"/>
                      <a:gd name="connsiteX52" fmla="*/ 390840 w 533723"/>
                      <a:gd name="connsiteY52" fmla="*/ 35749 h 415322"/>
                      <a:gd name="connsiteX53" fmla="*/ 391575 w 533723"/>
                      <a:gd name="connsiteY53" fmla="*/ 35894 h 415322"/>
                      <a:gd name="connsiteX54" fmla="*/ 391750 w 533723"/>
                      <a:gd name="connsiteY54" fmla="*/ 35955 h 415322"/>
                      <a:gd name="connsiteX55" fmla="*/ 392615 w 533723"/>
                      <a:gd name="connsiteY55" fmla="*/ 36327 h 415322"/>
                      <a:gd name="connsiteX56" fmla="*/ 393242 w 533723"/>
                      <a:gd name="connsiteY56" fmla="*/ 36306 h 415322"/>
                      <a:gd name="connsiteX57" fmla="*/ 393406 w 533723"/>
                      <a:gd name="connsiteY57" fmla="*/ 36317 h 415322"/>
                      <a:gd name="connsiteX58" fmla="*/ 397383 w 533723"/>
                      <a:gd name="connsiteY58" fmla="*/ 37341 h 415322"/>
                      <a:gd name="connsiteX59" fmla="*/ 408367 w 533723"/>
                      <a:gd name="connsiteY59" fmla="*/ 43126 h 415322"/>
                      <a:gd name="connsiteX60" fmla="*/ 459773 w 533723"/>
                      <a:gd name="connsiteY60" fmla="*/ 126491 h 415322"/>
                      <a:gd name="connsiteX61" fmla="*/ 441680 w 533723"/>
                      <a:gd name="connsiteY61" fmla="*/ 188008 h 415322"/>
                      <a:gd name="connsiteX62" fmla="*/ 442553 w 533723"/>
                      <a:gd name="connsiteY62" fmla="*/ 192637 h 415322"/>
                      <a:gd name="connsiteX63" fmla="*/ 443081 w 533723"/>
                      <a:gd name="connsiteY63" fmla="*/ 194875 h 415322"/>
                      <a:gd name="connsiteX64" fmla="*/ 451172 w 533723"/>
                      <a:gd name="connsiteY64" fmla="*/ 201092 h 415322"/>
                      <a:gd name="connsiteX65" fmla="*/ 458953 w 533723"/>
                      <a:gd name="connsiteY65" fmla="*/ 214116 h 415322"/>
                      <a:gd name="connsiteX66" fmla="*/ 459209 w 533723"/>
                      <a:gd name="connsiteY66" fmla="*/ 216161 h 415322"/>
                      <a:gd name="connsiteX67" fmla="*/ 460971 w 533723"/>
                      <a:gd name="connsiteY67" fmla="*/ 219929 h 415322"/>
                      <a:gd name="connsiteX68" fmla="*/ 461361 w 533723"/>
                      <a:gd name="connsiteY68" fmla="*/ 220754 h 415322"/>
                      <a:gd name="connsiteX69" fmla="*/ 470303 w 533723"/>
                      <a:gd name="connsiteY69" fmla="*/ 246015 h 415322"/>
                      <a:gd name="connsiteX70" fmla="*/ 469962 w 533723"/>
                      <a:gd name="connsiteY70" fmla="*/ 245448 h 415322"/>
                      <a:gd name="connsiteX71" fmla="*/ 468971 w 533723"/>
                      <a:gd name="connsiteY71" fmla="*/ 243799 h 415322"/>
                      <a:gd name="connsiteX72" fmla="*/ 464115 w 533723"/>
                      <a:gd name="connsiteY72" fmla="*/ 240660 h 415322"/>
                      <a:gd name="connsiteX73" fmla="*/ 457544 w 533723"/>
                      <a:gd name="connsiteY73" fmla="*/ 239804 h 415322"/>
                      <a:gd name="connsiteX74" fmla="*/ 463829 w 533723"/>
                      <a:gd name="connsiteY74" fmla="*/ 242086 h 415322"/>
                      <a:gd name="connsiteX75" fmla="*/ 469895 w 533723"/>
                      <a:gd name="connsiteY75" fmla="*/ 245979 h 415322"/>
                      <a:gd name="connsiteX76" fmla="*/ 470460 w 533723"/>
                      <a:gd name="connsiteY76" fmla="*/ 246460 h 415322"/>
                      <a:gd name="connsiteX77" fmla="*/ 485321 w 533723"/>
                      <a:gd name="connsiteY77" fmla="*/ 288443 h 415322"/>
                      <a:gd name="connsiteX78" fmla="*/ 485666 w 533723"/>
                      <a:gd name="connsiteY78" fmla="*/ 289289 h 415322"/>
                      <a:gd name="connsiteX79" fmla="*/ 485392 w 533723"/>
                      <a:gd name="connsiteY79" fmla="*/ 285754 h 415322"/>
                      <a:gd name="connsiteX80" fmla="*/ 485409 w 533723"/>
                      <a:gd name="connsiteY80" fmla="*/ 284254 h 415322"/>
                      <a:gd name="connsiteX81" fmla="*/ 485552 w 533723"/>
                      <a:gd name="connsiteY81" fmla="*/ 284634 h 415322"/>
                      <a:gd name="connsiteX82" fmla="*/ 487684 w 533723"/>
                      <a:gd name="connsiteY82" fmla="*/ 290297 h 415322"/>
                      <a:gd name="connsiteX83" fmla="*/ 487716 w 533723"/>
                      <a:gd name="connsiteY83" fmla="*/ 290381 h 415322"/>
                      <a:gd name="connsiteX84" fmla="*/ 487709 w 533723"/>
                      <a:gd name="connsiteY84" fmla="*/ 290382 h 415322"/>
                      <a:gd name="connsiteX85" fmla="*/ 486150 w 533723"/>
                      <a:gd name="connsiteY85" fmla="*/ 290474 h 415322"/>
                      <a:gd name="connsiteX86" fmla="*/ 488742 w 533723"/>
                      <a:gd name="connsiteY86" fmla="*/ 296824 h 415322"/>
                      <a:gd name="connsiteX87" fmla="*/ 494320 w 533723"/>
                      <a:gd name="connsiteY87" fmla="*/ 295556 h 415322"/>
                      <a:gd name="connsiteX88" fmla="*/ 512429 w 533723"/>
                      <a:gd name="connsiteY88" fmla="*/ 291820 h 415322"/>
                      <a:gd name="connsiteX89" fmla="*/ 519005 w 533723"/>
                      <a:gd name="connsiteY89" fmla="*/ 287509 h 415322"/>
                      <a:gd name="connsiteX90" fmla="*/ 520508 w 533723"/>
                      <a:gd name="connsiteY90" fmla="*/ 286839 h 415322"/>
                      <a:gd name="connsiteX91" fmla="*/ 522424 w 533723"/>
                      <a:gd name="connsiteY91" fmla="*/ 286502 h 415322"/>
                      <a:gd name="connsiteX92" fmla="*/ 523091 w 533723"/>
                      <a:gd name="connsiteY92" fmla="*/ 286385 h 415322"/>
                      <a:gd name="connsiteX93" fmla="*/ 525364 w 533723"/>
                      <a:gd name="connsiteY93" fmla="*/ 286646 h 415322"/>
                      <a:gd name="connsiteX94" fmla="*/ 533413 w 533723"/>
                      <a:gd name="connsiteY94" fmla="*/ 297855 h 415322"/>
                      <a:gd name="connsiteX95" fmla="*/ 530826 w 533723"/>
                      <a:gd name="connsiteY95" fmla="*/ 316249 h 415322"/>
                      <a:gd name="connsiteX96" fmla="*/ 530588 w 533723"/>
                      <a:gd name="connsiteY96" fmla="*/ 318085 h 415322"/>
                      <a:gd name="connsiteX97" fmla="*/ 530192 w 533723"/>
                      <a:gd name="connsiteY97" fmla="*/ 320320 h 415322"/>
                      <a:gd name="connsiteX98" fmla="*/ 529838 w 533723"/>
                      <a:gd name="connsiteY98" fmla="*/ 321637 h 415322"/>
                      <a:gd name="connsiteX99" fmla="*/ 526883 w 533723"/>
                      <a:gd name="connsiteY99" fmla="*/ 332653 h 415322"/>
                      <a:gd name="connsiteX100" fmla="*/ 524435 w 533723"/>
                      <a:gd name="connsiteY100" fmla="*/ 341781 h 415322"/>
                      <a:gd name="connsiteX101" fmla="*/ 519934 w 533723"/>
                      <a:gd name="connsiteY101" fmla="*/ 353045 h 415322"/>
                      <a:gd name="connsiteX102" fmla="*/ 493458 w 533723"/>
                      <a:gd name="connsiteY102" fmla="*/ 392987 h 415322"/>
                      <a:gd name="connsiteX103" fmla="*/ 421143 w 533723"/>
                      <a:gd name="connsiteY103" fmla="*/ 403455 h 415322"/>
                      <a:gd name="connsiteX104" fmla="*/ 416615 w 533723"/>
                      <a:gd name="connsiteY104" fmla="*/ 401105 h 415322"/>
                      <a:gd name="connsiteX105" fmla="*/ 403771 w 533723"/>
                      <a:gd name="connsiteY105" fmla="*/ 393322 h 415322"/>
                      <a:gd name="connsiteX106" fmla="*/ 381629 w 533723"/>
                      <a:gd name="connsiteY106" fmla="*/ 410745 h 415322"/>
                      <a:gd name="connsiteX107" fmla="*/ 364512 w 533723"/>
                      <a:gd name="connsiteY107" fmla="*/ 414388 h 415322"/>
                      <a:gd name="connsiteX108" fmla="*/ 362260 w 533723"/>
                      <a:gd name="connsiteY108" fmla="*/ 412847 h 415322"/>
                      <a:gd name="connsiteX109" fmla="*/ 359508 w 533723"/>
                      <a:gd name="connsiteY109" fmla="*/ 412530 h 415322"/>
                      <a:gd name="connsiteX110" fmla="*/ 354180 w 533723"/>
                      <a:gd name="connsiteY110" fmla="*/ 409493 h 415322"/>
                      <a:gd name="connsiteX111" fmla="*/ 351263 w 533723"/>
                      <a:gd name="connsiteY111" fmla="*/ 406931 h 415322"/>
                      <a:gd name="connsiteX112" fmla="*/ 351015 w 533723"/>
                      <a:gd name="connsiteY112" fmla="*/ 406713 h 415322"/>
                      <a:gd name="connsiteX113" fmla="*/ 348397 w 533723"/>
                      <a:gd name="connsiteY113" fmla="*/ 403432 h 415322"/>
                      <a:gd name="connsiteX114" fmla="*/ 347445 w 533723"/>
                      <a:gd name="connsiteY114" fmla="*/ 401927 h 415322"/>
                      <a:gd name="connsiteX115" fmla="*/ 345319 w 533723"/>
                      <a:gd name="connsiteY115" fmla="*/ 397536 h 415322"/>
                      <a:gd name="connsiteX116" fmla="*/ 344561 w 533723"/>
                      <a:gd name="connsiteY116" fmla="*/ 395286 h 415322"/>
                      <a:gd name="connsiteX117" fmla="*/ 335650 w 533723"/>
                      <a:gd name="connsiteY117" fmla="*/ 375455 h 415322"/>
                      <a:gd name="connsiteX118" fmla="*/ 322714 w 533723"/>
                      <a:gd name="connsiteY118" fmla="*/ 362234 h 415322"/>
                      <a:gd name="connsiteX119" fmla="*/ 319648 w 533723"/>
                      <a:gd name="connsiteY119" fmla="*/ 358159 h 415322"/>
                      <a:gd name="connsiteX120" fmla="*/ 319434 w 533723"/>
                      <a:gd name="connsiteY120" fmla="*/ 357823 h 415322"/>
                      <a:gd name="connsiteX121" fmla="*/ 314734 w 533723"/>
                      <a:gd name="connsiteY121" fmla="*/ 350455 h 415322"/>
                      <a:gd name="connsiteX122" fmla="*/ 319052 w 533723"/>
                      <a:gd name="connsiteY122" fmla="*/ 316733 h 415322"/>
                      <a:gd name="connsiteX123" fmla="*/ 323333 w 533723"/>
                      <a:gd name="connsiteY123" fmla="*/ 310656 h 415322"/>
                      <a:gd name="connsiteX124" fmla="*/ 320679 w 533723"/>
                      <a:gd name="connsiteY124" fmla="*/ 310837 h 415322"/>
                      <a:gd name="connsiteX125" fmla="*/ 316984 w 533723"/>
                      <a:gd name="connsiteY125" fmla="*/ 309959 h 415322"/>
                      <a:gd name="connsiteX126" fmla="*/ 278469 w 533723"/>
                      <a:gd name="connsiteY126" fmla="*/ 281787 h 415322"/>
                      <a:gd name="connsiteX127" fmla="*/ 279196 w 533723"/>
                      <a:gd name="connsiteY127" fmla="*/ 221148 h 415322"/>
                      <a:gd name="connsiteX128" fmla="*/ 281137 w 533723"/>
                      <a:gd name="connsiteY128" fmla="*/ 212759 h 415322"/>
                      <a:gd name="connsiteX129" fmla="*/ 280817 w 533723"/>
                      <a:gd name="connsiteY129" fmla="*/ 212855 h 415322"/>
                      <a:gd name="connsiteX130" fmla="*/ 280074 w 533723"/>
                      <a:gd name="connsiteY130" fmla="*/ 213019 h 415322"/>
                      <a:gd name="connsiteX131" fmla="*/ 208386 w 533723"/>
                      <a:gd name="connsiteY131" fmla="*/ 230868 h 415322"/>
                      <a:gd name="connsiteX132" fmla="*/ 129358 w 533723"/>
                      <a:gd name="connsiteY132" fmla="*/ 256155 h 415322"/>
                      <a:gd name="connsiteX133" fmla="*/ 76481 w 533723"/>
                      <a:gd name="connsiteY133" fmla="*/ 253856 h 415322"/>
                      <a:gd name="connsiteX134" fmla="*/ 56365 w 533723"/>
                      <a:gd name="connsiteY134" fmla="*/ 204718 h 415322"/>
                      <a:gd name="connsiteX135" fmla="*/ 6361 w 533723"/>
                      <a:gd name="connsiteY135" fmla="*/ 145234 h 415322"/>
                      <a:gd name="connsiteX136" fmla="*/ 4924 w 533723"/>
                      <a:gd name="connsiteY136" fmla="*/ 90923 h 415322"/>
                      <a:gd name="connsiteX137" fmla="*/ 26190 w 533723"/>
                      <a:gd name="connsiteY137" fmla="*/ 62762 h 415322"/>
                      <a:gd name="connsiteX138" fmla="*/ 51192 w 533723"/>
                      <a:gd name="connsiteY138" fmla="*/ 63624 h 415322"/>
                      <a:gd name="connsiteX139" fmla="*/ 92574 w 533723"/>
                      <a:gd name="connsiteY139" fmla="*/ 72245 h 415322"/>
                      <a:gd name="connsiteX140" fmla="*/ 148899 w 533723"/>
                      <a:gd name="connsiteY140" fmla="*/ 97533 h 415322"/>
                      <a:gd name="connsiteX141" fmla="*/ 100620 w 533723"/>
                      <a:gd name="connsiteY141" fmla="*/ 70233 h 415322"/>
                      <a:gd name="connsiteX142" fmla="*/ 68722 w 533723"/>
                      <a:gd name="connsiteY142" fmla="*/ 57877 h 415322"/>
                      <a:gd name="connsiteX143" fmla="*/ 95735 w 533723"/>
                      <a:gd name="connsiteY143" fmla="*/ 33739 h 415322"/>
                      <a:gd name="connsiteX144" fmla="*/ 118438 w 533723"/>
                      <a:gd name="connsiteY144" fmla="*/ 6440 h 415322"/>
                      <a:gd name="connsiteX145" fmla="*/ 135290 w 533723"/>
                      <a:gd name="connsiteY145" fmla="*/ 95 h 415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533723" h="415322">
                        <a:moveTo>
                          <a:pt x="528506" y="291832"/>
                        </a:moveTo>
                        <a:cubicBezTo>
                          <a:pt x="528506" y="291832"/>
                          <a:pt x="516154" y="299584"/>
                          <a:pt x="510121" y="300446"/>
                        </a:cubicBezTo>
                        <a:cubicBezTo>
                          <a:pt x="507105" y="300877"/>
                          <a:pt x="504089" y="302097"/>
                          <a:pt x="500354" y="302312"/>
                        </a:cubicBezTo>
                        <a:lnTo>
                          <a:pt x="489695" y="299159"/>
                        </a:lnTo>
                        <a:lnTo>
                          <a:pt x="490953" y="302242"/>
                        </a:lnTo>
                        <a:cubicBezTo>
                          <a:pt x="490911" y="302346"/>
                          <a:pt x="490868" y="302450"/>
                          <a:pt x="490826" y="302554"/>
                        </a:cubicBezTo>
                        <a:lnTo>
                          <a:pt x="497481" y="306188"/>
                        </a:lnTo>
                        <a:cubicBezTo>
                          <a:pt x="502940" y="306475"/>
                          <a:pt x="505812" y="305901"/>
                          <a:pt x="505812" y="305901"/>
                        </a:cubicBezTo>
                        <a:cubicBezTo>
                          <a:pt x="517015" y="304465"/>
                          <a:pt x="521899" y="299010"/>
                          <a:pt x="523335" y="297575"/>
                        </a:cubicBezTo>
                        <a:cubicBezTo>
                          <a:pt x="525059" y="296426"/>
                          <a:pt x="528506" y="291832"/>
                          <a:pt x="528506" y="291832"/>
                        </a:cubicBezTo>
                        <a:close/>
                        <a:moveTo>
                          <a:pt x="459095" y="214354"/>
                        </a:moveTo>
                        <a:lnTo>
                          <a:pt x="470185" y="232917"/>
                        </a:lnTo>
                        <a:lnTo>
                          <a:pt x="469083" y="236710"/>
                        </a:lnTo>
                        <a:lnTo>
                          <a:pt x="465107" y="228628"/>
                        </a:lnTo>
                        <a:cubicBezTo>
                          <a:pt x="464316" y="226985"/>
                          <a:pt x="463551" y="225384"/>
                          <a:pt x="462850" y="223907"/>
                        </a:cubicBezTo>
                        <a:lnTo>
                          <a:pt x="461361" y="220754"/>
                        </a:lnTo>
                        <a:lnTo>
                          <a:pt x="459095" y="214354"/>
                        </a:lnTo>
                        <a:close/>
                        <a:moveTo>
                          <a:pt x="458921" y="213862"/>
                        </a:moveTo>
                        <a:lnTo>
                          <a:pt x="459095" y="214354"/>
                        </a:lnTo>
                        <a:lnTo>
                          <a:pt x="458953" y="214116"/>
                        </a:lnTo>
                        <a:cubicBezTo>
                          <a:pt x="458942" y="214031"/>
                          <a:pt x="458932" y="213947"/>
                          <a:pt x="458921" y="213862"/>
                        </a:cubicBezTo>
                        <a:close/>
                        <a:moveTo>
                          <a:pt x="231642" y="117869"/>
                        </a:moveTo>
                        <a:lnTo>
                          <a:pt x="245739" y="119960"/>
                        </a:lnTo>
                        <a:lnTo>
                          <a:pt x="247479" y="117948"/>
                        </a:lnTo>
                        <a:lnTo>
                          <a:pt x="241439" y="117896"/>
                        </a:lnTo>
                        <a:lnTo>
                          <a:pt x="231642" y="117869"/>
                        </a:lnTo>
                        <a:close/>
                        <a:moveTo>
                          <a:pt x="393966" y="59548"/>
                        </a:moveTo>
                        <a:lnTo>
                          <a:pt x="394760" y="61641"/>
                        </a:lnTo>
                        <a:lnTo>
                          <a:pt x="396543" y="61922"/>
                        </a:lnTo>
                        <a:lnTo>
                          <a:pt x="393966" y="59548"/>
                        </a:lnTo>
                        <a:close/>
                        <a:moveTo>
                          <a:pt x="135290" y="95"/>
                        </a:moveTo>
                        <a:cubicBezTo>
                          <a:pt x="137297" y="-44"/>
                          <a:pt x="139488" y="-26"/>
                          <a:pt x="142002" y="118"/>
                        </a:cubicBezTo>
                        <a:cubicBezTo>
                          <a:pt x="151773" y="692"/>
                          <a:pt x="171890" y="5290"/>
                          <a:pt x="184247" y="9888"/>
                        </a:cubicBezTo>
                        <a:cubicBezTo>
                          <a:pt x="196604" y="14198"/>
                          <a:pt x="225916" y="24831"/>
                          <a:pt x="237411" y="31727"/>
                        </a:cubicBezTo>
                        <a:cubicBezTo>
                          <a:pt x="250056" y="38911"/>
                          <a:pt x="261551" y="43509"/>
                          <a:pt x="273908" y="50693"/>
                        </a:cubicBezTo>
                        <a:cubicBezTo>
                          <a:pt x="280230" y="54285"/>
                          <a:pt x="290576" y="59601"/>
                          <a:pt x="300993" y="65241"/>
                        </a:cubicBezTo>
                        <a:lnTo>
                          <a:pt x="313770" y="72415"/>
                        </a:lnTo>
                        <a:lnTo>
                          <a:pt x="317458" y="74704"/>
                        </a:lnTo>
                        <a:lnTo>
                          <a:pt x="321989" y="77518"/>
                        </a:lnTo>
                        <a:lnTo>
                          <a:pt x="328509" y="81728"/>
                        </a:lnTo>
                        <a:lnTo>
                          <a:pt x="329950" y="82770"/>
                        </a:lnTo>
                        <a:lnTo>
                          <a:pt x="322786" y="67357"/>
                        </a:lnTo>
                        <a:lnTo>
                          <a:pt x="318179" y="66024"/>
                        </a:lnTo>
                        <a:lnTo>
                          <a:pt x="315145" y="65146"/>
                        </a:lnTo>
                        <a:lnTo>
                          <a:pt x="315984" y="64282"/>
                        </a:lnTo>
                        <a:cubicBezTo>
                          <a:pt x="319030" y="61163"/>
                          <a:pt x="328778" y="51321"/>
                          <a:pt x="336115" y="45493"/>
                        </a:cubicBezTo>
                        <a:lnTo>
                          <a:pt x="339135" y="43303"/>
                        </a:lnTo>
                        <a:lnTo>
                          <a:pt x="344556" y="40552"/>
                        </a:lnTo>
                        <a:lnTo>
                          <a:pt x="348957" y="38760"/>
                        </a:lnTo>
                        <a:cubicBezTo>
                          <a:pt x="353552" y="36748"/>
                          <a:pt x="359726" y="34376"/>
                          <a:pt x="368054" y="34807"/>
                        </a:cubicBezTo>
                        <a:cubicBezTo>
                          <a:pt x="372219" y="35023"/>
                          <a:pt x="376921" y="35939"/>
                          <a:pt x="382234" y="37952"/>
                        </a:cubicBezTo>
                        <a:cubicBezTo>
                          <a:pt x="403198" y="46001"/>
                          <a:pt x="390275" y="35652"/>
                          <a:pt x="390275" y="35652"/>
                        </a:cubicBezTo>
                        <a:cubicBezTo>
                          <a:pt x="390275" y="35652"/>
                          <a:pt x="390477" y="35683"/>
                          <a:pt x="390840" y="35749"/>
                        </a:cubicBezTo>
                        <a:lnTo>
                          <a:pt x="391575" y="35894"/>
                        </a:lnTo>
                        <a:lnTo>
                          <a:pt x="391750" y="35955"/>
                        </a:lnTo>
                        <a:cubicBezTo>
                          <a:pt x="392319" y="36184"/>
                          <a:pt x="392615" y="36327"/>
                          <a:pt x="392615" y="36327"/>
                        </a:cubicBezTo>
                        <a:cubicBezTo>
                          <a:pt x="392615" y="36327"/>
                          <a:pt x="392831" y="36305"/>
                          <a:pt x="393242" y="36306"/>
                        </a:cubicBezTo>
                        <a:lnTo>
                          <a:pt x="393406" y="36317"/>
                        </a:lnTo>
                        <a:lnTo>
                          <a:pt x="397383" y="37341"/>
                        </a:lnTo>
                        <a:cubicBezTo>
                          <a:pt x="401260" y="38527"/>
                          <a:pt x="405783" y="40395"/>
                          <a:pt x="408367" y="43126"/>
                        </a:cubicBezTo>
                        <a:cubicBezTo>
                          <a:pt x="413537" y="48875"/>
                          <a:pt x="463219" y="96019"/>
                          <a:pt x="459773" y="126491"/>
                        </a:cubicBezTo>
                        <a:cubicBezTo>
                          <a:pt x="457762" y="144888"/>
                          <a:pt x="440819" y="179671"/>
                          <a:pt x="441680" y="188008"/>
                        </a:cubicBezTo>
                        <a:cubicBezTo>
                          <a:pt x="441860" y="189266"/>
                          <a:pt x="442165" y="190853"/>
                          <a:pt x="442553" y="192637"/>
                        </a:cubicBezTo>
                        <a:lnTo>
                          <a:pt x="443081" y="194875"/>
                        </a:lnTo>
                        <a:lnTo>
                          <a:pt x="451172" y="201092"/>
                        </a:lnTo>
                        <a:lnTo>
                          <a:pt x="458953" y="214116"/>
                        </a:lnTo>
                        <a:cubicBezTo>
                          <a:pt x="459038" y="214798"/>
                          <a:pt x="459124" y="215479"/>
                          <a:pt x="459209" y="216161"/>
                        </a:cubicBezTo>
                        <a:cubicBezTo>
                          <a:pt x="459209" y="216161"/>
                          <a:pt x="459892" y="217634"/>
                          <a:pt x="460971" y="219929"/>
                        </a:cubicBezTo>
                        <a:lnTo>
                          <a:pt x="461361" y="220754"/>
                        </a:lnTo>
                        <a:lnTo>
                          <a:pt x="470303" y="246015"/>
                        </a:lnTo>
                        <a:lnTo>
                          <a:pt x="469962" y="245448"/>
                        </a:lnTo>
                        <a:lnTo>
                          <a:pt x="468971" y="243799"/>
                        </a:lnTo>
                        <a:cubicBezTo>
                          <a:pt x="468971" y="243799"/>
                          <a:pt x="466400" y="241516"/>
                          <a:pt x="464115" y="240660"/>
                        </a:cubicBezTo>
                        <a:cubicBezTo>
                          <a:pt x="461829" y="239518"/>
                          <a:pt x="457544" y="239804"/>
                          <a:pt x="457544" y="239804"/>
                        </a:cubicBezTo>
                        <a:cubicBezTo>
                          <a:pt x="457544" y="239804"/>
                          <a:pt x="461829" y="241516"/>
                          <a:pt x="463829" y="242086"/>
                        </a:cubicBezTo>
                        <a:cubicBezTo>
                          <a:pt x="465329" y="242300"/>
                          <a:pt x="468435" y="244762"/>
                          <a:pt x="469895" y="245979"/>
                        </a:cubicBezTo>
                        <a:lnTo>
                          <a:pt x="470460" y="246460"/>
                        </a:lnTo>
                        <a:lnTo>
                          <a:pt x="485321" y="288443"/>
                        </a:lnTo>
                        <a:lnTo>
                          <a:pt x="485666" y="289289"/>
                        </a:lnTo>
                        <a:cubicBezTo>
                          <a:pt x="485575" y="288111"/>
                          <a:pt x="485483" y="286932"/>
                          <a:pt x="485392" y="285754"/>
                        </a:cubicBezTo>
                        <a:cubicBezTo>
                          <a:pt x="485398" y="285254"/>
                          <a:pt x="485403" y="284754"/>
                          <a:pt x="485409" y="284254"/>
                        </a:cubicBezTo>
                        <a:cubicBezTo>
                          <a:pt x="485457" y="284381"/>
                          <a:pt x="485504" y="284507"/>
                          <a:pt x="485552" y="284634"/>
                        </a:cubicBezTo>
                        <a:lnTo>
                          <a:pt x="487684" y="290297"/>
                        </a:lnTo>
                        <a:cubicBezTo>
                          <a:pt x="487695" y="290325"/>
                          <a:pt x="487705" y="290353"/>
                          <a:pt x="487716" y="290381"/>
                        </a:cubicBezTo>
                        <a:cubicBezTo>
                          <a:pt x="487714" y="290381"/>
                          <a:pt x="487711" y="290382"/>
                          <a:pt x="487709" y="290382"/>
                        </a:cubicBezTo>
                        <a:lnTo>
                          <a:pt x="486150" y="290474"/>
                        </a:lnTo>
                        <a:lnTo>
                          <a:pt x="488742" y="296824"/>
                        </a:lnTo>
                        <a:lnTo>
                          <a:pt x="494320" y="295556"/>
                        </a:lnTo>
                        <a:cubicBezTo>
                          <a:pt x="500644" y="296131"/>
                          <a:pt x="506393" y="294406"/>
                          <a:pt x="512429" y="291820"/>
                        </a:cubicBezTo>
                        <a:cubicBezTo>
                          <a:pt x="515304" y="290526"/>
                          <a:pt x="517172" y="288730"/>
                          <a:pt x="519005" y="287509"/>
                        </a:cubicBezTo>
                        <a:lnTo>
                          <a:pt x="520508" y="286839"/>
                        </a:lnTo>
                        <a:lnTo>
                          <a:pt x="522424" y="286502"/>
                        </a:lnTo>
                        <a:lnTo>
                          <a:pt x="523091" y="286385"/>
                        </a:lnTo>
                        <a:lnTo>
                          <a:pt x="525364" y="286646"/>
                        </a:lnTo>
                        <a:cubicBezTo>
                          <a:pt x="530826" y="288371"/>
                          <a:pt x="531976" y="291532"/>
                          <a:pt x="533413" y="297855"/>
                        </a:cubicBezTo>
                        <a:cubicBezTo>
                          <a:pt x="534850" y="304178"/>
                          <a:pt x="530826" y="316249"/>
                          <a:pt x="530826" y="316249"/>
                        </a:cubicBezTo>
                        <a:cubicBezTo>
                          <a:pt x="530826" y="316249"/>
                          <a:pt x="530763" y="316891"/>
                          <a:pt x="530588" y="318085"/>
                        </a:cubicBezTo>
                        <a:lnTo>
                          <a:pt x="530192" y="320320"/>
                        </a:lnTo>
                        <a:lnTo>
                          <a:pt x="529838" y="321637"/>
                        </a:lnTo>
                        <a:lnTo>
                          <a:pt x="526883" y="332653"/>
                        </a:lnTo>
                        <a:lnTo>
                          <a:pt x="524435" y="341781"/>
                        </a:lnTo>
                        <a:lnTo>
                          <a:pt x="519934" y="353045"/>
                        </a:lnTo>
                        <a:cubicBezTo>
                          <a:pt x="514343" y="365490"/>
                          <a:pt x="505962" y="379622"/>
                          <a:pt x="493458" y="392987"/>
                        </a:cubicBezTo>
                        <a:cubicBezTo>
                          <a:pt x="468666" y="419716"/>
                          <a:pt x="437567" y="410878"/>
                          <a:pt x="421143" y="403455"/>
                        </a:cubicBezTo>
                        <a:lnTo>
                          <a:pt x="416615" y="401105"/>
                        </a:lnTo>
                        <a:cubicBezTo>
                          <a:pt x="416179" y="402174"/>
                          <a:pt x="404207" y="392253"/>
                          <a:pt x="403771" y="393322"/>
                        </a:cubicBezTo>
                        <a:cubicBezTo>
                          <a:pt x="395387" y="401831"/>
                          <a:pt x="388172" y="407234"/>
                          <a:pt x="381629" y="410745"/>
                        </a:cubicBezTo>
                        <a:cubicBezTo>
                          <a:pt x="375086" y="414256"/>
                          <a:pt x="370055" y="416767"/>
                          <a:pt x="364512" y="414388"/>
                        </a:cubicBezTo>
                        <a:lnTo>
                          <a:pt x="362260" y="412847"/>
                        </a:lnTo>
                        <a:lnTo>
                          <a:pt x="359508" y="412530"/>
                        </a:lnTo>
                        <a:lnTo>
                          <a:pt x="354180" y="409493"/>
                        </a:lnTo>
                        <a:lnTo>
                          <a:pt x="351263" y="406931"/>
                        </a:lnTo>
                        <a:lnTo>
                          <a:pt x="351015" y="406713"/>
                        </a:lnTo>
                        <a:lnTo>
                          <a:pt x="348397" y="403432"/>
                        </a:lnTo>
                        <a:lnTo>
                          <a:pt x="347445" y="401927"/>
                        </a:lnTo>
                        <a:lnTo>
                          <a:pt x="345319" y="397536"/>
                        </a:lnTo>
                        <a:cubicBezTo>
                          <a:pt x="344794" y="396166"/>
                          <a:pt x="344561" y="395286"/>
                          <a:pt x="344561" y="395286"/>
                        </a:cubicBezTo>
                        <a:lnTo>
                          <a:pt x="335650" y="375455"/>
                        </a:lnTo>
                        <a:cubicBezTo>
                          <a:pt x="335650" y="375455"/>
                          <a:pt x="327314" y="367408"/>
                          <a:pt x="322714" y="362234"/>
                        </a:cubicBezTo>
                        <a:lnTo>
                          <a:pt x="319648" y="358159"/>
                        </a:lnTo>
                        <a:lnTo>
                          <a:pt x="319434" y="357823"/>
                        </a:lnTo>
                        <a:lnTo>
                          <a:pt x="314734" y="350455"/>
                        </a:lnTo>
                        <a:cubicBezTo>
                          <a:pt x="314734" y="350455"/>
                          <a:pt x="310334" y="332411"/>
                          <a:pt x="319052" y="316733"/>
                        </a:cubicBezTo>
                        <a:lnTo>
                          <a:pt x="323333" y="310656"/>
                        </a:lnTo>
                        <a:lnTo>
                          <a:pt x="320679" y="310837"/>
                        </a:lnTo>
                        <a:cubicBezTo>
                          <a:pt x="319405" y="310763"/>
                          <a:pt x="318170" y="310498"/>
                          <a:pt x="316984" y="309959"/>
                        </a:cubicBezTo>
                        <a:cubicBezTo>
                          <a:pt x="307787" y="305647"/>
                          <a:pt x="281056" y="298172"/>
                          <a:pt x="278469" y="281787"/>
                        </a:cubicBezTo>
                        <a:cubicBezTo>
                          <a:pt x="276529" y="269497"/>
                          <a:pt x="275235" y="243140"/>
                          <a:pt x="279196" y="221148"/>
                        </a:cubicBezTo>
                        <a:lnTo>
                          <a:pt x="281137" y="212759"/>
                        </a:lnTo>
                        <a:lnTo>
                          <a:pt x="280817" y="212855"/>
                        </a:lnTo>
                        <a:lnTo>
                          <a:pt x="280074" y="213019"/>
                        </a:lnTo>
                        <a:cubicBezTo>
                          <a:pt x="269049" y="215467"/>
                          <a:pt x="223976" y="225587"/>
                          <a:pt x="208386" y="230868"/>
                        </a:cubicBezTo>
                        <a:cubicBezTo>
                          <a:pt x="190569" y="236902"/>
                          <a:pt x="148612" y="256155"/>
                          <a:pt x="129358" y="256155"/>
                        </a:cubicBezTo>
                        <a:cubicBezTo>
                          <a:pt x="102632" y="255868"/>
                          <a:pt x="76481" y="253856"/>
                          <a:pt x="76481" y="253856"/>
                        </a:cubicBezTo>
                        <a:cubicBezTo>
                          <a:pt x="76481" y="253856"/>
                          <a:pt x="66710" y="217649"/>
                          <a:pt x="56365" y="204718"/>
                        </a:cubicBezTo>
                        <a:cubicBezTo>
                          <a:pt x="45732" y="191787"/>
                          <a:pt x="12971" y="165062"/>
                          <a:pt x="6361" y="145234"/>
                        </a:cubicBezTo>
                        <a:cubicBezTo>
                          <a:pt x="39" y="125119"/>
                          <a:pt x="-3409" y="109027"/>
                          <a:pt x="4924" y="90923"/>
                        </a:cubicBezTo>
                        <a:cubicBezTo>
                          <a:pt x="12971" y="73107"/>
                          <a:pt x="26190" y="62762"/>
                          <a:pt x="26190" y="62762"/>
                        </a:cubicBezTo>
                        <a:lnTo>
                          <a:pt x="51192" y="63624"/>
                        </a:lnTo>
                        <a:cubicBezTo>
                          <a:pt x="62399" y="65061"/>
                          <a:pt x="80217" y="68222"/>
                          <a:pt x="92574" y="72245"/>
                        </a:cubicBezTo>
                        <a:cubicBezTo>
                          <a:pt x="104644" y="76268"/>
                          <a:pt x="148899" y="97533"/>
                          <a:pt x="148899" y="97533"/>
                        </a:cubicBezTo>
                        <a:lnTo>
                          <a:pt x="100620" y="70233"/>
                        </a:lnTo>
                        <a:lnTo>
                          <a:pt x="68722" y="57877"/>
                        </a:lnTo>
                        <a:cubicBezTo>
                          <a:pt x="68722" y="57877"/>
                          <a:pt x="82803" y="49544"/>
                          <a:pt x="95735" y="33739"/>
                        </a:cubicBezTo>
                        <a:cubicBezTo>
                          <a:pt x="108667" y="17934"/>
                          <a:pt x="109816" y="12187"/>
                          <a:pt x="118438" y="6440"/>
                        </a:cubicBezTo>
                        <a:cubicBezTo>
                          <a:pt x="124904" y="2345"/>
                          <a:pt x="129268" y="513"/>
                          <a:pt x="135290" y="95"/>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IN" sz="1961"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13" name="Freeform 12"/>
                  <p:cNvSpPr>
                    <a:spLocks/>
                  </p:cNvSpPr>
                  <p:nvPr/>
                </p:nvSpPr>
                <p:spPr bwMode="auto">
                  <a:xfrm>
                    <a:off x="1203881" y="3576766"/>
                    <a:ext cx="290830" cy="297797"/>
                  </a:xfrm>
                  <a:custGeom>
                    <a:avLst/>
                    <a:gdLst>
                      <a:gd name="connsiteX0" fmla="*/ 1222186 w 2129049"/>
                      <a:gd name="connsiteY0" fmla="*/ 1839320 h 2180047"/>
                      <a:gd name="connsiteX1" fmla="*/ 1208400 w 2129049"/>
                      <a:gd name="connsiteY1" fmla="*/ 1841119 h 2180047"/>
                      <a:gd name="connsiteX2" fmla="*/ 1186099 w 2129049"/>
                      <a:gd name="connsiteY2" fmla="*/ 1843640 h 2180047"/>
                      <a:gd name="connsiteX3" fmla="*/ 1188379 w 2129049"/>
                      <a:gd name="connsiteY3" fmla="*/ 1844841 h 2180047"/>
                      <a:gd name="connsiteX4" fmla="*/ 1243194 w 2129049"/>
                      <a:gd name="connsiteY4" fmla="*/ 1939957 h 2180047"/>
                      <a:gd name="connsiteX5" fmla="*/ 1223702 w 2129049"/>
                      <a:gd name="connsiteY5" fmla="*/ 1853174 h 2180047"/>
                      <a:gd name="connsiteX6" fmla="*/ 1222569 w 2129049"/>
                      <a:gd name="connsiteY6" fmla="*/ 1839342 h 2180047"/>
                      <a:gd name="connsiteX7" fmla="*/ 441891 w 2129049"/>
                      <a:gd name="connsiteY7" fmla="*/ 1746105 h 2180047"/>
                      <a:gd name="connsiteX8" fmla="*/ 450977 w 2129049"/>
                      <a:gd name="connsiteY8" fmla="*/ 1757606 h 2180047"/>
                      <a:gd name="connsiteX9" fmla="*/ 707370 w 2129049"/>
                      <a:gd name="connsiteY9" fmla="*/ 1976776 h 2180047"/>
                      <a:gd name="connsiteX10" fmla="*/ 766453 w 2129049"/>
                      <a:gd name="connsiteY10" fmla="*/ 2010648 h 2180047"/>
                      <a:gd name="connsiteX11" fmla="*/ 831225 w 2129049"/>
                      <a:gd name="connsiteY11" fmla="*/ 2015356 h 2180047"/>
                      <a:gd name="connsiteX12" fmla="*/ 999836 w 2129049"/>
                      <a:gd name="connsiteY12" fmla="*/ 2014732 h 2180047"/>
                      <a:gd name="connsiteX13" fmla="*/ 1033552 w 2129049"/>
                      <a:gd name="connsiteY13" fmla="*/ 2011934 h 2180047"/>
                      <a:gd name="connsiteX14" fmla="*/ 1030508 w 2129049"/>
                      <a:gd name="connsiteY14" fmla="*/ 1991231 h 2180047"/>
                      <a:gd name="connsiteX15" fmla="*/ 1069280 w 2129049"/>
                      <a:gd name="connsiteY15" fmla="*/ 1869985 h 2180047"/>
                      <a:gd name="connsiteX16" fmla="*/ 1086998 w 2129049"/>
                      <a:gd name="connsiteY16" fmla="*/ 1852207 h 2180047"/>
                      <a:gd name="connsiteX17" fmla="*/ 1040249 w 2129049"/>
                      <a:gd name="connsiteY17" fmla="*/ 1855089 h 2180047"/>
                      <a:gd name="connsiteX18" fmla="*/ 700561 w 2129049"/>
                      <a:gd name="connsiteY18" fmla="*/ 1833012 h 2180047"/>
                      <a:gd name="connsiteX19" fmla="*/ 442094 w 2129049"/>
                      <a:gd name="connsiteY19" fmla="*/ 1746192 h 2180047"/>
                      <a:gd name="connsiteX20" fmla="*/ 1059954 w 2129049"/>
                      <a:gd name="connsiteY20" fmla="*/ 1504433 h 2180047"/>
                      <a:gd name="connsiteX21" fmla="*/ 1137935 w 2129049"/>
                      <a:gd name="connsiteY21" fmla="*/ 1553560 h 2180047"/>
                      <a:gd name="connsiteX22" fmla="*/ 1232714 w 2129049"/>
                      <a:gd name="connsiteY22" fmla="*/ 1597039 h 2180047"/>
                      <a:gd name="connsiteX23" fmla="*/ 1498003 w 2129049"/>
                      <a:gd name="connsiteY23" fmla="*/ 1620193 h 2180047"/>
                      <a:gd name="connsiteX24" fmla="*/ 1417995 w 2129049"/>
                      <a:gd name="connsiteY24" fmla="*/ 1660186 h 2180047"/>
                      <a:gd name="connsiteX25" fmla="*/ 1260085 w 2129049"/>
                      <a:gd name="connsiteY25" fmla="*/ 1660186 h 2180047"/>
                      <a:gd name="connsiteX26" fmla="*/ 1110597 w 2129049"/>
                      <a:gd name="connsiteY26" fmla="*/ 1640189 h 2180047"/>
                      <a:gd name="connsiteX27" fmla="*/ 1099046 w 2129049"/>
                      <a:gd name="connsiteY27" fmla="*/ 1638682 h 2180047"/>
                      <a:gd name="connsiteX28" fmla="*/ 251840 w 2129049"/>
                      <a:gd name="connsiteY28" fmla="*/ 316333 h 2180047"/>
                      <a:gd name="connsiteX29" fmla="*/ 246796 w 2129049"/>
                      <a:gd name="connsiteY29" fmla="*/ 329846 h 2180047"/>
                      <a:gd name="connsiteX30" fmla="*/ 161902 w 2129049"/>
                      <a:gd name="connsiteY30" fmla="*/ 686152 h 2180047"/>
                      <a:gd name="connsiteX31" fmla="*/ 163319 w 2129049"/>
                      <a:gd name="connsiteY31" fmla="*/ 765157 h 2180047"/>
                      <a:gd name="connsiteX32" fmla="*/ 168120 w 2129049"/>
                      <a:gd name="connsiteY32" fmla="*/ 772124 h 2180047"/>
                      <a:gd name="connsiteX33" fmla="*/ 462568 w 2129049"/>
                      <a:gd name="connsiteY33" fmla="*/ 1054574 h 2180047"/>
                      <a:gd name="connsiteX34" fmla="*/ 1083519 w 2129049"/>
                      <a:gd name="connsiteY34" fmla="*/ 1296666 h 2180047"/>
                      <a:gd name="connsiteX35" fmla="*/ 1112988 w 2129049"/>
                      <a:gd name="connsiteY35" fmla="*/ 1212460 h 2180047"/>
                      <a:gd name="connsiteX36" fmla="*/ 635171 w 2129049"/>
                      <a:gd name="connsiteY36" fmla="*/ 913528 h 2180047"/>
                      <a:gd name="connsiteX37" fmla="*/ 256327 w 2129049"/>
                      <a:gd name="connsiteY37" fmla="*/ 344726 h 2180047"/>
                      <a:gd name="connsiteX38" fmla="*/ 203697 w 2129049"/>
                      <a:gd name="connsiteY38" fmla="*/ 216555 h 2180047"/>
                      <a:gd name="connsiteX39" fmla="*/ 195507 w 2129049"/>
                      <a:gd name="connsiteY39" fmla="*/ 224152 h 2180047"/>
                      <a:gd name="connsiteX40" fmla="*/ 153435 w 2129049"/>
                      <a:gd name="connsiteY40" fmla="*/ 280530 h 2180047"/>
                      <a:gd name="connsiteX41" fmla="*/ 119142 w 2129049"/>
                      <a:gd name="connsiteY41" fmla="*/ 338248 h 2180047"/>
                      <a:gd name="connsiteX42" fmla="*/ 162420 w 2129049"/>
                      <a:gd name="connsiteY42" fmla="*/ 270250 h 2180047"/>
                      <a:gd name="connsiteX43" fmla="*/ 200473 w 2129049"/>
                      <a:gd name="connsiteY43" fmla="*/ 220227 h 2180047"/>
                      <a:gd name="connsiteX44" fmla="*/ 545326 w 2129049"/>
                      <a:gd name="connsiteY44" fmla="*/ 37476 h 2180047"/>
                      <a:gd name="connsiteX45" fmla="*/ 541800 w 2129049"/>
                      <a:gd name="connsiteY45" fmla="*/ 40991 h 2180047"/>
                      <a:gd name="connsiteX46" fmla="*/ 536701 w 2129049"/>
                      <a:gd name="connsiteY46" fmla="*/ 46149 h 2180047"/>
                      <a:gd name="connsiteX47" fmla="*/ 940947 w 2129049"/>
                      <a:gd name="connsiteY47" fmla="*/ 939893 h 2180047"/>
                      <a:gd name="connsiteX48" fmla="*/ 978333 w 2129049"/>
                      <a:gd name="connsiteY48" fmla="*/ 993267 h 2180047"/>
                      <a:gd name="connsiteX49" fmla="*/ 1095859 w 2129049"/>
                      <a:gd name="connsiteY49" fmla="*/ 1039243 h 2180047"/>
                      <a:gd name="connsiteX50" fmla="*/ 1131484 w 2129049"/>
                      <a:gd name="connsiteY50" fmla="*/ 1124187 h 2180047"/>
                      <a:gd name="connsiteX51" fmla="*/ 1146506 w 2129049"/>
                      <a:gd name="connsiteY51" fmla="*/ 1133109 h 2180047"/>
                      <a:gd name="connsiteX52" fmla="*/ 1148541 w 2129049"/>
                      <a:gd name="connsiteY52" fmla="*/ 1133748 h 2180047"/>
                      <a:gd name="connsiteX53" fmla="*/ 1141842 w 2129049"/>
                      <a:gd name="connsiteY53" fmla="*/ 1144915 h 2180047"/>
                      <a:gd name="connsiteX54" fmla="*/ 1141505 w 2129049"/>
                      <a:gd name="connsiteY54" fmla="*/ 1145660 h 2180047"/>
                      <a:gd name="connsiteX55" fmla="*/ 1187973 w 2129049"/>
                      <a:gd name="connsiteY55" fmla="*/ 1232630 h 2180047"/>
                      <a:gd name="connsiteX56" fmla="*/ 1289562 w 2129049"/>
                      <a:gd name="connsiteY56" fmla="*/ 1373921 h 2180047"/>
                      <a:gd name="connsiteX57" fmla="*/ 1531690 w 2129049"/>
                      <a:gd name="connsiteY57" fmla="*/ 1481270 h 2180047"/>
                      <a:gd name="connsiteX58" fmla="*/ 1426417 w 2129049"/>
                      <a:gd name="connsiteY58" fmla="*/ 1496004 h 2180047"/>
                      <a:gd name="connsiteX59" fmla="*/ 1194816 w 2129049"/>
                      <a:gd name="connsiteY59" fmla="*/ 1399179 h 2180047"/>
                      <a:gd name="connsiteX60" fmla="*/ 1145436 w 2129049"/>
                      <a:gd name="connsiteY60" fmla="*/ 1340670 h 2180047"/>
                      <a:gd name="connsiteX61" fmla="*/ 1091189 w 2129049"/>
                      <a:gd name="connsiteY61" fmla="*/ 1275923 h 2180047"/>
                      <a:gd name="connsiteX62" fmla="*/ 1064249 w 2129049"/>
                      <a:gd name="connsiteY62" fmla="*/ 1369079 h 2180047"/>
                      <a:gd name="connsiteX63" fmla="*/ 1046007 w 2129049"/>
                      <a:gd name="connsiteY63" fmla="*/ 1483657 h 2180047"/>
                      <a:gd name="connsiteX64" fmla="*/ 1046013 w 2129049"/>
                      <a:gd name="connsiteY64" fmla="*/ 1495461 h 2180047"/>
                      <a:gd name="connsiteX65" fmla="*/ 1012870 w 2129049"/>
                      <a:gd name="connsiteY65" fmla="*/ 1487283 h 2180047"/>
                      <a:gd name="connsiteX66" fmla="*/ 561761 w 2129049"/>
                      <a:gd name="connsiteY66" fmla="*/ 1355377 h 2180047"/>
                      <a:gd name="connsiteX67" fmla="*/ 245802 w 2129049"/>
                      <a:gd name="connsiteY67" fmla="*/ 1165644 h 2180047"/>
                      <a:gd name="connsiteX68" fmla="*/ 203985 w 2129049"/>
                      <a:gd name="connsiteY68" fmla="*/ 1132152 h 2180047"/>
                      <a:gd name="connsiteX69" fmla="*/ 234345 w 2129049"/>
                      <a:gd name="connsiteY69" fmla="*/ 1297625 h 2180047"/>
                      <a:gd name="connsiteX70" fmla="*/ 260418 w 2129049"/>
                      <a:gd name="connsiteY70" fmla="*/ 1401636 h 2180047"/>
                      <a:gd name="connsiteX71" fmla="*/ 276086 w 2129049"/>
                      <a:gd name="connsiteY71" fmla="*/ 1451374 h 2180047"/>
                      <a:gd name="connsiteX72" fmla="*/ 305709 w 2129049"/>
                      <a:gd name="connsiteY72" fmla="*/ 1466895 h 2180047"/>
                      <a:gd name="connsiteX73" fmla="*/ 561761 w 2129049"/>
                      <a:gd name="connsiteY73" fmla="*/ 1572001 h 2180047"/>
                      <a:gd name="connsiteX74" fmla="*/ 1106575 w 2129049"/>
                      <a:gd name="connsiteY74" fmla="*/ 1664539 h 2180047"/>
                      <a:gd name="connsiteX75" fmla="*/ 1106413 w 2129049"/>
                      <a:gd name="connsiteY75" fmla="*/ 1663981 h 2180047"/>
                      <a:gd name="connsiteX76" fmla="*/ 1109394 w 2129049"/>
                      <a:gd name="connsiteY76" fmla="*/ 1669032 h 2180047"/>
                      <a:gd name="connsiteX77" fmla="*/ 1145872 w 2129049"/>
                      <a:gd name="connsiteY77" fmla="*/ 1724864 h 2180047"/>
                      <a:gd name="connsiteX78" fmla="*/ 1151390 w 2129049"/>
                      <a:gd name="connsiteY78" fmla="*/ 1728726 h 2180047"/>
                      <a:gd name="connsiteX79" fmla="*/ 1244657 w 2129049"/>
                      <a:gd name="connsiteY79" fmla="*/ 1793994 h 2180047"/>
                      <a:gd name="connsiteX80" fmla="*/ 1255282 w 2129049"/>
                      <a:gd name="connsiteY80" fmla="*/ 1801430 h 2180047"/>
                      <a:gd name="connsiteX81" fmla="*/ 1259765 w 2129049"/>
                      <a:gd name="connsiteY81" fmla="*/ 1803273 h 2180047"/>
                      <a:gd name="connsiteX82" fmla="*/ 1262425 w 2129049"/>
                      <a:gd name="connsiteY82" fmla="*/ 1805592 h 2180047"/>
                      <a:gd name="connsiteX83" fmla="*/ 1274330 w 2129049"/>
                      <a:gd name="connsiteY83" fmla="*/ 1811179 h 2180047"/>
                      <a:gd name="connsiteX84" fmla="*/ 1470632 w 2129049"/>
                      <a:gd name="connsiteY84" fmla="*/ 1851731 h 2180047"/>
                      <a:gd name="connsiteX85" fmla="*/ 1337987 w 2129049"/>
                      <a:gd name="connsiteY85" fmla="*/ 1879094 h 2180047"/>
                      <a:gd name="connsiteX86" fmla="*/ 1331095 w 2129049"/>
                      <a:gd name="connsiteY86" fmla="*/ 1878426 h 2180047"/>
                      <a:gd name="connsiteX87" fmla="*/ 1337882 w 2129049"/>
                      <a:gd name="connsiteY87" fmla="*/ 1887387 h 2180047"/>
                      <a:gd name="connsiteX88" fmla="*/ 2129049 w 2129049"/>
                      <a:gd name="connsiteY88" fmla="*/ 1929443 h 2180047"/>
                      <a:gd name="connsiteX89" fmla="*/ 1413632 w 2129049"/>
                      <a:gd name="connsiteY89" fmla="*/ 2169166 h 2180047"/>
                      <a:gd name="connsiteX90" fmla="*/ 1301496 w 2129049"/>
                      <a:gd name="connsiteY90" fmla="*/ 2177335 h 2180047"/>
                      <a:gd name="connsiteX91" fmla="*/ 1281595 w 2129049"/>
                      <a:gd name="connsiteY91" fmla="*/ 2175656 h 2180047"/>
                      <a:gd name="connsiteX92" fmla="*/ 1272759 w 2129049"/>
                      <a:gd name="connsiteY92" fmla="*/ 2177928 h 2180047"/>
                      <a:gd name="connsiteX93" fmla="*/ 1063402 w 2129049"/>
                      <a:gd name="connsiteY93" fmla="*/ 2155016 h 2180047"/>
                      <a:gd name="connsiteX94" fmla="*/ 994039 w 2129049"/>
                      <a:gd name="connsiteY94" fmla="*/ 2133739 h 2180047"/>
                      <a:gd name="connsiteX95" fmla="*/ 954380 w 2129049"/>
                      <a:gd name="connsiteY95" fmla="*/ 2125140 h 2180047"/>
                      <a:gd name="connsiteX96" fmla="*/ 485181 w 2129049"/>
                      <a:gd name="connsiteY96" fmla="*/ 1869194 h 2180047"/>
                      <a:gd name="connsiteX97" fmla="*/ 424111 w 2129049"/>
                      <a:gd name="connsiteY97" fmla="*/ 1817746 h 2180047"/>
                      <a:gd name="connsiteX98" fmla="*/ 407264 w 2129049"/>
                      <a:gd name="connsiteY98" fmla="*/ 1804650 h 2180047"/>
                      <a:gd name="connsiteX99" fmla="*/ 400242 w 2129049"/>
                      <a:gd name="connsiteY99" fmla="*/ 1797638 h 2180047"/>
                      <a:gd name="connsiteX100" fmla="*/ 373060 w 2129049"/>
                      <a:gd name="connsiteY100" fmla="*/ 1774739 h 2180047"/>
                      <a:gd name="connsiteX101" fmla="*/ 178723 w 2129049"/>
                      <a:gd name="connsiteY101" fmla="*/ 1546546 h 2180047"/>
                      <a:gd name="connsiteX102" fmla="*/ 0 w 2129049"/>
                      <a:gd name="connsiteY102" fmla="*/ 780817 h 2180047"/>
                      <a:gd name="connsiteX103" fmla="*/ 75177 w 2129049"/>
                      <a:gd name="connsiteY103" fmla="*/ 424975 h 2180047"/>
                      <a:gd name="connsiteX104" fmla="*/ 118668 w 2129049"/>
                      <a:gd name="connsiteY104" fmla="*/ 339046 h 2180047"/>
                      <a:gd name="connsiteX105" fmla="*/ 116953 w 2129049"/>
                      <a:gd name="connsiteY105" fmla="*/ 341932 h 2180047"/>
                      <a:gd name="connsiteX106" fmla="*/ 93993 w 2129049"/>
                      <a:gd name="connsiteY106" fmla="*/ 385485 h 2180047"/>
                      <a:gd name="connsiteX107" fmla="*/ 93509 w 2129049"/>
                      <a:gd name="connsiteY107" fmla="*/ 386464 h 2180047"/>
                      <a:gd name="connsiteX108" fmla="*/ 95671 w 2129049"/>
                      <a:gd name="connsiteY108" fmla="*/ 380966 h 2180047"/>
                      <a:gd name="connsiteX109" fmla="*/ 182624 w 2129049"/>
                      <a:gd name="connsiteY109" fmla="*/ 235436 h 2180047"/>
                      <a:gd name="connsiteX110" fmla="*/ 478385 w 2129049"/>
                      <a:gd name="connsiteY110" fmla="*/ 56179 h 2180047"/>
                      <a:gd name="connsiteX111" fmla="*/ 999928 w 2129049"/>
                      <a:gd name="connsiteY111" fmla="*/ 0 h 2180047"/>
                      <a:gd name="connsiteX112" fmla="*/ 1676449 w 2129049"/>
                      <a:gd name="connsiteY112" fmla="*/ 525838 h 2180047"/>
                      <a:gd name="connsiteX113" fmla="*/ 1579666 w 2129049"/>
                      <a:gd name="connsiteY113" fmla="*/ 999319 h 2180047"/>
                      <a:gd name="connsiteX114" fmla="*/ 1467605 w 2129049"/>
                      <a:gd name="connsiteY114" fmla="*/ 1154947 h 2180047"/>
                      <a:gd name="connsiteX115" fmla="*/ 1464597 w 2129049"/>
                      <a:gd name="connsiteY115" fmla="*/ 1153889 h 2180047"/>
                      <a:gd name="connsiteX116" fmla="*/ 1452025 w 2129049"/>
                      <a:gd name="connsiteY116" fmla="*/ 1125910 h 2180047"/>
                      <a:gd name="connsiteX117" fmla="*/ 1421781 w 2129049"/>
                      <a:gd name="connsiteY117" fmla="*/ 1058603 h 2180047"/>
                      <a:gd name="connsiteX118" fmla="*/ 1327088 w 2129049"/>
                      <a:gd name="connsiteY118" fmla="*/ 961820 h 2180047"/>
                      <a:gd name="connsiteX119" fmla="*/ 1304643 w 2129049"/>
                      <a:gd name="connsiteY119" fmla="*/ 931982 h 2180047"/>
                      <a:gd name="connsiteX120" fmla="*/ 1303076 w 2129049"/>
                      <a:gd name="connsiteY120" fmla="*/ 929526 h 2180047"/>
                      <a:gd name="connsiteX121" fmla="*/ 1268667 w 2129049"/>
                      <a:gd name="connsiteY121" fmla="*/ 875590 h 2180047"/>
                      <a:gd name="connsiteX122" fmla="*/ 1300274 w 2129049"/>
                      <a:gd name="connsiteY122" fmla="*/ 628723 h 2180047"/>
                      <a:gd name="connsiteX123" fmla="*/ 1307563 w 2129049"/>
                      <a:gd name="connsiteY123" fmla="*/ 618378 h 2180047"/>
                      <a:gd name="connsiteX124" fmla="*/ 1298642 w 2129049"/>
                      <a:gd name="connsiteY124" fmla="*/ 596988 h 2180047"/>
                      <a:gd name="connsiteX125" fmla="*/ 1292154 w 2129049"/>
                      <a:gd name="connsiteY125" fmla="*/ 580800 h 2180047"/>
                      <a:gd name="connsiteX126" fmla="*/ 1285141 w 2129049"/>
                      <a:gd name="connsiteY126" fmla="*/ 579133 h 2180047"/>
                      <a:gd name="connsiteX127" fmla="*/ 1003184 w 2129049"/>
                      <a:gd name="connsiteY127" fmla="*/ 372896 h 2180047"/>
                      <a:gd name="connsiteX128" fmla="*/ 993448 w 2129049"/>
                      <a:gd name="connsiteY128" fmla="*/ 53615 h 2180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Lst>
                    <a:rect l="l" t="t" r="r" b="b"/>
                    <a:pathLst>
                      <a:path w="2129049" h="2180047">
                        <a:moveTo>
                          <a:pt x="1222186" y="1839320"/>
                        </a:moveTo>
                        <a:cubicBezTo>
                          <a:pt x="1222186" y="1839320"/>
                          <a:pt x="1217322" y="1840010"/>
                          <a:pt x="1208400" y="1841119"/>
                        </a:cubicBezTo>
                        <a:lnTo>
                          <a:pt x="1186099" y="1843640"/>
                        </a:lnTo>
                        <a:lnTo>
                          <a:pt x="1188379" y="1844841"/>
                        </a:lnTo>
                        <a:cubicBezTo>
                          <a:pt x="1208837" y="1862152"/>
                          <a:pt x="1227939" y="1892644"/>
                          <a:pt x="1243194" y="1939957"/>
                        </a:cubicBezTo>
                        <a:cubicBezTo>
                          <a:pt x="1232936" y="1903158"/>
                          <a:pt x="1226723" y="1874737"/>
                          <a:pt x="1223702" y="1853174"/>
                        </a:cubicBezTo>
                        <a:lnTo>
                          <a:pt x="1222569" y="1839342"/>
                        </a:lnTo>
                        <a:close/>
                        <a:moveTo>
                          <a:pt x="441891" y="1746105"/>
                        </a:moveTo>
                        <a:lnTo>
                          <a:pt x="450977" y="1757606"/>
                        </a:lnTo>
                        <a:cubicBezTo>
                          <a:pt x="523579" y="1840277"/>
                          <a:pt x="612111" y="1915885"/>
                          <a:pt x="707370" y="1976776"/>
                        </a:cubicBezTo>
                        <a:lnTo>
                          <a:pt x="766453" y="2010648"/>
                        </a:lnTo>
                        <a:lnTo>
                          <a:pt x="831225" y="2015356"/>
                        </a:lnTo>
                        <a:cubicBezTo>
                          <a:pt x="884464" y="2017808"/>
                          <a:pt x="942877" y="2017788"/>
                          <a:pt x="999836" y="2014732"/>
                        </a:cubicBezTo>
                        <a:lnTo>
                          <a:pt x="1033552" y="2011934"/>
                        </a:lnTo>
                        <a:lnTo>
                          <a:pt x="1030508" y="1991231"/>
                        </a:lnTo>
                        <a:cubicBezTo>
                          <a:pt x="1029673" y="1945751"/>
                          <a:pt x="1045399" y="1901238"/>
                          <a:pt x="1069280" y="1869985"/>
                        </a:cubicBezTo>
                        <a:lnTo>
                          <a:pt x="1086998" y="1852207"/>
                        </a:lnTo>
                        <a:lnTo>
                          <a:pt x="1040249" y="1855089"/>
                        </a:lnTo>
                        <a:cubicBezTo>
                          <a:pt x="936134" y="1859819"/>
                          <a:pt x="805728" y="1858242"/>
                          <a:pt x="700561" y="1833012"/>
                        </a:cubicBezTo>
                        <a:cubicBezTo>
                          <a:pt x="607620" y="1810016"/>
                          <a:pt x="515887" y="1776557"/>
                          <a:pt x="442094" y="1746192"/>
                        </a:cubicBezTo>
                        <a:close/>
                        <a:moveTo>
                          <a:pt x="1059954" y="1504433"/>
                        </a:moveTo>
                        <a:lnTo>
                          <a:pt x="1137935" y="1553560"/>
                        </a:lnTo>
                        <a:cubicBezTo>
                          <a:pt x="1171787" y="1572701"/>
                          <a:pt x="1204817" y="1588620"/>
                          <a:pt x="1232714" y="1597039"/>
                        </a:cubicBezTo>
                        <a:cubicBezTo>
                          <a:pt x="1361148" y="1634927"/>
                          <a:pt x="1457999" y="1643347"/>
                          <a:pt x="1498003" y="1620193"/>
                        </a:cubicBezTo>
                        <a:cubicBezTo>
                          <a:pt x="1498003" y="1620193"/>
                          <a:pt x="1462210" y="1649661"/>
                          <a:pt x="1417995" y="1660186"/>
                        </a:cubicBezTo>
                        <a:cubicBezTo>
                          <a:pt x="1373780" y="1668605"/>
                          <a:pt x="1319038" y="1668605"/>
                          <a:pt x="1260085" y="1660186"/>
                        </a:cubicBezTo>
                        <a:cubicBezTo>
                          <a:pt x="1230609" y="1655976"/>
                          <a:pt x="1166918" y="1647556"/>
                          <a:pt x="1110597" y="1640189"/>
                        </a:cubicBezTo>
                        <a:lnTo>
                          <a:pt x="1099046" y="1638682"/>
                        </a:lnTo>
                        <a:close/>
                        <a:moveTo>
                          <a:pt x="251840" y="316333"/>
                        </a:moveTo>
                        <a:lnTo>
                          <a:pt x="246796" y="329846"/>
                        </a:lnTo>
                        <a:cubicBezTo>
                          <a:pt x="205006" y="446862"/>
                          <a:pt x="162954" y="588333"/>
                          <a:pt x="161902" y="686152"/>
                        </a:cubicBezTo>
                        <a:lnTo>
                          <a:pt x="163319" y="765157"/>
                        </a:lnTo>
                        <a:lnTo>
                          <a:pt x="168120" y="772124"/>
                        </a:lnTo>
                        <a:cubicBezTo>
                          <a:pt x="237177" y="866056"/>
                          <a:pt x="334563" y="972605"/>
                          <a:pt x="462568" y="1054574"/>
                        </a:cubicBezTo>
                        <a:cubicBezTo>
                          <a:pt x="755152" y="1239827"/>
                          <a:pt x="1083519" y="1296666"/>
                          <a:pt x="1083519" y="1296666"/>
                        </a:cubicBezTo>
                        <a:cubicBezTo>
                          <a:pt x="1112988" y="1212460"/>
                          <a:pt x="1112988" y="1212460"/>
                          <a:pt x="1112988" y="1212460"/>
                        </a:cubicBezTo>
                        <a:cubicBezTo>
                          <a:pt x="1112988" y="1212460"/>
                          <a:pt x="1058260" y="1208250"/>
                          <a:pt x="635171" y="913528"/>
                        </a:cubicBezTo>
                        <a:cubicBezTo>
                          <a:pt x="372057" y="730643"/>
                          <a:pt x="286544" y="495129"/>
                          <a:pt x="256327" y="344726"/>
                        </a:cubicBezTo>
                        <a:close/>
                        <a:moveTo>
                          <a:pt x="203697" y="216555"/>
                        </a:moveTo>
                        <a:lnTo>
                          <a:pt x="195507" y="224152"/>
                        </a:lnTo>
                        <a:cubicBezTo>
                          <a:pt x="181433" y="239566"/>
                          <a:pt x="166968" y="259629"/>
                          <a:pt x="153435" y="280530"/>
                        </a:cubicBezTo>
                        <a:lnTo>
                          <a:pt x="119142" y="338248"/>
                        </a:lnTo>
                        <a:lnTo>
                          <a:pt x="162420" y="270250"/>
                        </a:lnTo>
                        <a:cubicBezTo>
                          <a:pt x="176342" y="250442"/>
                          <a:pt x="189335" y="233719"/>
                          <a:pt x="200473" y="220227"/>
                        </a:cubicBezTo>
                        <a:close/>
                        <a:moveTo>
                          <a:pt x="545326" y="37476"/>
                        </a:moveTo>
                        <a:lnTo>
                          <a:pt x="541800" y="40991"/>
                        </a:lnTo>
                        <a:cubicBezTo>
                          <a:pt x="538494" y="44318"/>
                          <a:pt x="536701" y="46149"/>
                          <a:pt x="536701" y="46149"/>
                        </a:cubicBezTo>
                        <a:cubicBezTo>
                          <a:pt x="536701" y="131636"/>
                          <a:pt x="760164" y="665826"/>
                          <a:pt x="940947" y="939893"/>
                        </a:cubicBezTo>
                        <a:lnTo>
                          <a:pt x="978333" y="993267"/>
                        </a:lnTo>
                        <a:lnTo>
                          <a:pt x="1095859" y="1039243"/>
                        </a:lnTo>
                        <a:lnTo>
                          <a:pt x="1131484" y="1124187"/>
                        </a:lnTo>
                        <a:lnTo>
                          <a:pt x="1146506" y="1133109"/>
                        </a:lnTo>
                        <a:lnTo>
                          <a:pt x="1148541" y="1133748"/>
                        </a:lnTo>
                        <a:lnTo>
                          <a:pt x="1141842" y="1144915"/>
                        </a:lnTo>
                        <a:lnTo>
                          <a:pt x="1141505" y="1145660"/>
                        </a:lnTo>
                        <a:lnTo>
                          <a:pt x="1187973" y="1232630"/>
                        </a:lnTo>
                        <a:cubicBezTo>
                          <a:pt x="1223766" y="1293409"/>
                          <a:pt x="1261138" y="1345505"/>
                          <a:pt x="1289562" y="1373921"/>
                        </a:cubicBezTo>
                        <a:cubicBezTo>
                          <a:pt x="1344304" y="1428648"/>
                          <a:pt x="1426417" y="1496004"/>
                          <a:pt x="1531690" y="1481270"/>
                        </a:cubicBezTo>
                        <a:cubicBezTo>
                          <a:pt x="1531690" y="1481270"/>
                          <a:pt x="1476948" y="1504424"/>
                          <a:pt x="1426417" y="1496004"/>
                        </a:cubicBezTo>
                        <a:cubicBezTo>
                          <a:pt x="1377991" y="1485480"/>
                          <a:pt x="1245347" y="1456011"/>
                          <a:pt x="1194816" y="1399179"/>
                        </a:cubicBezTo>
                        <a:cubicBezTo>
                          <a:pt x="1182709" y="1384971"/>
                          <a:pt x="1165076" y="1364054"/>
                          <a:pt x="1145436" y="1340670"/>
                        </a:cubicBezTo>
                        <a:lnTo>
                          <a:pt x="1091189" y="1275923"/>
                        </a:lnTo>
                        <a:lnTo>
                          <a:pt x="1064249" y="1369079"/>
                        </a:lnTo>
                        <a:cubicBezTo>
                          <a:pt x="1054868" y="1409695"/>
                          <a:pt x="1048279" y="1449238"/>
                          <a:pt x="1046007" y="1483657"/>
                        </a:cubicBezTo>
                        <a:lnTo>
                          <a:pt x="1046013" y="1495461"/>
                        </a:lnTo>
                        <a:lnTo>
                          <a:pt x="1012870" y="1487283"/>
                        </a:lnTo>
                        <a:cubicBezTo>
                          <a:pt x="926987" y="1465792"/>
                          <a:pt x="733725" y="1415316"/>
                          <a:pt x="561761" y="1355377"/>
                        </a:cubicBezTo>
                        <a:cubicBezTo>
                          <a:pt x="461449" y="1320412"/>
                          <a:pt x="345032" y="1242374"/>
                          <a:pt x="245802" y="1165644"/>
                        </a:cubicBezTo>
                        <a:lnTo>
                          <a:pt x="203985" y="1132152"/>
                        </a:lnTo>
                        <a:lnTo>
                          <a:pt x="234345" y="1297625"/>
                        </a:lnTo>
                        <a:cubicBezTo>
                          <a:pt x="242410" y="1333469"/>
                          <a:pt x="251108" y="1368352"/>
                          <a:pt x="260418" y="1401636"/>
                        </a:cubicBezTo>
                        <a:lnTo>
                          <a:pt x="276086" y="1451374"/>
                        </a:lnTo>
                        <a:lnTo>
                          <a:pt x="305709" y="1466895"/>
                        </a:lnTo>
                        <a:cubicBezTo>
                          <a:pt x="373741" y="1500727"/>
                          <a:pt x="458919" y="1537496"/>
                          <a:pt x="561761" y="1572001"/>
                        </a:cubicBezTo>
                        <a:cubicBezTo>
                          <a:pt x="875187" y="1675055"/>
                          <a:pt x="1106575" y="1664539"/>
                          <a:pt x="1106575" y="1664539"/>
                        </a:cubicBezTo>
                        <a:lnTo>
                          <a:pt x="1106413" y="1663981"/>
                        </a:lnTo>
                        <a:lnTo>
                          <a:pt x="1109394" y="1669032"/>
                        </a:lnTo>
                        <a:lnTo>
                          <a:pt x="1145872" y="1724864"/>
                        </a:lnTo>
                        <a:lnTo>
                          <a:pt x="1151390" y="1728726"/>
                        </a:lnTo>
                        <a:cubicBezTo>
                          <a:pt x="1204685" y="1766022"/>
                          <a:pt x="1231333" y="1784670"/>
                          <a:pt x="1244657" y="1793994"/>
                        </a:cubicBezTo>
                        <a:lnTo>
                          <a:pt x="1255282" y="1801430"/>
                        </a:lnTo>
                        <a:lnTo>
                          <a:pt x="1259765" y="1803273"/>
                        </a:lnTo>
                        <a:lnTo>
                          <a:pt x="1262425" y="1805592"/>
                        </a:lnTo>
                        <a:lnTo>
                          <a:pt x="1274330" y="1811179"/>
                        </a:lnTo>
                        <a:cubicBezTo>
                          <a:pt x="1306011" y="1825288"/>
                          <a:pt x="1380623" y="1853310"/>
                          <a:pt x="1470632" y="1851731"/>
                        </a:cubicBezTo>
                        <a:cubicBezTo>
                          <a:pt x="1470632" y="1851731"/>
                          <a:pt x="1375886" y="1881199"/>
                          <a:pt x="1337987" y="1879094"/>
                        </a:cubicBezTo>
                        <a:lnTo>
                          <a:pt x="1331095" y="1878426"/>
                        </a:lnTo>
                        <a:lnTo>
                          <a:pt x="1337882" y="1887387"/>
                        </a:lnTo>
                        <a:cubicBezTo>
                          <a:pt x="1419945" y="2013557"/>
                          <a:pt x="2129049" y="1929443"/>
                          <a:pt x="2129049" y="1929443"/>
                        </a:cubicBezTo>
                        <a:cubicBezTo>
                          <a:pt x="2129049" y="1929443"/>
                          <a:pt x="2129049" y="1929443"/>
                          <a:pt x="1413632" y="2169166"/>
                        </a:cubicBezTo>
                        <a:cubicBezTo>
                          <a:pt x="1372338" y="2174818"/>
                          <a:pt x="1335063" y="2177389"/>
                          <a:pt x="1301496" y="2177335"/>
                        </a:cubicBezTo>
                        <a:lnTo>
                          <a:pt x="1281595" y="2175656"/>
                        </a:lnTo>
                        <a:lnTo>
                          <a:pt x="1272759" y="2177928"/>
                        </a:lnTo>
                        <a:cubicBezTo>
                          <a:pt x="1225811" y="2184118"/>
                          <a:pt x="1152027" y="2176826"/>
                          <a:pt x="1063402" y="2155016"/>
                        </a:cubicBezTo>
                        <a:lnTo>
                          <a:pt x="994039" y="2133739"/>
                        </a:lnTo>
                        <a:lnTo>
                          <a:pt x="954380" y="2125140"/>
                        </a:lnTo>
                        <a:cubicBezTo>
                          <a:pt x="795130" y="2082053"/>
                          <a:pt x="625466" y="1978945"/>
                          <a:pt x="485181" y="1869194"/>
                        </a:cubicBezTo>
                        <a:lnTo>
                          <a:pt x="424111" y="1817746"/>
                        </a:lnTo>
                        <a:lnTo>
                          <a:pt x="407264" y="1804650"/>
                        </a:lnTo>
                        <a:lnTo>
                          <a:pt x="400242" y="1797638"/>
                        </a:lnTo>
                        <a:lnTo>
                          <a:pt x="373060" y="1774739"/>
                        </a:lnTo>
                        <a:cubicBezTo>
                          <a:pt x="269990" y="1681147"/>
                          <a:pt x="196858" y="1593878"/>
                          <a:pt x="178723" y="1546546"/>
                        </a:cubicBezTo>
                        <a:cubicBezTo>
                          <a:pt x="92516" y="1378254"/>
                          <a:pt x="0" y="1054291"/>
                          <a:pt x="0" y="780817"/>
                        </a:cubicBezTo>
                        <a:cubicBezTo>
                          <a:pt x="0" y="639609"/>
                          <a:pt x="33412" y="519701"/>
                          <a:pt x="75177" y="424975"/>
                        </a:cubicBezTo>
                        <a:lnTo>
                          <a:pt x="118668" y="339046"/>
                        </a:lnTo>
                        <a:lnTo>
                          <a:pt x="116953" y="341932"/>
                        </a:lnTo>
                        <a:cubicBezTo>
                          <a:pt x="106605" y="360695"/>
                          <a:pt x="98512" y="376484"/>
                          <a:pt x="93993" y="385485"/>
                        </a:cubicBezTo>
                        <a:lnTo>
                          <a:pt x="93509" y="386464"/>
                        </a:lnTo>
                        <a:lnTo>
                          <a:pt x="95671" y="380966"/>
                        </a:lnTo>
                        <a:cubicBezTo>
                          <a:pt x="123713" y="321057"/>
                          <a:pt x="154747" y="273315"/>
                          <a:pt x="182624" y="235436"/>
                        </a:cubicBezTo>
                        <a:cubicBezTo>
                          <a:pt x="241010" y="154155"/>
                          <a:pt x="355019" y="96548"/>
                          <a:pt x="478385" y="56179"/>
                        </a:cubicBezTo>
                        <a:close/>
                        <a:moveTo>
                          <a:pt x="999928" y="0"/>
                        </a:moveTo>
                        <a:lnTo>
                          <a:pt x="1676449" y="525838"/>
                        </a:lnTo>
                        <a:cubicBezTo>
                          <a:pt x="1676449" y="525838"/>
                          <a:pt x="1594394" y="780465"/>
                          <a:pt x="1579666" y="999319"/>
                        </a:cubicBezTo>
                        <a:cubicBezTo>
                          <a:pt x="1570461" y="1136103"/>
                          <a:pt x="1517697" y="1165202"/>
                          <a:pt x="1467605" y="1154947"/>
                        </a:cubicBezTo>
                        <a:lnTo>
                          <a:pt x="1464597" y="1153889"/>
                        </a:lnTo>
                        <a:lnTo>
                          <a:pt x="1452025" y="1125910"/>
                        </a:lnTo>
                        <a:cubicBezTo>
                          <a:pt x="1443951" y="1107940"/>
                          <a:pt x="1434013" y="1085824"/>
                          <a:pt x="1421781" y="1058603"/>
                        </a:cubicBezTo>
                        <a:cubicBezTo>
                          <a:pt x="1421781" y="1058603"/>
                          <a:pt x="1360757" y="999691"/>
                          <a:pt x="1327088" y="961820"/>
                        </a:cubicBezTo>
                        <a:lnTo>
                          <a:pt x="1304643" y="931982"/>
                        </a:lnTo>
                        <a:lnTo>
                          <a:pt x="1303076" y="929526"/>
                        </a:lnTo>
                        <a:cubicBezTo>
                          <a:pt x="1268667" y="875590"/>
                          <a:pt x="1268667" y="875590"/>
                          <a:pt x="1268667" y="875590"/>
                        </a:cubicBezTo>
                        <a:cubicBezTo>
                          <a:pt x="1268667" y="875590"/>
                          <a:pt x="1236457" y="743498"/>
                          <a:pt x="1300274" y="628723"/>
                        </a:cubicBezTo>
                        <a:lnTo>
                          <a:pt x="1307563" y="618378"/>
                        </a:lnTo>
                        <a:lnTo>
                          <a:pt x="1298642" y="596988"/>
                        </a:lnTo>
                        <a:lnTo>
                          <a:pt x="1292154" y="580800"/>
                        </a:lnTo>
                        <a:lnTo>
                          <a:pt x="1285141" y="579133"/>
                        </a:lnTo>
                        <a:cubicBezTo>
                          <a:pt x="1217808" y="547566"/>
                          <a:pt x="1022122" y="492850"/>
                          <a:pt x="1003184" y="372896"/>
                        </a:cubicBezTo>
                        <a:cubicBezTo>
                          <a:pt x="992533" y="305422"/>
                          <a:pt x="984544" y="180018"/>
                          <a:pt x="993448" y="53615"/>
                        </a:cubicBezTo>
                        <a:close/>
                      </a:path>
                    </a:pathLst>
                  </a:custGeom>
                  <a:solidFill>
                    <a:srgbClr val="FAED22"/>
                  </a:solidFill>
                  <a:ln w="3175" cap="flat">
                    <a:solidFill>
                      <a:schemeClr val="tx1"/>
                    </a:solidFill>
                    <a:prstDash val="solid"/>
                    <a:miter lim="800000"/>
                    <a:headEnd/>
                    <a:tailEnd/>
                  </a:ln>
                </p:spPr>
                <p:txBody>
                  <a:bodyPr vert="horz" wrap="square" lIns="89642" tIns="44821" rIns="89642" bIns="44821" numCol="1" anchor="t" anchorCtr="0" compatLnSpc="1">
                    <a:prstTxWarp prst="textNoShape">
                      <a:avLst/>
                    </a:prstTxWarp>
                    <a:noAutofit/>
                  </a:bodyPr>
                  <a:lstStyle/>
                  <a:p>
                    <a:pPr defTabSz="914367"/>
                    <a:endParaRPr lang="en-IN" sz="1765">
                      <a:solidFill>
                        <a:srgbClr val="000000"/>
                      </a:solidFill>
                      <a:latin typeface="Segoe UI Semibold" panose="020B0702040204020203" pitchFamily="34" charset="0"/>
                      <a:cs typeface="Segoe UI Semibold" panose="020B0702040204020203" pitchFamily="34" charset="0"/>
                    </a:endParaRPr>
                  </a:p>
                </p:txBody>
              </p:sp>
              <p:sp>
                <p:nvSpPr>
                  <p:cNvPr id="14" name="Freeform 13"/>
                  <p:cNvSpPr>
                    <a:spLocks/>
                  </p:cNvSpPr>
                  <p:nvPr/>
                </p:nvSpPr>
                <p:spPr bwMode="auto">
                  <a:xfrm>
                    <a:off x="1058398" y="3354145"/>
                    <a:ext cx="533724" cy="414348"/>
                  </a:xfrm>
                  <a:custGeom>
                    <a:avLst/>
                    <a:gdLst>
                      <a:gd name="connsiteX0" fmla="*/ 3283994 w 3907177"/>
                      <a:gd name="connsiteY0" fmla="*/ 2199606 h 3033282"/>
                      <a:gd name="connsiteX1" fmla="*/ 3216771 w 3907177"/>
                      <a:gd name="connsiteY1" fmla="*/ 2237508 h 3033282"/>
                      <a:gd name="connsiteX2" fmla="*/ 3176070 w 3907177"/>
                      <a:gd name="connsiteY2" fmla="*/ 2287254 h 3033282"/>
                      <a:gd name="connsiteX3" fmla="*/ 3157902 w 3907177"/>
                      <a:gd name="connsiteY3" fmla="*/ 2304911 h 3033282"/>
                      <a:gd name="connsiteX4" fmla="*/ 3148728 w 3907177"/>
                      <a:gd name="connsiteY4" fmla="*/ 2311436 h 3033282"/>
                      <a:gd name="connsiteX5" fmla="*/ 3136944 w 3907177"/>
                      <a:gd name="connsiteY5" fmla="*/ 2319628 h 3033282"/>
                      <a:gd name="connsiteX6" fmla="*/ 3154439 w 3907177"/>
                      <a:gd name="connsiteY6" fmla="*/ 2308277 h 3033282"/>
                      <a:gd name="connsiteX7" fmla="*/ 3157902 w 3907177"/>
                      <a:gd name="connsiteY7" fmla="*/ 2304911 h 3033282"/>
                      <a:gd name="connsiteX8" fmla="*/ 3176070 w 3907177"/>
                      <a:gd name="connsiteY8" fmla="*/ 2291992 h 3033282"/>
                      <a:gd name="connsiteX9" fmla="*/ 3229375 w 3907177"/>
                      <a:gd name="connsiteY9" fmla="*/ 2250142 h 3033282"/>
                      <a:gd name="connsiteX10" fmla="*/ 3317605 w 3907177"/>
                      <a:gd name="connsiteY10" fmla="*/ 2231191 h 3033282"/>
                      <a:gd name="connsiteX11" fmla="*/ 3378755 w 3907177"/>
                      <a:gd name="connsiteY11" fmla="*/ 2245404 h 3033282"/>
                      <a:gd name="connsiteX12" fmla="*/ 3382808 w 3907177"/>
                      <a:gd name="connsiteY12" fmla="*/ 2247161 h 3033282"/>
                      <a:gd name="connsiteX13" fmla="*/ 3351550 w 3907177"/>
                      <a:gd name="connsiteY13" fmla="*/ 2248260 h 3033282"/>
                      <a:gd name="connsiteX14" fmla="*/ 3315694 w 3907177"/>
                      <a:gd name="connsiteY14" fmla="*/ 2268558 h 3033282"/>
                      <a:gd name="connsiteX15" fmla="*/ 3248262 w 3907177"/>
                      <a:gd name="connsiteY15" fmla="*/ 2369622 h 3033282"/>
                      <a:gd name="connsiteX16" fmla="*/ 3195581 w 3907177"/>
                      <a:gd name="connsiteY16" fmla="*/ 2443314 h 3033282"/>
                      <a:gd name="connsiteX17" fmla="*/ 3288300 w 3907177"/>
                      <a:gd name="connsiteY17" fmla="*/ 2346462 h 3033282"/>
                      <a:gd name="connsiteX18" fmla="*/ 3334660 w 3907177"/>
                      <a:gd name="connsiteY18" fmla="*/ 2295930 h 3033282"/>
                      <a:gd name="connsiteX19" fmla="*/ 3404199 w 3907177"/>
                      <a:gd name="connsiteY19" fmla="*/ 2281191 h 3033282"/>
                      <a:gd name="connsiteX20" fmla="*/ 3442129 w 3907177"/>
                      <a:gd name="connsiteY20" fmla="*/ 2291719 h 3033282"/>
                      <a:gd name="connsiteX21" fmla="*/ 3448451 w 3907177"/>
                      <a:gd name="connsiteY21" fmla="*/ 2258031 h 3033282"/>
                      <a:gd name="connsiteX22" fmla="*/ 3432746 w 3907177"/>
                      <a:gd name="connsiteY22" fmla="*/ 2253458 h 3033282"/>
                      <a:gd name="connsiteX23" fmla="*/ 3399309 w 3907177"/>
                      <a:gd name="connsiteY23" fmla="*/ 2247403 h 3033282"/>
                      <a:gd name="connsiteX24" fmla="*/ 3406885 w 3907177"/>
                      <a:gd name="connsiteY24" fmla="*/ 2246720 h 3033282"/>
                      <a:gd name="connsiteX25" fmla="*/ 3422640 w 3907177"/>
                      <a:gd name="connsiteY25" fmla="*/ 2231191 h 3033282"/>
                      <a:gd name="connsiteX26" fmla="*/ 3370122 w 3907177"/>
                      <a:gd name="connsiteY26" fmla="*/ 2208029 h 3033282"/>
                      <a:gd name="connsiteX27" fmla="*/ 3283994 w 3907177"/>
                      <a:gd name="connsiteY27" fmla="*/ 2199606 h 3033282"/>
                      <a:gd name="connsiteX28" fmla="*/ 3868985 w 3907177"/>
                      <a:gd name="connsiteY28" fmla="*/ 2136388 h 3033282"/>
                      <a:gd name="connsiteX29" fmla="*/ 3734396 w 3907177"/>
                      <a:gd name="connsiteY29" fmla="*/ 2199444 h 3033282"/>
                      <a:gd name="connsiteX30" fmla="*/ 3559852 w 3907177"/>
                      <a:gd name="connsiteY30" fmla="*/ 2182629 h 3033282"/>
                      <a:gd name="connsiteX31" fmla="*/ 3641867 w 3907177"/>
                      <a:gd name="connsiteY31" fmla="*/ 2241481 h 3033282"/>
                      <a:gd name="connsiteX32" fmla="*/ 3702852 w 3907177"/>
                      <a:gd name="connsiteY32" fmla="*/ 2239379 h 3033282"/>
                      <a:gd name="connsiteX33" fmla="*/ 3831132 w 3907177"/>
                      <a:gd name="connsiteY33" fmla="*/ 2178425 h 3033282"/>
                      <a:gd name="connsiteX34" fmla="*/ 3868985 w 3907177"/>
                      <a:gd name="connsiteY34" fmla="*/ 2136388 h 3033282"/>
                      <a:gd name="connsiteX35" fmla="*/ 3385344 w 3907177"/>
                      <a:gd name="connsiteY35" fmla="*/ 2089937 h 3033282"/>
                      <a:gd name="connsiteX36" fmla="*/ 3403807 w 3907177"/>
                      <a:gd name="connsiteY36" fmla="*/ 2092045 h 3033282"/>
                      <a:gd name="connsiteX37" fmla="*/ 3420687 w 3907177"/>
                      <a:gd name="connsiteY37" fmla="*/ 2119439 h 3033282"/>
                      <a:gd name="connsiteX38" fmla="*/ 3410137 w 3907177"/>
                      <a:gd name="connsiteY38" fmla="*/ 2151048 h 3033282"/>
                      <a:gd name="connsiteX39" fmla="*/ 3380596 w 3907177"/>
                      <a:gd name="connsiteY39" fmla="*/ 2144726 h 3033282"/>
                      <a:gd name="connsiteX40" fmla="*/ 3353166 w 3907177"/>
                      <a:gd name="connsiteY40" fmla="*/ 2146834 h 3033282"/>
                      <a:gd name="connsiteX41" fmla="*/ 3353166 w 3907177"/>
                      <a:gd name="connsiteY41" fmla="*/ 2113117 h 3033282"/>
                      <a:gd name="connsiteX42" fmla="*/ 3370046 w 3907177"/>
                      <a:gd name="connsiteY42" fmla="*/ 2094152 h 3033282"/>
                      <a:gd name="connsiteX43" fmla="*/ 3385344 w 3907177"/>
                      <a:gd name="connsiteY43" fmla="*/ 2089937 h 3033282"/>
                      <a:gd name="connsiteX44" fmla="*/ 2921466 w 3907177"/>
                      <a:gd name="connsiteY44" fmla="*/ 1940074 h 3033282"/>
                      <a:gd name="connsiteX45" fmla="*/ 2876044 w 3907177"/>
                      <a:gd name="connsiteY45" fmla="*/ 1945069 h 3033282"/>
                      <a:gd name="connsiteX46" fmla="*/ 2796228 w 3907177"/>
                      <a:gd name="connsiteY46" fmla="*/ 1980818 h 3033282"/>
                      <a:gd name="connsiteX47" fmla="*/ 2716411 w 3907177"/>
                      <a:gd name="connsiteY47" fmla="*/ 2018670 h 3033282"/>
                      <a:gd name="connsiteX48" fmla="*/ 2773123 w 3907177"/>
                      <a:gd name="connsiteY48" fmla="*/ 2014464 h 3033282"/>
                      <a:gd name="connsiteX49" fmla="*/ 2813031 w 3907177"/>
                      <a:gd name="connsiteY49" fmla="*/ 2008155 h 3033282"/>
                      <a:gd name="connsiteX50" fmla="*/ 2810931 w 3907177"/>
                      <a:gd name="connsiteY50" fmla="*/ 2075448 h 3033282"/>
                      <a:gd name="connsiteX51" fmla="*/ 2825634 w 3907177"/>
                      <a:gd name="connsiteY51" fmla="*/ 2117505 h 3033282"/>
                      <a:gd name="connsiteX52" fmla="*/ 2817232 w 3907177"/>
                      <a:gd name="connsiteY52" fmla="*/ 2123814 h 3033282"/>
                      <a:gd name="connsiteX53" fmla="*/ 2773123 w 3907177"/>
                      <a:gd name="connsiteY53" fmla="*/ 2157460 h 3033282"/>
                      <a:gd name="connsiteX54" fmla="*/ 2848738 w 3907177"/>
                      <a:gd name="connsiteY54" fmla="*/ 2125917 h 3033282"/>
                      <a:gd name="connsiteX55" fmla="*/ 2941157 w 3907177"/>
                      <a:gd name="connsiteY55" fmla="*/ 2104888 h 3033282"/>
                      <a:gd name="connsiteX56" fmla="*/ 3111292 w 3907177"/>
                      <a:gd name="connsiteY56" fmla="*/ 2106991 h 3033282"/>
                      <a:gd name="connsiteX57" fmla="*/ 3056681 w 3907177"/>
                      <a:gd name="connsiteY57" fmla="*/ 2085962 h 3033282"/>
                      <a:gd name="connsiteX58" fmla="*/ 3016773 w 3907177"/>
                      <a:gd name="connsiteY58" fmla="*/ 2081756 h 3033282"/>
                      <a:gd name="connsiteX59" fmla="*/ 3023074 w 3907177"/>
                      <a:gd name="connsiteY59" fmla="*/ 2027081 h 3033282"/>
                      <a:gd name="connsiteX60" fmla="*/ 2995769 w 3907177"/>
                      <a:gd name="connsiteY60" fmla="*/ 1970303 h 3033282"/>
                      <a:gd name="connsiteX61" fmla="*/ 3018873 w 3907177"/>
                      <a:gd name="connsiteY61" fmla="*/ 1966098 h 3033282"/>
                      <a:gd name="connsiteX62" fmla="*/ 3065083 w 3907177"/>
                      <a:gd name="connsiteY62" fmla="*/ 1957686 h 3033282"/>
                      <a:gd name="connsiteX63" fmla="*/ 2968463 w 3907177"/>
                      <a:gd name="connsiteY63" fmla="*/ 1942966 h 3033282"/>
                      <a:gd name="connsiteX64" fmla="*/ 2921466 w 3907177"/>
                      <a:gd name="connsiteY64" fmla="*/ 1940074 h 3033282"/>
                      <a:gd name="connsiteX65" fmla="*/ 2882143 w 3907177"/>
                      <a:gd name="connsiteY65" fmla="*/ 1689578 h 3033282"/>
                      <a:gd name="connsiteX66" fmla="*/ 2779009 w 3907177"/>
                      <a:gd name="connsiteY66" fmla="*/ 1700880 h 3033282"/>
                      <a:gd name="connsiteX67" fmla="*/ 2720075 w 3907177"/>
                      <a:gd name="connsiteY67" fmla="*/ 1810222 h 3033282"/>
                      <a:gd name="connsiteX68" fmla="*/ 2806371 w 3907177"/>
                      <a:gd name="connsiteY68" fmla="*/ 1730318 h 3033282"/>
                      <a:gd name="connsiteX69" fmla="*/ 2953705 w 3907177"/>
                      <a:gd name="connsiteY69" fmla="*/ 1692469 h 3033282"/>
                      <a:gd name="connsiteX70" fmla="*/ 2882143 w 3907177"/>
                      <a:gd name="connsiteY70" fmla="*/ 1689578 h 3033282"/>
                      <a:gd name="connsiteX71" fmla="*/ 2751741 w 3907177"/>
                      <a:gd name="connsiteY71" fmla="*/ 1152523 h 3033282"/>
                      <a:gd name="connsiteX72" fmla="*/ 2752273 w 3907177"/>
                      <a:gd name="connsiteY72" fmla="*/ 1154187 h 3033282"/>
                      <a:gd name="connsiteX73" fmla="*/ 2764036 w 3907177"/>
                      <a:gd name="connsiteY73" fmla="*/ 1192874 h 3033282"/>
                      <a:gd name="connsiteX74" fmla="*/ 2787833 w 3907177"/>
                      <a:gd name="connsiteY74" fmla="*/ 1274009 h 3033282"/>
                      <a:gd name="connsiteX75" fmla="*/ 2819472 w 3907177"/>
                      <a:gd name="connsiteY75" fmla="*/ 1283014 h 3033282"/>
                      <a:gd name="connsiteX76" fmla="*/ 2820261 w 3907177"/>
                      <a:gd name="connsiteY76" fmla="*/ 1283258 h 3033282"/>
                      <a:gd name="connsiteX77" fmla="*/ 2825890 w 3907177"/>
                      <a:gd name="connsiteY77" fmla="*/ 1283302 h 3033282"/>
                      <a:gd name="connsiteX78" fmla="*/ 2903747 w 3907177"/>
                      <a:gd name="connsiteY78" fmla="*/ 1291542 h 3033282"/>
                      <a:gd name="connsiteX79" fmla="*/ 2899550 w 3907177"/>
                      <a:gd name="connsiteY79" fmla="*/ 1288295 h 3033282"/>
                      <a:gd name="connsiteX80" fmla="*/ 2806596 w 3907177"/>
                      <a:gd name="connsiteY80" fmla="*/ 1216396 h 3033282"/>
                      <a:gd name="connsiteX81" fmla="*/ 2775061 w 3907177"/>
                      <a:gd name="connsiteY81" fmla="*/ 1179930 h 3033282"/>
                      <a:gd name="connsiteX82" fmla="*/ 1695768 w 3907177"/>
                      <a:gd name="connsiteY82" fmla="*/ 862876 h 3033282"/>
                      <a:gd name="connsiteX83" fmla="*/ 2078780 w 3907177"/>
                      <a:gd name="connsiteY83" fmla="*/ 919680 h 3033282"/>
                      <a:gd name="connsiteX84" fmla="*/ 2177689 w 3907177"/>
                      <a:gd name="connsiteY84" fmla="*/ 938615 h 3033282"/>
                      <a:gd name="connsiteX85" fmla="*/ 2274495 w 3907177"/>
                      <a:gd name="connsiteY85" fmla="*/ 997523 h 3033282"/>
                      <a:gd name="connsiteX86" fmla="*/ 2192421 w 3907177"/>
                      <a:gd name="connsiteY86" fmla="*/ 984900 h 3033282"/>
                      <a:gd name="connsiteX87" fmla="*/ 2082989 w 3907177"/>
                      <a:gd name="connsiteY87" fmla="*/ 1031185 h 3033282"/>
                      <a:gd name="connsiteX88" fmla="*/ 2013542 w 3907177"/>
                      <a:gd name="connsiteY88" fmla="*/ 1064846 h 3033282"/>
                      <a:gd name="connsiteX89" fmla="*/ 2177689 w 3907177"/>
                      <a:gd name="connsiteY89" fmla="*/ 1060639 h 3033282"/>
                      <a:gd name="connsiteX90" fmla="*/ 2320793 w 3907177"/>
                      <a:gd name="connsiteY90" fmla="*/ 1102716 h 3033282"/>
                      <a:gd name="connsiteX91" fmla="*/ 2402867 w 3907177"/>
                      <a:gd name="connsiteY91" fmla="*/ 1193182 h 3033282"/>
                      <a:gd name="connsiteX92" fmla="*/ 2477977 w 3907177"/>
                      <a:gd name="connsiteY92" fmla="*/ 1304520 h 3033282"/>
                      <a:gd name="connsiteX93" fmla="*/ 2495231 w 3907177"/>
                      <a:gd name="connsiteY93" fmla="*/ 1302276 h 3033282"/>
                      <a:gd name="connsiteX94" fmla="*/ 2479203 w 3907177"/>
                      <a:gd name="connsiteY94" fmla="*/ 1263722 h 3033282"/>
                      <a:gd name="connsiteX95" fmla="*/ 2352360 w 3907177"/>
                      <a:gd name="connsiteY95" fmla="*/ 974380 h 3033282"/>
                      <a:gd name="connsiteX96" fmla="*/ 2194525 w 3907177"/>
                      <a:gd name="connsiteY96" fmla="*/ 875499 h 3033282"/>
                      <a:gd name="connsiteX97" fmla="*/ 1695768 w 3907177"/>
                      <a:gd name="connsiteY97" fmla="*/ 862876 h 3033282"/>
                      <a:gd name="connsiteX98" fmla="*/ 2884074 w 3907177"/>
                      <a:gd name="connsiteY98" fmla="*/ 435929 h 3033282"/>
                      <a:gd name="connsiteX99" fmla="*/ 2987291 w 3907177"/>
                      <a:gd name="connsiteY99" fmla="*/ 631716 h 3033282"/>
                      <a:gd name="connsiteX100" fmla="*/ 3130531 w 3907177"/>
                      <a:gd name="connsiteY100" fmla="*/ 1008552 h 3033282"/>
                      <a:gd name="connsiteX101" fmla="*/ 3063124 w 3907177"/>
                      <a:gd name="connsiteY101" fmla="*/ 682241 h 3033282"/>
                      <a:gd name="connsiteX102" fmla="*/ 2970440 w 3907177"/>
                      <a:gd name="connsiteY102" fmla="*/ 520138 h 3033282"/>
                      <a:gd name="connsiteX103" fmla="*/ 2884074 w 3907177"/>
                      <a:gd name="connsiteY103" fmla="*/ 435929 h 3033282"/>
                      <a:gd name="connsiteX104" fmla="*/ 990408 w 3907177"/>
                      <a:gd name="connsiteY104" fmla="*/ 698 h 3033282"/>
                      <a:gd name="connsiteX105" fmla="*/ 1039550 w 3907177"/>
                      <a:gd name="connsiteY105" fmla="*/ 863 h 3033282"/>
                      <a:gd name="connsiteX106" fmla="*/ 1348803 w 3907177"/>
                      <a:gd name="connsiteY106" fmla="*/ 72387 h 3033282"/>
                      <a:gd name="connsiteX107" fmla="*/ 1737998 w 3907177"/>
                      <a:gd name="connsiteY107" fmla="*/ 232264 h 3033282"/>
                      <a:gd name="connsiteX108" fmla="*/ 2005176 w 3907177"/>
                      <a:gd name="connsiteY108" fmla="*/ 371104 h 3033282"/>
                      <a:gd name="connsiteX109" fmla="*/ 2203455 w 3907177"/>
                      <a:gd name="connsiteY109" fmla="*/ 477601 h 3033282"/>
                      <a:gd name="connsiteX110" fmla="*/ 2296994 w 3907177"/>
                      <a:gd name="connsiteY110" fmla="*/ 530121 h 3033282"/>
                      <a:gd name="connsiteX111" fmla="*/ 2323986 w 3907177"/>
                      <a:gd name="connsiteY111" fmla="*/ 546882 h 3033282"/>
                      <a:gd name="connsiteX112" fmla="*/ 2357160 w 3907177"/>
                      <a:gd name="connsiteY112" fmla="*/ 567482 h 3033282"/>
                      <a:gd name="connsiteX113" fmla="*/ 2404890 w 3907177"/>
                      <a:gd name="connsiteY113" fmla="*/ 598298 h 3033282"/>
                      <a:gd name="connsiteX114" fmla="*/ 2415440 w 3907177"/>
                      <a:gd name="connsiteY114" fmla="*/ 605928 h 3033282"/>
                      <a:gd name="connsiteX115" fmla="*/ 2362991 w 3907177"/>
                      <a:gd name="connsiteY115" fmla="*/ 493093 h 3033282"/>
                      <a:gd name="connsiteX116" fmla="*/ 2329266 w 3907177"/>
                      <a:gd name="connsiteY116" fmla="*/ 483333 h 3033282"/>
                      <a:gd name="connsiteX117" fmla="*/ 2307060 w 3907177"/>
                      <a:gd name="connsiteY117" fmla="*/ 476906 h 3033282"/>
                      <a:gd name="connsiteX118" fmla="*/ 2313198 w 3907177"/>
                      <a:gd name="connsiteY118" fmla="*/ 470584 h 3033282"/>
                      <a:gd name="connsiteX119" fmla="*/ 2460566 w 3907177"/>
                      <a:gd name="connsiteY119" fmla="*/ 333037 h 3033282"/>
                      <a:gd name="connsiteX120" fmla="*/ 2482676 w 3907177"/>
                      <a:gd name="connsiteY120" fmla="*/ 317005 h 3033282"/>
                      <a:gd name="connsiteX121" fmla="*/ 2522361 w 3907177"/>
                      <a:gd name="connsiteY121" fmla="*/ 296868 h 3033282"/>
                      <a:gd name="connsiteX122" fmla="*/ 2554579 w 3907177"/>
                      <a:gd name="connsiteY122" fmla="*/ 283748 h 3033282"/>
                      <a:gd name="connsiteX123" fmla="*/ 2694384 w 3907177"/>
                      <a:gd name="connsiteY123" fmla="*/ 254812 h 3033282"/>
                      <a:gd name="connsiteX124" fmla="*/ 2798186 w 3907177"/>
                      <a:gd name="connsiteY124" fmla="*/ 277829 h 3033282"/>
                      <a:gd name="connsiteX125" fmla="*/ 2857052 w 3907177"/>
                      <a:gd name="connsiteY125" fmla="*/ 260994 h 3033282"/>
                      <a:gd name="connsiteX126" fmla="*/ 2861191 w 3907177"/>
                      <a:gd name="connsiteY126" fmla="*/ 261705 h 3033282"/>
                      <a:gd name="connsiteX127" fmla="*/ 2866568 w 3907177"/>
                      <a:gd name="connsiteY127" fmla="*/ 262766 h 3033282"/>
                      <a:gd name="connsiteX128" fmla="*/ 2867847 w 3907177"/>
                      <a:gd name="connsiteY128" fmla="*/ 263215 h 3033282"/>
                      <a:gd name="connsiteX129" fmla="*/ 2874182 w 3907177"/>
                      <a:gd name="connsiteY129" fmla="*/ 265939 h 3033282"/>
                      <a:gd name="connsiteX130" fmla="*/ 2878772 w 3907177"/>
                      <a:gd name="connsiteY130" fmla="*/ 265783 h 3033282"/>
                      <a:gd name="connsiteX131" fmla="*/ 2879970 w 3907177"/>
                      <a:gd name="connsiteY131" fmla="*/ 265863 h 3033282"/>
                      <a:gd name="connsiteX132" fmla="*/ 2909084 w 3907177"/>
                      <a:gd name="connsiteY132" fmla="*/ 273357 h 3033282"/>
                      <a:gd name="connsiteX133" fmla="*/ 2989498 w 3907177"/>
                      <a:gd name="connsiteY133" fmla="*/ 315709 h 3033282"/>
                      <a:gd name="connsiteX134" fmla="*/ 3365815 w 3907177"/>
                      <a:gd name="connsiteY134" fmla="*/ 925987 h 3033282"/>
                      <a:gd name="connsiteX135" fmla="*/ 3233368 w 3907177"/>
                      <a:gd name="connsiteY135" fmla="*/ 1376331 h 3033282"/>
                      <a:gd name="connsiteX136" fmla="*/ 3239761 w 3907177"/>
                      <a:gd name="connsiteY136" fmla="*/ 1410216 h 3033282"/>
                      <a:gd name="connsiteX137" fmla="*/ 3243622 w 3907177"/>
                      <a:gd name="connsiteY137" fmla="*/ 1426604 h 3033282"/>
                      <a:gd name="connsiteX138" fmla="*/ 3302854 w 3907177"/>
                      <a:gd name="connsiteY138" fmla="*/ 1472111 h 3033282"/>
                      <a:gd name="connsiteX139" fmla="*/ 3442037 w 3907177"/>
                      <a:gd name="connsiteY139" fmla="*/ 1705090 h 3033282"/>
                      <a:gd name="connsiteX140" fmla="*/ 3433973 w 3907177"/>
                      <a:gd name="connsiteY140" fmla="*/ 1732860 h 3033282"/>
                      <a:gd name="connsiteX141" fmla="*/ 3404867 w 3907177"/>
                      <a:gd name="connsiteY141" fmla="*/ 1673697 h 3033282"/>
                      <a:gd name="connsiteX142" fmla="*/ 3388345 w 3907177"/>
                      <a:gd name="connsiteY142" fmla="*/ 1639131 h 3033282"/>
                      <a:gd name="connsiteX143" fmla="*/ 3377441 w 3907177"/>
                      <a:gd name="connsiteY143" fmla="*/ 1616053 h 3033282"/>
                      <a:gd name="connsiteX144" fmla="*/ 3359581 w 3907177"/>
                      <a:gd name="connsiteY144" fmla="*/ 1565598 h 3033282"/>
                      <a:gd name="connsiteX145" fmla="*/ 3361687 w 3907177"/>
                      <a:gd name="connsiteY145" fmla="*/ 1582431 h 3033282"/>
                      <a:gd name="connsiteX146" fmla="*/ 3374588 w 3907177"/>
                      <a:gd name="connsiteY146" fmla="*/ 1610015 h 3033282"/>
                      <a:gd name="connsiteX147" fmla="*/ 3377441 w 3907177"/>
                      <a:gd name="connsiteY147" fmla="*/ 1616053 h 3033282"/>
                      <a:gd name="connsiteX148" fmla="*/ 3442901 w 3907177"/>
                      <a:gd name="connsiteY148" fmla="*/ 1800978 h 3033282"/>
                      <a:gd name="connsiteX149" fmla="*/ 3440408 w 3907177"/>
                      <a:gd name="connsiteY149" fmla="*/ 1796829 h 3033282"/>
                      <a:gd name="connsiteX150" fmla="*/ 3433154 w 3907177"/>
                      <a:gd name="connsiteY150" fmla="*/ 1784752 h 3033282"/>
                      <a:gd name="connsiteX151" fmla="*/ 3397602 w 3907177"/>
                      <a:gd name="connsiteY151" fmla="*/ 1761774 h 3033282"/>
                      <a:gd name="connsiteX152" fmla="*/ 3349501 w 3907177"/>
                      <a:gd name="connsiteY152" fmla="*/ 1755507 h 3033282"/>
                      <a:gd name="connsiteX153" fmla="*/ 3395510 w 3907177"/>
                      <a:gd name="connsiteY153" fmla="*/ 1772218 h 3033282"/>
                      <a:gd name="connsiteX154" fmla="*/ 3439918 w 3907177"/>
                      <a:gd name="connsiteY154" fmla="*/ 1800713 h 3033282"/>
                      <a:gd name="connsiteX155" fmla="*/ 3444055 w 3907177"/>
                      <a:gd name="connsiteY155" fmla="*/ 1804238 h 3033282"/>
                      <a:gd name="connsiteX156" fmla="*/ 3555468 w 3907177"/>
                      <a:gd name="connsiteY156" fmla="*/ 2118980 h 3033282"/>
                      <a:gd name="connsiteX157" fmla="*/ 3553362 w 3907177"/>
                      <a:gd name="connsiteY157" fmla="*/ 2091890 h 3033282"/>
                      <a:gd name="connsiteX158" fmla="*/ 3553487 w 3907177"/>
                      <a:gd name="connsiteY158" fmla="*/ 2080908 h 3033282"/>
                      <a:gd name="connsiteX159" fmla="*/ 3554536 w 3907177"/>
                      <a:gd name="connsiteY159" fmla="*/ 2083695 h 3033282"/>
                      <a:gd name="connsiteX160" fmla="*/ 3570142 w 3907177"/>
                      <a:gd name="connsiteY160" fmla="*/ 2125146 h 3033282"/>
                      <a:gd name="connsiteX161" fmla="*/ 3570375 w 3907177"/>
                      <a:gd name="connsiteY161" fmla="*/ 2125765 h 3033282"/>
                      <a:gd name="connsiteX162" fmla="*/ 3570326 w 3907177"/>
                      <a:gd name="connsiteY162" fmla="*/ 2125774 h 3033282"/>
                      <a:gd name="connsiteX163" fmla="*/ 3524755 w 3907177"/>
                      <a:gd name="connsiteY163" fmla="*/ 2128437 h 3033282"/>
                      <a:gd name="connsiteX164" fmla="*/ 3520991 w 3907177"/>
                      <a:gd name="connsiteY164" fmla="*/ 2130652 h 3033282"/>
                      <a:gd name="connsiteX165" fmla="*/ 3519898 w 3907177"/>
                      <a:gd name="connsiteY165" fmla="*/ 2125754 h 3033282"/>
                      <a:gd name="connsiteX166" fmla="*/ 3513061 w 3907177"/>
                      <a:gd name="connsiteY166" fmla="*/ 2102599 h 3033282"/>
                      <a:gd name="connsiteX167" fmla="*/ 3485716 w 3907177"/>
                      <a:gd name="connsiteY167" fmla="*/ 2058392 h 3033282"/>
                      <a:gd name="connsiteX168" fmla="*/ 3422611 w 3907177"/>
                      <a:gd name="connsiteY168" fmla="*/ 2039446 h 3033282"/>
                      <a:gd name="connsiteX169" fmla="*/ 3384747 w 3907177"/>
                      <a:gd name="connsiteY169" fmla="*/ 2043657 h 3033282"/>
                      <a:gd name="connsiteX170" fmla="*/ 3334263 w 3907177"/>
                      <a:gd name="connsiteY170" fmla="*/ 2031026 h 3033282"/>
                      <a:gd name="connsiteX171" fmla="*/ 3378437 w 3907177"/>
                      <a:gd name="connsiteY171" fmla="*/ 2058392 h 3033282"/>
                      <a:gd name="connsiteX172" fmla="*/ 3357402 w 3907177"/>
                      <a:gd name="connsiteY172" fmla="*/ 2092073 h 3033282"/>
                      <a:gd name="connsiteX173" fmla="*/ 3351091 w 3907177"/>
                      <a:gd name="connsiteY173" fmla="*/ 2140490 h 3033282"/>
                      <a:gd name="connsiteX174" fmla="*/ 3317435 w 3907177"/>
                      <a:gd name="connsiteY174" fmla="*/ 2140490 h 3033282"/>
                      <a:gd name="connsiteX175" fmla="*/ 3359505 w 3907177"/>
                      <a:gd name="connsiteY175" fmla="*/ 2155225 h 3033282"/>
                      <a:gd name="connsiteX176" fmla="*/ 3416300 w 3907177"/>
                      <a:gd name="connsiteY176" fmla="*/ 2180486 h 3033282"/>
                      <a:gd name="connsiteX177" fmla="*/ 3468953 w 3907177"/>
                      <a:gd name="connsiteY177" fmla="*/ 2204760 h 3033282"/>
                      <a:gd name="connsiteX178" fmla="*/ 3471183 w 3907177"/>
                      <a:gd name="connsiteY178" fmla="*/ 2205864 h 3033282"/>
                      <a:gd name="connsiteX179" fmla="*/ 3465112 w 3907177"/>
                      <a:gd name="connsiteY179" fmla="*/ 2222558 h 3033282"/>
                      <a:gd name="connsiteX180" fmla="*/ 3404088 w 3907177"/>
                      <a:gd name="connsiteY180" fmla="*/ 2397188 h 3033282"/>
                      <a:gd name="connsiteX181" fmla="*/ 3303083 w 3907177"/>
                      <a:gd name="connsiteY181" fmla="*/ 2544467 h 3033282"/>
                      <a:gd name="connsiteX182" fmla="*/ 3395671 w 3907177"/>
                      <a:gd name="connsiteY182" fmla="*/ 2456100 h 3033282"/>
                      <a:gd name="connsiteX183" fmla="*/ 3450382 w 3907177"/>
                      <a:gd name="connsiteY183" fmla="*/ 2386668 h 3033282"/>
                      <a:gd name="connsiteX184" fmla="*/ 3526136 w 3907177"/>
                      <a:gd name="connsiteY184" fmla="*/ 2184686 h 3033282"/>
                      <a:gd name="connsiteX185" fmla="*/ 3618725 w 3907177"/>
                      <a:gd name="connsiteY185" fmla="*/ 2163646 h 3033282"/>
                      <a:gd name="connsiteX186" fmla="*/ 3751294 w 3907177"/>
                      <a:gd name="connsiteY186" fmla="*/ 2136294 h 3033282"/>
                      <a:gd name="connsiteX187" fmla="*/ 3799430 w 3907177"/>
                      <a:gd name="connsiteY187" fmla="*/ 2104735 h 3033282"/>
                      <a:gd name="connsiteX188" fmla="*/ 3810437 w 3907177"/>
                      <a:gd name="connsiteY188" fmla="*/ 2099831 h 3033282"/>
                      <a:gd name="connsiteX189" fmla="*/ 3824461 w 3907177"/>
                      <a:gd name="connsiteY189" fmla="*/ 2097367 h 3033282"/>
                      <a:gd name="connsiteX190" fmla="*/ 3829342 w 3907177"/>
                      <a:gd name="connsiteY190" fmla="*/ 2096510 h 3033282"/>
                      <a:gd name="connsiteX191" fmla="*/ 3845987 w 3907177"/>
                      <a:gd name="connsiteY191" fmla="*/ 2098423 h 3033282"/>
                      <a:gd name="connsiteX192" fmla="*/ 3904907 w 3907177"/>
                      <a:gd name="connsiteY192" fmla="*/ 2180478 h 3033282"/>
                      <a:gd name="connsiteX193" fmla="*/ 3885968 w 3907177"/>
                      <a:gd name="connsiteY193" fmla="*/ 2315133 h 3033282"/>
                      <a:gd name="connsiteX194" fmla="*/ 3884225 w 3907177"/>
                      <a:gd name="connsiteY194" fmla="*/ 2328571 h 3033282"/>
                      <a:gd name="connsiteX195" fmla="*/ 3881324 w 3907177"/>
                      <a:gd name="connsiteY195" fmla="*/ 2344937 h 3033282"/>
                      <a:gd name="connsiteX196" fmla="*/ 3878738 w 3907177"/>
                      <a:gd name="connsiteY196" fmla="*/ 2354578 h 3033282"/>
                      <a:gd name="connsiteX197" fmla="*/ 3857107 w 3907177"/>
                      <a:gd name="connsiteY197" fmla="*/ 2435219 h 3033282"/>
                      <a:gd name="connsiteX198" fmla="*/ 3839183 w 3907177"/>
                      <a:gd name="connsiteY198" fmla="*/ 2502042 h 3033282"/>
                      <a:gd name="connsiteX199" fmla="*/ 3806236 w 3907177"/>
                      <a:gd name="connsiteY199" fmla="*/ 2584501 h 3033282"/>
                      <a:gd name="connsiteX200" fmla="*/ 3612412 w 3907177"/>
                      <a:gd name="connsiteY200" fmla="*/ 2876897 h 3033282"/>
                      <a:gd name="connsiteX201" fmla="*/ 3004275 w 3907177"/>
                      <a:gd name="connsiteY201" fmla="*/ 2912665 h 3033282"/>
                      <a:gd name="connsiteX202" fmla="*/ 2812785 w 3907177"/>
                      <a:gd name="connsiteY202" fmla="*/ 2759074 h 3033282"/>
                      <a:gd name="connsiteX203" fmla="*/ 2726510 w 3907177"/>
                      <a:gd name="connsiteY203" fmla="*/ 2651771 h 3033282"/>
                      <a:gd name="connsiteX204" fmla="*/ 2722301 w 3907177"/>
                      <a:gd name="connsiteY204" fmla="*/ 2655979 h 3033282"/>
                      <a:gd name="connsiteX205" fmla="*/ 2686529 w 3907177"/>
                      <a:gd name="connsiteY205" fmla="*/ 2750658 h 3033282"/>
                      <a:gd name="connsiteX206" fmla="*/ 2646547 w 3907177"/>
                      <a:gd name="connsiteY206" fmla="*/ 2799050 h 3033282"/>
                      <a:gd name="connsiteX207" fmla="*/ 2593940 w 3907177"/>
                      <a:gd name="connsiteY207" fmla="*/ 2887417 h 3033282"/>
                      <a:gd name="connsiteX208" fmla="*/ 2606566 w 3907177"/>
                      <a:gd name="connsiteY208" fmla="*/ 2963160 h 3033282"/>
                      <a:gd name="connsiteX209" fmla="*/ 2724406 w 3907177"/>
                      <a:gd name="connsiteY209" fmla="*/ 3001032 h 3033282"/>
                      <a:gd name="connsiteX210" fmla="*/ 2614983 w 3907177"/>
                      <a:gd name="connsiteY210" fmla="*/ 2916873 h 3033282"/>
                      <a:gd name="connsiteX211" fmla="*/ 2636026 w 3907177"/>
                      <a:gd name="connsiteY211" fmla="*/ 2931601 h 3033282"/>
                      <a:gd name="connsiteX212" fmla="*/ 2741240 w 3907177"/>
                      <a:gd name="connsiteY212" fmla="*/ 2975784 h 3033282"/>
                      <a:gd name="connsiteX213" fmla="*/ 2823307 w 3907177"/>
                      <a:gd name="connsiteY213" fmla="*/ 2935809 h 3033282"/>
                      <a:gd name="connsiteX214" fmla="*/ 2869601 w 3907177"/>
                      <a:gd name="connsiteY214" fmla="*/ 2874793 h 3033282"/>
                      <a:gd name="connsiteX215" fmla="*/ 2909582 w 3907177"/>
                      <a:gd name="connsiteY215" fmla="*/ 2914769 h 3033282"/>
                      <a:gd name="connsiteX216" fmla="*/ 2804368 w 3907177"/>
                      <a:gd name="connsiteY216" fmla="*/ 3009448 h 3033282"/>
                      <a:gd name="connsiteX217" fmla="*/ 2631817 w 3907177"/>
                      <a:gd name="connsiteY217" fmla="*/ 3019968 h 3033282"/>
                      <a:gd name="connsiteX218" fmla="*/ 2592812 w 3907177"/>
                      <a:gd name="connsiteY218" fmla="*/ 2997729 h 3033282"/>
                      <a:gd name="connsiteX219" fmla="*/ 2571463 w 3907177"/>
                      <a:gd name="connsiteY219" fmla="*/ 2978979 h 3033282"/>
                      <a:gd name="connsiteX220" fmla="*/ 2569646 w 3907177"/>
                      <a:gd name="connsiteY220" fmla="*/ 2977384 h 3033282"/>
                      <a:gd name="connsiteX221" fmla="*/ 2550477 w 3907177"/>
                      <a:gd name="connsiteY221" fmla="*/ 2953365 h 3033282"/>
                      <a:gd name="connsiteX222" fmla="*/ 2543509 w 3907177"/>
                      <a:gd name="connsiteY222" fmla="*/ 2942341 h 3033282"/>
                      <a:gd name="connsiteX223" fmla="*/ 2527951 w 3907177"/>
                      <a:gd name="connsiteY223" fmla="*/ 2910199 h 3033282"/>
                      <a:gd name="connsiteX224" fmla="*/ 2522395 w 3907177"/>
                      <a:gd name="connsiteY224" fmla="*/ 2893729 h 3033282"/>
                      <a:gd name="connsiteX225" fmla="*/ 2457162 w 3907177"/>
                      <a:gd name="connsiteY225" fmla="*/ 2748554 h 3033282"/>
                      <a:gd name="connsiteX226" fmla="*/ 2362469 w 3907177"/>
                      <a:gd name="connsiteY226" fmla="*/ 2651771 h 3033282"/>
                      <a:gd name="connsiteX227" fmla="*/ 2340024 w 3907177"/>
                      <a:gd name="connsiteY227" fmla="*/ 2621933 h 3033282"/>
                      <a:gd name="connsiteX228" fmla="*/ 2338457 w 3907177"/>
                      <a:gd name="connsiteY228" fmla="*/ 2619477 h 3033282"/>
                      <a:gd name="connsiteX229" fmla="*/ 2304048 w 3907177"/>
                      <a:gd name="connsiteY229" fmla="*/ 2565541 h 3033282"/>
                      <a:gd name="connsiteX230" fmla="*/ 2335655 w 3907177"/>
                      <a:gd name="connsiteY230" fmla="*/ 2318674 h 3033282"/>
                      <a:gd name="connsiteX231" fmla="*/ 2366996 w 3907177"/>
                      <a:gd name="connsiteY231" fmla="*/ 2274192 h 3033282"/>
                      <a:gd name="connsiteX232" fmla="*/ 2347572 w 3907177"/>
                      <a:gd name="connsiteY232" fmla="*/ 2275513 h 3033282"/>
                      <a:gd name="connsiteX233" fmla="*/ 2320522 w 3907177"/>
                      <a:gd name="connsiteY233" fmla="*/ 2269084 h 3033282"/>
                      <a:gd name="connsiteX234" fmla="*/ 2038565 w 3907177"/>
                      <a:gd name="connsiteY234" fmla="*/ 2062847 h 3033282"/>
                      <a:gd name="connsiteX235" fmla="*/ 2043892 w 3907177"/>
                      <a:gd name="connsiteY235" fmla="*/ 1618938 h 3033282"/>
                      <a:gd name="connsiteX236" fmla="*/ 2058099 w 3907177"/>
                      <a:gd name="connsiteY236" fmla="*/ 1557525 h 3033282"/>
                      <a:gd name="connsiteX237" fmla="*/ 2055755 w 3907177"/>
                      <a:gd name="connsiteY237" fmla="*/ 1558228 h 3033282"/>
                      <a:gd name="connsiteX238" fmla="*/ 2050316 w 3907177"/>
                      <a:gd name="connsiteY238" fmla="*/ 1559430 h 3033282"/>
                      <a:gd name="connsiteX239" fmla="*/ 1525518 w 3907177"/>
                      <a:gd name="connsiteY239" fmla="*/ 1690090 h 3033282"/>
                      <a:gd name="connsiteX240" fmla="*/ 946985 w 3907177"/>
                      <a:gd name="connsiteY240" fmla="*/ 1875211 h 3033282"/>
                      <a:gd name="connsiteX241" fmla="*/ 559893 w 3907177"/>
                      <a:gd name="connsiteY241" fmla="*/ 1858382 h 3033282"/>
                      <a:gd name="connsiteX242" fmla="*/ 412630 w 3907177"/>
                      <a:gd name="connsiteY242" fmla="*/ 1498659 h 3033282"/>
                      <a:gd name="connsiteX243" fmla="*/ 46576 w 3907177"/>
                      <a:gd name="connsiteY243" fmla="*/ 1063204 h 3033282"/>
                      <a:gd name="connsiteX244" fmla="*/ 36057 w 3907177"/>
                      <a:gd name="connsiteY244" fmla="*/ 665615 h 3033282"/>
                      <a:gd name="connsiteX245" fmla="*/ 191735 w 3907177"/>
                      <a:gd name="connsiteY245" fmla="*/ 459457 h 3033282"/>
                      <a:gd name="connsiteX246" fmla="*/ 374762 w 3907177"/>
                      <a:gd name="connsiteY246" fmla="*/ 465768 h 3033282"/>
                      <a:gd name="connsiteX247" fmla="*/ 677704 w 3907177"/>
                      <a:gd name="connsiteY247" fmla="*/ 528878 h 3033282"/>
                      <a:gd name="connsiteX248" fmla="*/ 1090040 w 3907177"/>
                      <a:gd name="connsiteY248" fmla="*/ 713999 h 3033282"/>
                      <a:gd name="connsiteX249" fmla="*/ 736609 w 3907177"/>
                      <a:gd name="connsiteY249" fmla="*/ 514152 h 3033282"/>
                      <a:gd name="connsiteX250" fmla="*/ 503092 w 3907177"/>
                      <a:gd name="connsiteY250" fmla="*/ 423695 h 3033282"/>
                      <a:gd name="connsiteX251" fmla="*/ 700845 w 3907177"/>
                      <a:gd name="connsiteY251" fmla="*/ 246989 h 3033282"/>
                      <a:gd name="connsiteX252" fmla="*/ 867042 w 3907177"/>
                      <a:gd name="connsiteY252" fmla="*/ 47143 h 3033282"/>
                      <a:gd name="connsiteX253" fmla="*/ 990408 w 3907177"/>
                      <a:gd name="connsiteY253" fmla="*/ 698 h 3033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Lst>
                    <a:rect l="l" t="t" r="r" b="b"/>
                    <a:pathLst>
                      <a:path w="3907177" h="3033282">
                        <a:moveTo>
                          <a:pt x="3283994" y="2199606"/>
                        </a:moveTo>
                        <a:cubicBezTo>
                          <a:pt x="3260886" y="2199606"/>
                          <a:pt x="3239879" y="2208029"/>
                          <a:pt x="3216771" y="2237508"/>
                        </a:cubicBezTo>
                        <a:cubicBezTo>
                          <a:pt x="3206268" y="2252247"/>
                          <a:pt x="3191038" y="2271198"/>
                          <a:pt x="3176070" y="2287254"/>
                        </a:cubicBezTo>
                        <a:lnTo>
                          <a:pt x="3157902" y="2304911"/>
                        </a:lnTo>
                        <a:lnTo>
                          <a:pt x="3148728" y="2311436"/>
                        </a:lnTo>
                        <a:cubicBezTo>
                          <a:pt x="3141540" y="2316470"/>
                          <a:pt x="3136944" y="2319628"/>
                          <a:pt x="3136944" y="2319628"/>
                        </a:cubicBezTo>
                        <a:cubicBezTo>
                          <a:pt x="3141671" y="2318049"/>
                          <a:pt x="3147710" y="2313969"/>
                          <a:pt x="3154439" y="2308277"/>
                        </a:cubicBezTo>
                        <a:lnTo>
                          <a:pt x="3157902" y="2304911"/>
                        </a:lnTo>
                        <a:lnTo>
                          <a:pt x="3176070" y="2291992"/>
                        </a:lnTo>
                        <a:cubicBezTo>
                          <a:pt x="3196815" y="2276989"/>
                          <a:pt x="3219922" y="2259617"/>
                          <a:pt x="3229375" y="2250142"/>
                        </a:cubicBezTo>
                        <a:cubicBezTo>
                          <a:pt x="3248282" y="2231191"/>
                          <a:pt x="3283994" y="2231191"/>
                          <a:pt x="3317605" y="2231191"/>
                        </a:cubicBezTo>
                        <a:cubicBezTo>
                          <a:pt x="3341238" y="2231191"/>
                          <a:pt x="3367234" y="2240666"/>
                          <a:pt x="3378755" y="2245404"/>
                        </a:cubicBezTo>
                        <a:lnTo>
                          <a:pt x="3382808" y="2247161"/>
                        </a:lnTo>
                        <a:lnTo>
                          <a:pt x="3351550" y="2248260"/>
                        </a:lnTo>
                        <a:cubicBezTo>
                          <a:pt x="3337425" y="2251320"/>
                          <a:pt x="3324650" y="2257505"/>
                          <a:pt x="3315694" y="2268558"/>
                        </a:cubicBezTo>
                        <a:cubicBezTo>
                          <a:pt x="3281978" y="2310668"/>
                          <a:pt x="3267228" y="2335934"/>
                          <a:pt x="3248262" y="2369622"/>
                        </a:cubicBezTo>
                        <a:cubicBezTo>
                          <a:pt x="3229297" y="2403310"/>
                          <a:pt x="3195581" y="2443314"/>
                          <a:pt x="3195581" y="2443314"/>
                        </a:cubicBezTo>
                        <a:cubicBezTo>
                          <a:pt x="3195581" y="2443314"/>
                          <a:pt x="3273549" y="2363305"/>
                          <a:pt x="3288300" y="2346462"/>
                        </a:cubicBezTo>
                        <a:cubicBezTo>
                          <a:pt x="3303051" y="2327512"/>
                          <a:pt x="3309372" y="2312774"/>
                          <a:pt x="3334660" y="2295930"/>
                        </a:cubicBezTo>
                        <a:cubicBezTo>
                          <a:pt x="3357839" y="2279086"/>
                          <a:pt x="3381019" y="2279086"/>
                          <a:pt x="3404199" y="2281191"/>
                        </a:cubicBezTo>
                        <a:cubicBezTo>
                          <a:pt x="3427378" y="2283297"/>
                          <a:pt x="3442129" y="2291719"/>
                          <a:pt x="3442129" y="2291719"/>
                        </a:cubicBezTo>
                        <a:lnTo>
                          <a:pt x="3448451" y="2258031"/>
                        </a:lnTo>
                        <a:cubicBezTo>
                          <a:pt x="3448451" y="2258031"/>
                          <a:pt x="3442393" y="2255926"/>
                          <a:pt x="3432746" y="2253458"/>
                        </a:cubicBezTo>
                        <a:lnTo>
                          <a:pt x="3399309" y="2247403"/>
                        </a:lnTo>
                        <a:lnTo>
                          <a:pt x="3406885" y="2246720"/>
                        </a:lnTo>
                        <a:cubicBezTo>
                          <a:pt x="3417388" y="2244878"/>
                          <a:pt x="3426842" y="2240666"/>
                          <a:pt x="3422640" y="2231191"/>
                        </a:cubicBezTo>
                        <a:cubicBezTo>
                          <a:pt x="3412137" y="2214346"/>
                          <a:pt x="3391130" y="2216451"/>
                          <a:pt x="3370122" y="2208029"/>
                        </a:cubicBezTo>
                        <a:cubicBezTo>
                          <a:pt x="3349115" y="2201712"/>
                          <a:pt x="3309202" y="2199606"/>
                          <a:pt x="3283994" y="2199606"/>
                        </a:cubicBezTo>
                        <a:close/>
                        <a:moveTo>
                          <a:pt x="3868985" y="2136388"/>
                        </a:moveTo>
                        <a:cubicBezTo>
                          <a:pt x="3868985" y="2136388"/>
                          <a:pt x="3778558" y="2193138"/>
                          <a:pt x="3734396" y="2199444"/>
                        </a:cubicBezTo>
                        <a:cubicBezTo>
                          <a:pt x="3690235" y="2205750"/>
                          <a:pt x="3646073" y="2235176"/>
                          <a:pt x="3559852" y="2182629"/>
                        </a:cubicBezTo>
                        <a:cubicBezTo>
                          <a:pt x="3555646" y="2180527"/>
                          <a:pt x="3604014" y="2239379"/>
                          <a:pt x="3641867" y="2241481"/>
                        </a:cubicBezTo>
                        <a:cubicBezTo>
                          <a:pt x="3681823" y="2243583"/>
                          <a:pt x="3702852" y="2239379"/>
                          <a:pt x="3702852" y="2239379"/>
                        </a:cubicBezTo>
                        <a:cubicBezTo>
                          <a:pt x="3784867" y="2228870"/>
                          <a:pt x="3820617" y="2188935"/>
                          <a:pt x="3831132" y="2178425"/>
                        </a:cubicBezTo>
                        <a:cubicBezTo>
                          <a:pt x="3843750" y="2170018"/>
                          <a:pt x="3868985" y="2136388"/>
                          <a:pt x="3868985" y="2136388"/>
                        </a:cubicBezTo>
                        <a:close/>
                        <a:moveTo>
                          <a:pt x="3385344" y="2089937"/>
                        </a:moveTo>
                        <a:cubicBezTo>
                          <a:pt x="3391674" y="2089411"/>
                          <a:pt x="3398532" y="2089937"/>
                          <a:pt x="3403807" y="2092045"/>
                        </a:cubicBezTo>
                        <a:cubicBezTo>
                          <a:pt x="3412247" y="2096259"/>
                          <a:pt x="3418577" y="2104688"/>
                          <a:pt x="3420687" y="2119439"/>
                        </a:cubicBezTo>
                        <a:cubicBezTo>
                          <a:pt x="3422797" y="2132083"/>
                          <a:pt x="3410137" y="2151048"/>
                          <a:pt x="3410137" y="2151048"/>
                        </a:cubicBezTo>
                        <a:cubicBezTo>
                          <a:pt x="3410137" y="2151048"/>
                          <a:pt x="3389037" y="2144726"/>
                          <a:pt x="3380596" y="2144726"/>
                        </a:cubicBezTo>
                        <a:cubicBezTo>
                          <a:pt x="3374266" y="2142619"/>
                          <a:pt x="3353166" y="2146834"/>
                          <a:pt x="3353166" y="2146834"/>
                        </a:cubicBezTo>
                        <a:lnTo>
                          <a:pt x="3353166" y="2113117"/>
                        </a:lnTo>
                        <a:cubicBezTo>
                          <a:pt x="3353166" y="2113117"/>
                          <a:pt x="3365826" y="2096259"/>
                          <a:pt x="3370046" y="2094152"/>
                        </a:cubicBezTo>
                        <a:cubicBezTo>
                          <a:pt x="3373211" y="2092045"/>
                          <a:pt x="3379014" y="2090464"/>
                          <a:pt x="3385344" y="2089937"/>
                        </a:cubicBezTo>
                        <a:close/>
                        <a:moveTo>
                          <a:pt x="2921466" y="1940074"/>
                        </a:moveTo>
                        <a:cubicBezTo>
                          <a:pt x="2903875" y="1940863"/>
                          <a:pt x="2886546" y="1942966"/>
                          <a:pt x="2876044" y="1945069"/>
                        </a:cubicBezTo>
                        <a:cubicBezTo>
                          <a:pt x="2857140" y="1951377"/>
                          <a:pt x="2819332" y="1968200"/>
                          <a:pt x="2796228" y="1980818"/>
                        </a:cubicBezTo>
                        <a:cubicBezTo>
                          <a:pt x="2773123" y="1995538"/>
                          <a:pt x="2716411" y="2018670"/>
                          <a:pt x="2716411" y="2018670"/>
                        </a:cubicBezTo>
                        <a:cubicBezTo>
                          <a:pt x="2716411" y="2018670"/>
                          <a:pt x="2756319" y="2016567"/>
                          <a:pt x="2773123" y="2014464"/>
                        </a:cubicBezTo>
                        <a:cubicBezTo>
                          <a:pt x="2789926" y="2014464"/>
                          <a:pt x="2813031" y="2008155"/>
                          <a:pt x="2813031" y="2008155"/>
                        </a:cubicBezTo>
                        <a:cubicBezTo>
                          <a:pt x="2813031" y="2008155"/>
                          <a:pt x="2802529" y="2046007"/>
                          <a:pt x="2810931" y="2075448"/>
                        </a:cubicBezTo>
                        <a:cubicBezTo>
                          <a:pt x="2817232" y="2102785"/>
                          <a:pt x="2825634" y="2117505"/>
                          <a:pt x="2825634" y="2117505"/>
                        </a:cubicBezTo>
                        <a:cubicBezTo>
                          <a:pt x="2825634" y="2117505"/>
                          <a:pt x="2825634" y="2119608"/>
                          <a:pt x="2817232" y="2123814"/>
                        </a:cubicBezTo>
                        <a:cubicBezTo>
                          <a:pt x="2810931" y="2125917"/>
                          <a:pt x="2773123" y="2157460"/>
                          <a:pt x="2773123" y="2157460"/>
                        </a:cubicBezTo>
                        <a:cubicBezTo>
                          <a:pt x="2773123" y="2157460"/>
                          <a:pt x="2831935" y="2132226"/>
                          <a:pt x="2848738" y="2125917"/>
                        </a:cubicBezTo>
                        <a:cubicBezTo>
                          <a:pt x="2865542" y="2121711"/>
                          <a:pt x="2901249" y="2113300"/>
                          <a:pt x="2941157" y="2104888"/>
                        </a:cubicBezTo>
                        <a:cubicBezTo>
                          <a:pt x="2981066" y="2096476"/>
                          <a:pt x="3111292" y="2106991"/>
                          <a:pt x="3111292" y="2106991"/>
                        </a:cubicBezTo>
                        <a:cubicBezTo>
                          <a:pt x="3111292" y="2106991"/>
                          <a:pt x="3073484" y="2092271"/>
                          <a:pt x="3056681" y="2085962"/>
                        </a:cubicBezTo>
                        <a:cubicBezTo>
                          <a:pt x="3039878" y="2081756"/>
                          <a:pt x="3016773" y="2081756"/>
                          <a:pt x="3016773" y="2081756"/>
                        </a:cubicBezTo>
                        <a:cubicBezTo>
                          <a:pt x="3016773" y="2081756"/>
                          <a:pt x="3029375" y="2052316"/>
                          <a:pt x="3023074" y="2027081"/>
                        </a:cubicBezTo>
                        <a:cubicBezTo>
                          <a:pt x="3016773" y="1999744"/>
                          <a:pt x="2995769" y="1970303"/>
                          <a:pt x="2995769" y="1970303"/>
                        </a:cubicBezTo>
                        <a:cubicBezTo>
                          <a:pt x="2995769" y="1970303"/>
                          <a:pt x="3002070" y="1966098"/>
                          <a:pt x="3018873" y="1966098"/>
                        </a:cubicBezTo>
                        <a:cubicBezTo>
                          <a:pt x="3035677" y="1963995"/>
                          <a:pt x="3065083" y="1957686"/>
                          <a:pt x="3065083" y="1957686"/>
                        </a:cubicBezTo>
                        <a:cubicBezTo>
                          <a:pt x="3065083" y="1957686"/>
                          <a:pt x="2991568" y="1949274"/>
                          <a:pt x="2968463" y="1942966"/>
                        </a:cubicBezTo>
                        <a:cubicBezTo>
                          <a:pt x="2956910" y="1939811"/>
                          <a:pt x="2939057" y="1939286"/>
                          <a:pt x="2921466" y="1940074"/>
                        </a:cubicBezTo>
                        <a:close/>
                        <a:moveTo>
                          <a:pt x="2882143" y="1689578"/>
                        </a:moveTo>
                        <a:cubicBezTo>
                          <a:pt x="2843731" y="1689315"/>
                          <a:pt x="2800057" y="1691418"/>
                          <a:pt x="2779009" y="1700880"/>
                        </a:cubicBezTo>
                        <a:cubicBezTo>
                          <a:pt x="2736913" y="1717702"/>
                          <a:pt x="2720075" y="1810222"/>
                          <a:pt x="2720075" y="1810222"/>
                        </a:cubicBezTo>
                        <a:cubicBezTo>
                          <a:pt x="2720075" y="1810222"/>
                          <a:pt x="2760066" y="1759756"/>
                          <a:pt x="2806371" y="1730318"/>
                        </a:cubicBezTo>
                        <a:cubicBezTo>
                          <a:pt x="2852676" y="1698777"/>
                          <a:pt x="2953705" y="1692469"/>
                          <a:pt x="2953705" y="1692469"/>
                        </a:cubicBezTo>
                        <a:cubicBezTo>
                          <a:pt x="2953705" y="1692469"/>
                          <a:pt x="2920555" y="1689840"/>
                          <a:pt x="2882143" y="1689578"/>
                        </a:cubicBezTo>
                        <a:close/>
                        <a:moveTo>
                          <a:pt x="2751741" y="1152523"/>
                        </a:moveTo>
                        <a:lnTo>
                          <a:pt x="2752273" y="1154187"/>
                        </a:lnTo>
                        <a:lnTo>
                          <a:pt x="2764036" y="1192874"/>
                        </a:lnTo>
                        <a:lnTo>
                          <a:pt x="2787833" y="1274009"/>
                        </a:lnTo>
                        <a:lnTo>
                          <a:pt x="2819472" y="1283014"/>
                        </a:lnTo>
                        <a:lnTo>
                          <a:pt x="2820261" y="1283258"/>
                        </a:lnTo>
                        <a:lnTo>
                          <a:pt x="2825890" y="1283302"/>
                        </a:lnTo>
                        <a:lnTo>
                          <a:pt x="2903747" y="1291542"/>
                        </a:lnTo>
                        <a:lnTo>
                          <a:pt x="2899550" y="1288295"/>
                        </a:lnTo>
                        <a:cubicBezTo>
                          <a:pt x="2806596" y="1216396"/>
                          <a:pt x="2806596" y="1216396"/>
                          <a:pt x="2806596" y="1216396"/>
                        </a:cubicBezTo>
                        <a:cubicBezTo>
                          <a:pt x="2806596" y="1216396"/>
                          <a:pt x="2794376" y="1202454"/>
                          <a:pt x="2775061" y="1179930"/>
                        </a:cubicBezTo>
                        <a:close/>
                        <a:moveTo>
                          <a:pt x="1695768" y="862876"/>
                        </a:moveTo>
                        <a:cubicBezTo>
                          <a:pt x="2078780" y="919680"/>
                          <a:pt x="2078780" y="919680"/>
                          <a:pt x="2078780" y="919680"/>
                        </a:cubicBezTo>
                        <a:cubicBezTo>
                          <a:pt x="2078780" y="919680"/>
                          <a:pt x="2137705" y="923888"/>
                          <a:pt x="2177689" y="938615"/>
                        </a:cubicBezTo>
                        <a:cubicBezTo>
                          <a:pt x="2217674" y="951238"/>
                          <a:pt x="2274495" y="997523"/>
                          <a:pt x="2274495" y="997523"/>
                        </a:cubicBezTo>
                        <a:cubicBezTo>
                          <a:pt x="2274495" y="997523"/>
                          <a:pt x="2226092" y="984900"/>
                          <a:pt x="2192421" y="984900"/>
                        </a:cubicBezTo>
                        <a:cubicBezTo>
                          <a:pt x="2160854" y="987004"/>
                          <a:pt x="2101929" y="1026977"/>
                          <a:pt x="2082989" y="1031185"/>
                        </a:cubicBezTo>
                        <a:cubicBezTo>
                          <a:pt x="2061944" y="1035392"/>
                          <a:pt x="2013542" y="1064846"/>
                          <a:pt x="2013542" y="1064846"/>
                        </a:cubicBezTo>
                        <a:cubicBezTo>
                          <a:pt x="2013542" y="1064846"/>
                          <a:pt x="2118765" y="1039600"/>
                          <a:pt x="2177689" y="1060639"/>
                        </a:cubicBezTo>
                        <a:cubicBezTo>
                          <a:pt x="2234510" y="1081677"/>
                          <a:pt x="2276599" y="1062742"/>
                          <a:pt x="2320793" y="1102716"/>
                        </a:cubicBezTo>
                        <a:cubicBezTo>
                          <a:pt x="2362882" y="1142689"/>
                          <a:pt x="2402867" y="1193182"/>
                          <a:pt x="2402867" y="1193182"/>
                        </a:cubicBezTo>
                        <a:lnTo>
                          <a:pt x="2477977" y="1304520"/>
                        </a:lnTo>
                        <a:lnTo>
                          <a:pt x="2495231" y="1302276"/>
                        </a:lnTo>
                        <a:lnTo>
                          <a:pt x="2479203" y="1263722"/>
                        </a:lnTo>
                        <a:cubicBezTo>
                          <a:pt x="2435552" y="1159125"/>
                          <a:pt x="2373405" y="1012512"/>
                          <a:pt x="2352360" y="974380"/>
                        </a:cubicBezTo>
                        <a:cubicBezTo>
                          <a:pt x="2320793" y="913369"/>
                          <a:pt x="2238719" y="886019"/>
                          <a:pt x="2194525" y="875499"/>
                        </a:cubicBezTo>
                        <a:cubicBezTo>
                          <a:pt x="2150331" y="862876"/>
                          <a:pt x="1695768" y="862876"/>
                          <a:pt x="1695768" y="862876"/>
                        </a:cubicBezTo>
                        <a:close/>
                        <a:moveTo>
                          <a:pt x="2884074" y="435929"/>
                        </a:moveTo>
                        <a:cubicBezTo>
                          <a:pt x="2884074" y="435929"/>
                          <a:pt x="2919884" y="555927"/>
                          <a:pt x="2987291" y="631716"/>
                        </a:cubicBezTo>
                        <a:cubicBezTo>
                          <a:pt x="3054698" y="705399"/>
                          <a:pt x="3130531" y="1008552"/>
                          <a:pt x="3130531" y="1008552"/>
                        </a:cubicBezTo>
                        <a:cubicBezTo>
                          <a:pt x="3130531" y="1008552"/>
                          <a:pt x="3115786" y="812766"/>
                          <a:pt x="3063124" y="682241"/>
                        </a:cubicBezTo>
                        <a:cubicBezTo>
                          <a:pt x="3063124" y="682241"/>
                          <a:pt x="2993611" y="549612"/>
                          <a:pt x="2970440" y="520138"/>
                        </a:cubicBezTo>
                        <a:cubicBezTo>
                          <a:pt x="2945162" y="490665"/>
                          <a:pt x="2884074" y="435929"/>
                          <a:pt x="2884074" y="435929"/>
                        </a:cubicBezTo>
                        <a:close/>
                        <a:moveTo>
                          <a:pt x="990408" y="698"/>
                        </a:moveTo>
                        <a:cubicBezTo>
                          <a:pt x="1005101" y="-321"/>
                          <a:pt x="1021142" y="-189"/>
                          <a:pt x="1039550" y="863"/>
                        </a:cubicBezTo>
                        <a:cubicBezTo>
                          <a:pt x="1111078" y="5070"/>
                          <a:pt x="1258341" y="38728"/>
                          <a:pt x="1348803" y="72387"/>
                        </a:cubicBezTo>
                        <a:cubicBezTo>
                          <a:pt x="1439264" y="103941"/>
                          <a:pt x="1653848" y="181776"/>
                          <a:pt x="1737998" y="232264"/>
                        </a:cubicBezTo>
                        <a:cubicBezTo>
                          <a:pt x="1830564" y="284855"/>
                          <a:pt x="1914714" y="318513"/>
                          <a:pt x="2005176" y="371104"/>
                        </a:cubicBezTo>
                        <a:cubicBezTo>
                          <a:pt x="2051459" y="397400"/>
                          <a:pt x="2127194" y="436317"/>
                          <a:pt x="2203455" y="477601"/>
                        </a:cubicBezTo>
                        <a:lnTo>
                          <a:pt x="2296994" y="530121"/>
                        </a:lnTo>
                        <a:lnTo>
                          <a:pt x="2323986" y="546882"/>
                        </a:lnTo>
                        <a:lnTo>
                          <a:pt x="2357160" y="567482"/>
                        </a:lnTo>
                        <a:lnTo>
                          <a:pt x="2404890" y="598298"/>
                        </a:lnTo>
                        <a:lnTo>
                          <a:pt x="2415440" y="605928"/>
                        </a:lnTo>
                        <a:lnTo>
                          <a:pt x="2362991" y="493093"/>
                        </a:lnTo>
                        <a:cubicBezTo>
                          <a:pt x="2362991" y="493093"/>
                          <a:pt x="2362991" y="493093"/>
                          <a:pt x="2329266" y="483333"/>
                        </a:cubicBezTo>
                        <a:lnTo>
                          <a:pt x="2307060" y="476906"/>
                        </a:lnTo>
                        <a:lnTo>
                          <a:pt x="2313198" y="470584"/>
                        </a:lnTo>
                        <a:cubicBezTo>
                          <a:pt x="2335494" y="447752"/>
                          <a:pt x="2406858" y="375701"/>
                          <a:pt x="2460566" y="333037"/>
                        </a:cubicBezTo>
                        <a:lnTo>
                          <a:pt x="2482676" y="317005"/>
                        </a:lnTo>
                        <a:lnTo>
                          <a:pt x="2522361" y="296868"/>
                        </a:lnTo>
                        <a:lnTo>
                          <a:pt x="2554579" y="283748"/>
                        </a:lnTo>
                        <a:cubicBezTo>
                          <a:pt x="2588217" y="269017"/>
                          <a:pt x="2633417" y="251656"/>
                          <a:pt x="2694384" y="254812"/>
                        </a:cubicBezTo>
                        <a:cubicBezTo>
                          <a:pt x="2724868" y="256391"/>
                          <a:pt x="2759293" y="263098"/>
                          <a:pt x="2798186" y="277829"/>
                        </a:cubicBezTo>
                        <a:cubicBezTo>
                          <a:pt x="2951656" y="336753"/>
                          <a:pt x="2857052" y="260994"/>
                          <a:pt x="2857052" y="260994"/>
                        </a:cubicBezTo>
                        <a:cubicBezTo>
                          <a:pt x="2857052" y="260994"/>
                          <a:pt x="2858530" y="261224"/>
                          <a:pt x="2861191" y="261705"/>
                        </a:cubicBezTo>
                        <a:lnTo>
                          <a:pt x="2866568" y="262766"/>
                        </a:lnTo>
                        <a:lnTo>
                          <a:pt x="2867847" y="263215"/>
                        </a:lnTo>
                        <a:cubicBezTo>
                          <a:pt x="2872013" y="264887"/>
                          <a:pt x="2874182" y="265939"/>
                          <a:pt x="2874182" y="265939"/>
                        </a:cubicBezTo>
                        <a:cubicBezTo>
                          <a:pt x="2874182" y="265939"/>
                          <a:pt x="2875760" y="265775"/>
                          <a:pt x="2878772" y="265783"/>
                        </a:cubicBezTo>
                        <a:lnTo>
                          <a:pt x="2879970" y="265863"/>
                        </a:lnTo>
                        <a:lnTo>
                          <a:pt x="2909084" y="273357"/>
                        </a:lnTo>
                        <a:cubicBezTo>
                          <a:pt x="2937466" y="282038"/>
                          <a:pt x="2970577" y="295717"/>
                          <a:pt x="2989498" y="315709"/>
                        </a:cubicBezTo>
                        <a:cubicBezTo>
                          <a:pt x="3027340" y="357797"/>
                          <a:pt x="3391043" y="702920"/>
                          <a:pt x="3365815" y="925987"/>
                        </a:cubicBezTo>
                        <a:cubicBezTo>
                          <a:pt x="3351098" y="1060670"/>
                          <a:pt x="3227061" y="1315303"/>
                          <a:pt x="3233368" y="1376331"/>
                        </a:cubicBezTo>
                        <a:cubicBezTo>
                          <a:pt x="3234682" y="1385538"/>
                          <a:pt x="3236920" y="1397159"/>
                          <a:pt x="3239761" y="1410216"/>
                        </a:cubicBezTo>
                        <a:lnTo>
                          <a:pt x="3243622" y="1426604"/>
                        </a:lnTo>
                        <a:lnTo>
                          <a:pt x="3302854" y="1472111"/>
                        </a:lnTo>
                        <a:cubicBezTo>
                          <a:pt x="3370331" y="1532754"/>
                          <a:pt x="3422311" y="1609600"/>
                          <a:pt x="3442037" y="1705090"/>
                        </a:cubicBezTo>
                        <a:lnTo>
                          <a:pt x="3433973" y="1732860"/>
                        </a:lnTo>
                        <a:lnTo>
                          <a:pt x="3404867" y="1673697"/>
                        </a:lnTo>
                        <a:cubicBezTo>
                          <a:pt x="3399074" y="1661664"/>
                          <a:pt x="3393479" y="1649944"/>
                          <a:pt x="3388345" y="1639131"/>
                        </a:cubicBezTo>
                        <a:lnTo>
                          <a:pt x="3377441" y="1616053"/>
                        </a:lnTo>
                        <a:lnTo>
                          <a:pt x="3359581" y="1565598"/>
                        </a:lnTo>
                        <a:cubicBezTo>
                          <a:pt x="3359581" y="1565598"/>
                          <a:pt x="3359581" y="1565598"/>
                          <a:pt x="3361687" y="1582431"/>
                        </a:cubicBezTo>
                        <a:cubicBezTo>
                          <a:pt x="3361687" y="1582431"/>
                          <a:pt x="3366690" y="1593215"/>
                          <a:pt x="3374588" y="1610015"/>
                        </a:cubicBezTo>
                        <a:lnTo>
                          <a:pt x="3377441" y="1616053"/>
                        </a:lnTo>
                        <a:lnTo>
                          <a:pt x="3442901" y="1800978"/>
                        </a:lnTo>
                        <a:lnTo>
                          <a:pt x="3440408" y="1796829"/>
                        </a:lnTo>
                        <a:cubicBezTo>
                          <a:pt x="3438644" y="1793891"/>
                          <a:pt x="3436291" y="1789974"/>
                          <a:pt x="3433154" y="1784752"/>
                        </a:cubicBezTo>
                        <a:cubicBezTo>
                          <a:pt x="3433154" y="1784752"/>
                          <a:pt x="3414332" y="1768041"/>
                          <a:pt x="3397602" y="1761774"/>
                        </a:cubicBezTo>
                        <a:cubicBezTo>
                          <a:pt x="3380871" y="1753418"/>
                          <a:pt x="3349501" y="1755507"/>
                          <a:pt x="3349501" y="1755507"/>
                        </a:cubicBezTo>
                        <a:cubicBezTo>
                          <a:pt x="3349501" y="1755507"/>
                          <a:pt x="3380871" y="1768041"/>
                          <a:pt x="3395510" y="1772218"/>
                        </a:cubicBezTo>
                        <a:cubicBezTo>
                          <a:pt x="3406489" y="1773785"/>
                          <a:pt x="3429233" y="1791802"/>
                          <a:pt x="3439918" y="1800713"/>
                        </a:cubicBezTo>
                        <a:lnTo>
                          <a:pt x="3444055" y="1804238"/>
                        </a:lnTo>
                        <a:lnTo>
                          <a:pt x="3555468" y="2118980"/>
                        </a:lnTo>
                        <a:cubicBezTo>
                          <a:pt x="3555468" y="2118980"/>
                          <a:pt x="3553888" y="2108460"/>
                          <a:pt x="3553362" y="2091890"/>
                        </a:cubicBezTo>
                        <a:lnTo>
                          <a:pt x="3553487" y="2080908"/>
                        </a:lnTo>
                        <a:lnTo>
                          <a:pt x="3554536" y="2083695"/>
                        </a:lnTo>
                        <a:cubicBezTo>
                          <a:pt x="3566426" y="2115277"/>
                          <a:pt x="3569399" y="2123172"/>
                          <a:pt x="3570142" y="2125146"/>
                        </a:cubicBezTo>
                        <a:lnTo>
                          <a:pt x="3570375" y="2125765"/>
                        </a:lnTo>
                        <a:lnTo>
                          <a:pt x="3570326" y="2125774"/>
                        </a:lnTo>
                        <a:cubicBezTo>
                          <a:pt x="3545075" y="2130508"/>
                          <a:pt x="3536395" y="2124591"/>
                          <a:pt x="3524755" y="2128437"/>
                        </a:cubicBezTo>
                        <a:lnTo>
                          <a:pt x="3520991" y="2130652"/>
                        </a:lnTo>
                        <a:lnTo>
                          <a:pt x="3519898" y="2125754"/>
                        </a:lnTo>
                        <a:cubicBezTo>
                          <a:pt x="3517794" y="2116808"/>
                          <a:pt x="3515165" y="2106809"/>
                          <a:pt x="3513061" y="2102599"/>
                        </a:cubicBezTo>
                        <a:cubicBezTo>
                          <a:pt x="3510958" y="2096283"/>
                          <a:pt x="3498337" y="2064707"/>
                          <a:pt x="3485716" y="2058392"/>
                        </a:cubicBezTo>
                        <a:cubicBezTo>
                          <a:pt x="3475198" y="2052077"/>
                          <a:pt x="3435232" y="2037341"/>
                          <a:pt x="3422611" y="2039446"/>
                        </a:cubicBezTo>
                        <a:cubicBezTo>
                          <a:pt x="3409989" y="2039446"/>
                          <a:pt x="3397368" y="2045762"/>
                          <a:pt x="3384747" y="2043657"/>
                        </a:cubicBezTo>
                        <a:cubicBezTo>
                          <a:pt x="3372126" y="2041551"/>
                          <a:pt x="3334263" y="2031026"/>
                          <a:pt x="3334263" y="2031026"/>
                        </a:cubicBezTo>
                        <a:cubicBezTo>
                          <a:pt x="3378437" y="2058392"/>
                          <a:pt x="3378437" y="2058392"/>
                          <a:pt x="3378437" y="2058392"/>
                        </a:cubicBezTo>
                        <a:cubicBezTo>
                          <a:pt x="3378437" y="2058392"/>
                          <a:pt x="3359505" y="2079443"/>
                          <a:pt x="3357402" y="2092073"/>
                        </a:cubicBezTo>
                        <a:cubicBezTo>
                          <a:pt x="3348988" y="2111019"/>
                          <a:pt x="3351091" y="2140490"/>
                          <a:pt x="3351091" y="2140490"/>
                        </a:cubicBezTo>
                        <a:cubicBezTo>
                          <a:pt x="3317435" y="2140490"/>
                          <a:pt x="3317435" y="2140490"/>
                          <a:pt x="3317435" y="2140490"/>
                        </a:cubicBezTo>
                        <a:cubicBezTo>
                          <a:pt x="3317435" y="2140490"/>
                          <a:pt x="3348988" y="2148910"/>
                          <a:pt x="3359505" y="2155225"/>
                        </a:cubicBezTo>
                        <a:cubicBezTo>
                          <a:pt x="3370023" y="2161541"/>
                          <a:pt x="3395265" y="2172066"/>
                          <a:pt x="3416300" y="2180486"/>
                        </a:cubicBezTo>
                        <a:cubicBezTo>
                          <a:pt x="3432076" y="2186801"/>
                          <a:pt x="3457318" y="2199037"/>
                          <a:pt x="3468953" y="2204760"/>
                        </a:cubicBezTo>
                        <a:lnTo>
                          <a:pt x="3471183" y="2205864"/>
                        </a:lnTo>
                        <a:lnTo>
                          <a:pt x="3465112" y="2222558"/>
                        </a:lnTo>
                        <a:cubicBezTo>
                          <a:pt x="3458799" y="2247805"/>
                          <a:pt x="3418818" y="2359317"/>
                          <a:pt x="3404088" y="2397188"/>
                        </a:cubicBezTo>
                        <a:cubicBezTo>
                          <a:pt x="3389358" y="2435060"/>
                          <a:pt x="3303083" y="2544467"/>
                          <a:pt x="3303083" y="2544467"/>
                        </a:cubicBezTo>
                        <a:cubicBezTo>
                          <a:pt x="3303083" y="2544467"/>
                          <a:pt x="3383045" y="2468724"/>
                          <a:pt x="3395671" y="2456100"/>
                        </a:cubicBezTo>
                        <a:cubicBezTo>
                          <a:pt x="3410401" y="2443476"/>
                          <a:pt x="3429339" y="2411916"/>
                          <a:pt x="3450382" y="2386668"/>
                        </a:cubicBezTo>
                        <a:cubicBezTo>
                          <a:pt x="3469321" y="2363525"/>
                          <a:pt x="3515615" y="2209934"/>
                          <a:pt x="3526136" y="2184686"/>
                        </a:cubicBezTo>
                        <a:cubicBezTo>
                          <a:pt x="3538762" y="2157334"/>
                          <a:pt x="3574535" y="2159438"/>
                          <a:pt x="3618725" y="2163646"/>
                        </a:cubicBezTo>
                        <a:cubicBezTo>
                          <a:pt x="3665019" y="2167854"/>
                          <a:pt x="3707104" y="2155230"/>
                          <a:pt x="3751294" y="2136294"/>
                        </a:cubicBezTo>
                        <a:cubicBezTo>
                          <a:pt x="3772337" y="2126826"/>
                          <a:pt x="3786015" y="2113676"/>
                          <a:pt x="3799430" y="2104735"/>
                        </a:cubicBezTo>
                        <a:lnTo>
                          <a:pt x="3810437" y="2099831"/>
                        </a:lnTo>
                        <a:lnTo>
                          <a:pt x="3824461" y="2097367"/>
                        </a:lnTo>
                        <a:lnTo>
                          <a:pt x="3829342" y="2096510"/>
                        </a:lnTo>
                        <a:lnTo>
                          <a:pt x="3845987" y="2098423"/>
                        </a:lnTo>
                        <a:cubicBezTo>
                          <a:pt x="3885968" y="2111046"/>
                          <a:pt x="3894385" y="2134190"/>
                          <a:pt x="3904907" y="2180478"/>
                        </a:cubicBezTo>
                        <a:cubicBezTo>
                          <a:pt x="3915428" y="2226766"/>
                          <a:pt x="3885968" y="2315133"/>
                          <a:pt x="3885968" y="2315133"/>
                        </a:cubicBezTo>
                        <a:cubicBezTo>
                          <a:pt x="3885968" y="2315133"/>
                          <a:pt x="3885508" y="2319834"/>
                          <a:pt x="3884225" y="2328571"/>
                        </a:cubicBezTo>
                        <a:lnTo>
                          <a:pt x="3881324" y="2344937"/>
                        </a:lnTo>
                        <a:lnTo>
                          <a:pt x="3878738" y="2354578"/>
                        </a:lnTo>
                        <a:cubicBezTo>
                          <a:pt x="3870987" y="2383473"/>
                          <a:pt x="3863790" y="2410304"/>
                          <a:pt x="3857107" y="2435219"/>
                        </a:cubicBezTo>
                        <a:lnTo>
                          <a:pt x="3839183" y="2502042"/>
                        </a:lnTo>
                        <a:lnTo>
                          <a:pt x="3806236" y="2584501"/>
                        </a:lnTo>
                        <a:cubicBezTo>
                          <a:pt x="3765301" y="2675605"/>
                          <a:pt x="3703948" y="2779062"/>
                          <a:pt x="3612412" y="2876897"/>
                        </a:cubicBezTo>
                        <a:cubicBezTo>
                          <a:pt x="3370419" y="3137791"/>
                          <a:pt x="3046360" y="2935809"/>
                          <a:pt x="3004275" y="2912665"/>
                        </a:cubicBezTo>
                        <a:cubicBezTo>
                          <a:pt x="2962189" y="2889521"/>
                          <a:pt x="2852767" y="2792738"/>
                          <a:pt x="2812785" y="2759074"/>
                        </a:cubicBezTo>
                        <a:cubicBezTo>
                          <a:pt x="2770700" y="2725410"/>
                          <a:pt x="2726510" y="2651771"/>
                          <a:pt x="2726510" y="2651771"/>
                        </a:cubicBezTo>
                        <a:cubicBezTo>
                          <a:pt x="2726510" y="2651771"/>
                          <a:pt x="2724406" y="2649667"/>
                          <a:pt x="2722301" y="2655979"/>
                        </a:cubicBezTo>
                        <a:cubicBezTo>
                          <a:pt x="2720197" y="2662291"/>
                          <a:pt x="2699154" y="2727514"/>
                          <a:pt x="2686529" y="2750658"/>
                        </a:cubicBezTo>
                        <a:cubicBezTo>
                          <a:pt x="2676007" y="2771698"/>
                          <a:pt x="2661277" y="2782218"/>
                          <a:pt x="2646547" y="2799050"/>
                        </a:cubicBezTo>
                        <a:cubicBezTo>
                          <a:pt x="2633922" y="2817986"/>
                          <a:pt x="2612879" y="2845337"/>
                          <a:pt x="2593940" y="2887417"/>
                        </a:cubicBezTo>
                        <a:cubicBezTo>
                          <a:pt x="2575002" y="2929497"/>
                          <a:pt x="2606566" y="2963160"/>
                          <a:pt x="2606566" y="2963160"/>
                        </a:cubicBezTo>
                        <a:cubicBezTo>
                          <a:pt x="2627609" y="2988408"/>
                          <a:pt x="2697050" y="3005240"/>
                          <a:pt x="2724406" y="3001032"/>
                        </a:cubicBezTo>
                        <a:cubicBezTo>
                          <a:pt x="2654964" y="2986304"/>
                          <a:pt x="2614983" y="2916873"/>
                          <a:pt x="2614983" y="2916873"/>
                        </a:cubicBezTo>
                        <a:cubicBezTo>
                          <a:pt x="2614983" y="2916873"/>
                          <a:pt x="2614983" y="2916873"/>
                          <a:pt x="2636026" y="2931601"/>
                        </a:cubicBezTo>
                        <a:cubicBezTo>
                          <a:pt x="2654964" y="2946329"/>
                          <a:pt x="2688633" y="2969472"/>
                          <a:pt x="2741240" y="2975784"/>
                        </a:cubicBezTo>
                        <a:cubicBezTo>
                          <a:pt x="2793847" y="2982096"/>
                          <a:pt x="2823307" y="2935809"/>
                          <a:pt x="2823307" y="2935809"/>
                        </a:cubicBezTo>
                        <a:cubicBezTo>
                          <a:pt x="2823307" y="2935809"/>
                          <a:pt x="2823307" y="2935809"/>
                          <a:pt x="2869601" y="2874793"/>
                        </a:cubicBezTo>
                        <a:cubicBezTo>
                          <a:pt x="2869601" y="2874793"/>
                          <a:pt x="2869601" y="2874793"/>
                          <a:pt x="2909582" y="2914769"/>
                        </a:cubicBezTo>
                        <a:cubicBezTo>
                          <a:pt x="2909582" y="2914769"/>
                          <a:pt x="2838037" y="2988408"/>
                          <a:pt x="2804368" y="3009448"/>
                        </a:cubicBezTo>
                        <a:cubicBezTo>
                          <a:pt x="2770700" y="3030488"/>
                          <a:pt x="2715988" y="3045216"/>
                          <a:pt x="2631817" y="3019968"/>
                        </a:cubicBezTo>
                        <a:lnTo>
                          <a:pt x="2592812" y="2997729"/>
                        </a:lnTo>
                        <a:lnTo>
                          <a:pt x="2571463" y="2978979"/>
                        </a:lnTo>
                        <a:lnTo>
                          <a:pt x="2569646" y="2977384"/>
                        </a:lnTo>
                        <a:lnTo>
                          <a:pt x="2550477" y="2953365"/>
                        </a:lnTo>
                        <a:lnTo>
                          <a:pt x="2543509" y="2942341"/>
                        </a:lnTo>
                        <a:lnTo>
                          <a:pt x="2527951" y="2910199"/>
                        </a:lnTo>
                        <a:cubicBezTo>
                          <a:pt x="2524104" y="2900173"/>
                          <a:pt x="2522395" y="2893729"/>
                          <a:pt x="2522395" y="2893729"/>
                        </a:cubicBezTo>
                        <a:cubicBezTo>
                          <a:pt x="2522395" y="2893729"/>
                          <a:pt x="2522395" y="2893729"/>
                          <a:pt x="2457162" y="2748554"/>
                        </a:cubicBezTo>
                        <a:cubicBezTo>
                          <a:pt x="2457162" y="2748554"/>
                          <a:pt x="2396138" y="2689642"/>
                          <a:pt x="2362469" y="2651771"/>
                        </a:cubicBezTo>
                        <a:lnTo>
                          <a:pt x="2340024" y="2621933"/>
                        </a:lnTo>
                        <a:lnTo>
                          <a:pt x="2338457" y="2619477"/>
                        </a:lnTo>
                        <a:cubicBezTo>
                          <a:pt x="2304048" y="2565541"/>
                          <a:pt x="2304048" y="2565541"/>
                          <a:pt x="2304048" y="2565541"/>
                        </a:cubicBezTo>
                        <a:cubicBezTo>
                          <a:pt x="2304048" y="2565541"/>
                          <a:pt x="2271838" y="2433449"/>
                          <a:pt x="2335655" y="2318674"/>
                        </a:cubicBezTo>
                        <a:lnTo>
                          <a:pt x="2366996" y="2274192"/>
                        </a:lnTo>
                        <a:lnTo>
                          <a:pt x="2347572" y="2275513"/>
                        </a:lnTo>
                        <a:cubicBezTo>
                          <a:pt x="2338243" y="2274970"/>
                          <a:pt x="2329202" y="2273030"/>
                          <a:pt x="2320522" y="2269084"/>
                        </a:cubicBezTo>
                        <a:cubicBezTo>
                          <a:pt x="2253189" y="2237517"/>
                          <a:pt x="2057503" y="2182801"/>
                          <a:pt x="2038565" y="2062847"/>
                        </a:cubicBezTo>
                        <a:cubicBezTo>
                          <a:pt x="2024363" y="1972882"/>
                          <a:pt x="2014894" y="1779929"/>
                          <a:pt x="2043892" y="1618938"/>
                        </a:cubicBezTo>
                        <a:lnTo>
                          <a:pt x="2058099" y="1557525"/>
                        </a:lnTo>
                        <a:lnTo>
                          <a:pt x="2055755" y="1558228"/>
                        </a:lnTo>
                        <a:lnTo>
                          <a:pt x="2050316" y="1559430"/>
                        </a:lnTo>
                        <a:cubicBezTo>
                          <a:pt x="1969609" y="1577348"/>
                          <a:pt x="1639648" y="1651436"/>
                          <a:pt x="1525518" y="1690090"/>
                        </a:cubicBezTo>
                        <a:cubicBezTo>
                          <a:pt x="1395085" y="1734267"/>
                          <a:pt x="1087937" y="1875211"/>
                          <a:pt x="946985" y="1875211"/>
                        </a:cubicBezTo>
                        <a:cubicBezTo>
                          <a:pt x="751335" y="1873108"/>
                          <a:pt x="559893" y="1858382"/>
                          <a:pt x="559893" y="1858382"/>
                        </a:cubicBezTo>
                        <a:cubicBezTo>
                          <a:pt x="559893" y="1858382"/>
                          <a:pt x="488365" y="1593323"/>
                          <a:pt x="412630" y="1498659"/>
                        </a:cubicBezTo>
                        <a:cubicBezTo>
                          <a:pt x="334791" y="1403995"/>
                          <a:pt x="94962" y="1208355"/>
                          <a:pt x="46576" y="1063204"/>
                        </a:cubicBezTo>
                        <a:cubicBezTo>
                          <a:pt x="293" y="915949"/>
                          <a:pt x="-24952" y="798144"/>
                          <a:pt x="36057" y="665615"/>
                        </a:cubicBezTo>
                        <a:cubicBezTo>
                          <a:pt x="94962" y="535189"/>
                          <a:pt x="191735" y="459457"/>
                          <a:pt x="191735" y="459457"/>
                        </a:cubicBezTo>
                        <a:cubicBezTo>
                          <a:pt x="191735" y="459457"/>
                          <a:pt x="294819" y="455250"/>
                          <a:pt x="374762" y="465768"/>
                        </a:cubicBezTo>
                        <a:cubicBezTo>
                          <a:pt x="456809" y="476287"/>
                          <a:pt x="587242" y="499427"/>
                          <a:pt x="677704" y="528878"/>
                        </a:cubicBezTo>
                        <a:cubicBezTo>
                          <a:pt x="766061" y="558329"/>
                          <a:pt x="1090040" y="713999"/>
                          <a:pt x="1090040" y="713999"/>
                        </a:cubicBezTo>
                        <a:cubicBezTo>
                          <a:pt x="736609" y="514152"/>
                          <a:pt x="736609" y="514152"/>
                          <a:pt x="736609" y="514152"/>
                        </a:cubicBezTo>
                        <a:cubicBezTo>
                          <a:pt x="503092" y="423695"/>
                          <a:pt x="503092" y="423695"/>
                          <a:pt x="503092" y="423695"/>
                        </a:cubicBezTo>
                        <a:cubicBezTo>
                          <a:pt x="503092" y="423695"/>
                          <a:pt x="606176" y="362690"/>
                          <a:pt x="700845" y="246989"/>
                        </a:cubicBezTo>
                        <a:cubicBezTo>
                          <a:pt x="795514" y="131289"/>
                          <a:pt x="803929" y="89216"/>
                          <a:pt x="867042" y="47143"/>
                        </a:cubicBezTo>
                        <a:cubicBezTo>
                          <a:pt x="914377" y="17166"/>
                          <a:pt x="946327" y="3755"/>
                          <a:pt x="990408" y="698"/>
                        </a:cubicBezTo>
                        <a:close/>
                      </a:path>
                    </a:pathLst>
                  </a:custGeom>
                  <a:solidFill>
                    <a:srgbClr val="FAED22"/>
                  </a:solidFill>
                  <a:ln w="3175">
                    <a:solidFill>
                      <a:schemeClr val="tx1"/>
                    </a:solidFill>
                  </a:ln>
                </p:spPr>
                <p:txBody>
                  <a:bodyPr vert="horz" wrap="square" lIns="89642" tIns="44821" rIns="89642" bIns="44821" numCol="1" anchor="t" anchorCtr="0" compatLnSpc="1">
                    <a:prstTxWarp prst="textNoShape">
                      <a:avLst/>
                    </a:prstTxWarp>
                    <a:noAutofit/>
                  </a:bodyPr>
                  <a:lstStyle/>
                  <a:p>
                    <a:pPr defTabSz="914367"/>
                    <a:endParaRPr lang="en-IN" sz="1765">
                      <a:solidFill>
                        <a:srgbClr val="000000"/>
                      </a:solidFill>
                      <a:latin typeface="Segoe UI Semibold" panose="020B0702040204020203" pitchFamily="34" charset="0"/>
                      <a:cs typeface="Segoe UI Semibold" panose="020B0702040204020203" pitchFamily="34" charset="0"/>
                    </a:endParaRPr>
                  </a:p>
                </p:txBody>
              </p:sp>
            </p:grpSp>
          </p:grpSp>
          <p:pic>
            <p:nvPicPr>
              <p:cNvPr id="68" name="Picture 4" descr="http://www.thebhwgroup.com/blog/wp-content/uploads/2014/10/pig-logo.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068493" y="1933808"/>
                <a:ext cx="471519" cy="709052"/>
              </a:xfrm>
              <a:prstGeom prst="rect">
                <a:avLst/>
              </a:prstGeom>
              <a:noFill/>
              <a:extLst>
                <a:ext uri="{909E8E84-426E-40DD-AFC4-6F175D3DCCD1}">
                  <a14:hiddenFill xmlns:a14="http://schemas.microsoft.com/office/drawing/2010/main">
                    <a:solidFill>
                      <a:srgbClr val="FFFFFF"/>
                    </a:solidFill>
                  </a14:hiddenFill>
                </a:ext>
              </a:extLst>
            </p:spPr>
          </p:pic>
          <p:sp>
            <p:nvSpPr>
              <p:cNvPr id="69" name="Freeform 68"/>
              <p:cNvSpPr>
                <a:spLocks/>
              </p:cNvSpPr>
              <p:nvPr/>
            </p:nvSpPr>
            <p:spPr bwMode="auto">
              <a:xfrm>
                <a:off x="9759780" y="2082931"/>
                <a:ext cx="541592" cy="410807"/>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lumMod val="40000"/>
                  <a:lumOff val="60000"/>
                </a:schemeClr>
              </a:solidFill>
              <a:ln>
                <a:noFill/>
              </a:ln>
            </p:spPr>
            <p:txBody>
              <a:bodyPr vert="horz" wrap="square" lIns="89642" tIns="44821" rIns="89642" bIns="44821" numCol="1" anchor="t" anchorCtr="0" compatLnSpc="1">
                <a:prstTxWarp prst="textNoShape">
                  <a:avLst/>
                </a:prstTxWarp>
              </a:bodyPr>
              <a:lstStyle/>
              <a:p>
                <a:pPr defTabSz="914367"/>
                <a:endParaRPr lang="en-IN" sz="1961">
                  <a:solidFill>
                    <a:srgbClr val="000000"/>
                  </a:solidFill>
                  <a:latin typeface="Segoe UI Semibold" panose="020B0702040204020203" pitchFamily="34" charset="0"/>
                  <a:cs typeface="Segoe UI Semibold" panose="020B0702040204020203" pitchFamily="34" charset="0"/>
                </a:endParaRPr>
              </a:p>
            </p:txBody>
          </p:sp>
          <p:sp>
            <p:nvSpPr>
              <p:cNvPr id="72" name="Rectangle 71"/>
              <p:cNvSpPr/>
              <p:nvPr/>
            </p:nvSpPr>
            <p:spPr bwMode="auto">
              <a:xfrm>
                <a:off x="10506712" y="1887401"/>
                <a:ext cx="741867" cy="801867"/>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a:solidFill>
                      <a:schemeClr val="bg1"/>
                    </a:solidFill>
                    <a:latin typeface="Segoe UI Semibold" panose="020B0702040204020203" pitchFamily="34" charset="0"/>
                    <a:ea typeface="Segoe UI" pitchFamily="34" charset="0"/>
                    <a:cs typeface="Segoe UI Semibold" panose="020B0702040204020203" pitchFamily="34" charset="0"/>
                  </a:rPr>
                  <a:t>Streaming</a:t>
                </a:r>
              </a:p>
            </p:txBody>
          </p:sp>
        </p:grpSp>
        <p:sp>
          <p:nvSpPr>
            <p:cNvPr id="15" name="TextBox 14"/>
            <p:cNvSpPr txBox="1"/>
            <p:nvPr/>
          </p:nvSpPr>
          <p:spPr>
            <a:xfrm>
              <a:off x="8974822" y="3527865"/>
              <a:ext cx="1326550" cy="375974"/>
            </a:xfrm>
            <a:prstGeom prst="rect">
              <a:avLst/>
            </a:prstGeom>
            <a:solidFill>
              <a:schemeClr val="bg1"/>
            </a:solidFill>
          </p:spPr>
          <p:txBody>
            <a:bodyPr wrap="none" lIns="182880" tIns="146304" rIns="182880" bIns="146304" rtlCol="0" anchor="ctr">
              <a:noAutofit/>
            </a:bodyPr>
            <a:lstStyle/>
            <a:p>
              <a:pPr algn="ctr">
                <a:lnSpc>
                  <a:spcPct val="90000"/>
                </a:lnSpc>
                <a:spcAft>
                  <a:spcPts val="600"/>
                </a:spcAft>
              </a:pPr>
              <a:r>
                <a:rPr lang="en-US" dirty="0" err="1">
                  <a:solidFill>
                    <a:schemeClr val="accent1">
                      <a:lumMod val="75000"/>
                    </a:schemeClr>
                  </a:solidFill>
                  <a:latin typeface="Segoe UI Semibold" panose="020B0702040204020203" pitchFamily="34" charset="0"/>
                  <a:cs typeface="Segoe UI Semibold" panose="020B0702040204020203" pitchFamily="34" charset="0"/>
                </a:rPr>
                <a:t>HCatalog</a:t>
              </a:r>
              <a:endParaRPr lang="en-US" dirty="0">
                <a:solidFill>
                  <a:schemeClr val="accent1">
                    <a:lumMod val="75000"/>
                  </a:schemeClr>
                </a:solidFill>
                <a:latin typeface="Segoe UI Semibold" panose="020B0702040204020203" pitchFamily="34" charset="0"/>
                <a:cs typeface="Segoe UI Semibold" panose="020B0702040204020203" pitchFamily="34" charset="0"/>
              </a:endParaRPr>
            </a:p>
          </p:txBody>
        </p:sp>
        <p:sp>
          <p:nvSpPr>
            <p:cNvPr id="75" name="Rounded Rectangle 74"/>
            <p:cNvSpPr/>
            <p:nvPr/>
          </p:nvSpPr>
          <p:spPr bwMode="auto">
            <a:xfrm>
              <a:off x="8831130" y="5045667"/>
              <a:ext cx="843547" cy="650895"/>
            </a:xfrm>
            <a:prstGeom prst="round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a:solidFill>
                    <a:schemeClr val="bg1"/>
                  </a:solidFill>
                  <a:latin typeface="Segoe UI Semibold" panose="020B0702040204020203" pitchFamily="34" charset="0"/>
                  <a:ea typeface="Segoe UI" pitchFamily="34" charset="0"/>
                  <a:cs typeface="Segoe UI Semibold" panose="020B0702040204020203" pitchFamily="34" charset="0"/>
                </a:rPr>
                <a:t>Sequence File</a:t>
              </a:r>
            </a:p>
          </p:txBody>
        </p:sp>
        <p:sp>
          <p:nvSpPr>
            <p:cNvPr id="78" name="Rounded Rectangle 77"/>
            <p:cNvSpPr/>
            <p:nvPr/>
          </p:nvSpPr>
          <p:spPr bwMode="auto">
            <a:xfrm>
              <a:off x="9765648" y="5045667"/>
              <a:ext cx="843547" cy="650895"/>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a:solidFill>
                    <a:schemeClr val="bg1"/>
                  </a:solidFill>
                  <a:latin typeface="Segoe UI Semibold" panose="020B0702040204020203" pitchFamily="34" charset="0"/>
                  <a:ea typeface="Segoe UI" pitchFamily="34" charset="0"/>
                  <a:cs typeface="Segoe UI Semibold" panose="020B0702040204020203" pitchFamily="34" charset="0"/>
                </a:rPr>
                <a:t>Text File</a:t>
              </a:r>
            </a:p>
          </p:txBody>
        </p:sp>
        <p:sp>
          <p:nvSpPr>
            <p:cNvPr id="79" name="Rounded Rectangle 78"/>
            <p:cNvSpPr/>
            <p:nvPr/>
          </p:nvSpPr>
          <p:spPr bwMode="auto">
            <a:xfrm>
              <a:off x="10703323" y="5045667"/>
              <a:ext cx="843547" cy="650895"/>
            </a:xfrm>
            <a:prstGeom prst="roundRect">
              <a:avLst/>
            </a:prstGeom>
            <a:solidFill>
              <a:srgbClr val="B48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a:solidFill>
                    <a:schemeClr val="bg1"/>
                  </a:solidFill>
                  <a:latin typeface="Segoe UI Semibold" panose="020B0702040204020203" pitchFamily="34" charset="0"/>
                  <a:ea typeface="Segoe UI" pitchFamily="34" charset="0"/>
                  <a:cs typeface="Segoe UI Semibold" panose="020B0702040204020203" pitchFamily="34" charset="0"/>
                </a:rPr>
                <a:t>Custom Format</a:t>
              </a:r>
            </a:p>
          </p:txBody>
        </p:sp>
        <p:grpSp>
          <p:nvGrpSpPr>
            <p:cNvPr id="22" name="Group 21"/>
            <p:cNvGrpSpPr/>
            <p:nvPr/>
          </p:nvGrpSpPr>
          <p:grpSpPr>
            <a:xfrm>
              <a:off x="9670936" y="3903839"/>
              <a:ext cx="1463040" cy="1141828"/>
              <a:chOff x="9670936" y="3903839"/>
              <a:chExt cx="1463040" cy="1141828"/>
            </a:xfrm>
          </p:grpSpPr>
          <p:cxnSp>
            <p:nvCxnSpPr>
              <p:cNvPr id="17" name="Elbow Connector 16"/>
              <p:cNvCxnSpPr/>
              <p:nvPr/>
            </p:nvCxnSpPr>
            <p:spPr>
              <a:xfrm rot="16200000" flipH="1">
                <a:off x="9358265" y="4216510"/>
                <a:ext cx="1141828" cy="516485"/>
              </a:xfrm>
              <a:prstGeom prst="bentConnector3">
                <a:avLst/>
              </a:prstGeom>
              <a:ln w="38100">
                <a:solidFill>
                  <a:schemeClr val="accent1"/>
                </a:solidFill>
                <a:headEnd type="none"/>
                <a:tailEnd type="triangle"/>
              </a:ln>
            </p:spPr>
            <p:style>
              <a:lnRef idx="1">
                <a:schemeClr val="accent6"/>
              </a:lnRef>
              <a:fillRef idx="0">
                <a:schemeClr val="accent6"/>
              </a:fillRef>
              <a:effectRef idx="0">
                <a:schemeClr val="accent6"/>
              </a:effectRef>
              <a:fontRef idx="minor">
                <a:schemeClr val="tx1"/>
              </a:fontRef>
            </p:style>
          </p:cxnSp>
          <p:cxnSp>
            <p:nvCxnSpPr>
              <p:cNvPr id="66" name="Elbow Connector 65"/>
              <p:cNvCxnSpPr/>
              <p:nvPr/>
            </p:nvCxnSpPr>
            <p:spPr>
              <a:xfrm rot="16200000" flipH="1">
                <a:off x="9853816" y="3765507"/>
                <a:ext cx="1097280" cy="1463040"/>
              </a:xfrm>
              <a:prstGeom prst="bentConnector3">
                <a:avLst>
                  <a:gd name="adj1" fmla="val 47942"/>
                </a:avLst>
              </a:prstGeom>
              <a:ln w="38100">
                <a:solidFill>
                  <a:schemeClr val="accent1"/>
                </a:solidFill>
                <a:headEnd type="none"/>
                <a:tailEnd type="triangle"/>
              </a:ln>
            </p:spPr>
            <p:style>
              <a:lnRef idx="1">
                <a:schemeClr val="accent6"/>
              </a:lnRef>
              <a:fillRef idx="0">
                <a:schemeClr val="accent6"/>
              </a:fillRef>
              <a:effectRef idx="0">
                <a:schemeClr val="accent6"/>
              </a:effectRef>
              <a:fontRef idx="minor">
                <a:schemeClr val="tx1"/>
              </a:fontRef>
            </p:style>
          </p:cxnSp>
        </p:grpSp>
        <p:grpSp>
          <p:nvGrpSpPr>
            <p:cNvPr id="73" name="Group 72"/>
            <p:cNvGrpSpPr/>
            <p:nvPr/>
          </p:nvGrpSpPr>
          <p:grpSpPr>
            <a:xfrm flipH="1">
              <a:off x="8220313" y="3909482"/>
              <a:ext cx="1463040" cy="1141828"/>
              <a:chOff x="9670936" y="3903839"/>
              <a:chExt cx="1463040" cy="1141828"/>
            </a:xfrm>
          </p:grpSpPr>
          <p:cxnSp>
            <p:nvCxnSpPr>
              <p:cNvPr id="74" name="Elbow Connector 73"/>
              <p:cNvCxnSpPr/>
              <p:nvPr/>
            </p:nvCxnSpPr>
            <p:spPr>
              <a:xfrm rot="16200000" flipH="1">
                <a:off x="9358265" y="4216510"/>
                <a:ext cx="1141828" cy="516485"/>
              </a:xfrm>
              <a:prstGeom prst="bentConnector3">
                <a:avLst/>
              </a:prstGeom>
              <a:ln w="38100">
                <a:solidFill>
                  <a:schemeClr val="accent1"/>
                </a:solidFill>
                <a:headEnd type="none"/>
                <a:tailEnd type="triangle"/>
              </a:ln>
            </p:spPr>
            <p:style>
              <a:lnRef idx="1">
                <a:schemeClr val="accent6"/>
              </a:lnRef>
              <a:fillRef idx="0">
                <a:schemeClr val="accent6"/>
              </a:fillRef>
              <a:effectRef idx="0">
                <a:schemeClr val="accent6"/>
              </a:effectRef>
              <a:fontRef idx="minor">
                <a:schemeClr val="tx1"/>
              </a:fontRef>
            </p:style>
          </p:cxnSp>
          <p:cxnSp>
            <p:nvCxnSpPr>
              <p:cNvPr id="76" name="Elbow Connector 75"/>
              <p:cNvCxnSpPr/>
              <p:nvPr/>
            </p:nvCxnSpPr>
            <p:spPr>
              <a:xfrm rot="16200000" flipH="1">
                <a:off x="9853816" y="3765507"/>
                <a:ext cx="1097280" cy="1463040"/>
              </a:xfrm>
              <a:prstGeom prst="bentConnector3">
                <a:avLst>
                  <a:gd name="adj1" fmla="val 47942"/>
                </a:avLst>
              </a:prstGeom>
              <a:ln w="38100">
                <a:solidFill>
                  <a:schemeClr val="accent1"/>
                </a:solidFill>
                <a:headEnd type="none"/>
                <a:tailEnd type="triangle"/>
              </a:ln>
            </p:spPr>
            <p:style>
              <a:lnRef idx="1">
                <a:schemeClr val="accent6"/>
              </a:lnRef>
              <a:fillRef idx="0">
                <a:schemeClr val="accent6"/>
              </a:fillRef>
              <a:effectRef idx="0">
                <a:schemeClr val="accent6"/>
              </a:effectRef>
              <a:fontRef idx="minor">
                <a:schemeClr val="tx1"/>
              </a:fontRef>
            </p:style>
          </p:cxnSp>
        </p:grpSp>
      </p:grpSp>
    </p:spTree>
    <p:extLst>
      <p:ext uri="{BB962C8B-B14F-4D97-AF65-F5344CB8AC3E}">
        <p14:creationId xmlns:p14="http://schemas.microsoft.com/office/powerpoint/2010/main" val="2679905791"/>
      </p:ext>
    </p:extLst>
  </p:cSld>
  <p:clrMapOvr>
    <a:masterClrMapping/>
  </p:clrMapOvr>
  <p:transition spd="med">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HCatalog</a:t>
            </a:r>
            <a:r>
              <a:rPr lang="en-US" dirty="0"/>
              <a:t>: How it works </a:t>
            </a:r>
          </a:p>
        </p:txBody>
      </p:sp>
      <p:sp>
        <p:nvSpPr>
          <p:cNvPr id="4" name="Slide Number Placeholder 3"/>
          <p:cNvSpPr>
            <a:spLocks noGrp="1"/>
          </p:cNvSpPr>
          <p:nvPr>
            <p:ph type="sldNum" sz="quarter" idx="11"/>
          </p:nvPr>
        </p:nvSpPr>
        <p:spPr/>
        <p:txBody>
          <a:bodyPr/>
          <a:lstStyle/>
          <a:p>
            <a:pPr>
              <a:defRPr/>
            </a:pPr>
            <a:fld id="{F8A0AC42-AA1D-4944-8D96-660DE70C7E1B}" type="slidenum">
              <a:rPr lang="en-IN"/>
              <a:pPr>
                <a:defRPr/>
              </a:pPr>
              <a:t>26</a:t>
            </a:fld>
            <a:endParaRPr lang="en-IN" dirty="0"/>
          </a:p>
        </p:txBody>
      </p:sp>
      <p:sp>
        <p:nvSpPr>
          <p:cNvPr id="3" name="Content Placeholder 2"/>
          <p:cNvSpPr>
            <a:spLocks noGrp="1"/>
          </p:cNvSpPr>
          <p:nvPr>
            <p:ph idx="4294967295"/>
          </p:nvPr>
        </p:nvSpPr>
        <p:spPr>
          <a:xfrm>
            <a:off x="173202" y="1085973"/>
            <a:ext cx="6024529" cy="5062521"/>
          </a:xfrm>
          <a:prstGeom prst="rect">
            <a:avLst/>
          </a:prstGeom>
        </p:spPr>
        <p:txBody>
          <a:bodyPr/>
          <a:lstStyle/>
          <a:p>
            <a:pPr marL="285750" indent="-285750" defTabSz="914400">
              <a:lnSpc>
                <a:spcPts val="2100"/>
              </a:lnSpc>
              <a:spcBef>
                <a:spcPts val="300"/>
              </a:spcBef>
              <a:spcAft>
                <a:spcPts val="300"/>
              </a:spcAft>
              <a:buClr>
                <a:schemeClr val="accent3"/>
              </a:buClr>
              <a:buSzPct val="75000"/>
              <a:buFont typeface="Wingdings" panose="05000000000000000000" pitchFamily="2" charset="2"/>
              <a:buChar char="v"/>
            </a:pPr>
            <a:r>
              <a:rPr lang="en-US" sz="1600" dirty="0" err="1">
                <a:solidFill>
                  <a:schemeClr val="tx1">
                    <a:lumMod val="65000"/>
                    <a:lumOff val="35000"/>
                  </a:schemeClr>
                </a:solidFill>
                <a:latin typeface="+mn-lt"/>
                <a:ea typeface="+mn-ea"/>
                <a:cs typeface="+mn-cs"/>
              </a:rPr>
              <a:t>HCatalog</a:t>
            </a:r>
            <a:r>
              <a:rPr lang="en-US" sz="1600" dirty="0">
                <a:solidFill>
                  <a:schemeClr val="tx1">
                    <a:lumMod val="65000"/>
                    <a:lumOff val="35000"/>
                  </a:schemeClr>
                </a:solidFill>
                <a:latin typeface="+mn-lt"/>
                <a:ea typeface="+mn-ea"/>
                <a:cs typeface="+mn-cs"/>
              </a:rPr>
              <a:t> supports reading and writing files in any format for which a Hive </a:t>
            </a:r>
            <a:r>
              <a:rPr lang="en-US" sz="1600" dirty="0" err="1">
                <a:solidFill>
                  <a:schemeClr val="tx1">
                    <a:lumMod val="65000"/>
                    <a:lumOff val="35000"/>
                  </a:schemeClr>
                </a:solidFill>
                <a:latin typeface="+mn-lt"/>
                <a:ea typeface="+mn-ea"/>
                <a:cs typeface="+mn-cs"/>
              </a:rPr>
              <a:t>SerDe</a:t>
            </a:r>
            <a:r>
              <a:rPr lang="en-US" sz="1600" dirty="0">
                <a:solidFill>
                  <a:schemeClr val="tx1">
                    <a:lumMod val="65000"/>
                    <a:lumOff val="35000"/>
                  </a:schemeClr>
                </a:solidFill>
                <a:latin typeface="+mn-lt"/>
                <a:ea typeface="+mn-ea"/>
                <a:cs typeface="+mn-cs"/>
              </a:rPr>
              <a:t> (</a:t>
            </a:r>
            <a:r>
              <a:rPr lang="en-US" sz="1600" dirty="0" err="1">
                <a:solidFill>
                  <a:schemeClr val="tx1">
                    <a:lumMod val="65000"/>
                    <a:lumOff val="35000"/>
                  </a:schemeClr>
                </a:solidFill>
                <a:latin typeface="+mn-lt"/>
                <a:ea typeface="+mn-ea"/>
                <a:cs typeface="+mn-cs"/>
              </a:rPr>
              <a:t>serializer-deserializer</a:t>
            </a:r>
            <a:r>
              <a:rPr lang="en-US" sz="1600" dirty="0">
                <a:solidFill>
                  <a:schemeClr val="tx1">
                    <a:lumMod val="65000"/>
                    <a:lumOff val="35000"/>
                  </a:schemeClr>
                </a:solidFill>
                <a:latin typeface="+mn-lt"/>
                <a:ea typeface="+mn-ea"/>
                <a:cs typeface="+mn-cs"/>
              </a:rPr>
              <a:t>) can be written</a:t>
            </a:r>
          </a:p>
          <a:p>
            <a:pPr marL="457200" indent="-182880" defTabSz="914400">
              <a:lnSpc>
                <a:spcPts val="2100"/>
              </a:lnSpc>
              <a:spcBef>
                <a:spcPts val="300"/>
              </a:spcBef>
              <a:spcAft>
                <a:spcPts val="300"/>
              </a:spcAft>
              <a:buClr>
                <a:schemeClr val="accent3"/>
              </a:buClr>
              <a:buSzPct val="75000"/>
              <a:buFont typeface="Wingdings" panose="05000000000000000000" pitchFamily="2" charset="2"/>
              <a:buChar char="§"/>
            </a:pPr>
            <a:r>
              <a:rPr lang="en-US" sz="1600" dirty="0">
                <a:solidFill>
                  <a:schemeClr val="tx1">
                    <a:lumMod val="65000"/>
                    <a:lumOff val="35000"/>
                  </a:schemeClr>
                </a:solidFill>
                <a:latin typeface="+mn-lt"/>
                <a:ea typeface="+mn-ea"/>
                <a:cs typeface="+mn-cs"/>
              </a:rPr>
              <a:t>To use a custom format, you must provide the </a:t>
            </a:r>
            <a:r>
              <a:rPr lang="en-US" sz="1600" dirty="0" err="1">
                <a:solidFill>
                  <a:schemeClr val="tx1">
                    <a:lumMod val="65000"/>
                    <a:lumOff val="35000"/>
                  </a:schemeClr>
                </a:solidFill>
                <a:latin typeface="+mn-lt"/>
                <a:ea typeface="+mn-ea"/>
                <a:cs typeface="+mn-cs"/>
              </a:rPr>
              <a:t>InputFormat</a:t>
            </a:r>
            <a:r>
              <a:rPr lang="en-US" sz="1600" dirty="0">
                <a:solidFill>
                  <a:schemeClr val="tx1">
                    <a:lumMod val="65000"/>
                    <a:lumOff val="35000"/>
                  </a:schemeClr>
                </a:solidFill>
                <a:latin typeface="+mn-lt"/>
                <a:ea typeface="+mn-ea"/>
                <a:cs typeface="+mn-cs"/>
              </a:rPr>
              <a:t>, </a:t>
            </a:r>
            <a:r>
              <a:rPr lang="en-US" sz="1600" dirty="0" err="1">
                <a:solidFill>
                  <a:schemeClr val="tx1">
                    <a:lumMod val="65000"/>
                    <a:lumOff val="35000"/>
                  </a:schemeClr>
                </a:solidFill>
                <a:latin typeface="+mn-lt"/>
                <a:ea typeface="+mn-ea"/>
                <a:cs typeface="+mn-cs"/>
              </a:rPr>
              <a:t>OutputFormat</a:t>
            </a:r>
            <a:r>
              <a:rPr lang="en-US" sz="1600" dirty="0">
                <a:solidFill>
                  <a:schemeClr val="tx1">
                    <a:lumMod val="65000"/>
                    <a:lumOff val="35000"/>
                  </a:schemeClr>
                </a:solidFill>
                <a:latin typeface="+mn-lt"/>
                <a:ea typeface="+mn-ea"/>
                <a:cs typeface="+mn-cs"/>
              </a:rPr>
              <a:t>, and </a:t>
            </a:r>
            <a:r>
              <a:rPr lang="en-US" sz="1600" dirty="0" err="1">
                <a:solidFill>
                  <a:schemeClr val="tx1">
                    <a:lumMod val="65000"/>
                    <a:lumOff val="35000"/>
                  </a:schemeClr>
                </a:solidFill>
                <a:latin typeface="+mn-lt"/>
                <a:ea typeface="+mn-ea"/>
                <a:cs typeface="+mn-cs"/>
              </a:rPr>
              <a:t>SerDe</a:t>
            </a:r>
            <a:r>
              <a:rPr lang="en-US" sz="1600" dirty="0">
                <a:solidFill>
                  <a:schemeClr val="tx1">
                    <a:lumMod val="65000"/>
                    <a:lumOff val="35000"/>
                  </a:schemeClr>
                </a:solidFill>
                <a:latin typeface="+mn-lt"/>
                <a:ea typeface="+mn-ea"/>
                <a:cs typeface="+mn-cs"/>
              </a:rPr>
              <a:t>.</a:t>
            </a:r>
          </a:p>
          <a:p>
            <a:pPr marL="285750" indent="-285750" defTabSz="914400">
              <a:lnSpc>
                <a:spcPts val="2100"/>
              </a:lnSpc>
              <a:spcBef>
                <a:spcPts val="300"/>
              </a:spcBef>
              <a:spcAft>
                <a:spcPts val="300"/>
              </a:spcAft>
              <a:buClr>
                <a:schemeClr val="accent3"/>
              </a:buClr>
              <a:buSzPct val="75000"/>
              <a:buFont typeface="Wingdings" panose="05000000000000000000" pitchFamily="2" charset="2"/>
              <a:buChar char="v"/>
            </a:pPr>
            <a:r>
              <a:rPr lang="en-US" sz="1600" dirty="0" err="1">
                <a:solidFill>
                  <a:schemeClr val="tx1">
                    <a:lumMod val="65000"/>
                    <a:lumOff val="35000"/>
                  </a:schemeClr>
                </a:solidFill>
                <a:latin typeface="+mn-lt"/>
                <a:ea typeface="+mn-ea"/>
                <a:cs typeface="+mn-cs"/>
              </a:rPr>
              <a:t>HCatalog</a:t>
            </a:r>
            <a:r>
              <a:rPr lang="en-US" sz="1600" dirty="0">
                <a:solidFill>
                  <a:schemeClr val="tx1">
                    <a:lumMod val="65000"/>
                    <a:lumOff val="35000"/>
                  </a:schemeClr>
                </a:solidFill>
                <a:latin typeface="+mn-lt"/>
                <a:ea typeface="+mn-ea"/>
                <a:cs typeface="+mn-cs"/>
              </a:rPr>
              <a:t> is built on top of the Hive </a:t>
            </a:r>
            <a:r>
              <a:rPr lang="en-US" sz="1600" dirty="0" err="1">
                <a:solidFill>
                  <a:schemeClr val="tx1">
                    <a:lumMod val="65000"/>
                    <a:lumOff val="35000"/>
                  </a:schemeClr>
                </a:solidFill>
                <a:latin typeface="+mn-lt"/>
                <a:ea typeface="+mn-ea"/>
                <a:cs typeface="+mn-cs"/>
              </a:rPr>
              <a:t>metastore</a:t>
            </a:r>
            <a:r>
              <a:rPr lang="en-US" sz="1600" dirty="0">
                <a:solidFill>
                  <a:schemeClr val="tx1">
                    <a:lumMod val="65000"/>
                    <a:lumOff val="35000"/>
                  </a:schemeClr>
                </a:solidFill>
                <a:latin typeface="+mn-lt"/>
                <a:ea typeface="+mn-ea"/>
                <a:cs typeface="+mn-cs"/>
              </a:rPr>
              <a:t> and incorporates components from the Hive DDL. </a:t>
            </a:r>
          </a:p>
          <a:p>
            <a:pPr marL="285750" indent="-285750" defTabSz="914400">
              <a:lnSpc>
                <a:spcPts val="2100"/>
              </a:lnSpc>
              <a:spcBef>
                <a:spcPts val="300"/>
              </a:spcBef>
              <a:spcAft>
                <a:spcPts val="300"/>
              </a:spcAft>
              <a:buClr>
                <a:schemeClr val="accent3"/>
              </a:buClr>
              <a:buSzPct val="75000"/>
              <a:buFont typeface="Wingdings" panose="05000000000000000000" pitchFamily="2" charset="2"/>
              <a:buChar char="v"/>
            </a:pPr>
            <a:r>
              <a:rPr lang="en-US" sz="1600" dirty="0">
                <a:solidFill>
                  <a:schemeClr val="tx1">
                    <a:lumMod val="65000"/>
                    <a:lumOff val="35000"/>
                  </a:schemeClr>
                </a:solidFill>
                <a:latin typeface="+mn-lt"/>
                <a:ea typeface="+mn-ea"/>
                <a:cs typeface="+mn-cs"/>
              </a:rPr>
              <a:t>The </a:t>
            </a:r>
            <a:r>
              <a:rPr lang="en-US" sz="1600" dirty="0" err="1">
                <a:solidFill>
                  <a:schemeClr val="tx1">
                    <a:lumMod val="65000"/>
                    <a:lumOff val="35000"/>
                  </a:schemeClr>
                </a:solidFill>
                <a:latin typeface="+mn-lt"/>
                <a:ea typeface="+mn-ea"/>
                <a:cs typeface="+mn-cs"/>
              </a:rPr>
              <a:t>HCatalog</a:t>
            </a:r>
            <a:r>
              <a:rPr lang="en-US" sz="1600" dirty="0">
                <a:solidFill>
                  <a:schemeClr val="tx1">
                    <a:lumMod val="65000"/>
                    <a:lumOff val="35000"/>
                  </a:schemeClr>
                </a:solidFill>
                <a:latin typeface="+mn-lt"/>
                <a:ea typeface="+mn-ea"/>
                <a:cs typeface="+mn-cs"/>
              </a:rPr>
              <a:t> interface for Pig consists of </a:t>
            </a:r>
            <a:r>
              <a:rPr lang="en-US" sz="1600" dirty="0" err="1">
                <a:solidFill>
                  <a:schemeClr val="tx1">
                    <a:lumMod val="65000"/>
                    <a:lumOff val="35000"/>
                  </a:schemeClr>
                </a:solidFill>
                <a:latin typeface="+mn-lt"/>
                <a:ea typeface="+mn-ea"/>
                <a:cs typeface="+mn-cs"/>
              </a:rPr>
              <a:t>HCatLoader</a:t>
            </a:r>
            <a:r>
              <a:rPr lang="en-US" sz="1600" dirty="0">
                <a:solidFill>
                  <a:schemeClr val="tx1">
                    <a:lumMod val="65000"/>
                    <a:lumOff val="35000"/>
                  </a:schemeClr>
                </a:solidFill>
                <a:latin typeface="+mn-lt"/>
                <a:ea typeface="+mn-ea"/>
                <a:cs typeface="+mn-cs"/>
              </a:rPr>
              <a:t> and </a:t>
            </a:r>
            <a:r>
              <a:rPr lang="en-US" sz="1600" dirty="0" err="1">
                <a:solidFill>
                  <a:schemeClr val="tx1">
                    <a:lumMod val="65000"/>
                    <a:lumOff val="35000"/>
                  </a:schemeClr>
                </a:solidFill>
                <a:latin typeface="+mn-lt"/>
                <a:ea typeface="+mn-ea"/>
                <a:cs typeface="+mn-cs"/>
              </a:rPr>
              <a:t>HCatStorer</a:t>
            </a:r>
            <a:r>
              <a:rPr lang="en-US" sz="1600" dirty="0">
                <a:solidFill>
                  <a:schemeClr val="tx1">
                    <a:lumMod val="65000"/>
                    <a:lumOff val="35000"/>
                  </a:schemeClr>
                </a:solidFill>
                <a:latin typeface="+mn-lt"/>
                <a:ea typeface="+mn-ea"/>
                <a:cs typeface="+mn-cs"/>
              </a:rPr>
              <a:t>, which implement the Pig load and store interfaces respectively.</a:t>
            </a:r>
          </a:p>
          <a:p>
            <a:pPr marL="285750" indent="-285750" defTabSz="914400">
              <a:lnSpc>
                <a:spcPts val="2100"/>
              </a:lnSpc>
              <a:spcBef>
                <a:spcPts val="300"/>
              </a:spcBef>
              <a:spcAft>
                <a:spcPts val="300"/>
              </a:spcAft>
              <a:buClr>
                <a:schemeClr val="accent3"/>
              </a:buClr>
              <a:buSzPct val="75000"/>
              <a:buFont typeface="Wingdings" panose="05000000000000000000" pitchFamily="2" charset="2"/>
              <a:buChar char="v"/>
            </a:pPr>
            <a:r>
              <a:rPr lang="en-US" sz="1600" dirty="0">
                <a:solidFill>
                  <a:schemeClr val="tx1">
                    <a:lumMod val="65000"/>
                    <a:lumOff val="35000"/>
                  </a:schemeClr>
                </a:solidFill>
                <a:latin typeface="+mn-lt"/>
                <a:ea typeface="+mn-ea"/>
                <a:cs typeface="+mn-cs"/>
              </a:rPr>
              <a:t>The </a:t>
            </a:r>
            <a:r>
              <a:rPr lang="en-US" sz="1600" dirty="0" err="1">
                <a:solidFill>
                  <a:schemeClr val="tx1">
                    <a:lumMod val="65000"/>
                    <a:lumOff val="35000"/>
                  </a:schemeClr>
                </a:solidFill>
                <a:latin typeface="+mn-lt"/>
                <a:ea typeface="+mn-ea"/>
                <a:cs typeface="+mn-cs"/>
              </a:rPr>
              <a:t>HCatalog</a:t>
            </a:r>
            <a:r>
              <a:rPr lang="en-US" sz="1600" dirty="0">
                <a:solidFill>
                  <a:schemeClr val="tx1">
                    <a:lumMod val="65000"/>
                    <a:lumOff val="35000"/>
                  </a:schemeClr>
                </a:solidFill>
                <a:latin typeface="+mn-lt"/>
                <a:ea typeface="+mn-ea"/>
                <a:cs typeface="+mn-cs"/>
              </a:rPr>
              <a:t> interface for MapReduce — </a:t>
            </a:r>
            <a:r>
              <a:rPr lang="en-US" sz="1600" dirty="0" err="1">
                <a:solidFill>
                  <a:schemeClr val="tx1">
                    <a:lumMod val="65000"/>
                    <a:lumOff val="35000"/>
                  </a:schemeClr>
                </a:solidFill>
                <a:latin typeface="+mn-lt"/>
                <a:ea typeface="+mn-ea"/>
                <a:cs typeface="+mn-cs"/>
              </a:rPr>
              <a:t>HCatInputFormat</a:t>
            </a:r>
            <a:r>
              <a:rPr lang="en-US" sz="1600" dirty="0">
                <a:solidFill>
                  <a:schemeClr val="tx1">
                    <a:lumMod val="65000"/>
                    <a:lumOff val="35000"/>
                  </a:schemeClr>
                </a:solidFill>
                <a:latin typeface="+mn-lt"/>
                <a:ea typeface="+mn-ea"/>
                <a:cs typeface="+mn-cs"/>
              </a:rPr>
              <a:t> and </a:t>
            </a:r>
            <a:r>
              <a:rPr lang="en-US" sz="1600" dirty="0" err="1">
                <a:solidFill>
                  <a:schemeClr val="tx1">
                    <a:lumMod val="65000"/>
                    <a:lumOff val="35000"/>
                  </a:schemeClr>
                </a:solidFill>
                <a:latin typeface="+mn-lt"/>
                <a:ea typeface="+mn-ea"/>
                <a:cs typeface="+mn-cs"/>
              </a:rPr>
              <a:t>HCatOutputFormat</a:t>
            </a:r>
            <a:r>
              <a:rPr lang="en-US" sz="1600" dirty="0">
                <a:solidFill>
                  <a:schemeClr val="tx1">
                    <a:lumMod val="65000"/>
                    <a:lumOff val="35000"/>
                  </a:schemeClr>
                </a:solidFill>
                <a:latin typeface="+mn-lt"/>
                <a:ea typeface="+mn-ea"/>
                <a:cs typeface="+mn-cs"/>
              </a:rPr>
              <a:t> — is an implementation of Hadoop </a:t>
            </a:r>
            <a:r>
              <a:rPr lang="en-US" sz="1600" dirty="0" err="1">
                <a:solidFill>
                  <a:schemeClr val="tx1">
                    <a:lumMod val="65000"/>
                    <a:lumOff val="35000"/>
                  </a:schemeClr>
                </a:solidFill>
                <a:latin typeface="+mn-lt"/>
                <a:ea typeface="+mn-ea"/>
                <a:cs typeface="+mn-cs"/>
              </a:rPr>
              <a:t>InputFormat</a:t>
            </a:r>
            <a:r>
              <a:rPr lang="en-US" sz="1600" dirty="0">
                <a:solidFill>
                  <a:schemeClr val="tx1">
                    <a:lumMod val="65000"/>
                    <a:lumOff val="35000"/>
                  </a:schemeClr>
                </a:solidFill>
                <a:latin typeface="+mn-lt"/>
                <a:ea typeface="+mn-ea"/>
                <a:cs typeface="+mn-cs"/>
              </a:rPr>
              <a:t> and </a:t>
            </a:r>
            <a:r>
              <a:rPr lang="en-US" sz="1600" dirty="0" err="1">
                <a:solidFill>
                  <a:schemeClr val="tx1">
                    <a:lumMod val="65000"/>
                    <a:lumOff val="35000"/>
                  </a:schemeClr>
                </a:solidFill>
                <a:latin typeface="+mn-lt"/>
                <a:ea typeface="+mn-ea"/>
                <a:cs typeface="+mn-cs"/>
              </a:rPr>
              <a:t>OutputFormat</a:t>
            </a:r>
            <a:r>
              <a:rPr lang="en-US" sz="1600" dirty="0">
                <a:solidFill>
                  <a:schemeClr val="tx1">
                    <a:lumMod val="65000"/>
                    <a:lumOff val="35000"/>
                  </a:schemeClr>
                </a:solidFill>
                <a:latin typeface="+mn-lt"/>
                <a:ea typeface="+mn-ea"/>
                <a:cs typeface="+mn-cs"/>
              </a:rPr>
              <a:t>. </a:t>
            </a:r>
          </a:p>
          <a:p>
            <a:pPr marL="285750" indent="-285750" defTabSz="914400">
              <a:lnSpc>
                <a:spcPts val="2100"/>
              </a:lnSpc>
              <a:spcBef>
                <a:spcPts val="300"/>
              </a:spcBef>
              <a:spcAft>
                <a:spcPts val="300"/>
              </a:spcAft>
              <a:buClr>
                <a:schemeClr val="accent3"/>
              </a:buClr>
              <a:buSzPct val="75000"/>
              <a:buFont typeface="Wingdings" panose="05000000000000000000" pitchFamily="2" charset="2"/>
              <a:buChar char="v"/>
            </a:pPr>
            <a:r>
              <a:rPr lang="en-US" sz="1600" dirty="0" err="1">
                <a:solidFill>
                  <a:schemeClr val="tx1">
                    <a:lumMod val="65000"/>
                    <a:lumOff val="35000"/>
                  </a:schemeClr>
                </a:solidFill>
                <a:latin typeface="+mn-lt"/>
                <a:ea typeface="+mn-ea"/>
                <a:cs typeface="+mn-cs"/>
              </a:rPr>
              <a:t>Hcatalog</a:t>
            </a:r>
            <a:r>
              <a:rPr lang="en-US" sz="1600" dirty="0">
                <a:solidFill>
                  <a:schemeClr val="tx1">
                    <a:lumMod val="65000"/>
                    <a:lumOff val="35000"/>
                  </a:schemeClr>
                </a:solidFill>
                <a:latin typeface="+mn-lt"/>
                <a:ea typeface="+mn-ea"/>
                <a:cs typeface="+mn-cs"/>
              </a:rPr>
              <a:t> Data Model and hierarchy is the similar to the HBase model. </a:t>
            </a:r>
          </a:p>
          <a:p>
            <a:pPr marL="342900" indent="-342900" defTabSz="914400">
              <a:lnSpc>
                <a:spcPts val="2100"/>
              </a:lnSpc>
              <a:spcBef>
                <a:spcPts val="0"/>
              </a:spcBef>
              <a:spcAft>
                <a:spcPts val="600"/>
              </a:spcAft>
              <a:buClr>
                <a:schemeClr val="accent3"/>
              </a:buClr>
              <a:buSzPct val="75000"/>
              <a:buFont typeface="Wingdings" panose="05000000000000000000" pitchFamily="2" charset="2"/>
              <a:buChar char="v"/>
            </a:pPr>
            <a:endParaRPr lang="en-US" sz="1600" dirty="0">
              <a:solidFill>
                <a:schemeClr val="tx1">
                  <a:lumMod val="65000"/>
                  <a:lumOff val="35000"/>
                </a:schemeClr>
              </a:solidFill>
              <a:latin typeface="Helvetica Neue"/>
            </a:endParaRPr>
          </a:p>
        </p:txBody>
      </p:sp>
      <p:sp>
        <p:nvSpPr>
          <p:cNvPr id="7" name="TextBox 6"/>
          <p:cNvSpPr txBox="1"/>
          <p:nvPr/>
        </p:nvSpPr>
        <p:spPr>
          <a:xfrm>
            <a:off x="1397748" y="6321804"/>
            <a:ext cx="5803641" cy="499596"/>
          </a:xfrm>
          <a:prstGeom prst="rect">
            <a:avLst/>
          </a:prstGeom>
          <a:noFill/>
        </p:spPr>
        <p:txBody>
          <a:bodyPr wrap="none" lIns="182880" tIns="146304" rIns="182880" bIns="146304" rtlCol="0">
            <a:noAutofit/>
          </a:bodyPr>
          <a:lstStyle/>
          <a:p>
            <a:pPr>
              <a:lnSpc>
                <a:spcPct val="90000"/>
              </a:lnSpc>
              <a:spcAft>
                <a:spcPts val="600"/>
              </a:spcAft>
            </a:pPr>
            <a:r>
              <a:rPr lang="en-US" sz="1400" dirty="0">
                <a:solidFill>
                  <a:schemeClr val="tx1">
                    <a:lumMod val="85000"/>
                    <a:lumOff val="15000"/>
                  </a:schemeClr>
                </a:solidFill>
              </a:rPr>
              <a:t>Diagram source: Yahoo! Presentation at Hadoop Summit 2014</a:t>
            </a:r>
          </a:p>
        </p:txBody>
      </p:sp>
      <p:grpSp>
        <p:nvGrpSpPr>
          <p:cNvPr id="9" name="Group 8"/>
          <p:cNvGrpSpPr/>
          <p:nvPr/>
        </p:nvGrpSpPr>
        <p:grpSpPr>
          <a:xfrm>
            <a:off x="6197731" y="1268193"/>
            <a:ext cx="5904073" cy="4830574"/>
            <a:chOff x="6188400" y="1234324"/>
            <a:chExt cx="5904073" cy="4830574"/>
          </a:xfrm>
        </p:grpSpPr>
        <p:grpSp>
          <p:nvGrpSpPr>
            <p:cNvPr id="10" name="Group 9"/>
            <p:cNvGrpSpPr/>
            <p:nvPr/>
          </p:nvGrpSpPr>
          <p:grpSpPr>
            <a:xfrm>
              <a:off x="6188400" y="1234324"/>
              <a:ext cx="5734050" cy="4506996"/>
              <a:chOff x="6302325" y="1261633"/>
              <a:chExt cx="5734050" cy="4506996"/>
            </a:xfrm>
          </p:grpSpPr>
          <p:sp>
            <p:nvSpPr>
              <p:cNvPr id="12" name="Rectangle 11"/>
              <p:cNvSpPr/>
              <p:nvPr/>
            </p:nvSpPr>
            <p:spPr bwMode="auto">
              <a:xfrm>
                <a:off x="6302325" y="1261633"/>
                <a:ext cx="5734050" cy="83313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b="1" dirty="0" err="1">
                    <a:solidFill>
                      <a:schemeClr val="bg1"/>
                    </a:solidFill>
                    <a:latin typeface="Segoe UI Semibold" panose="020B0702040204020203" pitchFamily="34" charset="0"/>
                    <a:ea typeface="Segoe UI" pitchFamily="34" charset="0"/>
                    <a:cs typeface="Segoe UI Semibold" panose="020B0702040204020203" pitchFamily="34" charset="0"/>
                  </a:rPr>
                  <a:t>HCatalog</a:t>
                </a:r>
                <a:r>
                  <a:rPr lang="en-US" sz="2000" b="1" dirty="0">
                    <a:solidFill>
                      <a:schemeClr val="bg1"/>
                    </a:solidFill>
                    <a:latin typeface="Segoe UI Semibold" panose="020B0702040204020203" pitchFamily="34" charset="0"/>
                    <a:ea typeface="Segoe UI" pitchFamily="34" charset="0"/>
                    <a:cs typeface="Segoe UI Semibold" panose="020B0702040204020203" pitchFamily="34" charset="0"/>
                  </a:rPr>
                  <a:t> facilitates interoperability and enables sharing of data</a:t>
                </a:r>
              </a:p>
            </p:txBody>
          </p:sp>
          <p:sp>
            <p:nvSpPr>
              <p:cNvPr id="13" name="Rounded Rectangle 12"/>
              <p:cNvSpPr/>
              <p:nvPr/>
            </p:nvSpPr>
            <p:spPr bwMode="auto">
              <a:xfrm>
                <a:off x="6558131" y="2157888"/>
                <a:ext cx="3967171" cy="317241"/>
              </a:xfrm>
              <a:prstGeom prst="roundRect">
                <a:avLst/>
              </a:prstGeom>
              <a:solidFill>
                <a:srgbClr val="D6E1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4" name="TextBox 13"/>
              <p:cNvSpPr txBox="1"/>
              <p:nvPr/>
            </p:nvSpPr>
            <p:spPr>
              <a:xfrm>
                <a:off x="8084516" y="1995310"/>
                <a:ext cx="914400" cy="479819"/>
              </a:xfrm>
              <a:prstGeom prst="rect">
                <a:avLst/>
              </a:prstGeom>
              <a:noFill/>
            </p:spPr>
            <p:txBody>
              <a:bodyPr wrap="none" lIns="182880" tIns="146304" rIns="182880" bIns="146304" rtlCol="0">
                <a:noAutofit/>
              </a:bodyPr>
              <a:lstStyle/>
              <a:p>
                <a:pPr algn="ctr">
                  <a:lnSpc>
                    <a:spcPct val="90000"/>
                  </a:lnSpc>
                  <a:spcAft>
                    <a:spcPts val="600"/>
                  </a:spcAft>
                </a:pPr>
                <a:r>
                  <a:rPr lang="en-US" sz="1400" b="1" dirty="0" err="1">
                    <a:solidFill>
                      <a:schemeClr val="tx1">
                        <a:lumMod val="85000"/>
                        <a:lumOff val="15000"/>
                      </a:schemeClr>
                    </a:solidFill>
                  </a:rPr>
                  <a:t>Oozie</a:t>
                </a:r>
                <a:r>
                  <a:rPr lang="en-US" dirty="0">
                    <a:solidFill>
                      <a:schemeClr val="tx1">
                        <a:lumMod val="85000"/>
                        <a:lumOff val="15000"/>
                      </a:schemeClr>
                    </a:solidFill>
                  </a:rPr>
                  <a:t> </a:t>
                </a:r>
              </a:p>
            </p:txBody>
          </p:sp>
          <p:sp>
            <p:nvSpPr>
              <p:cNvPr id="15" name="Rounded Rectangle 14"/>
              <p:cNvSpPr/>
              <p:nvPr/>
            </p:nvSpPr>
            <p:spPr bwMode="auto">
              <a:xfrm>
                <a:off x="6551604" y="2671738"/>
                <a:ext cx="1381576" cy="329871"/>
              </a:xfrm>
              <a:prstGeom prst="roundRect">
                <a:avLst/>
              </a:pr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6" name="Rounded Rectangle 15"/>
              <p:cNvSpPr/>
              <p:nvPr/>
            </p:nvSpPr>
            <p:spPr bwMode="auto">
              <a:xfrm>
                <a:off x="8103267" y="2669927"/>
                <a:ext cx="1101842" cy="329871"/>
              </a:xfrm>
              <a:prstGeom prst="roundRect">
                <a:avLst/>
              </a:pr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7" name="Rounded Rectangle 16"/>
              <p:cNvSpPr/>
              <p:nvPr/>
            </p:nvSpPr>
            <p:spPr bwMode="auto">
              <a:xfrm>
                <a:off x="9314755" y="2671738"/>
                <a:ext cx="1204020" cy="329871"/>
              </a:xfrm>
              <a:prstGeom prst="roundRect">
                <a:avLst/>
              </a:pr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8" name="Rounded Rectangle 17"/>
              <p:cNvSpPr/>
              <p:nvPr/>
            </p:nvSpPr>
            <p:spPr bwMode="auto">
              <a:xfrm>
                <a:off x="6558131" y="3172100"/>
                <a:ext cx="1381576" cy="364934"/>
              </a:xfrm>
              <a:prstGeom prst="round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9" name="Rounded Rectangle 18"/>
              <p:cNvSpPr/>
              <p:nvPr/>
            </p:nvSpPr>
            <p:spPr bwMode="auto">
              <a:xfrm>
                <a:off x="8096741" y="3172034"/>
                <a:ext cx="1114895" cy="359699"/>
              </a:xfrm>
              <a:prstGeom prst="round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20" name="Rounded Rectangle 19"/>
              <p:cNvSpPr/>
              <p:nvPr/>
            </p:nvSpPr>
            <p:spPr bwMode="auto">
              <a:xfrm>
                <a:off x="6558128" y="3835643"/>
                <a:ext cx="3967171" cy="317241"/>
              </a:xfrm>
              <a:prstGeom prst="roundRect">
                <a:avLst/>
              </a:prstGeom>
              <a:solidFill>
                <a:srgbClr val="C1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21" name="Rounded Rectangle 20"/>
              <p:cNvSpPr/>
              <p:nvPr/>
            </p:nvSpPr>
            <p:spPr bwMode="auto">
              <a:xfrm>
                <a:off x="6558129" y="4286464"/>
                <a:ext cx="3967171" cy="317241"/>
              </a:xfrm>
              <a:prstGeom prst="round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22" name="Rounded Rectangle 21"/>
              <p:cNvSpPr/>
              <p:nvPr/>
            </p:nvSpPr>
            <p:spPr bwMode="auto">
              <a:xfrm>
                <a:off x="6558129" y="4765420"/>
                <a:ext cx="1696337" cy="345295"/>
              </a:xfrm>
              <a:prstGeom prst="roundRect">
                <a:avLst/>
              </a:prstGeom>
              <a:solidFill>
                <a:schemeClr val="accent3">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23" name="Rounded Rectangle 22"/>
              <p:cNvSpPr/>
              <p:nvPr/>
            </p:nvSpPr>
            <p:spPr bwMode="auto">
              <a:xfrm>
                <a:off x="8828963" y="4765419"/>
                <a:ext cx="1696337" cy="345295"/>
              </a:xfrm>
              <a:prstGeom prst="roundRect">
                <a:avLst/>
              </a:prstGeom>
              <a:solidFill>
                <a:schemeClr val="accent3">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24" name="Rounded Rectangle 23"/>
              <p:cNvSpPr/>
              <p:nvPr/>
            </p:nvSpPr>
            <p:spPr bwMode="auto">
              <a:xfrm>
                <a:off x="6558128" y="5272430"/>
                <a:ext cx="1696337" cy="345295"/>
              </a:xfrm>
              <a:prstGeom prst="roundRect">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25" name="Rounded Rectangle 24"/>
              <p:cNvSpPr/>
              <p:nvPr/>
            </p:nvSpPr>
            <p:spPr bwMode="auto">
              <a:xfrm>
                <a:off x="8828962" y="5272428"/>
                <a:ext cx="1696337" cy="345295"/>
              </a:xfrm>
              <a:prstGeom prst="roundRect">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26" name="Rounded Rectangle 25"/>
              <p:cNvSpPr/>
              <p:nvPr/>
            </p:nvSpPr>
            <p:spPr bwMode="auto">
              <a:xfrm>
                <a:off x="10816611" y="3790395"/>
                <a:ext cx="851215" cy="813310"/>
              </a:xfrm>
              <a:prstGeom prst="roundRect">
                <a:avLst/>
              </a:prstGeom>
              <a:solidFill>
                <a:srgbClr val="C1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27" name="Flowchart: Magnetic Disk 26"/>
              <p:cNvSpPr/>
              <p:nvPr/>
            </p:nvSpPr>
            <p:spPr bwMode="auto">
              <a:xfrm>
                <a:off x="10816611" y="4798245"/>
                <a:ext cx="809691" cy="970384"/>
              </a:xfrm>
              <a:prstGeom prst="flowChartMagneticDisk">
                <a:avLst/>
              </a:prstGeom>
              <a:solidFill>
                <a:srgbClr val="82CAFF"/>
              </a:solidFill>
              <a:ln>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28" name="TextBox 27"/>
              <p:cNvSpPr txBox="1"/>
              <p:nvPr/>
            </p:nvSpPr>
            <p:spPr>
              <a:xfrm>
                <a:off x="6786031" y="2632532"/>
                <a:ext cx="914400" cy="342631"/>
              </a:xfrm>
              <a:prstGeom prst="rect">
                <a:avLst/>
              </a:prstGeom>
              <a:noFill/>
            </p:spPr>
            <p:txBody>
              <a:bodyPr wrap="none" lIns="182880" tIns="146304" rIns="182880" bIns="146304" rtlCol="0">
                <a:noAutofit/>
              </a:bodyPr>
              <a:lstStyle/>
              <a:p>
                <a:pPr algn="ctr">
                  <a:lnSpc>
                    <a:spcPct val="90000"/>
                  </a:lnSpc>
                  <a:spcAft>
                    <a:spcPts val="600"/>
                  </a:spcAft>
                </a:pPr>
                <a:r>
                  <a:rPr lang="en-US" sz="1200" dirty="0">
                    <a:solidFill>
                      <a:schemeClr val="tx1">
                        <a:lumMod val="85000"/>
                        <a:lumOff val="15000"/>
                      </a:schemeClr>
                    </a:solidFill>
                  </a:rPr>
                  <a:t>Java MR APIs</a:t>
                </a:r>
              </a:p>
            </p:txBody>
          </p:sp>
          <p:sp>
            <p:nvSpPr>
              <p:cNvPr id="29" name="TextBox 28"/>
              <p:cNvSpPr txBox="1"/>
              <p:nvPr/>
            </p:nvSpPr>
            <p:spPr>
              <a:xfrm>
                <a:off x="8185560" y="2634684"/>
                <a:ext cx="914400" cy="267785"/>
              </a:xfrm>
              <a:prstGeom prst="rect">
                <a:avLst/>
              </a:prstGeom>
              <a:noFill/>
            </p:spPr>
            <p:txBody>
              <a:bodyPr wrap="none" lIns="182880" tIns="146304" rIns="182880" bIns="146304" rtlCol="0">
                <a:noAutofit/>
              </a:bodyPr>
              <a:lstStyle/>
              <a:p>
                <a:pPr algn="ctr">
                  <a:lnSpc>
                    <a:spcPct val="90000"/>
                  </a:lnSpc>
                  <a:spcAft>
                    <a:spcPts val="600"/>
                  </a:spcAft>
                </a:pPr>
                <a:r>
                  <a:rPr lang="en-US" sz="1200" dirty="0">
                    <a:solidFill>
                      <a:schemeClr val="tx1">
                        <a:lumMod val="85000"/>
                        <a:lumOff val="15000"/>
                      </a:schemeClr>
                    </a:solidFill>
                  </a:rPr>
                  <a:t>Pig</a:t>
                </a:r>
              </a:p>
            </p:txBody>
          </p:sp>
          <p:sp>
            <p:nvSpPr>
              <p:cNvPr id="30" name="TextBox 29"/>
              <p:cNvSpPr txBox="1"/>
              <p:nvPr/>
            </p:nvSpPr>
            <p:spPr>
              <a:xfrm>
                <a:off x="9502197" y="2668543"/>
                <a:ext cx="914400" cy="225708"/>
              </a:xfrm>
              <a:prstGeom prst="rect">
                <a:avLst/>
              </a:prstGeom>
              <a:noFill/>
            </p:spPr>
            <p:txBody>
              <a:bodyPr wrap="none" lIns="182880" tIns="146304" rIns="182880" bIns="146304" rtlCol="0">
                <a:noAutofit/>
              </a:bodyPr>
              <a:lstStyle/>
              <a:p>
                <a:pPr algn="ctr">
                  <a:lnSpc>
                    <a:spcPct val="90000"/>
                  </a:lnSpc>
                  <a:spcAft>
                    <a:spcPts val="600"/>
                  </a:spcAft>
                </a:pPr>
                <a:r>
                  <a:rPr lang="en-US" sz="1200" dirty="0">
                    <a:solidFill>
                      <a:schemeClr val="tx1">
                        <a:lumMod val="85000"/>
                        <a:lumOff val="15000"/>
                      </a:schemeClr>
                    </a:solidFill>
                  </a:rPr>
                  <a:t>Hive</a:t>
                </a:r>
              </a:p>
            </p:txBody>
          </p:sp>
          <p:sp>
            <p:nvSpPr>
              <p:cNvPr id="31" name="TextBox 30"/>
              <p:cNvSpPr txBox="1"/>
              <p:nvPr/>
            </p:nvSpPr>
            <p:spPr>
              <a:xfrm>
                <a:off x="6792558" y="3110381"/>
                <a:ext cx="914400" cy="479019"/>
              </a:xfrm>
              <a:prstGeom prst="rect">
                <a:avLst/>
              </a:prstGeom>
              <a:noFill/>
            </p:spPr>
            <p:txBody>
              <a:bodyPr wrap="none" lIns="182880" tIns="146304" rIns="182880" bIns="146304" rtlCol="0">
                <a:noAutofit/>
              </a:bodyPr>
              <a:lstStyle/>
              <a:p>
                <a:pPr algn="ctr">
                  <a:lnSpc>
                    <a:spcPct val="50000"/>
                  </a:lnSpc>
                  <a:spcAft>
                    <a:spcPts val="600"/>
                  </a:spcAft>
                </a:pPr>
                <a:r>
                  <a:rPr lang="en-US" sz="1100" dirty="0" err="1">
                    <a:solidFill>
                      <a:schemeClr val="tx1">
                        <a:lumMod val="85000"/>
                        <a:lumOff val="15000"/>
                      </a:schemeClr>
                    </a:solidFill>
                  </a:rPr>
                  <a:t>HCatInputFormat</a:t>
                </a:r>
                <a:r>
                  <a:rPr lang="en-US" sz="1100" dirty="0">
                    <a:solidFill>
                      <a:schemeClr val="tx1">
                        <a:lumMod val="85000"/>
                        <a:lumOff val="15000"/>
                      </a:schemeClr>
                    </a:solidFill>
                  </a:rPr>
                  <a:t>/</a:t>
                </a:r>
              </a:p>
              <a:p>
                <a:pPr algn="ctr">
                  <a:lnSpc>
                    <a:spcPct val="50000"/>
                  </a:lnSpc>
                  <a:spcAft>
                    <a:spcPts val="600"/>
                  </a:spcAft>
                </a:pPr>
                <a:r>
                  <a:rPr lang="en-US" sz="1100" dirty="0" err="1">
                    <a:solidFill>
                      <a:schemeClr val="tx1">
                        <a:lumMod val="85000"/>
                        <a:lumOff val="15000"/>
                      </a:schemeClr>
                    </a:solidFill>
                  </a:rPr>
                  <a:t>HCatOutputFormat</a:t>
                </a:r>
                <a:endParaRPr lang="en-US" sz="1100" dirty="0">
                  <a:solidFill>
                    <a:schemeClr val="tx1">
                      <a:lumMod val="85000"/>
                      <a:lumOff val="15000"/>
                    </a:schemeClr>
                  </a:solidFill>
                </a:endParaRPr>
              </a:p>
            </p:txBody>
          </p:sp>
          <p:sp>
            <p:nvSpPr>
              <p:cNvPr id="32" name="TextBox 31"/>
              <p:cNvSpPr txBox="1"/>
              <p:nvPr/>
            </p:nvSpPr>
            <p:spPr>
              <a:xfrm>
                <a:off x="8234138" y="3124175"/>
                <a:ext cx="914400" cy="562163"/>
              </a:xfrm>
              <a:prstGeom prst="rect">
                <a:avLst/>
              </a:prstGeom>
              <a:noFill/>
            </p:spPr>
            <p:txBody>
              <a:bodyPr wrap="none" lIns="182880" tIns="146304" rIns="182880" bIns="146304" rtlCol="0">
                <a:noAutofit/>
              </a:bodyPr>
              <a:lstStyle/>
              <a:p>
                <a:pPr algn="ctr">
                  <a:lnSpc>
                    <a:spcPct val="50000"/>
                  </a:lnSpc>
                  <a:spcAft>
                    <a:spcPts val="600"/>
                  </a:spcAft>
                </a:pPr>
                <a:r>
                  <a:rPr lang="en-US" sz="1100" dirty="0" err="1">
                    <a:solidFill>
                      <a:schemeClr val="tx1">
                        <a:lumMod val="85000"/>
                        <a:lumOff val="15000"/>
                      </a:schemeClr>
                    </a:solidFill>
                  </a:rPr>
                  <a:t>HCatLoader</a:t>
                </a:r>
                <a:r>
                  <a:rPr lang="en-US" sz="1100" dirty="0">
                    <a:solidFill>
                      <a:schemeClr val="tx1">
                        <a:lumMod val="85000"/>
                        <a:lumOff val="15000"/>
                      </a:schemeClr>
                    </a:solidFill>
                  </a:rPr>
                  <a:t>/</a:t>
                </a:r>
              </a:p>
              <a:p>
                <a:pPr algn="ctr">
                  <a:lnSpc>
                    <a:spcPct val="50000"/>
                  </a:lnSpc>
                  <a:spcAft>
                    <a:spcPts val="600"/>
                  </a:spcAft>
                </a:pPr>
                <a:r>
                  <a:rPr lang="en-US" sz="1100" dirty="0">
                    <a:solidFill>
                      <a:schemeClr val="tx1">
                        <a:lumMod val="85000"/>
                        <a:lumOff val="15000"/>
                      </a:schemeClr>
                    </a:solidFill>
                  </a:rPr>
                  <a:t>HCatStorer</a:t>
                </a:r>
              </a:p>
            </p:txBody>
          </p:sp>
          <p:sp>
            <p:nvSpPr>
              <p:cNvPr id="33" name="TextBox 32"/>
              <p:cNvSpPr txBox="1"/>
              <p:nvPr/>
            </p:nvSpPr>
            <p:spPr>
              <a:xfrm>
                <a:off x="8132942" y="3789539"/>
                <a:ext cx="914400" cy="346367"/>
              </a:xfrm>
              <a:prstGeom prst="rect">
                <a:avLst/>
              </a:prstGeom>
              <a:noFill/>
            </p:spPr>
            <p:txBody>
              <a:bodyPr wrap="none" lIns="182880" tIns="146304" rIns="182880" bIns="146304" rtlCol="0">
                <a:noAutofit/>
              </a:bodyPr>
              <a:lstStyle/>
              <a:p>
                <a:pPr algn="ctr">
                  <a:lnSpc>
                    <a:spcPct val="90000"/>
                  </a:lnSpc>
                  <a:spcAft>
                    <a:spcPts val="600"/>
                  </a:spcAft>
                </a:pPr>
                <a:r>
                  <a:rPr lang="en-US" sz="1200" dirty="0" err="1">
                    <a:solidFill>
                      <a:schemeClr val="tx1">
                        <a:lumMod val="85000"/>
                        <a:lumOff val="15000"/>
                      </a:schemeClr>
                    </a:solidFill>
                  </a:rPr>
                  <a:t>SerDe</a:t>
                </a:r>
                <a:r>
                  <a:rPr lang="en-US" sz="1200" dirty="0">
                    <a:solidFill>
                      <a:schemeClr val="tx1">
                        <a:lumMod val="85000"/>
                        <a:lumOff val="15000"/>
                      </a:schemeClr>
                    </a:solidFill>
                  </a:rPr>
                  <a:t> &amp; Storage Handler</a:t>
                </a:r>
              </a:p>
            </p:txBody>
          </p:sp>
          <p:sp>
            <p:nvSpPr>
              <p:cNvPr id="34" name="TextBox 33"/>
              <p:cNvSpPr txBox="1"/>
              <p:nvPr/>
            </p:nvSpPr>
            <p:spPr>
              <a:xfrm>
                <a:off x="8143489" y="4211878"/>
                <a:ext cx="914400" cy="346367"/>
              </a:xfrm>
              <a:prstGeom prst="rect">
                <a:avLst/>
              </a:prstGeom>
              <a:noFill/>
            </p:spPr>
            <p:txBody>
              <a:bodyPr wrap="none" lIns="182880" tIns="146304" rIns="182880" bIns="146304" rtlCol="0">
                <a:noAutofit/>
              </a:bodyPr>
              <a:lstStyle/>
              <a:p>
                <a:pPr algn="ctr">
                  <a:lnSpc>
                    <a:spcPct val="90000"/>
                  </a:lnSpc>
                  <a:spcAft>
                    <a:spcPts val="600"/>
                  </a:spcAft>
                </a:pPr>
                <a:r>
                  <a:rPr lang="en-US" sz="1200" dirty="0" err="1">
                    <a:solidFill>
                      <a:schemeClr val="tx1">
                        <a:lumMod val="85000"/>
                        <a:lumOff val="15000"/>
                      </a:schemeClr>
                    </a:solidFill>
                  </a:rPr>
                  <a:t>InputFormat</a:t>
                </a:r>
                <a:r>
                  <a:rPr lang="en-US" sz="1200" dirty="0">
                    <a:solidFill>
                      <a:schemeClr val="tx1">
                        <a:lumMod val="85000"/>
                        <a:lumOff val="15000"/>
                      </a:schemeClr>
                    </a:solidFill>
                  </a:rPr>
                  <a:t>/ </a:t>
                </a:r>
                <a:r>
                  <a:rPr lang="en-US" sz="1200" dirty="0" err="1">
                    <a:solidFill>
                      <a:schemeClr val="tx1">
                        <a:lumMod val="85000"/>
                        <a:lumOff val="15000"/>
                      </a:schemeClr>
                    </a:solidFill>
                  </a:rPr>
                  <a:t>OutputFormat</a:t>
                </a:r>
                <a:endParaRPr lang="en-US" sz="1200" dirty="0">
                  <a:solidFill>
                    <a:schemeClr val="tx1">
                      <a:lumMod val="85000"/>
                      <a:lumOff val="15000"/>
                    </a:schemeClr>
                  </a:solidFill>
                </a:endParaRPr>
              </a:p>
            </p:txBody>
          </p:sp>
          <p:sp>
            <p:nvSpPr>
              <p:cNvPr id="35" name="TextBox 34"/>
              <p:cNvSpPr txBox="1"/>
              <p:nvPr/>
            </p:nvSpPr>
            <p:spPr>
              <a:xfrm>
                <a:off x="6949096" y="4728974"/>
                <a:ext cx="914400" cy="346367"/>
              </a:xfrm>
              <a:prstGeom prst="rect">
                <a:avLst/>
              </a:prstGeom>
              <a:noFill/>
            </p:spPr>
            <p:txBody>
              <a:bodyPr wrap="none" lIns="182880" tIns="146304" rIns="182880" bIns="146304" rtlCol="0">
                <a:noAutofit/>
              </a:bodyPr>
              <a:lstStyle/>
              <a:p>
                <a:pPr algn="ctr">
                  <a:lnSpc>
                    <a:spcPct val="90000"/>
                  </a:lnSpc>
                  <a:spcAft>
                    <a:spcPts val="600"/>
                  </a:spcAft>
                </a:pPr>
                <a:r>
                  <a:rPr lang="en-US" sz="1200" dirty="0" err="1">
                    <a:solidFill>
                      <a:schemeClr val="tx1">
                        <a:lumMod val="85000"/>
                        <a:lumOff val="15000"/>
                      </a:schemeClr>
                    </a:solidFill>
                  </a:rPr>
                  <a:t>HBase</a:t>
                </a:r>
                <a:endParaRPr lang="en-US" sz="1200" dirty="0">
                  <a:solidFill>
                    <a:schemeClr val="tx1">
                      <a:lumMod val="85000"/>
                      <a:lumOff val="15000"/>
                    </a:schemeClr>
                  </a:solidFill>
                </a:endParaRPr>
              </a:p>
            </p:txBody>
          </p:sp>
          <p:sp>
            <p:nvSpPr>
              <p:cNvPr id="36" name="TextBox 35"/>
              <p:cNvSpPr txBox="1"/>
              <p:nvPr/>
            </p:nvSpPr>
            <p:spPr>
              <a:xfrm>
                <a:off x="6949096" y="5224618"/>
                <a:ext cx="914400" cy="346367"/>
              </a:xfrm>
              <a:prstGeom prst="rect">
                <a:avLst/>
              </a:prstGeom>
              <a:noFill/>
            </p:spPr>
            <p:txBody>
              <a:bodyPr wrap="none" lIns="182880" tIns="146304" rIns="182880" bIns="146304" rtlCol="0">
                <a:noAutofit/>
              </a:bodyPr>
              <a:lstStyle/>
              <a:p>
                <a:pPr algn="ctr">
                  <a:lnSpc>
                    <a:spcPct val="90000"/>
                  </a:lnSpc>
                  <a:spcAft>
                    <a:spcPts val="600"/>
                  </a:spcAft>
                </a:pPr>
                <a:r>
                  <a:rPr lang="en-US" sz="1200" dirty="0">
                    <a:solidFill>
                      <a:schemeClr val="tx1">
                        <a:lumMod val="85000"/>
                        <a:lumOff val="15000"/>
                      </a:schemeClr>
                    </a:solidFill>
                  </a:rPr>
                  <a:t>HDFS</a:t>
                </a:r>
              </a:p>
            </p:txBody>
          </p:sp>
          <p:sp>
            <p:nvSpPr>
              <p:cNvPr id="37" name="TextBox 36"/>
              <p:cNvSpPr txBox="1"/>
              <p:nvPr/>
            </p:nvSpPr>
            <p:spPr>
              <a:xfrm>
                <a:off x="9232454" y="5238656"/>
                <a:ext cx="914400" cy="346367"/>
              </a:xfrm>
              <a:prstGeom prst="rect">
                <a:avLst/>
              </a:prstGeom>
              <a:noFill/>
            </p:spPr>
            <p:txBody>
              <a:bodyPr wrap="none" lIns="182880" tIns="146304" rIns="182880" bIns="146304" rtlCol="0">
                <a:noAutofit/>
              </a:bodyPr>
              <a:lstStyle/>
              <a:p>
                <a:pPr algn="ctr">
                  <a:lnSpc>
                    <a:spcPct val="90000"/>
                  </a:lnSpc>
                  <a:spcAft>
                    <a:spcPts val="600"/>
                  </a:spcAft>
                </a:pPr>
                <a:r>
                  <a:rPr lang="en-US" sz="1200" dirty="0">
                    <a:solidFill>
                      <a:schemeClr val="tx1">
                        <a:lumMod val="85000"/>
                        <a:lumOff val="15000"/>
                      </a:schemeClr>
                    </a:solidFill>
                  </a:rPr>
                  <a:t>HDFS</a:t>
                </a:r>
              </a:p>
            </p:txBody>
          </p:sp>
          <p:sp>
            <p:nvSpPr>
              <p:cNvPr id="38" name="TextBox 37"/>
              <p:cNvSpPr txBox="1"/>
              <p:nvPr/>
            </p:nvSpPr>
            <p:spPr>
              <a:xfrm>
                <a:off x="9267948" y="4728973"/>
                <a:ext cx="914400" cy="346367"/>
              </a:xfrm>
              <a:prstGeom prst="rect">
                <a:avLst/>
              </a:prstGeom>
              <a:noFill/>
            </p:spPr>
            <p:txBody>
              <a:bodyPr wrap="none" lIns="182880" tIns="146304" rIns="182880" bIns="146304" rtlCol="0">
                <a:noAutofit/>
              </a:bodyPr>
              <a:lstStyle/>
              <a:p>
                <a:pPr algn="ctr">
                  <a:lnSpc>
                    <a:spcPct val="90000"/>
                  </a:lnSpc>
                  <a:spcAft>
                    <a:spcPts val="600"/>
                  </a:spcAft>
                </a:pPr>
                <a:r>
                  <a:rPr lang="en-US" sz="1200" dirty="0">
                    <a:solidFill>
                      <a:schemeClr val="tx1">
                        <a:lumMod val="85000"/>
                        <a:lumOff val="15000"/>
                      </a:schemeClr>
                    </a:solidFill>
                  </a:rPr>
                  <a:t>MapReduce (YARN)</a:t>
                </a:r>
              </a:p>
            </p:txBody>
          </p:sp>
          <p:sp>
            <p:nvSpPr>
              <p:cNvPr id="39" name="TextBox 38"/>
              <p:cNvSpPr txBox="1"/>
              <p:nvPr/>
            </p:nvSpPr>
            <p:spPr>
              <a:xfrm>
                <a:off x="10764256" y="5026181"/>
                <a:ext cx="914400" cy="346367"/>
              </a:xfrm>
              <a:prstGeom prst="rect">
                <a:avLst/>
              </a:prstGeom>
              <a:noFill/>
            </p:spPr>
            <p:txBody>
              <a:bodyPr wrap="none" lIns="182880" tIns="146304" rIns="182880" bIns="146304" rtlCol="0">
                <a:noAutofit/>
              </a:bodyPr>
              <a:lstStyle/>
              <a:p>
                <a:pPr algn="ctr">
                  <a:lnSpc>
                    <a:spcPct val="90000"/>
                  </a:lnSpc>
                  <a:spcAft>
                    <a:spcPts val="600"/>
                  </a:spcAft>
                </a:pPr>
                <a:r>
                  <a:rPr lang="en-US" sz="1200" dirty="0" err="1">
                    <a:solidFill>
                      <a:schemeClr val="tx1">
                        <a:lumMod val="85000"/>
                        <a:lumOff val="15000"/>
                      </a:schemeClr>
                    </a:solidFill>
                  </a:rPr>
                  <a:t>HCatalog</a:t>
                </a:r>
                <a:endParaRPr lang="en-US" sz="1200" dirty="0">
                  <a:solidFill>
                    <a:schemeClr val="tx1">
                      <a:lumMod val="85000"/>
                      <a:lumOff val="15000"/>
                    </a:schemeClr>
                  </a:solidFill>
                </a:endParaRPr>
              </a:p>
              <a:p>
                <a:pPr algn="ctr">
                  <a:lnSpc>
                    <a:spcPct val="90000"/>
                  </a:lnSpc>
                  <a:spcAft>
                    <a:spcPts val="600"/>
                  </a:spcAft>
                </a:pPr>
                <a:r>
                  <a:rPr lang="en-US" sz="1200" dirty="0" err="1">
                    <a:solidFill>
                      <a:schemeClr val="tx1">
                        <a:lumMod val="85000"/>
                        <a:lumOff val="15000"/>
                      </a:schemeClr>
                    </a:solidFill>
                  </a:rPr>
                  <a:t>MetaStore</a:t>
                </a:r>
                <a:endParaRPr lang="en-US" sz="1200" dirty="0">
                  <a:solidFill>
                    <a:schemeClr val="tx1">
                      <a:lumMod val="85000"/>
                      <a:lumOff val="15000"/>
                    </a:schemeClr>
                  </a:solidFill>
                </a:endParaRPr>
              </a:p>
            </p:txBody>
          </p:sp>
          <p:sp>
            <p:nvSpPr>
              <p:cNvPr id="40" name="Rectangle 39"/>
              <p:cNvSpPr/>
              <p:nvPr/>
            </p:nvSpPr>
            <p:spPr>
              <a:xfrm>
                <a:off x="10729806" y="3919116"/>
                <a:ext cx="983300" cy="461665"/>
              </a:xfrm>
              <a:prstGeom prst="rect">
                <a:avLst/>
              </a:prstGeom>
            </p:spPr>
            <p:txBody>
              <a:bodyPr wrap="square">
                <a:spAutoFit/>
              </a:bodyPr>
              <a:lstStyle/>
              <a:p>
                <a:pPr algn="ctr"/>
                <a:r>
                  <a:rPr lang="en-US" sz="1200" dirty="0" err="1">
                    <a:solidFill>
                      <a:schemeClr val="tx1">
                        <a:lumMod val="85000"/>
                        <a:lumOff val="15000"/>
                      </a:schemeClr>
                    </a:solidFill>
                  </a:rPr>
                  <a:t>MetaStore</a:t>
                </a:r>
                <a:endParaRPr lang="en-US" sz="1200" dirty="0">
                  <a:solidFill>
                    <a:schemeClr val="tx1">
                      <a:lumMod val="85000"/>
                      <a:lumOff val="15000"/>
                    </a:schemeClr>
                  </a:solidFill>
                </a:endParaRPr>
              </a:p>
              <a:p>
                <a:pPr algn="ctr"/>
                <a:r>
                  <a:rPr lang="en-US" sz="1200" dirty="0">
                    <a:solidFill>
                      <a:schemeClr val="tx1">
                        <a:lumMod val="85000"/>
                        <a:lumOff val="15000"/>
                      </a:schemeClr>
                    </a:solidFill>
                  </a:rPr>
                  <a:t>Client </a:t>
                </a:r>
                <a:endParaRPr lang="en-US" sz="1200" dirty="0"/>
              </a:p>
            </p:txBody>
          </p:sp>
          <p:cxnSp>
            <p:nvCxnSpPr>
              <p:cNvPr id="41" name="Straight Arrow Connector 40"/>
              <p:cNvCxnSpPr/>
              <p:nvPr/>
            </p:nvCxnSpPr>
            <p:spPr>
              <a:xfrm>
                <a:off x="7201014" y="2463234"/>
                <a:ext cx="0" cy="222608"/>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8635912" y="2463234"/>
                <a:ext cx="0" cy="222608"/>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p:nvCxnSpPr>
            <p:spPr>
              <a:xfrm>
                <a:off x="9910005" y="2447684"/>
                <a:ext cx="0" cy="222608"/>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flipH="1">
                <a:off x="7201015" y="2999864"/>
                <a:ext cx="2220" cy="17223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a:off x="7201014" y="5110714"/>
                <a:ext cx="0" cy="15328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7201014" y="4603705"/>
                <a:ext cx="0" cy="15328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a:off x="9725148" y="4612137"/>
                <a:ext cx="0" cy="15328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a:off x="9725148" y="5110714"/>
                <a:ext cx="0" cy="15328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p:nvPr/>
            </p:nvCxnSpPr>
            <p:spPr>
              <a:xfrm>
                <a:off x="8635912" y="4133182"/>
                <a:ext cx="0" cy="15328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a:off x="7201014" y="3531799"/>
                <a:ext cx="0" cy="30384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a:stCxn id="16" idx="2"/>
              </p:cNvCxnSpPr>
              <p:nvPr/>
            </p:nvCxnSpPr>
            <p:spPr>
              <a:xfrm flipH="1">
                <a:off x="8653681" y="2999798"/>
                <a:ext cx="507" cy="15192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p:nvPr/>
            </p:nvCxnSpPr>
            <p:spPr>
              <a:xfrm flipH="1">
                <a:off x="9910005" y="2999864"/>
                <a:ext cx="6760" cy="83577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p:nvPr/>
            </p:nvCxnSpPr>
            <p:spPr>
              <a:xfrm flipH="1" flipV="1">
                <a:off x="10525300" y="3984935"/>
                <a:ext cx="304266" cy="9328"/>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a:xfrm flipH="1" flipV="1">
                <a:off x="10528409" y="4426582"/>
                <a:ext cx="288202" cy="841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5" name="Elbow Connector 54"/>
              <p:cNvCxnSpPr>
                <a:endCxn id="26" idx="0"/>
              </p:cNvCxnSpPr>
              <p:nvPr/>
            </p:nvCxnSpPr>
            <p:spPr>
              <a:xfrm rot="16200000" flipH="1">
                <a:off x="10406026" y="2954201"/>
                <a:ext cx="955467" cy="716920"/>
              </a:xfrm>
              <a:prstGeom prst="bentConnector3">
                <a:avLst>
                  <a:gd name="adj1" fmla="val 196"/>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6" name="Elbow Connector 55"/>
              <p:cNvCxnSpPr/>
              <p:nvPr/>
            </p:nvCxnSpPr>
            <p:spPr>
              <a:xfrm flipV="1">
                <a:off x="11367165" y="4678347"/>
                <a:ext cx="349593" cy="223809"/>
              </a:xfrm>
              <a:prstGeom prst="bentConnector3">
                <a:avLst>
                  <a:gd name="adj1" fmla="val -338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7" name="TextBox 56"/>
              <p:cNvSpPr txBox="1"/>
              <p:nvPr/>
            </p:nvSpPr>
            <p:spPr>
              <a:xfrm>
                <a:off x="11467209" y="4566550"/>
                <a:ext cx="565065" cy="470392"/>
              </a:xfrm>
              <a:prstGeom prst="rect">
                <a:avLst/>
              </a:prstGeom>
              <a:noFill/>
            </p:spPr>
            <p:txBody>
              <a:bodyPr wrap="none" lIns="182880" tIns="146304" rIns="182880" bIns="146304" rtlCol="0">
                <a:noAutofit/>
              </a:bodyPr>
              <a:lstStyle/>
              <a:p>
                <a:pPr algn="ctr">
                  <a:lnSpc>
                    <a:spcPct val="90000"/>
                  </a:lnSpc>
                  <a:spcAft>
                    <a:spcPts val="600"/>
                  </a:spcAft>
                </a:pPr>
                <a:r>
                  <a:rPr lang="en-US" sz="900" dirty="0">
                    <a:solidFill>
                      <a:schemeClr val="tx1">
                        <a:lumMod val="85000"/>
                        <a:lumOff val="15000"/>
                      </a:schemeClr>
                    </a:solidFill>
                  </a:rPr>
                  <a:t>Notifications</a:t>
                </a:r>
              </a:p>
            </p:txBody>
          </p:sp>
          <p:cxnSp>
            <p:nvCxnSpPr>
              <p:cNvPr id="58" name="Straight Arrow Connector 57"/>
              <p:cNvCxnSpPr/>
              <p:nvPr/>
            </p:nvCxnSpPr>
            <p:spPr>
              <a:xfrm>
                <a:off x="11243801" y="4608717"/>
                <a:ext cx="3181" cy="19935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p:nvPr/>
            </p:nvCxnSpPr>
            <p:spPr>
              <a:xfrm flipV="1">
                <a:off x="7201014" y="3634407"/>
                <a:ext cx="4041204" cy="10501"/>
              </a:xfrm>
              <a:prstGeom prst="straightConnector1">
                <a:avLst/>
              </a:prstGeom>
              <a:ln>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a:stCxn id="19" idx="1"/>
                <a:endCxn id="18" idx="3"/>
              </p:cNvCxnSpPr>
              <p:nvPr/>
            </p:nvCxnSpPr>
            <p:spPr>
              <a:xfrm flipH="1">
                <a:off x="7939707" y="3351884"/>
                <a:ext cx="157034" cy="2683"/>
              </a:xfrm>
              <a:prstGeom prst="straightConnector1">
                <a:avLst/>
              </a:prstGeom>
              <a:ln w="6350">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11" name="Rectangle 10"/>
            <p:cNvSpPr/>
            <p:nvPr/>
          </p:nvSpPr>
          <p:spPr bwMode="auto">
            <a:xfrm>
              <a:off x="6188400" y="1234324"/>
              <a:ext cx="5904073" cy="4830574"/>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grpSp>
    </p:spTree>
    <p:extLst>
      <p:ext uri="{BB962C8B-B14F-4D97-AF65-F5344CB8AC3E}">
        <p14:creationId xmlns:p14="http://schemas.microsoft.com/office/powerpoint/2010/main" val="271698780"/>
      </p:ext>
    </p:extLst>
  </p:cSld>
  <p:clrMapOvr>
    <a:masterClrMapping/>
  </p:clrMapOvr>
  <p:transition spd="med">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1" y="487"/>
            <a:ext cx="5220356" cy="6857027"/>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endParaRPr lang="en-US" sz="5294" dirty="0">
              <a:solidFill>
                <a:schemeClr val="bg1"/>
              </a:solidFill>
              <a:latin typeface="+mj-lt"/>
              <a:ea typeface="Segoe UI" pitchFamily="34" charset="0"/>
              <a:cs typeface="Segoe UI" pitchFamily="34" charset="0"/>
            </a:endParaRPr>
          </a:p>
          <a:p>
            <a:pPr defTabSz="914102" fontAlgn="base">
              <a:lnSpc>
                <a:spcPct val="90000"/>
              </a:lnSpc>
              <a:spcBef>
                <a:spcPct val="0"/>
              </a:spcBef>
              <a:spcAft>
                <a:spcPct val="0"/>
              </a:spcAft>
            </a:pPr>
            <a:endParaRPr lang="en-US" sz="5294" dirty="0">
              <a:solidFill>
                <a:schemeClr val="bg1"/>
              </a:solidFill>
              <a:latin typeface="+mj-lt"/>
              <a:ea typeface="Segoe UI" pitchFamily="34" charset="0"/>
              <a:cs typeface="Segoe UI" pitchFamily="34" charset="0"/>
            </a:endParaRPr>
          </a:p>
        </p:txBody>
      </p:sp>
      <p:sp>
        <p:nvSpPr>
          <p:cNvPr id="4" name="TextBox 3"/>
          <p:cNvSpPr txBox="1"/>
          <p:nvPr/>
        </p:nvSpPr>
        <p:spPr>
          <a:xfrm>
            <a:off x="5220356" y="1283300"/>
            <a:ext cx="6553002" cy="2156943"/>
          </a:xfrm>
          <a:prstGeom prst="rect">
            <a:avLst/>
          </a:prstGeom>
          <a:noFill/>
        </p:spPr>
        <p:txBody>
          <a:bodyPr wrap="square" lIns="268927" tIns="143428" rIns="179285" bIns="143428" rtlCol="0">
            <a:noAutofit/>
          </a:bodyPr>
          <a:lstStyle/>
          <a:p>
            <a:pPr marL="52912" lvl="1" defTabSz="913770" fontAlgn="base">
              <a:spcBef>
                <a:spcPts val="1176"/>
              </a:spcBef>
              <a:buClr>
                <a:schemeClr val="accent3">
                  <a:lumMod val="50000"/>
                </a:schemeClr>
              </a:buClr>
            </a:pPr>
            <a:r>
              <a:rPr lang="en-US" sz="3137" dirty="0">
                <a:ln>
                  <a:solidFill>
                    <a:srgbClr val="FFFFFF">
                      <a:alpha val="0"/>
                    </a:srgbClr>
                  </a:solidFill>
                </a:ln>
                <a:solidFill>
                  <a:schemeClr val="accent3"/>
                </a:solidFill>
                <a:latin typeface="+mj-lt"/>
                <a:ea typeface="Segoe UI" pitchFamily="34" charset="0"/>
                <a:cs typeface="Segoe UI" pitchFamily="34" charset="0"/>
              </a:rPr>
              <a:t>Agenda</a:t>
            </a:r>
          </a:p>
          <a:p>
            <a:pPr marL="558686" lvl="1" indent="-448193" defTabSz="913770" fontAlgn="base">
              <a:buClr>
                <a:schemeClr val="accent3">
                  <a:lumMod val="50000"/>
                </a:schemeClr>
              </a:buClr>
              <a:buBlip>
                <a:blip r:embed="rId2"/>
              </a:buBlip>
            </a:pPr>
            <a:r>
              <a:rPr lang="en-US" sz="2353" dirty="0">
                <a:ln>
                  <a:solidFill>
                    <a:srgbClr val="FFFFFF">
                      <a:alpha val="0"/>
                    </a:srgbClr>
                  </a:solidFill>
                </a:ln>
                <a:solidFill>
                  <a:schemeClr val="tx2"/>
                </a:solidFill>
                <a:ea typeface="Segoe UI" pitchFamily="34" charset="0"/>
                <a:cs typeface="Segoe UI" pitchFamily="34" charset="0"/>
              </a:rPr>
              <a:t>Hive Essentials</a:t>
            </a:r>
          </a:p>
          <a:p>
            <a:pPr marL="558686" lvl="1" indent="-448193" defTabSz="913770" fontAlgn="base">
              <a:buClr>
                <a:schemeClr val="accent3">
                  <a:lumMod val="50000"/>
                </a:schemeClr>
              </a:buClr>
              <a:buBlip>
                <a:blip r:embed="rId2"/>
              </a:buBlip>
            </a:pPr>
            <a:r>
              <a:rPr lang="en-US" sz="2353" dirty="0">
                <a:ln>
                  <a:solidFill>
                    <a:srgbClr val="FFFFFF">
                      <a:alpha val="0"/>
                    </a:srgbClr>
                  </a:solidFill>
                </a:ln>
                <a:solidFill>
                  <a:schemeClr val="tx2"/>
                </a:solidFill>
                <a:ea typeface="Segoe UI" pitchFamily="34" charset="0"/>
                <a:cs typeface="Segoe UI" pitchFamily="34" charset="0"/>
              </a:rPr>
              <a:t>Hive Architecture</a:t>
            </a:r>
          </a:p>
          <a:p>
            <a:pPr marL="558686" lvl="1" indent="-448193" defTabSz="913770" fontAlgn="base">
              <a:buClr>
                <a:schemeClr val="accent3">
                  <a:lumMod val="50000"/>
                </a:schemeClr>
              </a:buClr>
              <a:buBlip>
                <a:blip r:embed="rId2"/>
              </a:buBlip>
            </a:pPr>
            <a:r>
              <a:rPr lang="en-US" sz="2353" dirty="0" err="1">
                <a:ln>
                  <a:solidFill>
                    <a:srgbClr val="FFFFFF">
                      <a:alpha val="0"/>
                    </a:srgbClr>
                  </a:solidFill>
                </a:ln>
                <a:solidFill>
                  <a:schemeClr val="tx2"/>
                </a:solidFill>
                <a:ea typeface="Segoe UI" pitchFamily="34" charset="0"/>
                <a:cs typeface="Segoe UI" pitchFamily="34" charset="0"/>
              </a:rPr>
              <a:t>HiveQL</a:t>
            </a:r>
            <a:endParaRPr lang="en-US" sz="2353" dirty="0">
              <a:ln>
                <a:solidFill>
                  <a:srgbClr val="FFFFFF">
                    <a:alpha val="0"/>
                  </a:srgbClr>
                </a:solidFill>
              </a:ln>
              <a:solidFill>
                <a:schemeClr val="tx2"/>
              </a:solidFill>
              <a:ea typeface="Segoe UI" pitchFamily="34" charset="0"/>
              <a:cs typeface="Segoe UI" pitchFamily="34" charset="0"/>
            </a:endParaRPr>
          </a:p>
          <a:p>
            <a:pPr marL="558686" lvl="1" indent="-448193" defTabSz="913770" fontAlgn="base">
              <a:buClr>
                <a:schemeClr val="accent3">
                  <a:lumMod val="50000"/>
                </a:schemeClr>
              </a:buClr>
              <a:buBlip>
                <a:blip r:embed="rId2"/>
              </a:buBlip>
            </a:pPr>
            <a:r>
              <a:rPr lang="en-US" sz="2353" dirty="0">
                <a:ln>
                  <a:solidFill>
                    <a:srgbClr val="FFFFFF">
                      <a:alpha val="0"/>
                    </a:srgbClr>
                  </a:solidFill>
                </a:ln>
                <a:solidFill>
                  <a:schemeClr val="tx2"/>
                </a:solidFill>
                <a:ea typeface="Segoe UI" pitchFamily="34" charset="0"/>
                <a:cs typeface="Segoe UI" pitchFamily="34" charset="0"/>
              </a:rPr>
              <a:t>Hive Vs RDBMS</a:t>
            </a:r>
          </a:p>
          <a:p>
            <a:pPr marL="110493" lvl="1" defTabSz="913770" fontAlgn="base">
              <a:buClr>
                <a:schemeClr val="accent3">
                  <a:lumMod val="50000"/>
                </a:schemeClr>
              </a:buClr>
            </a:pPr>
            <a:endParaRPr lang="en-US" sz="2353" dirty="0">
              <a:ln>
                <a:solidFill>
                  <a:srgbClr val="FFFFFF">
                    <a:alpha val="0"/>
                  </a:srgbClr>
                </a:solidFill>
              </a:ln>
              <a:solidFill>
                <a:schemeClr val="tx2"/>
              </a:solidFill>
              <a:ea typeface="Segoe UI" pitchFamily="34" charset="0"/>
              <a:cs typeface="Segoe UI" pitchFamily="34" charset="0"/>
            </a:endParaRPr>
          </a:p>
        </p:txBody>
      </p:sp>
      <p:sp>
        <p:nvSpPr>
          <p:cNvPr id="5" name="Rectangle 4"/>
          <p:cNvSpPr/>
          <p:nvPr/>
        </p:nvSpPr>
        <p:spPr bwMode="auto">
          <a:xfrm>
            <a:off x="1" y="6319659"/>
            <a:ext cx="5220356" cy="537855"/>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endParaRPr lang="en-US" sz="2353" kern="0" dirty="0">
              <a:ln>
                <a:solidFill>
                  <a:srgbClr val="FFFFFF">
                    <a:alpha val="0"/>
                  </a:srgbClr>
                </a:solidFill>
              </a:ln>
              <a:solidFill>
                <a:srgbClr val="FFFFFF"/>
              </a:solidFill>
              <a:latin typeface="Segoe UI Semibold" panose="020B0702040204020203" pitchFamily="34" charset="0"/>
              <a:ea typeface="MS PGothic" charset="0"/>
              <a:cs typeface="Segoe UI Semibold" panose="020B0702040204020203" pitchFamily="34" charset="0"/>
            </a:endParaRPr>
          </a:p>
        </p:txBody>
      </p:sp>
      <p:sp>
        <p:nvSpPr>
          <p:cNvPr id="6" name="Freeform 5"/>
          <p:cNvSpPr>
            <a:spLocks/>
          </p:cNvSpPr>
          <p:nvPr/>
        </p:nvSpPr>
        <p:spPr bwMode="auto">
          <a:xfrm flipH="1">
            <a:off x="2619107" y="4183803"/>
            <a:ext cx="2601249" cy="2135857"/>
          </a:xfrm>
          <a:custGeom>
            <a:avLst/>
            <a:gdLst>
              <a:gd name="connsiteX0" fmla="*/ 603413 w 1090712"/>
              <a:gd name="connsiteY0" fmla="*/ 721327 h 895572"/>
              <a:gd name="connsiteX1" fmla="*/ 578466 w 1090712"/>
              <a:gd name="connsiteY1" fmla="*/ 770746 h 895572"/>
              <a:gd name="connsiteX2" fmla="*/ 553519 w 1090712"/>
              <a:gd name="connsiteY2" fmla="*/ 818264 h 895572"/>
              <a:gd name="connsiteX3" fmla="*/ 528334 w 1090712"/>
              <a:gd name="connsiteY3" fmla="*/ 865069 h 895572"/>
              <a:gd name="connsiteX4" fmla="*/ 511825 w 1090712"/>
              <a:gd name="connsiteY4" fmla="*/ 895572 h 895572"/>
              <a:gd name="connsiteX5" fmla="*/ 624528 w 1090712"/>
              <a:gd name="connsiteY5" fmla="*/ 895572 h 895572"/>
              <a:gd name="connsiteX6" fmla="*/ 624796 w 1090712"/>
              <a:gd name="connsiteY6" fmla="*/ 894768 h 895572"/>
              <a:gd name="connsiteX7" fmla="*/ 625271 w 1090712"/>
              <a:gd name="connsiteY7" fmla="*/ 891679 h 895572"/>
              <a:gd name="connsiteX8" fmla="*/ 625747 w 1090712"/>
              <a:gd name="connsiteY8" fmla="*/ 889066 h 895572"/>
              <a:gd name="connsiteX9" fmla="*/ 625747 w 1090712"/>
              <a:gd name="connsiteY9" fmla="*/ 860555 h 895572"/>
              <a:gd name="connsiteX10" fmla="*/ 624796 w 1090712"/>
              <a:gd name="connsiteY10" fmla="*/ 833945 h 895572"/>
              <a:gd name="connsiteX11" fmla="*/ 624321 w 1090712"/>
              <a:gd name="connsiteY11" fmla="*/ 820877 h 895572"/>
              <a:gd name="connsiteX12" fmla="*/ 623608 w 1090712"/>
              <a:gd name="connsiteY12" fmla="*/ 808047 h 895572"/>
              <a:gd name="connsiteX13" fmla="*/ 621708 w 1090712"/>
              <a:gd name="connsiteY13" fmla="*/ 795218 h 895572"/>
              <a:gd name="connsiteX14" fmla="*/ 620044 w 1090712"/>
              <a:gd name="connsiteY14" fmla="*/ 782625 h 895572"/>
              <a:gd name="connsiteX15" fmla="*/ 616005 w 1090712"/>
              <a:gd name="connsiteY15" fmla="*/ 766707 h 895572"/>
              <a:gd name="connsiteX16" fmla="*/ 611966 w 1090712"/>
              <a:gd name="connsiteY16" fmla="*/ 751976 h 895572"/>
              <a:gd name="connsiteX17" fmla="*/ 607452 w 1090712"/>
              <a:gd name="connsiteY17" fmla="*/ 737245 h 895572"/>
              <a:gd name="connsiteX18" fmla="*/ 698212 w 1090712"/>
              <a:gd name="connsiteY18" fmla="*/ 530778 h 895572"/>
              <a:gd name="connsiteX19" fmla="*/ 693460 w 1090712"/>
              <a:gd name="connsiteY19" fmla="*/ 534818 h 895572"/>
              <a:gd name="connsiteX20" fmla="*/ 688471 w 1090712"/>
              <a:gd name="connsiteY20" fmla="*/ 538857 h 895572"/>
              <a:gd name="connsiteX21" fmla="*/ 678254 w 1090712"/>
              <a:gd name="connsiteY21" fmla="*/ 546935 h 895572"/>
              <a:gd name="connsiteX22" fmla="*/ 669226 w 1090712"/>
              <a:gd name="connsiteY22" fmla="*/ 553587 h 895572"/>
              <a:gd name="connsiteX23" fmla="*/ 663048 w 1090712"/>
              <a:gd name="connsiteY23" fmla="*/ 558814 h 895572"/>
              <a:gd name="connsiteX24" fmla="*/ 663048 w 1090712"/>
              <a:gd name="connsiteY24" fmla="*/ 556676 h 895572"/>
              <a:gd name="connsiteX25" fmla="*/ 663523 w 1090712"/>
              <a:gd name="connsiteY25" fmla="*/ 554538 h 895572"/>
              <a:gd name="connsiteX26" fmla="*/ 665424 w 1090712"/>
              <a:gd name="connsiteY26" fmla="*/ 550498 h 895572"/>
              <a:gd name="connsiteX27" fmla="*/ 668038 w 1090712"/>
              <a:gd name="connsiteY27" fmla="*/ 546459 h 895572"/>
              <a:gd name="connsiteX28" fmla="*/ 671602 w 1090712"/>
              <a:gd name="connsiteY28" fmla="*/ 542420 h 895572"/>
              <a:gd name="connsiteX29" fmla="*/ 676829 w 1090712"/>
              <a:gd name="connsiteY29" fmla="*/ 538857 h 895572"/>
              <a:gd name="connsiteX30" fmla="*/ 682768 w 1090712"/>
              <a:gd name="connsiteY30" fmla="*/ 535768 h 895572"/>
              <a:gd name="connsiteX31" fmla="*/ 689896 w 1090712"/>
              <a:gd name="connsiteY31" fmla="*/ 533154 h 895572"/>
              <a:gd name="connsiteX32" fmla="*/ 654257 w 1090712"/>
              <a:gd name="connsiteY32" fmla="*/ 302216 h 895572"/>
              <a:gd name="connsiteX33" fmla="*/ 651882 w 1090712"/>
              <a:gd name="connsiteY33" fmla="*/ 302691 h 895572"/>
              <a:gd name="connsiteX34" fmla="*/ 649268 w 1090712"/>
              <a:gd name="connsiteY34" fmla="*/ 303166 h 895572"/>
              <a:gd name="connsiteX35" fmla="*/ 647130 w 1090712"/>
              <a:gd name="connsiteY35" fmla="*/ 304354 h 895572"/>
              <a:gd name="connsiteX36" fmla="*/ 644516 w 1090712"/>
              <a:gd name="connsiteY36" fmla="*/ 306255 h 895572"/>
              <a:gd name="connsiteX37" fmla="*/ 642140 w 1090712"/>
              <a:gd name="connsiteY37" fmla="*/ 307918 h 895572"/>
              <a:gd name="connsiteX38" fmla="*/ 640002 w 1090712"/>
              <a:gd name="connsiteY38" fmla="*/ 310294 h 895572"/>
              <a:gd name="connsiteX39" fmla="*/ 638101 w 1090712"/>
              <a:gd name="connsiteY39" fmla="*/ 312432 h 895572"/>
              <a:gd name="connsiteX40" fmla="*/ 636913 w 1090712"/>
              <a:gd name="connsiteY40" fmla="*/ 314571 h 895572"/>
              <a:gd name="connsiteX41" fmla="*/ 635963 w 1090712"/>
              <a:gd name="connsiteY41" fmla="*/ 316946 h 895572"/>
              <a:gd name="connsiteX42" fmla="*/ 635963 w 1090712"/>
              <a:gd name="connsiteY42" fmla="*/ 319085 h 895572"/>
              <a:gd name="connsiteX43" fmla="*/ 636913 w 1090712"/>
              <a:gd name="connsiteY43" fmla="*/ 321223 h 895572"/>
              <a:gd name="connsiteX44" fmla="*/ 637626 w 1090712"/>
              <a:gd name="connsiteY44" fmla="*/ 324074 h 895572"/>
              <a:gd name="connsiteX45" fmla="*/ 639527 w 1090712"/>
              <a:gd name="connsiteY45" fmla="*/ 326688 h 895572"/>
              <a:gd name="connsiteX46" fmla="*/ 643091 w 1090712"/>
              <a:gd name="connsiteY46" fmla="*/ 331677 h 895572"/>
              <a:gd name="connsiteX47" fmla="*/ 647130 w 1090712"/>
              <a:gd name="connsiteY47" fmla="*/ 335954 h 895572"/>
              <a:gd name="connsiteX48" fmla="*/ 655920 w 1090712"/>
              <a:gd name="connsiteY48" fmla="*/ 330727 h 895572"/>
              <a:gd name="connsiteX49" fmla="*/ 663999 w 1090712"/>
              <a:gd name="connsiteY49" fmla="*/ 324787 h 895572"/>
              <a:gd name="connsiteX50" fmla="*/ 679917 w 1090712"/>
              <a:gd name="connsiteY50" fmla="*/ 313383 h 895572"/>
              <a:gd name="connsiteX51" fmla="*/ 676354 w 1090712"/>
              <a:gd name="connsiteY51" fmla="*/ 311007 h 895572"/>
              <a:gd name="connsiteX52" fmla="*/ 672790 w 1090712"/>
              <a:gd name="connsiteY52" fmla="*/ 308393 h 895572"/>
              <a:gd name="connsiteX53" fmla="*/ 668988 w 1090712"/>
              <a:gd name="connsiteY53" fmla="*/ 306730 h 895572"/>
              <a:gd name="connsiteX54" fmla="*/ 664949 w 1090712"/>
              <a:gd name="connsiteY54" fmla="*/ 304829 h 895572"/>
              <a:gd name="connsiteX55" fmla="*/ 660910 w 1090712"/>
              <a:gd name="connsiteY55" fmla="*/ 303641 h 895572"/>
              <a:gd name="connsiteX56" fmla="*/ 657346 w 1090712"/>
              <a:gd name="connsiteY56" fmla="*/ 302691 h 895572"/>
              <a:gd name="connsiteX57" fmla="*/ 696549 w 1090712"/>
              <a:gd name="connsiteY57" fmla="*/ 252322 h 895572"/>
              <a:gd name="connsiteX58" fmla="*/ 696786 w 1090712"/>
              <a:gd name="connsiteY58" fmla="*/ 259925 h 895572"/>
              <a:gd name="connsiteX59" fmla="*/ 698212 w 1090712"/>
              <a:gd name="connsiteY59" fmla="*/ 266102 h 895572"/>
              <a:gd name="connsiteX60" fmla="*/ 700113 w 1090712"/>
              <a:gd name="connsiteY60" fmla="*/ 272042 h 895572"/>
              <a:gd name="connsiteX61" fmla="*/ 701776 w 1090712"/>
              <a:gd name="connsiteY61" fmla="*/ 276794 h 895572"/>
              <a:gd name="connsiteX62" fmla="*/ 704389 w 1090712"/>
              <a:gd name="connsiteY62" fmla="*/ 280833 h 895572"/>
              <a:gd name="connsiteX63" fmla="*/ 707240 w 1090712"/>
              <a:gd name="connsiteY63" fmla="*/ 284397 h 895572"/>
              <a:gd name="connsiteX64" fmla="*/ 710329 w 1090712"/>
              <a:gd name="connsiteY64" fmla="*/ 287010 h 895572"/>
              <a:gd name="connsiteX65" fmla="*/ 713418 w 1090712"/>
              <a:gd name="connsiteY65" fmla="*/ 289624 h 895572"/>
              <a:gd name="connsiteX66" fmla="*/ 716506 w 1090712"/>
              <a:gd name="connsiteY66" fmla="*/ 291524 h 895572"/>
              <a:gd name="connsiteX67" fmla="*/ 719595 w 1090712"/>
              <a:gd name="connsiteY67" fmla="*/ 293187 h 895572"/>
              <a:gd name="connsiteX68" fmla="*/ 725772 w 1090712"/>
              <a:gd name="connsiteY68" fmla="*/ 295088 h 895572"/>
              <a:gd name="connsiteX69" fmla="*/ 731237 w 1090712"/>
              <a:gd name="connsiteY69" fmla="*/ 296514 h 895572"/>
              <a:gd name="connsiteX70" fmla="*/ 734801 w 1090712"/>
              <a:gd name="connsiteY70" fmla="*/ 296751 h 895572"/>
              <a:gd name="connsiteX71" fmla="*/ 722209 w 1090712"/>
              <a:gd name="connsiteY71" fmla="*/ 303879 h 895572"/>
              <a:gd name="connsiteX72" fmla="*/ 710804 w 1090712"/>
              <a:gd name="connsiteY72" fmla="*/ 311007 h 895572"/>
              <a:gd name="connsiteX73" fmla="*/ 688471 w 1090712"/>
              <a:gd name="connsiteY73" fmla="*/ 324787 h 895572"/>
              <a:gd name="connsiteX74" fmla="*/ 667563 w 1090712"/>
              <a:gd name="connsiteY74" fmla="*/ 339043 h 895572"/>
              <a:gd name="connsiteX75" fmla="*/ 646179 w 1090712"/>
              <a:gd name="connsiteY75" fmla="*/ 352823 h 895572"/>
              <a:gd name="connsiteX76" fmla="*/ 620044 w 1090712"/>
              <a:gd name="connsiteY76" fmla="*/ 313383 h 895572"/>
              <a:gd name="connsiteX77" fmla="*/ 617668 w 1090712"/>
              <a:gd name="connsiteY77" fmla="*/ 312432 h 895572"/>
              <a:gd name="connsiteX78" fmla="*/ 615055 w 1090712"/>
              <a:gd name="connsiteY78" fmla="*/ 312432 h 895572"/>
              <a:gd name="connsiteX79" fmla="*/ 612441 w 1090712"/>
              <a:gd name="connsiteY79" fmla="*/ 313383 h 895572"/>
              <a:gd name="connsiteX80" fmla="*/ 609353 w 1090712"/>
              <a:gd name="connsiteY80" fmla="*/ 314095 h 895572"/>
              <a:gd name="connsiteX81" fmla="*/ 602938 w 1090712"/>
              <a:gd name="connsiteY81" fmla="*/ 316946 h 895572"/>
              <a:gd name="connsiteX82" fmla="*/ 599849 w 1090712"/>
              <a:gd name="connsiteY82" fmla="*/ 317659 h 895572"/>
              <a:gd name="connsiteX83" fmla="*/ 596760 w 1090712"/>
              <a:gd name="connsiteY83" fmla="*/ 318610 h 895572"/>
              <a:gd name="connsiteX84" fmla="*/ 607927 w 1090712"/>
              <a:gd name="connsiteY84" fmla="*/ 307205 h 895572"/>
              <a:gd name="connsiteX85" fmla="*/ 618619 w 1090712"/>
              <a:gd name="connsiteY85" fmla="*/ 295088 h 895572"/>
              <a:gd name="connsiteX86" fmla="*/ 623846 w 1090712"/>
              <a:gd name="connsiteY86" fmla="*/ 289386 h 895572"/>
              <a:gd name="connsiteX87" fmla="*/ 629786 w 1090712"/>
              <a:gd name="connsiteY87" fmla="*/ 283921 h 895572"/>
              <a:gd name="connsiteX88" fmla="*/ 635963 w 1090712"/>
              <a:gd name="connsiteY88" fmla="*/ 278694 h 895572"/>
              <a:gd name="connsiteX89" fmla="*/ 642140 w 1090712"/>
              <a:gd name="connsiteY89" fmla="*/ 273705 h 895572"/>
              <a:gd name="connsiteX90" fmla="*/ 648793 w 1090712"/>
              <a:gd name="connsiteY90" fmla="*/ 269191 h 895572"/>
              <a:gd name="connsiteX91" fmla="*/ 655446 w 1090712"/>
              <a:gd name="connsiteY91" fmla="*/ 265627 h 895572"/>
              <a:gd name="connsiteX92" fmla="*/ 662098 w 1090712"/>
              <a:gd name="connsiteY92" fmla="*/ 263013 h 895572"/>
              <a:gd name="connsiteX93" fmla="*/ 668988 w 1090712"/>
              <a:gd name="connsiteY93" fmla="*/ 260400 h 895572"/>
              <a:gd name="connsiteX94" fmla="*/ 682768 w 1090712"/>
              <a:gd name="connsiteY94" fmla="*/ 256361 h 895572"/>
              <a:gd name="connsiteX95" fmla="*/ 1030602 w 1090712"/>
              <a:gd name="connsiteY95" fmla="*/ 200289 h 895572"/>
              <a:gd name="connsiteX96" fmla="*/ 1027513 w 1090712"/>
              <a:gd name="connsiteY96" fmla="*/ 207892 h 895572"/>
              <a:gd name="connsiteX97" fmla="*/ 1023949 w 1090712"/>
              <a:gd name="connsiteY97" fmla="*/ 214545 h 895572"/>
              <a:gd name="connsiteX98" fmla="*/ 1019910 w 1090712"/>
              <a:gd name="connsiteY98" fmla="*/ 221197 h 895572"/>
              <a:gd name="connsiteX99" fmla="*/ 1015396 w 1090712"/>
              <a:gd name="connsiteY99" fmla="*/ 226899 h 895572"/>
              <a:gd name="connsiteX100" fmla="*/ 1011119 w 1090712"/>
              <a:gd name="connsiteY100" fmla="*/ 232839 h 895572"/>
              <a:gd name="connsiteX101" fmla="*/ 1006130 w 1090712"/>
              <a:gd name="connsiteY101" fmla="*/ 237591 h 895572"/>
              <a:gd name="connsiteX102" fmla="*/ 1001140 w 1090712"/>
              <a:gd name="connsiteY102" fmla="*/ 242105 h 895572"/>
              <a:gd name="connsiteX103" fmla="*/ 996388 w 1090712"/>
              <a:gd name="connsiteY103" fmla="*/ 246144 h 895572"/>
              <a:gd name="connsiteX104" fmla="*/ 990924 w 1090712"/>
              <a:gd name="connsiteY104" fmla="*/ 249708 h 895572"/>
              <a:gd name="connsiteX105" fmla="*/ 985697 w 1090712"/>
              <a:gd name="connsiteY105" fmla="*/ 252797 h 895572"/>
              <a:gd name="connsiteX106" fmla="*/ 980232 w 1090712"/>
              <a:gd name="connsiteY106" fmla="*/ 254935 h 895572"/>
              <a:gd name="connsiteX107" fmla="*/ 975005 w 1090712"/>
              <a:gd name="connsiteY107" fmla="*/ 256836 h 895572"/>
              <a:gd name="connsiteX108" fmla="*/ 969541 w 1090712"/>
              <a:gd name="connsiteY108" fmla="*/ 258262 h 895572"/>
              <a:gd name="connsiteX109" fmla="*/ 963839 w 1090712"/>
              <a:gd name="connsiteY109" fmla="*/ 258499 h 895572"/>
              <a:gd name="connsiteX110" fmla="*/ 958612 w 1090712"/>
              <a:gd name="connsiteY110" fmla="*/ 258499 h 895572"/>
              <a:gd name="connsiteX111" fmla="*/ 953622 w 1090712"/>
              <a:gd name="connsiteY111" fmla="*/ 257786 h 895572"/>
              <a:gd name="connsiteX112" fmla="*/ 970966 w 1090712"/>
              <a:gd name="connsiteY112" fmla="*/ 244006 h 895572"/>
              <a:gd name="connsiteX113" fmla="*/ 990211 w 1090712"/>
              <a:gd name="connsiteY113" fmla="*/ 229275 h 895572"/>
              <a:gd name="connsiteX114" fmla="*/ 1010169 w 1090712"/>
              <a:gd name="connsiteY114" fmla="*/ 214069 h 895572"/>
              <a:gd name="connsiteX115" fmla="*/ 1020385 w 1090712"/>
              <a:gd name="connsiteY115" fmla="*/ 206942 h 895572"/>
              <a:gd name="connsiteX116" fmla="*/ 389581 w 1090712"/>
              <a:gd name="connsiteY116" fmla="*/ 176768 h 895572"/>
              <a:gd name="connsiteX117" fmla="*/ 397422 w 1090712"/>
              <a:gd name="connsiteY117" fmla="*/ 177243 h 895572"/>
              <a:gd name="connsiteX118" fmla="*/ 414766 w 1090712"/>
              <a:gd name="connsiteY118" fmla="*/ 178906 h 895572"/>
              <a:gd name="connsiteX119" fmla="*/ 405500 w 1090712"/>
              <a:gd name="connsiteY119" fmla="*/ 179856 h 895572"/>
              <a:gd name="connsiteX120" fmla="*/ 396946 w 1090712"/>
              <a:gd name="connsiteY120" fmla="*/ 181995 h 895572"/>
              <a:gd name="connsiteX121" fmla="*/ 389581 w 1090712"/>
              <a:gd name="connsiteY121" fmla="*/ 184371 h 895572"/>
              <a:gd name="connsiteX122" fmla="*/ 381978 w 1090712"/>
              <a:gd name="connsiteY122" fmla="*/ 186984 h 895572"/>
              <a:gd name="connsiteX123" fmla="*/ 375326 w 1090712"/>
              <a:gd name="connsiteY123" fmla="*/ 190548 h 895572"/>
              <a:gd name="connsiteX124" fmla="*/ 368911 w 1090712"/>
              <a:gd name="connsiteY124" fmla="*/ 194112 h 895572"/>
              <a:gd name="connsiteX125" fmla="*/ 363208 w 1090712"/>
              <a:gd name="connsiteY125" fmla="*/ 198626 h 895572"/>
              <a:gd name="connsiteX126" fmla="*/ 357981 w 1090712"/>
              <a:gd name="connsiteY126" fmla="*/ 202903 h 895572"/>
              <a:gd name="connsiteX127" fmla="*/ 352517 w 1090712"/>
              <a:gd name="connsiteY127" fmla="*/ 208367 h 895572"/>
              <a:gd name="connsiteX128" fmla="*/ 348003 w 1090712"/>
              <a:gd name="connsiteY128" fmla="*/ 214070 h 895572"/>
              <a:gd name="connsiteX129" fmla="*/ 343726 w 1090712"/>
              <a:gd name="connsiteY129" fmla="*/ 220247 h 895572"/>
              <a:gd name="connsiteX130" fmla="*/ 339687 w 1090712"/>
              <a:gd name="connsiteY130" fmla="*/ 226662 h 895572"/>
              <a:gd name="connsiteX131" fmla="*/ 335648 w 1090712"/>
              <a:gd name="connsiteY131" fmla="*/ 233790 h 895572"/>
              <a:gd name="connsiteX132" fmla="*/ 332559 w 1090712"/>
              <a:gd name="connsiteY132" fmla="*/ 240917 h 895572"/>
              <a:gd name="connsiteX133" fmla="*/ 328995 w 1090712"/>
              <a:gd name="connsiteY133" fmla="*/ 248758 h 895572"/>
              <a:gd name="connsiteX134" fmla="*/ 325907 w 1090712"/>
              <a:gd name="connsiteY134" fmla="*/ 256836 h 895572"/>
              <a:gd name="connsiteX135" fmla="*/ 325432 w 1090712"/>
              <a:gd name="connsiteY135" fmla="*/ 252797 h 895572"/>
              <a:gd name="connsiteX136" fmla="*/ 324956 w 1090712"/>
              <a:gd name="connsiteY136" fmla="*/ 248283 h 895572"/>
              <a:gd name="connsiteX137" fmla="*/ 323056 w 1090712"/>
              <a:gd name="connsiteY137" fmla="*/ 239492 h 895572"/>
              <a:gd name="connsiteX138" fmla="*/ 320917 w 1090712"/>
              <a:gd name="connsiteY138" fmla="*/ 229275 h 895572"/>
              <a:gd name="connsiteX139" fmla="*/ 320442 w 1090712"/>
              <a:gd name="connsiteY139" fmla="*/ 223811 h 895572"/>
              <a:gd name="connsiteX140" fmla="*/ 319967 w 1090712"/>
              <a:gd name="connsiteY140" fmla="*/ 217633 h 895572"/>
              <a:gd name="connsiteX141" fmla="*/ 314740 w 1090712"/>
              <a:gd name="connsiteY141" fmla="*/ 217633 h 895572"/>
              <a:gd name="connsiteX142" fmla="*/ 302148 w 1090712"/>
              <a:gd name="connsiteY142" fmla="*/ 243056 h 895572"/>
              <a:gd name="connsiteX143" fmla="*/ 289793 w 1090712"/>
              <a:gd name="connsiteY143" fmla="*/ 267528 h 895572"/>
              <a:gd name="connsiteX144" fmla="*/ 277438 w 1090712"/>
              <a:gd name="connsiteY144" fmla="*/ 291049 h 895572"/>
              <a:gd name="connsiteX145" fmla="*/ 264371 w 1090712"/>
              <a:gd name="connsiteY145" fmla="*/ 312907 h 895572"/>
              <a:gd name="connsiteX146" fmla="*/ 267459 w 1090712"/>
              <a:gd name="connsiteY146" fmla="*/ 295088 h 895572"/>
              <a:gd name="connsiteX147" fmla="*/ 271023 w 1090712"/>
              <a:gd name="connsiteY147" fmla="*/ 279170 h 895572"/>
              <a:gd name="connsiteX148" fmla="*/ 274587 w 1090712"/>
              <a:gd name="connsiteY148" fmla="*/ 263964 h 895572"/>
              <a:gd name="connsiteX149" fmla="*/ 279101 w 1090712"/>
              <a:gd name="connsiteY149" fmla="*/ 250183 h 895572"/>
              <a:gd name="connsiteX150" fmla="*/ 284091 w 1090712"/>
              <a:gd name="connsiteY150" fmla="*/ 238066 h 895572"/>
              <a:gd name="connsiteX151" fmla="*/ 289318 w 1090712"/>
              <a:gd name="connsiteY151" fmla="*/ 226900 h 895572"/>
              <a:gd name="connsiteX152" fmla="*/ 292406 w 1090712"/>
              <a:gd name="connsiteY152" fmla="*/ 221673 h 895572"/>
              <a:gd name="connsiteX153" fmla="*/ 295495 w 1090712"/>
              <a:gd name="connsiteY153" fmla="*/ 217158 h 895572"/>
              <a:gd name="connsiteX154" fmla="*/ 298584 w 1090712"/>
              <a:gd name="connsiteY154" fmla="*/ 212406 h 895572"/>
              <a:gd name="connsiteX155" fmla="*/ 302148 w 1090712"/>
              <a:gd name="connsiteY155" fmla="*/ 208367 h 895572"/>
              <a:gd name="connsiteX156" fmla="*/ 305711 w 1090712"/>
              <a:gd name="connsiteY156" fmla="*/ 204328 h 895572"/>
              <a:gd name="connsiteX157" fmla="*/ 309275 w 1090712"/>
              <a:gd name="connsiteY157" fmla="*/ 200765 h 895572"/>
              <a:gd name="connsiteX158" fmla="*/ 313314 w 1090712"/>
              <a:gd name="connsiteY158" fmla="*/ 197201 h 895572"/>
              <a:gd name="connsiteX159" fmla="*/ 317354 w 1090712"/>
              <a:gd name="connsiteY159" fmla="*/ 194112 h 895572"/>
              <a:gd name="connsiteX160" fmla="*/ 321868 w 1090712"/>
              <a:gd name="connsiteY160" fmla="*/ 191498 h 895572"/>
              <a:gd name="connsiteX161" fmla="*/ 326382 w 1090712"/>
              <a:gd name="connsiteY161" fmla="*/ 188647 h 895572"/>
              <a:gd name="connsiteX162" fmla="*/ 330659 w 1090712"/>
              <a:gd name="connsiteY162" fmla="*/ 186509 h 895572"/>
              <a:gd name="connsiteX163" fmla="*/ 335648 w 1090712"/>
              <a:gd name="connsiteY163" fmla="*/ 184371 h 895572"/>
              <a:gd name="connsiteX164" fmla="*/ 340637 w 1090712"/>
              <a:gd name="connsiteY164" fmla="*/ 182470 h 895572"/>
              <a:gd name="connsiteX165" fmla="*/ 345864 w 1090712"/>
              <a:gd name="connsiteY165" fmla="*/ 181282 h 895572"/>
              <a:gd name="connsiteX166" fmla="*/ 351091 w 1090712"/>
              <a:gd name="connsiteY166" fmla="*/ 179856 h 895572"/>
              <a:gd name="connsiteX167" fmla="*/ 357031 w 1090712"/>
              <a:gd name="connsiteY167" fmla="*/ 178431 h 895572"/>
              <a:gd name="connsiteX168" fmla="*/ 368911 w 1090712"/>
              <a:gd name="connsiteY168" fmla="*/ 177243 h 895572"/>
              <a:gd name="connsiteX169" fmla="*/ 381978 w 1090712"/>
              <a:gd name="connsiteY169" fmla="*/ 176768 h 895572"/>
              <a:gd name="connsiteX170" fmla="*/ 609353 w 1090712"/>
              <a:gd name="connsiteY170" fmla="*/ 174629 h 895572"/>
              <a:gd name="connsiteX171" fmla="*/ 602463 w 1090712"/>
              <a:gd name="connsiteY171" fmla="*/ 180807 h 895572"/>
              <a:gd name="connsiteX172" fmla="*/ 596285 w 1090712"/>
              <a:gd name="connsiteY172" fmla="*/ 187459 h 895572"/>
              <a:gd name="connsiteX173" fmla="*/ 583931 w 1090712"/>
              <a:gd name="connsiteY173" fmla="*/ 201715 h 895572"/>
              <a:gd name="connsiteX174" fmla="*/ 571101 w 1090712"/>
              <a:gd name="connsiteY174" fmla="*/ 215495 h 895572"/>
              <a:gd name="connsiteX175" fmla="*/ 564686 w 1090712"/>
              <a:gd name="connsiteY175" fmla="*/ 222148 h 895572"/>
              <a:gd name="connsiteX176" fmla="*/ 558508 w 1090712"/>
              <a:gd name="connsiteY176" fmla="*/ 228325 h 895572"/>
              <a:gd name="connsiteX177" fmla="*/ 557558 w 1090712"/>
              <a:gd name="connsiteY177" fmla="*/ 223335 h 895572"/>
              <a:gd name="connsiteX178" fmla="*/ 557083 w 1090712"/>
              <a:gd name="connsiteY178" fmla="*/ 219059 h 895572"/>
              <a:gd name="connsiteX179" fmla="*/ 557083 w 1090712"/>
              <a:gd name="connsiteY179" fmla="*/ 215020 h 895572"/>
              <a:gd name="connsiteX180" fmla="*/ 557558 w 1090712"/>
              <a:gd name="connsiteY180" fmla="*/ 210981 h 895572"/>
              <a:gd name="connsiteX181" fmla="*/ 558508 w 1090712"/>
              <a:gd name="connsiteY181" fmla="*/ 207417 h 895572"/>
              <a:gd name="connsiteX182" fmla="*/ 560409 w 1090712"/>
              <a:gd name="connsiteY182" fmla="*/ 203853 h 895572"/>
              <a:gd name="connsiteX183" fmla="*/ 562072 w 1090712"/>
              <a:gd name="connsiteY183" fmla="*/ 200764 h 895572"/>
              <a:gd name="connsiteX184" fmla="*/ 564686 w 1090712"/>
              <a:gd name="connsiteY184" fmla="*/ 197676 h 895572"/>
              <a:gd name="connsiteX185" fmla="*/ 567774 w 1090712"/>
              <a:gd name="connsiteY185" fmla="*/ 194587 h 895572"/>
              <a:gd name="connsiteX186" fmla="*/ 571813 w 1090712"/>
              <a:gd name="connsiteY186" fmla="*/ 191973 h 895572"/>
              <a:gd name="connsiteX187" fmla="*/ 576328 w 1090712"/>
              <a:gd name="connsiteY187" fmla="*/ 188647 h 895572"/>
              <a:gd name="connsiteX188" fmla="*/ 581317 w 1090712"/>
              <a:gd name="connsiteY188" fmla="*/ 186034 h 895572"/>
              <a:gd name="connsiteX189" fmla="*/ 587019 w 1090712"/>
              <a:gd name="connsiteY189" fmla="*/ 183420 h 895572"/>
              <a:gd name="connsiteX190" fmla="*/ 593672 w 1090712"/>
              <a:gd name="connsiteY190" fmla="*/ 180332 h 895572"/>
              <a:gd name="connsiteX191" fmla="*/ 586544 w 1090712"/>
              <a:gd name="connsiteY191" fmla="*/ 0 h 895572"/>
              <a:gd name="connsiteX192" fmla="*/ 570150 w 1090712"/>
              <a:gd name="connsiteY192" fmla="*/ 2851 h 895572"/>
              <a:gd name="connsiteX193" fmla="*/ 553519 w 1090712"/>
              <a:gd name="connsiteY193" fmla="*/ 5940 h 895572"/>
              <a:gd name="connsiteX194" fmla="*/ 536650 w 1090712"/>
              <a:gd name="connsiteY194" fmla="*/ 10454 h 895572"/>
              <a:gd name="connsiteX195" fmla="*/ 520256 w 1090712"/>
              <a:gd name="connsiteY195" fmla="*/ 14731 h 895572"/>
              <a:gd name="connsiteX196" fmla="*/ 486993 w 1090712"/>
              <a:gd name="connsiteY196" fmla="*/ 24472 h 895572"/>
              <a:gd name="connsiteX197" fmla="*/ 469887 w 1090712"/>
              <a:gd name="connsiteY197" fmla="*/ 28986 h 895572"/>
              <a:gd name="connsiteX198" fmla="*/ 453493 w 1090712"/>
              <a:gd name="connsiteY198" fmla="*/ 33500 h 895572"/>
              <a:gd name="connsiteX199" fmla="*/ 438762 w 1090712"/>
              <a:gd name="connsiteY199" fmla="*/ 40153 h 895572"/>
              <a:gd name="connsiteX200" fmla="*/ 424507 w 1090712"/>
              <a:gd name="connsiteY200" fmla="*/ 47281 h 895572"/>
              <a:gd name="connsiteX201" fmla="*/ 417379 w 1090712"/>
              <a:gd name="connsiteY201" fmla="*/ 51320 h 895572"/>
              <a:gd name="connsiteX202" fmla="*/ 410727 w 1090712"/>
              <a:gd name="connsiteY202" fmla="*/ 55834 h 895572"/>
              <a:gd name="connsiteX203" fmla="*/ 403599 w 1090712"/>
              <a:gd name="connsiteY203" fmla="*/ 60111 h 895572"/>
              <a:gd name="connsiteX204" fmla="*/ 397422 w 1090712"/>
              <a:gd name="connsiteY204" fmla="*/ 65100 h 895572"/>
              <a:gd name="connsiteX205" fmla="*/ 390769 w 1090712"/>
              <a:gd name="connsiteY205" fmla="*/ 69852 h 895572"/>
              <a:gd name="connsiteX206" fmla="*/ 384592 w 1090712"/>
              <a:gd name="connsiteY206" fmla="*/ 75792 h 895572"/>
              <a:gd name="connsiteX207" fmla="*/ 378889 w 1090712"/>
              <a:gd name="connsiteY207" fmla="*/ 81494 h 895572"/>
              <a:gd name="connsiteX208" fmla="*/ 372950 w 1090712"/>
              <a:gd name="connsiteY208" fmla="*/ 87671 h 895572"/>
              <a:gd name="connsiteX209" fmla="*/ 367723 w 1090712"/>
              <a:gd name="connsiteY209" fmla="*/ 94324 h 895572"/>
              <a:gd name="connsiteX210" fmla="*/ 362733 w 1090712"/>
              <a:gd name="connsiteY210" fmla="*/ 101452 h 895572"/>
              <a:gd name="connsiteX211" fmla="*/ 357981 w 1090712"/>
              <a:gd name="connsiteY211" fmla="*/ 109055 h 895572"/>
              <a:gd name="connsiteX212" fmla="*/ 353467 w 1090712"/>
              <a:gd name="connsiteY212" fmla="*/ 117608 h 895572"/>
              <a:gd name="connsiteX213" fmla="*/ 409064 w 1090712"/>
              <a:gd name="connsiteY213" fmla="*/ 117608 h 895572"/>
              <a:gd name="connsiteX214" fmla="*/ 406925 w 1090712"/>
              <a:gd name="connsiteY214" fmla="*/ 119271 h 895572"/>
              <a:gd name="connsiteX215" fmla="*/ 404074 w 1090712"/>
              <a:gd name="connsiteY215" fmla="*/ 121647 h 895572"/>
              <a:gd name="connsiteX216" fmla="*/ 400510 w 1090712"/>
              <a:gd name="connsiteY216" fmla="*/ 123310 h 895572"/>
              <a:gd name="connsiteX217" fmla="*/ 397422 w 1090712"/>
              <a:gd name="connsiteY217" fmla="*/ 125211 h 895572"/>
              <a:gd name="connsiteX218" fmla="*/ 393383 w 1090712"/>
              <a:gd name="connsiteY218" fmla="*/ 126399 h 895572"/>
              <a:gd name="connsiteX219" fmla="*/ 389581 w 1090712"/>
              <a:gd name="connsiteY219" fmla="*/ 127824 h 895572"/>
              <a:gd name="connsiteX220" fmla="*/ 385542 w 1090712"/>
              <a:gd name="connsiteY220" fmla="*/ 128299 h 895572"/>
              <a:gd name="connsiteX221" fmla="*/ 381503 w 1090712"/>
              <a:gd name="connsiteY221" fmla="*/ 128774 h 895572"/>
              <a:gd name="connsiteX222" fmla="*/ 375326 w 1090712"/>
              <a:gd name="connsiteY222" fmla="*/ 130438 h 895572"/>
              <a:gd name="connsiteX223" fmla="*/ 368435 w 1090712"/>
              <a:gd name="connsiteY223" fmla="*/ 131863 h 895572"/>
              <a:gd name="connsiteX224" fmla="*/ 361783 w 1090712"/>
              <a:gd name="connsiteY224" fmla="*/ 133051 h 895572"/>
              <a:gd name="connsiteX225" fmla="*/ 355606 w 1090712"/>
              <a:gd name="connsiteY225" fmla="*/ 134001 h 895572"/>
              <a:gd name="connsiteX226" fmla="*/ 342300 w 1090712"/>
              <a:gd name="connsiteY226" fmla="*/ 135427 h 895572"/>
              <a:gd name="connsiteX227" fmla="*/ 329471 w 1090712"/>
              <a:gd name="connsiteY227" fmla="*/ 137090 h 895572"/>
              <a:gd name="connsiteX228" fmla="*/ 322818 w 1090712"/>
              <a:gd name="connsiteY228" fmla="*/ 138040 h 895572"/>
              <a:gd name="connsiteX229" fmla="*/ 316403 w 1090712"/>
              <a:gd name="connsiteY229" fmla="*/ 139704 h 895572"/>
              <a:gd name="connsiteX230" fmla="*/ 310226 w 1090712"/>
              <a:gd name="connsiteY230" fmla="*/ 141604 h 895572"/>
              <a:gd name="connsiteX231" fmla="*/ 304048 w 1090712"/>
              <a:gd name="connsiteY231" fmla="*/ 144218 h 895572"/>
              <a:gd name="connsiteX232" fmla="*/ 298346 w 1090712"/>
              <a:gd name="connsiteY232" fmla="*/ 147307 h 895572"/>
              <a:gd name="connsiteX233" fmla="*/ 292406 w 1090712"/>
              <a:gd name="connsiteY233" fmla="*/ 151346 h 895572"/>
              <a:gd name="connsiteX234" fmla="*/ 286704 w 1090712"/>
              <a:gd name="connsiteY234" fmla="*/ 156335 h 895572"/>
              <a:gd name="connsiteX235" fmla="*/ 281240 w 1090712"/>
              <a:gd name="connsiteY235" fmla="*/ 162037 h 895572"/>
              <a:gd name="connsiteX236" fmla="*/ 262232 w 1090712"/>
              <a:gd name="connsiteY236" fmla="*/ 182945 h 895572"/>
              <a:gd name="connsiteX237" fmla="*/ 242987 w 1090712"/>
              <a:gd name="connsiteY237" fmla="*/ 203378 h 895572"/>
              <a:gd name="connsiteX238" fmla="*/ 203547 w 1090712"/>
              <a:gd name="connsiteY238" fmla="*/ 244006 h 895572"/>
              <a:gd name="connsiteX239" fmla="*/ 183827 w 1090712"/>
              <a:gd name="connsiteY239" fmla="*/ 264439 h 895572"/>
              <a:gd name="connsiteX240" fmla="*/ 164345 w 1090712"/>
              <a:gd name="connsiteY240" fmla="*/ 285822 h 895572"/>
              <a:gd name="connsiteX241" fmla="*/ 144862 w 1090712"/>
              <a:gd name="connsiteY241" fmla="*/ 307443 h 895572"/>
              <a:gd name="connsiteX242" fmla="*/ 126093 w 1090712"/>
              <a:gd name="connsiteY242" fmla="*/ 329777 h 895572"/>
              <a:gd name="connsiteX243" fmla="*/ 122054 w 1090712"/>
              <a:gd name="connsiteY243" fmla="*/ 335004 h 895572"/>
              <a:gd name="connsiteX244" fmla="*/ 118015 w 1090712"/>
              <a:gd name="connsiteY244" fmla="*/ 340468 h 895572"/>
              <a:gd name="connsiteX245" fmla="*/ 110887 w 1090712"/>
              <a:gd name="connsiteY245" fmla="*/ 352110 h 895572"/>
              <a:gd name="connsiteX246" fmla="*/ 104709 w 1090712"/>
              <a:gd name="connsiteY246" fmla="*/ 363514 h 895572"/>
              <a:gd name="connsiteX247" fmla="*/ 99007 w 1090712"/>
              <a:gd name="connsiteY247" fmla="*/ 375156 h 895572"/>
              <a:gd name="connsiteX248" fmla="*/ 87840 w 1090712"/>
              <a:gd name="connsiteY248" fmla="*/ 400103 h 895572"/>
              <a:gd name="connsiteX249" fmla="*/ 82138 w 1090712"/>
              <a:gd name="connsiteY249" fmla="*/ 412458 h 895572"/>
              <a:gd name="connsiteX250" fmla="*/ 75723 w 1090712"/>
              <a:gd name="connsiteY250" fmla="*/ 425050 h 895572"/>
              <a:gd name="connsiteX251" fmla="*/ 75723 w 1090712"/>
              <a:gd name="connsiteY251" fmla="*/ 429802 h 895572"/>
              <a:gd name="connsiteX252" fmla="*/ 76674 w 1090712"/>
              <a:gd name="connsiteY252" fmla="*/ 436217 h 895572"/>
              <a:gd name="connsiteX253" fmla="*/ 77149 w 1090712"/>
              <a:gd name="connsiteY253" fmla="*/ 439306 h 895572"/>
              <a:gd name="connsiteX254" fmla="*/ 78574 w 1090712"/>
              <a:gd name="connsiteY254" fmla="*/ 442395 h 895572"/>
              <a:gd name="connsiteX255" fmla="*/ 79762 w 1090712"/>
              <a:gd name="connsiteY255" fmla="*/ 445008 h 895572"/>
              <a:gd name="connsiteX256" fmla="*/ 81663 w 1090712"/>
              <a:gd name="connsiteY256" fmla="*/ 447147 h 895572"/>
              <a:gd name="connsiteX257" fmla="*/ 94018 w 1090712"/>
              <a:gd name="connsiteY257" fmla="*/ 468055 h 895572"/>
              <a:gd name="connsiteX258" fmla="*/ 106848 w 1090712"/>
              <a:gd name="connsiteY258" fmla="*/ 488963 h 895572"/>
              <a:gd name="connsiteX259" fmla="*/ 113975 w 1090712"/>
              <a:gd name="connsiteY259" fmla="*/ 499654 h 895572"/>
              <a:gd name="connsiteX260" fmla="*/ 121103 w 1090712"/>
              <a:gd name="connsiteY260" fmla="*/ 510346 h 895572"/>
              <a:gd name="connsiteX261" fmla="*/ 128706 w 1090712"/>
              <a:gd name="connsiteY261" fmla="*/ 520562 h 895572"/>
              <a:gd name="connsiteX262" fmla="*/ 137259 w 1090712"/>
              <a:gd name="connsiteY262" fmla="*/ 531254 h 895572"/>
              <a:gd name="connsiteX263" fmla="*/ 149614 w 1090712"/>
              <a:gd name="connsiteY263" fmla="*/ 514385 h 895572"/>
              <a:gd name="connsiteX264" fmla="*/ 162206 w 1090712"/>
              <a:gd name="connsiteY264" fmla="*/ 498466 h 895572"/>
              <a:gd name="connsiteX265" fmla="*/ 174561 w 1090712"/>
              <a:gd name="connsiteY265" fmla="*/ 483260 h 895572"/>
              <a:gd name="connsiteX266" fmla="*/ 180739 w 1090712"/>
              <a:gd name="connsiteY266" fmla="*/ 476133 h 895572"/>
              <a:gd name="connsiteX267" fmla="*/ 186916 w 1090712"/>
              <a:gd name="connsiteY267" fmla="*/ 469480 h 895572"/>
              <a:gd name="connsiteX268" fmla="*/ 182639 w 1090712"/>
              <a:gd name="connsiteY268" fmla="*/ 482310 h 895572"/>
              <a:gd name="connsiteX269" fmla="*/ 178125 w 1090712"/>
              <a:gd name="connsiteY269" fmla="*/ 495615 h 895572"/>
              <a:gd name="connsiteX270" fmla="*/ 172423 w 1090712"/>
              <a:gd name="connsiteY270" fmla="*/ 509871 h 895572"/>
              <a:gd name="connsiteX271" fmla="*/ 164820 w 1090712"/>
              <a:gd name="connsiteY271" fmla="*/ 525552 h 895572"/>
              <a:gd name="connsiteX272" fmla="*/ 156267 w 1090712"/>
              <a:gd name="connsiteY272" fmla="*/ 538381 h 895572"/>
              <a:gd name="connsiteX273" fmla="*/ 152703 w 1090712"/>
              <a:gd name="connsiteY273" fmla="*/ 544559 h 895572"/>
              <a:gd name="connsiteX274" fmla="*/ 148664 w 1090712"/>
              <a:gd name="connsiteY274" fmla="*/ 551449 h 895572"/>
              <a:gd name="connsiteX275" fmla="*/ 145100 w 1090712"/>
              <a:gd name="connsiteY275" fmla="*/ 558339 h 895572"/>
              <a:gd name="connsiteX276" fmla="*/ 142011 w 1090712"/>
              <a:gd name="connsiteY276" fmla="*/ 565467 h 895572"/>
              <a:gd name="connsiteX277" fmla="*/ 139398 w 1090712"/>
              <a:gd name="connsiteY277" fmla="*/ 573070 h 895572"/>
              <a:gd name="connsiteX278" fmla="*/ 137259 w 1090712"/>
              <a:gd name="connsiteY278" fmla="*/ 581623 h 895572"/>
              <a:gd name="connsiteX279" fmla="*/ 136309 w 1090712"/>
              <a:gd name="connsiteY279" fmla="*/ 583761 h 895572"/>
              <a:gd name="connsiteX280" fmla="*/ 135359 w 1090712"/>
              <a:gd name="connsiteY280" fmla="*/ 586137 h 895572"/>
              <a:gd name="connsiteX281" fmla="*/ 134883 w 1090712"/>
              <a:gd name="connsiteY281" fmla="*/ 590889 h 895572"/>
              <a:gd name="connsiteX282" fmla="*/ 134883 w 1090712"/>
              <a:gd name="connsiteY282" fmla="*/ 595879 h 895572"/>
              <a:gd name="connsiteX283" fmla="*/ 135359 w 1090712"/>
              <a:gd name="connsiteY283" fmla="*/ 601106 h 895572"/>
              <a:gd name="connsiteX284" fmla="*/ 136784 w 1090712"/>
              <a:gd name="connsiteY284" fmla="*/ 606095 h 895572"/>
              <a:gd name="connsiteX285" fmla="*/ 138447 w 1090712"/>
              <a:gd name="connsiteY285" fmla="*/ 611322 h 895572"/>
              <a:gd name="connsiteX286" fmla="*/ 140348 w 1090712"/>
              <a:gd name="connsiteY286" fmla="*/ 616311 h 895572"/>
              <a:gd name="connsiteX287" fmla="*/ 142486 w 1090712"/>
              <a:gd name="connsiteY287" fmla="*/ 620826 h 895572"/>
              <a:gd name="connsiteX288" fmla="*/ 148664 w 1090712"/>
              <a:gd name="connsiteY288" fmla="*/ 629616 h 895572"/>
              <a:gd name="connsiteX289" fmla="*/ 155554 w 1090712"/>
              <a:gd name="connsiteY289" fmla="*/ 637219 h 895572"/>
              <a:gd name="connsiteX290" fmla="*/ 162444 w 1090712"/>
              <a:gd name="connsiteY290" fmla="*/ 643872 h 895572"/>
              <a:gd name="connsiteX291" fmla="*/ 169572 w 1090712"/>
              <a:gd name="connsiteY291" fmla="*/ 649099 h 895572"/>
              <a:gd name="connsiteX292" fmla="*/ 177175 w 1090712"/>
              <a:gd name="connsiteY292" fmla="*/ 653613 h 895572"/>
              <a:gd name="connsiteX293" fmla="*/ 184778 w 1090712"/>
              <a:gd name="connsiteY293" fmla="*/ 657177 h 895572"/>
              <a:gd name="connsiteX294" fmla="*/ 192856 w 1090712"/>
              <a:gd name="connsiteY294" fmla="*/ 659553 h 895572"/>
              <a:gd name="connsiteX295" fmla="*/ 200934 w 1090712"/>
              <a:gd name="connsiteY295" fmla="*/ 661216 h 895572"/>
              <a:gd name="connsiteX296" fmla="*/ 209250 w 1090712"/>
              <a:gd name="connsiteY296" fmla="*/ 661691 h 895572"/>
              <a:gd name="connsiteX297" fmla="*/ 218278 w 1090712"/>
              <a:gd name="connsiteY297" fmla="*/ 661691 h 895572"/>
              <a:gd name="connsiteX298" fmla="*/ 227069 w 1090712"/>
              <a:gd name="connsiteY298" fmla="*/ 660266 h 895572"/>
              <a:gd name="connsiteX299" fmla="*/ 236335 w 1090712"/>
              <a:gd name="connsiteY299" fmla="*/ 658603 h 895572"/>
              <a:gd name="connsiteX300" fmla="*/ 245838 w 1090712"/>
              <a:gd name="connsiteY300" fmla="*/ 655514 h 895572"/>
              <a:gd name="connsiteX301" fmla="*/ 255580 w 1090712"/>
              <a:gd name="connsiteY301" fmla="*/ 652425 h 895572"/>
              <a:gd name="connsiteX302" fmla="*/ 265321 w 1090712"/>
              <a:gd name="connsiteY302" fmla="*/ 647911 h 895572"/>
              <a:gd name="connsiteX303" fmla="*/ 276013 w 1090712"/>
              <a:gd name="connsiteY303" fmla="*/ 642922 h 895572"/>
              <a:gd name="connsiteX304" fmla="*/ 288367 w 1090712"/>
              <a:gd name="connsiteY304" fmla="*/ 635081 h 895572"/>
              <a:gd name="connsiteX305" fmla="*/ 301910 w 1090712"/>
              <a:gd name="connsiteY305" fmla="*/ 627478 h 895572"/>
              <a:gd name="connsiteX306" fmla="*/ 315215 w 1090712"/>
              <a:gd name="connsiteY306" fmla="*/ 620350 h 895572"/>
              <a:gd name="connsiteX307" fmla="*/ 329471 w 1090712"/>
              <a:gd name="connsiteY307" fmla="*/ 613698 h 895572"/>
              <a:gd name="connsiteX308" fmla="*/ 343726 w 1090712"/>
              <a:gd name="connsiteY308" fmla="*/ 607283 h 895572"/>
              <a:gd name="connsiteX309" fmla="*/ 357981 w 1090712"/>
              <a:gd name="connsiteY309" fmla="*/ 602056 h 895572"/>
              <a:gd name="connsiteX310" fmla="*/ 371999 w 1090712"/>
              <a:gd name="connsiteY310" fmla="*/ 597066 h 895572"/>
              <a:gd name="connsiteX311" fmla="*/ 386730 w 1090712"/>
              <a:gd name="connsiteY311" fmla="*/ 592790 h 895572"/>
              <a:gd name="connsiteX312" fmla="*/ 394808 w 1090712"/>
              <a:gd name="connsiteY312" fmla="*/ 590414 h 895572"/>
              <a:gd name="connsiteX313" fmla="*/ 402411 w 1090712"/>
              <a:gd name="connsiteY313" fmla="*/ 587325 h 895572"/>
              <a:gd name="connsiteX314" fmla="*/ 409064 w 1090712"/>
              <a:gd name="connsiteY314" fmla="*/ 583761 h 895572"/>
              <a:gd name="connsiteX315" fmla="*/ 411677 w 1090712"/>
              <a:gd name="connsiteY315" fmla="*/ 581623 h 895572"/>
              <a:gd name="connsiteX316" fmla="*/ 414766 w 1090712"/>
              <a:gd name="connsiteY316" fmla="*/ 579247 h 895572"/>
              <a:gd name="connsiteX317" fmla="*/ 417142 w 1090712"/>
              <a:gd name="connsiteY317" fmla="*/ 577109 h 895572"/>
              <a:gd name="connsiteX318" fmla="*/ 419280 w 1090712"/>
              <a:gd name="connsiteY318" fmla="*/ 574495 h 895572"/>
              <a:gd name="connsiteX319" fmla="*/ 420943 w 1090712"/>
              <a:gd name="connsiteY319" fmla="*/ 571407 h 895572"/>
              <a:gd name="connsiteX320" fmla="*/ 422844 w 1090712"/>
              <a:gd name="connsiteY320" fmla="*/ 568318 h 895572"/>
              <a:gd name="connsiteX321" fmla="*/ 424269 w 1090712"/>
              <a:gd name="connsiteY321" fmla="*/ 565229 h 895572"/>
              <a:gd name="connsiteX322" fmla="*/ 424982 w 1090712"/>
              <a:gd name="connsiteY322" fmla="*/ 561665 h 895572"/>
              <a:gd name="connsiteX323" fmla="*/ 425457 w 1090712"/>
              <a:gd name="connsiteY323" fmla="*/ 557626 h 895572"/>
              <a:gd name="connsiteX324" fmla="*/ 425932 w 1090712"/>
              <a:gd name="connsiteY324" fmla="*/ 553587 h 895572"/>
              <a:gd name="connsiteX325" fmla="*/ 425932 w 1090712"/>
              <a:gd name="connsiteY325" fmla="*/ 413884 h 895572"/>
              <a:gd name="connsiteX326" fmla="*/ 425932 w 1090712"/>
              <a:gd name="connsiteY326" fmla="*/ 285347 h 895572"/>
              <a:gd name="connsiteX327" fmla="*/ 429496 w 1090712"/>
              <a:gd name="connsiteY327" fmla="*/ 300078 h 895572"/>
              <a:gd name="connsiteX328" fmla="*/ 433060 w 1090712"/>
              <a:gd name="connsiteY328" fmla="*/ 314096 h 895572"/>
              <a:gd name="connsiteX329" fmla="*/ 436149 w 1090712"/>
              <a:gd name="connsiteY329" fmla="*/ 328826 h 895572"/>
              <a:gd name="connsiteX330" fmla="*/ 438762 w 1090712"/>
              <a:gd name="connsiteY330" fmla="*/ 343082 h 895572"/>
              <a:gd name="connsiteX331" fmla="*/ 443752 w 1090712"/>
              <a:gd name="connsiteY331" fmla="*/ 370642 h 895572"/>
              <a:gd name="connsiteX332" fmla="*/ 447791 w 1090712"/>
              <a:gd name="connsiteY332" fmla="*/ 397015 h 895572"/>
              <a:gd name="connsiteX333" fmla="*/ 451830 w 1090712"/>
              <a:gd name="connsiteY333" fmla="*/ 421962 h 895572"/>
              <a:gd name="connsiteX334" fmla="*/ 454919 w 1090712"/>
              <a:gd name="connsiteY334" fmla="*/ 446434 h 895572"/>
              <a:gd name="connsiteX335" fmla="*/ 456106 w 1090712"/>
              <a:gd name="connsiteY335" fmla="*/ 458313 h 895572"/>
              <a:gd name="connsiteX336" fmla="*/ 457057 w 1090712"/>
              <a:gd name="connsiteY336" fmla="*/ 470430 h 895572"/>
              <a:gd name="connsiteX337" fmla="*/ 457532 w 1090712"/>
              <a:gd name="connsiteY337" fmla="*/ 482310 h 895572"/>
              <a:gd name="connsiteX338" fmla="*/ 457532 w 1090712"/>
              <a:gd name="connsiteY338" fmla="*/ 493952 h 895572"/>
              <a:gd name="connsiteX339" fmla="*/ 457532 w 1090712"/>
              <a:gd name="connsiteY339" fmla="*/ 506069 h 895572"/>
              <a:gd name="connsiteX340" fmla="*/ 456582 w 1090712"/>
              <a:gd name="connsiteY340" fmla="*/ 517473 h 895572"/>
              <a:gd name="connsiteX341" fmla="*/ 455869 w 1090712"/>
              <a:gd name="connsiteY341" fmla="*/ 529116 h 895572"/>
              <a:gd name="connsiteX342" fmla="*/ 453968 w 1090712"/>
              <a:gd name="connsiteY342" fmla="*/ 540757 h 895572"/>
              <a:gd name="connsiteX343" fmla="*/ 452305 w 1090712"/>
              <a:gd name="connsiteY343" fmla="*/ 552162 h 895572"/>
              <a:gd name="connsiteX344" fmla="*/ 449454 w 1090712"/>
              <a:gd name="connsiteY344" fmla="*/ 563804 h 895572"/>
              <a:gd name="connsiteX345" fmla="*/ 446365 w 1090712"/>
              <a:gd name="connsiteY345" fmla="*/ 575446 h 895572"/>
              <a:gd name="connsiteX346" fmla="*/ 442326 w 1090712"/>
              <a:gd name="connsiteY346" fmla="*/ 586850 h 895572"/>
              <a:gd name="connsiteX347" fmla="*/ 440188 w 1090712"/>
              <a:gd name="connsiteY347" fmla="*/ 591364 h 895572"/>
              <a:gd name="connsiteX348" fmla="*/ 437574 w 1090712"/>
              <a:gd name="connsiteY348" fmla="*/ 595403 h 895572"/>
              <a:gd name="connsiteX349" fmla="*/ 434486 w 1090712"/>
              <a:gd name="connsiteY349" fmla="*/ 598967 h 895572"/>
              <a:gd name="connsiteX350" fmla="*/ 431397 w 1090712"/>
              <a:gd name="connsiteY350" fmla="*/ 602531 h 895572"/>
              <a:gd name="connsiteX351" fmla="*/ 428071 w 1090712"/>
              <a:gd name="connsiteY351" fmla="*/ 605145 h 895572"/>
              <a:gd name="connsiteX352" fmla="*/ 424982 w 1090712"/>
              <a:gd name="connsiteY352" fmla="*/ 607283 h 895572"/>
              <a:gd name="connsiteX353" fmla="*/ 422369 w 1090712"/>
              <a:gd name="connsiteY353" fmla="*/ 608708 h 895572"/>
              <a:gd name="connsiteX354" fmla="*/ 420230 w 1090712"/>
              <a:gd name="connsiteY354" fmla="*/ 609659 h 895572"/>
              <a:gd name="connsiteX355" fmla="*/ 410727 w 1090712"/>
              <a:gd name="connsiteY355" fmla="*/ 610847 h 895572"/>
              <a:gd name="connsiteX356" fmla="*/ 401461 w 1090712"/>
              <a:gd name="connsiteY356" fmla="*/ 612748 h 895572"/>
              <a:gd name="connsiteX357" fmla="*/ 392670 w 1090712"/>
              <a:gd name="connsiteY357" fmla="*/ 614886 h 895572"/>
              <a:gd name="connsiteX358" fmla="*/ 383641 w 1090712"/>
              <a:gd name="connsiteY358" fmla="*/ 617262 h 895572"/>
              <a:gd name="connsiteX359" fmla="*/ 374850 w 1090712"/>
              <a:gd name="connsiteY359" fmla="*/ 620350 h 895572"/>
              <a:gd name="connsiteX360" fmla="*/ 365822 w 1090712"/>
              <a:gd name="connsiteY360" fmla="*/ 623914 h 895572"/>
              <a:gd name="connsiteX361" fmla="*/ 348478 w 1090712"/>
              <a:gd name="connsiteY361" fmla="*/ 631042 h 895572"/>
              <a:gd name="connsiteX362" fmla="*/ 331609 w 1090712"/>
              <a:gd name="connsiteY362" fmla="*/ 639358 h 895572"/>
              <a:gd name="connsiteX363" fmla="*/ 314740 w 1090712"/>
              <a:gd name="connsiteY363" fmla="*/ 647911 h 895572"/>
              <a:gd name="connsiteX364" fmla="*/ 281240 w 1090712"/>
              <a:gd name="connsiteY364" fmla="*/ 665255 h 895572"/>
              <a:gd name="connsiteX365" fmla="*/ 274587 w 1090712"/>
              <a:gd name="connsiteY365" fmla="*/ 669294 h 895572"/>
              <a:gd name="connsiteX366" fmla="*/ 267935 w 1090712"/>
              <a:gd name="connsiteY366" fmla="*/ 672858 h 895572"/>
              <a:gd name="connsiteX367" fmla="*/ 261757 w 1090712"/>
              <a:gd name="connsiteY367" fmla="*/ 675947 h 895572"/>
              <a:gd name="connsiteX368" fmla="*/ 255105 w 1090712"/>
              <a:gd name="connsiteY368" fmla="*/ 679035 h 895572"/>
              <a:gd name="connsiteX369" fmla="*/ 248927 w 1090712"/>
              <a:gd name="connsiteY369" fmla="*/ 681174 h 895572"/>
              <a:gd name="connsiteX370" fmla="*/ 242987 w 1090712"/>
              <a:gd name="connsiteY370" fmla="*/ 683075 h 895572"/>
              <a:gd name="connsiteX371" fmla="*/ 236810 w 1090712"/>
              <a:gd name="connsiteY371" fmla="*/ 684738 h 895572"/>
              <a:gd name="connsiteX372" fmla="*/ 231108 w 1090712"/>
              <a:gd name="connsiteY372" fmla="*/ 686163 h 895572"/>
              <a:gd name="connsiteX373" fmla="*/ 225406 w 1090712"/>
              <a:gd name="connsiteY373" fmla="*/ 687114 h 895572"/>
              <a:gd name="connsiteX374" fmla="*/ 219466 w 1090712"/>
              <a:gd name="connsiteY374" fmla="*/ 687589 h 895572"/>
              <a:gd name="connsiteX375" fmla="*/ 213764 w 1090712"/>
              <a:gd name="connsiteY375" fmla="*/ 687589 h 895572"/>
              <a:gd name="connsiteX376" fmla="*/ 208299 w 1090712"/>
              <a:gd name="connsiteY376" fmla="*/ 687589 h 895572"/>
              <a:gd name="connsiteX377" fmla="*/ 203072 w 1090712"/>
              <a:gd name="connsiteY377" fmla="*/ 687114 h 895572"/>
              <a:gd name="connsiteX378" fmla="*/ 197607 w 1090712"/>
              <a:gd name="connsiteY378" fmla="*/ 686163 h 895572"/>
              <a:gd name="connsiteX379" fmla="*/ 192380 w 1090712"/>
              <a:gd name="connsiteY379" fmla="*/ 684738 h 895572"/>
              <a:gd name="connsiteX380" fmla="*/ 186916 w 1090712"/>
              <a:gd name="connsiteY380" fmla="*/ 683550 h 895572"/>
              <a:gd name="connsiteX381" fmla="*/ 181689 w 1090712"/>
              <a:gd name="connsiteY381" fmla="*/ 681649 h 895572"/>
              <a:gd name="connsiteX382" fmla="*/ 176699 w 1090712"/>
              <a:gd name="connsiteY382" fmla="*/ 679986 h 895572"/>
              <a:gd name="connsiteX383" fmla="*/ 171472 w 1090712"/>
              <a:gd name="connsiteY383" fmla="*/ 677610 h 895572"/>
              <a:gd name="connsiteX384" fmla="*/ 166483 w 1090712"/>
              <a:gd name="connsiteY384" fmla="*/ 674996 h 895572"/>
              <a:gd name="connsiteX385" fmla="*/ 156742 w 1090712"/>
              <a:gd name="connsiteY385" fmla="*/ 669294 h 895572"/>
              <a:gd name="connsiteX386" fmla="*/ 147001 w 1090712"/>
              <a:gd name="connsiteY386" fmla="*/ 662167 h 895572"/>
              <a:gd name="connsiteX387" fmla="*/ 137735 w 1090712"/>
              <a:gd name="connsiteY387" fmla="*/ 654564 h 895572"/>
              <a:gd name="connsiteX388" fmla="*/ 127756 w 1090712"/>
              <a:gd name="connsiteY388" fmla="*/ 645535 h 895572"/>
              <a:gd name="connsiteX389" fmla="*/ 118490 w 1090712"/>
              <a:gd name="connsiteY389" fmla="*/ 636269 h 895572"/>
              <a:gd name="connsiteX390" fmla="*/ 109224 w 1090712"/>
              <a:gd name="connsiteY390" fmla="*/ 626053 h 895572"/>
              <a:gd name="connsiteX391" fmla="*/ 107323 w 1090712"/>
              <a:gd name="connsiteY391" fmla="*/ 623914 h 895572"/>
              <a:gd name="connsiteX392" fmla="*/ 106135 w 1090712"/>
              <a:gd name="connsiteY392" fmla="*/ 620350 h 895572"/>
              <a:gd name="connsiteX393" fmla="*/ 105185 w 1090712"/>
              <a:gd name="connsiteY393" fmla="*/ 616311 h 895572"/>
              <a:gd name="connsiteX394" fmla="*/ 105185 w 1090712"/>
              <a:gd name="connsiteY394" fmla="*/ 612272 h 895572"/>
              <a:gd name="connsiteX395" fmla="*/ 105185 w 1090712"/>
              <a:gd name="connsiteY395" fmla="*/ 608233 h 895572"/>
              <a:gd name="connsiteX396" fmla="*/ 106135 w 1090712"/>
              <a:gd name="connsiteY396" fmla="*/ 604194 h 895572"/>
              <a:gd name="connsiteX397" fmla="*/ 107323 w 1090712"/>
              <a:gd name="connsiteY397" fmla="*/ 600630 h 895572"/>
              <a:gd name="connsiteX398" fmla="*/ 109224 w 1090712"/>
              <a:gd name="connsiteY398" fmla="*/ 598017 h 895572"/>
              <a:gd name="connsiteX399" fmla="*/ 111837 w 1090712"/>
              <a:gd name="connsiteY399" fmla="*/ 591840 h 895572"/>
              <a:gd name="connsiteX400" fmla="*/ 113975 w 1090712"/>
              <a:gd name="connsiteY400" fmla="*/ 586137 h 895572"/>
              <a:gd name="connsiteX401" fmla="*/ 115401 w 1090712"/>
              <a:gd name="connsiteY401" fmla="*/ 579722 h 895572"/>
              <a:gd name="connsiteX402" fmla="*/ 115876 w 1090712"/>
              <a:gd name="connsiteY402" fmla="*/ 574020 h 895572"/>
              <a:gd name="connsiteX403" fmla="*/ 115876 w 1090712"/>
              <a:gd name="connsiteY403" fmla="*/ 568318 h 895572"/>
              <a:gd name="connsiteX404" fmla="*/ 115401 w 1090712"/>
              <a:gd name="connsiteY404" fmla="*/ 562378 h 895572"/>
              <a:gd name="connsiteX405" fmla="*/ 114451 w 1090712"/>
              <a:gd name="connsiteY405" fmla="*/ 557151 h 895572"/>
              <a:gd name="connsiteX406" fmla="*/ 112788 w 1090712"/>
              <a:gd name="connsiteY406" fmla="*/ 551449 h 895572"/>
              <a:gd name="connsiteX407" fmla="*/ 110412 w 1090712"/>
              <a:gd name="connsiteY407" fmla="*/ 545984 h 895572"/>
              <a:gd name="connsiteX408" fmla="*/ 108273 w 1090712"/>
              <a:gd name="connsiteY408" fmla="*/ 540757 h 895572"/>
              <a:gd name="connsiteX409" fmla="*/ 105185 w 1090712"/>
              <a:gd name="connsiteY409" fmla="*/ 535293 h 895572"/>
              <a:gd name="connsiteX410" fmla="*/ 102096 w 1090712"/>
              <a:gd name="connsiteY410" fmla="*/ 530066 h 895572"/>
              <a:gd name="connsiteX411" fmla="*/ 94968 w 1090712"/>
              <a:gd name="connsiteY411" fmla="*/ 519374 h 895572"/>
              <a:gd name="connsiteX412" fmla="*/ 86890 w 1090712"/>
              <a:gd name="connsiteY412" fmla="*/ 508683 h 895572"/>
              <a:gd name="connsiteX413" fmla="*/ 78812 w 1090712"/>
              <a:gd name="connsiteY413" fmla="*/ 497991 h 895572"/>
              <a:gd name="connsiteX414" fmla="*/ 70972 w 1090712"/>
              <a:gd name="connsiteY414" fmla="*/ 486824 h 895572"/>
              <a:gd name="connsiteX415" fmla="*/ 67408 w 1090712"/>
              <a:gd name="connsiteY415" fmla="*/ 481122 h 895572"/>
              <a:gd name="connsiteX416" fmla="*/ 64319 w 1090712"/>
              <a:gd name="connsiteY416" fmla="*/ 474707 h 895572"/>
              <a:gd name="connsiteX417" fmla="*/ 61230 w 1090712"/>
              <a:gd name="connsiteY417" fmla="*/ 469005 h 895572"/>
              <a:gd name="connsiteX418" fmla="*/ 58379 w 1090712"/>
              <a:gd name="connsiteY418" fmla="*/ 462828 h 895572"/>
              <a:gd name="connsiteX419" fmla="*/ 56716 w 1090712"/>
              <a:gd name="connsiteY419" fmla="*/ 456175 h 895572"/>
              <a:gd name="connsiteX420" fmla="*/ 54815 w 1090712"/>
              <a:gd name="connsiteY420" fmla="*/ 449998 h 895572"/>
              <a:gd name="connsiteX421" fmla="*/ 54103 w 1090712"/>
              <a:gd name="connsiteY421" fmla="*/ 443345 h 895572"/>
              <a:gd name="connsiteX422" fmla="*/ 53627 w 1090712"/>
              <a:gd name="connsiteY422" fmla="*/ 436455 h 895572"/>
              <a:gd name="connsiteX423" fmla="*/ 53627 w 1090712"/>
              <a:gd name="connsiteY423" fmla="*/ 429327 h 895572"/>
              <a:gd name="connsiteX424" fmla="*/ 54815 w 1090712"/>
              <a:gd name="connsiteY424" fmla="*/ 422675 h 895572"/>
              <a:gd name="connsiteX425" fmla="*/ 56716 w 1090712"/>
              <a:gd name="connsiteY425" fmla="*/ 415547 h 895572"/>
              <a:gd name="connsiteX426" fmla="*/ 59330 w 1090712"/>
              <a:gd name="connsiteY426" fmla="*/ 408182 h 895572"/>
              <a:gd name="connsiteX427" fmla="*/ 60280 w 1090712"/>
              <a:gd name="connsiteY427" fmla="*/ 403192 h 895572"/>
              <a:gd name="connsiteX428" fmla="*/ 61943 w 1090712"/>
              <a:gd name="connsiteY428" fmla="*/ 397965 h 895572"/>
              <a:gd name="connsiteX429" fmla="*/ 65507 w 1090712"/>
              <a:gd name="connsiteY429" fmla="*/ 387986 h 895572"/>
              <a:gd name="connsiteX430" fmla="*/ 69546 w 1090712"/>
              <a:gd name="connsiteY430" fmla="*/ 378720 h 895572"/>
              <a:gd name="connsiteX431" fmla="*/ 74535 w 1090712"/>
              <a:gd name="connsiteY431" fmla="*/ 369929 h 895572"/>
              <a:gd name="connsiteX432" fmla="*/ 79762 w 1090712"/>
              <a:gd name="connsiteY432" fmla="*/ 360901 h 895572"/>
              <a:gd name="connsiteX433" fmla="*/ 85940 w 1090712"/>
              <a:gd name="connsiteY433" fmla="*/ 352585 h 895572"/>
              <a:gd name="connsiteX434" fmla="*/ 98057 w 1090712"/>
              <a:gd name="connsiteY434" fmla="*/ 335479 h 895572"/>
              <a:gd name="connsiteX435" fmla="*/ 102571 w 1090712"/>
              <a:gd name="connsiteY435" fmla="*/ 328113 h 895572"/>
              <a:gd name="connsiteX436" fmla="*/ 106848 w 1090712"/>
              <a:gd name="connsiteY436" fmla="*/ 320986 h 895572"/>
              <a:gd name="connsiteX437" fmla="*/ 116827 w 1090712"/>
              <a:gd name="connsiteY437" fmla="*/ 307205 h 895572"/>
              <a:gd name="connsiteX438" fmla="*/ 127043 w 1090712"/>
              <a:gd name="connsiteY438" fmla="*/ 293188 h 895572"/>
              <a:gd name="connsiteX439" fmla="*/ 137735 w 1090712"/>
              <a:gd name="connsiteY439" fmla="*/ 279407 h 895572"/>
              <a:gd name="connsiteX440" fmla="*/ 159831 w 1090712"/>
              <a:gd name="connsiteY440" fmla="*/ 251847 h 895572"/>
              <a:gd name="connsiteX441" fmla="*/ 170522 w 1090712"/>
              <a:gd name="connsiteY441" fmla="*/ 238066 h 895572"/>
              <a:gd name="connsiteX442" fmla="*/ 181214 w 1090712"/>
              <a:gd name="connsiteY442" fmla="*/ 223336 h 895572"/>
              <a:gd name="connsiteX443" fmla="*/ 164820 w 1090712"/>
              <a:gd name="connsiteY443" fmla="*/ 223336 h 895572"/>
              <a:gd name="connsiteX444" fmla="*/ 137972 w 1090712"/>
              <a:gd name="connsiteY444" fmla="*/ 230226 h 895572"/>
              <a:gd name="connsiteX445" fmla="*/ 125142 w 1090712"/>
              <a:gd name="connsiteY445" fmla="*/ 233790 h 895572"/>
              <a:gd name="connsiteX446" fmla="*/ 112788 w 1090712"/>
              <a:gd name="connsiteY446" fmla="*/ 237591 h 895572"/>
              <a:gd name="connsiteX447" fmla="*/ 100195 w 1090712"/>
              <a:gd name="connsiteY447" fmla="*/ 241630 h 895572"/>
              <a:gd name="connsiteX448" fmla="*/ 87840 w 1090712"/>
              <a:gd name="connsiteY448" fmla="*/ 245669 h 895572"/>
              <a:gd name="connsiteX449" fmla="*/ 75723 w 1090712"/>
              <a:gd name="connsiteY449" fmla="*/ 250183 h 895572"/>
              <a:gd name="connsiteX450" fmla="*/ 64319 w 1090712"/>
              <a:gd name="connsiteY450" fmla="*/ 254935 h 895572"/>
              <a:gd name="connsiteX451" fmla="*/ 52677 w 1090712"/>
              <a:gd name="connsiteY451" fmla="*/ 260400 h 895572"/>
              <a:gd name="connsiteX452" fmla="*/ 41035 w 1090712"/>
              <a:gd name="connsiteY452" fmla="*/ 265627 h 895572"/>
              <a:gd name="connsiteX453" fmla="*/ 29868 w 1090712"/>
              <a:gd name="connsiteY453" fmla="*/ 271567 h 895572"/>
              <a:gd name="connsiteX454" fmla="*/ 18939 w 1090712"/>
              <a:gd name="connsiteY454" fmla="*/ 277744 h 895572"/>
              <a:gd name="connsiteX455" fmla="*/ 7772 w 1090712"/>
              <a:gd name="connsiteY455" fmla="*/ 284397 h 895572"/>
              <a:gd name="connsiteX456" fmla="*/ 0 w 1090712"/>
              <a:gd name="connsiteY456" fmla="*/ 289924 h 895572"/>
              <a:gd name="connsiteX457" fmla="*/ 0 w 1090712"/>
              <a:gd name="connsiteY457" fmla="*/ 895572 h 895572"/>
              <a:gd name="connsiteX458" fmla="*/ 125653 w 1090712"/>
              <a:gd name="connsiteY458" fmla="*/ 895572 h 895572"/>
              <a:gd name="connsiteX459" fmla="*/ 127756 w 1090712"/>
              <a:gd name="connsiteY459" fmla="*/ 892155 h 895572"/>
              <a:gd name="connsiteX460" fmla="*/ 131082 w 1090712"/>
              <a:gd name="connsiteY460" fmla="*/ 885502 h 895572"/>
              <a:gd name="connsiteX461" fmla="*/ 133696 w 1090712"/>
              <a:gd name="connsiteY461" fmla="*/ 878374 h 895572"/>
              <a:gd name="connsiteX462" fmla="*/ 135834 w 1090712"/>
              <a:gd name="connsiteY462" fmla="*/ 871722 h 895572"/>
              <a:gd name="connsiteX463" fmla="*/ 137735 w 1090712"/>
              <a:gd name="connsiteY463" fmla="*/ 864594 h 895572"/>
              <a:gd name="connsiteX464" fmla="*/ 138923 w 1090712"/>
              <a:gd name="connsiteY464" fmla="*/ 857466 h 895572"/>
              <a:gd name="connsiteX465" fmla="*/ 140348 w 1090712"/>
              <a:gd name="connsiteY465" fmla="*/ 850339 h 895572"/>
              <a:gd name="connsiteX466" fmla="*/ 141298 w 1090712"/>
              <a:gd name="connsiteY466" fmla="*/ 843211 h 895572"/>
              <a:gd name="connsiteX467" fmla="*/ 142011 w 1090712"/>
              <a:gd name="connsiteY467" fmla="*/ 828955 h 895572"/>
              <a:gd name="connsiteX468" fmla="*/ 142486 w 1090712"/>
              <a:gd name="connsiteY468" fmla="*/ 814225 h 895572"/>
              <a:gd name="connsiteX469" fmla="*/ 142486 w 1090712"/>
              <a:gd name="connsiteY469" fmla="*/ 799494 h 895572"/>
              <a:gd name="connsiteX470" fmla="*/ 142486 w 1090712"/>
              <a:gd name="connsiteY470" fmla="*/ 782625 h 895572"/>
              <a:gd name="connsiteX471" fmla="*/ 142486 w 1090712"/>
              <a:gd name="connsiteY471" fmla="*/ 771458 h 895572"/>
              <a:gd name="connsiteX472" fmla="*/ 143912 w 1090712"/>
              <a:gd name="connsiteY472" fmla="*/ 778586 h 895572"/>
              <a:gd name="connsiteX473" fmla="*/ 145100 w 1090712"/>
              <a:gd name="connsiteY473" fmla="*/ 784526 h 895572"/>
              <a:gd name="connsiteX474" fmla="*/ 147476 w 1090712"/>
              <a:gd name="connsiteY474" fmla="*/ 789753 h 895572"/>
              <a:gd name="connsiteX475" fmla="*/ 149614 w 1090712"/>
              <a:gd name="connsiteY475" fmla="*/ 794267 h 895572"/>
              <a:gd name="connsiteX476" fmla="*/ 152228 w 1090712"/>
              <a:gd name="connsiteY476" fmla="*/ 797831 h 895572"/>
              <a:gd name="connsiteX477" fmla="*/ 155554 w 1090712"/>
              <a:gd name="connsiteY477" fmla="*/ 801395 h 895572"/>
              <a:gd name="connsiteX478" fmla="*/ 158643 w 1090712"/>
              <a:gd name="connsiteY478" fmla="*/ 803533 h 895572"/>
              <a:gd name="connsiteX479" fmla="*/ 162206 w 1090712"/>
              <a:gd name="connsiteY479" fmla="*/ 805909 h 895572"/>
              <a:gd name="connsiteX480" fmla="*/ 165770 w 1090712"/>
              <a:gd name="connsiteY480" fmla="*/ 807572 h 895572"/>
              <a:gd name="connsiteX481" fmla="*/ 169572 w 1090712"/>
              <a:gd name="connsiteY481" fmla="*/ 808523 h 895572"/>
              <a:gd name="connsiteX482" fmla="*/ 174086 w 1090712"/>
              <a:gd name="connsiteY482" fmla="*/ 809473 h 895572"/>
              <a:gd name="connsiteX483" fmla="*/ 178600 w 1090712"/>
              <a:gd name="connsiteY483" fmla="*/ 810186 h 895572"/>
              <a:gd name="connsiteX484" fmla="*/ 187866 w 1090712"/>
              <a:gd name="connsiteY484" fmla="*/ 810661 h 895572"/>
              <a:gd name="connsiteX485" fmla="*/ 198083 w 1090712"/>
              <a:gd name="connsiteY485" fmla="*/ 810661 h 895572"/>
              <a:gd name="connsiteX486" fmla="*/ 236810 w 1090712"/>
              <a:gd name="connsiteY486" fmla="*/ 810661 h 895572"/>
              <a:gd name="connsiteX487" fmla="*/ 249640 w 1090712"/>
              <a:gd name="connsiteY487" fmla="*/ 811136 h 895572"/>
              <a:gd name="connsiteX488" fmla="*/ 263183 w 1090712"/>
              <a:gd name="connsiteY488" fmla="*/ 811611 h 895572"/>
              <a:gd name="connsiteX489" fmla="*/ 270310 w 1090712"/>
              <a:gd name="connsiteY489" fmla="*/ 811611 h 895572"/>
              <a:gd name="connsiteX490" fmla="*/ 276963 w 1090712"/>
              <a:gd name="connsiteY490" fmla="*/ 811136 h 895572"/>
              <a:gd name="connsiteX491" fmla="*/ 283140 w 1090712"/>
              <a:gd name="connsiteY491" fmla="*/ 810186 h 895572"/>
              <a:gd name="connsiteX492" fmla="*/ 289793 w 1090712"/>
              <a:gd name="connsiteY492" fmla="*/ 808523 h 895572"/>
              <a:gd name="connsiteX493" fmla="*/ 295495 w 1090712"/>
              <a:gd name="connsiteY493" fmla="*/ 806147 h 895572"/>
              <a:gd name="connsiteX494" fmla="*/ 301435 w 1090712"/>
              <a:gd name="connsiteY494" fmla="*/ 803058 h 895572"/>
              <a:gd name="connsiteX495" fmla="*/ 304524 w 1090712"/>
              <a:gd name="connsiteY495" fmla="*/ 801395 h 895572"/>
              <a:gd name="connsiteX496" fmla="*/ 307137 w 1090712"/>
              <a:gd name="connsiteY496" fmla="*/ 799256 h 895572"/>
              <a:gd name="connsiteX497" fmla="*/ 309275 w 1090712"/>
              <a:gd name="connsiteY497" fmla="*/ 796881 h 895572"/>
              <a:gd name="connsiteX498" fmla="*/ 312126 w 1090712"/>
              <a:gd name="connsiteY498" fmla="*/ 794267 h 895572"/>
              <a:gd name="connsiteX499" fmla="*/ 314265 w 1090712"/>
              <a:gd name="connsiteY499" fmla="*/ 791178 h 895572"/>
              <a:gd name="connsiteX500" fmla="*/ 316403 w 1090712"/>
              <a:gd name="connsiteY500" fmla="*/ 788090 h 895572"/>
              <a:gd name="connsiteX501" fmla="*/ 318304 w 1090712"/>
              <a:gd name="connsiteY501" fmla="*/ 784051 h 895572"/>
              <a:gd name="connsiteX502" fmla="*/ 319967 w 1090712"/>
              <a:gd name="connsiteY502" fmla="*/ 780012 h 895572"/>
              <a:gd name="connsiteX503" fmla="*/ 321868 w 1090712"/>
              <a:gd name="connsiteY503" fmla="*/ 775973 h 895572"/>
              <a:gd name="connsiteX504" fmla="*/ 323056 w 1090712"/>
              <a:gd name="connsiteY504" fmla="*/ 771221 h 895572"/>
              <a:gd name="connsiteX505" fmla="*/ 324481 w 1090712"/>
              <a:gd name="connsiteY505" fmla="*/ 765756 h 895572"/>
              <a:gd name="connsiteX506" fmla="*/ 325907 w 1090712"/>
              <a:gd name="connsiteY506" fmla="*/ 760529 h 895572"/>
              <a:gd name="connsiteX507" fmla="*/ 325907 w 1090712"/>
              <a:gd name="connsiteY507" fmla="*/ 827530 h 895572"/>
              <a:gd name="connsiteX508" fmla="*/ 310226 w 1090712"/>
              <a:gd name="connsiteY508" fmla="*/ 835608 h 895572"/>
              <a:gd name="connsiteX509" fmla="*/ 295970 w 1090712"/>
              <a:gd name="connsiteY509" fmla="*/ 843686 h 895572"/>
              <a:gd name="connsiteX510" fmla="*/ 282665 w 1090712"/>
              <a:gd name="connsiteY510" fmla="*/ 850339 h 895572"/>
              <a:gd name="connsiteX511" fmla="*/ 276488 w 1090712"/>
              <a:gd name="connsiteY511" fmla="*/ 852952 h 895572"/>
              <a:gd name="connsiteX512" fmla="*/ 270310 w 1090712"/>
              <a:gd name="connsiteY512" fmla="*/ 855565 h 895572"/>
              <a:gd name="connsiteX513" fmla="*/ 266271 w 1090712"/>
              <a:gd name="connsiteY513" fmla="*/ 857942 h 895572"/>
              <a:gd name="connsiteX514" fmla="*/ 262708 w 1090712"/>
              <a:gd name="connsiteY514" fmla="*/ 860080 h 895572"/>
              <a:gd name="connsiteX515" fmla="*/ 259619 w 1090712"/>
              <a:gd name="connsiteY515" fmla="*/ 862693 h 895572"/>
              <a:gd name="connsiteX516" fmla="*/ 256768 w 1090712"/>
              <a:gd name="connsiteY516" fmla="*/ 865544 h 895572"/>
              <a:gd name="connsiteX517" fmla="*/ 254154 w 1090712"/>
              <a:gd name="connsiteY517" fmla="*/ 868633 h 895572"/>
              <a:gd name="connsiteX518" fmla="*/ 252491 w 1090712"/>
              <a:gd name="connsiteY518" fmla="*/ 871722 h 895572"/>
              <a:gd name="connsiteX519" fmla="*/ 250590 w 1090712"/>
              <a:gd name="connsiteY519" fmla="*/ 874810 h 895572"/>
              <a:gd name="connsiteX520" fmla="*/ 249402 w 1090712"/>
              <a:gd name="connsiteY520" fmla="*/ 877899 h 895572"/>
              <a:gd name="connsiteX521" fmla="*/ 248452 w 1090712"/>
              <a:gd name="connsiteY521" fmla="*/ 880988 h 895572"/>
              <a:gd name="connsiteX522" fmla="*/ 247977 w 1090712"/>
              <a:gd name="connsiteY522" fmla="*/ 884076 h 895572"/>
              <a:gd name="connsiteX523" fmla="*/ 247977 w 1090712"/>
              <a:gd name="connsiteY523" fmla="*/ 887165 h 895572"/>
              <a:gd name="connsiteX524" fmla="*/ 248452 w 1090712"/>
              <a:gd name="connsiteY524" fmla="*/ 890016 h 895572"/>
              <a:gd name="connsiteX525" fmla="*/ 249402 w 1090712"/>
              <a:gd name="connsiteY525" fmla="*/ 893105 h 895572"/>
              <a:gd name="connsiteX526" fmla="*/ 250075 w 1090712"/>
              <a:gd name="connsiteY526" fmla="*/ 895572 h 895572"/>
              <a:gd name="connsiteX527" fmla="*/ 474750 w 1090712"/>
              <a:gd name="connsiteY527" fmla="*/ 895572 h 895572"/>
              <a:gd name="connsiteX528" fmla="*/ 475827 w 1090712"/>
              <a:gd name="connsiteY528" fmla="*/ 894768 h 895572"/>
              <a:gd name="connsiteX529" fmla="*/ 486993 w 1090712"/>
              <a:gd name="connsiteY529" fmla="*/ 882889 h 895572"/>
              <a:gd name="connsiteX530" fmla="*/ 497210 w 1090712"/>
              <a:gd name="connsiteY530" fmla="*/ 870296 h 895572"/>
              <a:gd name="connsiteX531" fmla="*/ 506951 w 1090712"/>
              <a:gd name="connsiteY531" fmla="*/ 857942 h 895572"/>
              <a:gd name="connsiteX532" fmla="*/ 515742 w 1090712"/>
              <a:gd name="connsiteY532" fmla="*/ 844636 h 895572"/>
              <a:gd name="connsiteX533" fmla="*/ 523820 w 1090712"/>
              <a:gd name="connsiteY533" fmla="*/ 831094 h 895572"/>
              <a:gd name="connsiteX534" fmla="*/ 531898 w 1090712"/>
              <a:gd name="connsiteY534" fmla="*/ 816838 h 895572"/>
              <a:gd name="connsiteX535" fmla="*/ 539026 w 1090712"/>
              <a:gd name="connsiteY535" fmla="*/ 802583 h 895572"/>
              <a:gd name="connsiteX536" fmla="*/ 545678 w 1090712"/>
              <a:gd name="connsiteY536" fmla="*/ 788565 h 895572"/>
              <a:gd name="connsiteX537" fmla="*/ 552331 w 1090712"/>
              <a:gd name="connsiteY537" fmla="*/ 773359 h 895572"/>
              <a:gd name="connsiteX538" fmla="*/ 558033 w 1090712"/>
              <a:gd name="connsiteY538" fmla="*/ 758628 h 895572"/>
              <a:gd name="connsiteX539" fmla="*/ 563498 w 1090712"/>
              <a:gd name="connsiteY539" fmla="*/ 743185 h 895572"/>
              <a:gd name="connsiteX540" fmla="*/ 568725 w 1090712"/>
              <a:gd name="connsiteY540" fmla="*/ 727979 h 895572"/>
              <a:gd name="connsiteX541" fmla="*/ 573714 w 1090712"/>
              <a:gd name="connsiteY541" fmla="*/ 712298 h 895572"/>
              <a:gd name="connsiteX542" fmla="*/ 577991 w 1090712"/>
              <a:gd name="connsiteY542" fmla="*/ 696855 h 895572"/>
              <a:gd name="connsiteX543" fmla="*/ 586544 w 1090712"/>
              <a:gd name="connsiteY543" fmla="*/ 665255 h 895572"/>
              <a:gd name="connsiteX544" fmla="*/ 586069 w 1090712"/>
              <a:gd name="connsiteY544" fmla="*/ 663117 h 895572"/>
              <a:gd name="connsiteX545" fmla="*/ 584881 w 1090712"/>
              <a:gd name="connsiteY545" fmla="*/ 660266 h 895572"/>
              <a:gd name="connsiteX546" fmla="*/ 582980 w 1090712"/>
              <a:gd name="connsiteY546" fmla="*/ 657177 h 895572"/>
              <a:gd name="connsiteX547" fmla="*/ 580367 w 1090712"/>
              <a:gd name="connsiteY547" fmla="*/ 654088 h 895572"/>
              <a:gd name="connsiteX548" fmla="*/ 574902 w 1090712"/>
              <a:gd name="connsiteY548" fmla="*/ 647911 h 895572"/>
              <a:gd name="connsiteX549" fmla="*/ 570150 w 1090712"/>
              <a:gd name="connsiteY549" fmla="*/ 642922 h 895572"/>
              <a:gd name="connsiteX550" fmla="*/ 565636 w 1090712"/>
              <a:gd name="connsiteY550" fmla="*/ 636744 h 895572"/>
              <a:gd name="connsiteX551" fmla="*/ 560647 w 1090712"/>
              <a:gd name="connsiteY551" fmla="*/ 631517 h 895572"/>
              <a:gd name="connsiteX552" fmla="*/ 555420 w 1090712"/>
              <a:gd name="connsiteY552" fmla="*/ 626053 h 895572"/>
              <a:gd name="connsiteX553" fmla="*/ 550193 w 1090712"/>
              <a:gd name="connsiteY553" fmla="*/ 621301 h 895572"/>
              <a:gd name="connsiteX554" fmla="*/ 544253 w 1090712"/>
              <a:gd name="connsiteY554" fmla="*/ 616787 h 895572"/>
              <a:gd name="connsiteX555" fmla="*/ 538075 w 1090712"/>
              <a:gd name="connsiteY555" fmla="*/ 612272 h 895572"/>
              <a:gd name="connsiteX556" fmla="*/ 525721 w 1090712"/>
              <a:gd name="connsiteY556" fmla="*/ 603719 h 895572"/>
              <a:gd name="connsiteX557" fmla="*/ 563023 w 1090712"/>
              <a:gd name="connsiteY557" fmla="*/ 619875 h 895572"/>
              <a:gd name="connsiteX558" fmla="*/ 581317 w 1090712"/>
              <a:gd name="connsiteY558" fmla="*/ 628191 h 895572"/>
              <a:gd name="connsiteX559" fmla="*/ 599374 w 1090712"/>
              <a:gd name="connsiteY559" fmla="*/ 636744 h 895572"/>
              <a:gd name="connsiteX560" fmla="*/ 607927 w 1090712"/>
              <a:gd name="connsiteY560" fmla="*/ 641259 h 895572"/>
              <a:gd name="connsiteX561" fmla="*/ 616718 w 1090712"/>
              <a:gd name="connsiteY561" fmla="*/ 646010 h 895572"/>
              <a:gd name="connsiteX562" fmla="*/ 625271 w 1090712"/>
              <a:gd name="connsiteY562" fmla="*/ 651000 h 895572"/>
              <a:gd name="connsiteX563" fmla="*/ 633349 w 1090712"/>
              <a:gd name="connsiteY563" fmla="*/ 656227 h 895572"/>
              <a:gd name="connsiteX564" fmla="*/ 641665 w 1090712"/>
              <a:gd name="connsiteY564" fmla="*/ 662167 h 895572"/>
              <a:gd name="connsiteX565" fmla="*/ 649268 w 1090712"/>
              <a:gd name="connsiteY565" fmla="*/ 668344 h 895572"/>
              <a:gd name="connsiteX566" fmla="*/ 656871 w 1090712"/>
              <a:gd name="connsiteY566" fmla="*/ 674996 h 895572"/>
              <a:gd name="connsiteX567" fmla="*/ 664474 w 1090712"/>
              <a:gd name="connsiteY567" fmla="*/ 682124 h 895572"/>
              <a:gd name="connsiteX568" fmla="*/ 668988 w 1090712"/>
              <a:gd name="connsiteY568" fmla="*/ 686163 h 895572"/>
              <a:gd name="connsiteX569" fmla="*/ 672790 w 1090712"/>
              <a:gd name="connsiteY569" fmla="*/ 690202 h 895572"/>
              <a:gd name="connsiteX570" fmla="*/ 677304 w 1090712"/>
              <a:gd name="connsiteY570" fmla="*/ 693291 h 895572"/>
              <a:gd name="connsiteX571" fmla="*/ 682293 w 1090712"/>
              <a:gd name="connsiteY571" fmla="*/ 696855 h 895572"/>
              <a:gd name="connsiteX572" fmla="*/ 686570 w 1090712"/>
              <a:gd name="connsiteY572" fmla="*/ 699468 h 895572"/>
              <a:gd name="connsiteX573" fmla="*/ 691559 w 1090712"/>
              <a:gd name="connsiteY573" fmla="*/ 702082 h 895572"/>
              <a:gd name="connsiteX574" fmla="*/ 696549 w 1090712"/>
              <a:gd name="connsiteY574" fmla="*/ 703983 h 895572"/>
              <a:gd name="connsiteX575" fmla="*/ 701300 w 1090712"/>
              <a:gd name="connsiteY575" fmla="*/ 705646 h 895572"/>
              <a:gd name="connsiteX576" fmla="*/ 706290 w 1090712"/>
              <a:gd name="connsiteY576" fmla="*/ 707071 h 895572"/>
              <a:gd name="connsiteX577" fmla="*/ 711042 w 1090712"/>
              <a:gd name="connsiteY577" fmla="*/ 708497 h 895572"/>
              <a:gd name="connsiteX578" fmla="*/ 716506 w 1090712"/>
              <a:gd name="connsiteY578" fmla="*/ 708734 h 895572"/>
              <a:gd name="connsiteX579" fmla="*/ 721258 w 1090712"/>
              <a:gd name="connsiteY579" fmla="*/ 708734 h 895572"/>
              <a:gd name="connsiteX580" fmla="*/ 726723 w 1090712"/>
              <a:gd name="connsiteY580" fmla="*/ 708497 h 895572"/>
              <a:gd name="connsiteX581" fmla="*/ 731712 w 1090712"/>
              <a:gd name="connsiteY581" fmla="*/ 707546 h 895572"/>
              <a:gd name="connsiteX582" fmla="*/ 736939 w 1090712"/>
              <a:gd name="connsiteY582" fmla="*/ 706121 h 895572"/>
              <a:gd name="connsiteX583" fmla="*/ 742166 w 1090712"/>
              <a:gd name="connsiteY583" fmla="*/ 704458 h 895572"/>
              <a:gd name="connsiteX584" fmla="*/ 749294 w 1090712"/>
              <a:gd name="connsiteY584" fmla="*/ 702082 h 895572"/>
              <a:gd name="connsiteX585" fmla="*/ 756184 w 1090712"/>
              <a:gd name="connsiteY585" fmla="*/ 699468 h 895572"/>
              <a:gd name="connsiteX586" fmla="*/ 762361 w 1090712"/>
              <a:gd name="connsiteY586" fmla="*/ 696380 h 895572"/>
              <a:gd name="connsiteX587" fmla="*/ 768063 w 1090712"/>
              <a:gd name="connsiteY587" fmla="*/ 692816 h 895572"/>
              <a:gd name="connsiteX588" fmla="*/ 773528 w 1090712"/>
              <a:gd name="connsiteY588" fmla="*/ 689252 h 895572"/>
              <a:gd name="connsiteX589" fmla="*/ 778755 w 1090712"/>
              <a:gd name="connsiteY589" fmla="*/ 684738 h 895572"/>
              <a:gd name="connsiteX590" fmla="*/ 783269 w 1090712"/>
              <a:gd name="connsiteY590" fmla="*/ 680461 h 895572"/>
              <a:gd name="connsiteX591" fmla="*/ 787308 w 1090712"/>
              <a:gd name="connsiteY591" fmla="*/ 674996 h 895572"/>
              <a:gd name="connsiteX592" fmla="*/ 791110 w 1090712"/>
              <a:gd name="connsiteY592" fmla="*/ 669769 h 895572"/>
              <a:gd name="connsiteX593" fmla="*/ 794436 w 1090712"/>
              <a:gd name="connsiteY593" fmla="*/ 663830 h 895572"/>
              <a:gd name="connsiteX594" fmla="*/ 797050 w 1090712"/>
              <a:gd name="connsiteY594" fmla="*/ 657652 h 895572"/>
              <a:gd name="connsiteX595" fmla="*/ 799188 w 1090712"/>
              <a:gd name="connsiteY595" fmla="*/ 651000 h 895572"/>
              <a:gd name="connsiteX596" fmla="*/ 801089 w 1090712"/>
              <a:gd name="connsiteY596" fmla="*/ 643872 h 895572"/>
              <a:gd name="connsiteX597" fmla="*/ 802277 w 1090712"/>
              <a:gd name="connsiteY597" fmla="*/ 636744 h 895572"/>
              <a:gd name="connsiteX598" fmla="*/ 803227 w 1090712"/>
              <a:gd name="connsiteY598" fmla="*/ 628666 h 895572"/>
              <a:gd name="connsiteX599" fmla="*/ 803227 w 1090712"/>
              <a:gd name="connsiteY599" fmla="*/ 620826 h 895572"/>
              <a:gd name="connsiteX600" fmla="*/ 801089 w 1090712"/>
              <a:gd name="connsiteY600" fmla="*/ 622489 h 895572"/>
              <a:gd name="connsiteX601" fmla="*/ 798238 w 1090712"/>
              <a:gd name="connsiteY601" fmla="*/ 623914 h 895572"/>
              <a:gd name="connsiteX602" fmla="*/ 793011 w 1090712"/>
              <a:gd name="connsiteY602" fmla="*/ 626053 h 895572"/>
              <a:gd name="connsiteX603" fmla="*/ 790397 w 1090712"/>
              <a:gd name="connsiteY603" fmla="*/ 627478 h 895572"/>
              <a:gd name="connsiteX604" fmla="*/ 788496 w 1090712"/>
              <a:gd name="connsiteY604" fmla="*/ 628191 h 895572"/>
              <a:gd name="connsiteX605" fmla="*/ 787308 w 1090712"/>
              <a:gd name="connsiteY605" fmla="*/ 630092 h 895572"/>
              <a:gd name="connsiteX606" fmla="*/ 786833 w 1090712"/>
              <a:gd name="connsiteY606" fmla="*/ 631755 h 895572"/>
              <a:gd name="connsiteX607" fmla="*/ 785408 w 1090712"/>
              <a:gd name="connsiteY607" fmla="*/ 635794 h 895572"/>
              <a:gd name="connsiteX608" fmla="*/ 784220 w 1090712"/>
              <a:gd name="connsiteY608" fmla="*/ 639833 h 895572"/>
              <a:gd name="connsiteX609" fmla="*/ 780656 w 1090712"/>
              <a:gd name="connsiteY609" fmla="*/ 646485 h 895572"/>
              <a:gd name="connsiteX610" fmla="*/ 776617 w 1090712"/>
              <a:gd name="connsiteY610" fmla="*/ 653138 h 895572"/>
              <a:gd name="connsiteX611" fmla="*/ 772103 w 1090712"/>
              <a:gd name="connsiteY611" fmla="*/ 659078 h 895572"/>
              <a:gd name="connsiteX612" fmla="*/ 762361 w 1090712"/>
              <a:gd name="connsiteY612" fmla="*/ 670007 h 895572"/>
              <a:gd name="connsiteX613" fmla="*/ 757847 w 1090712"/>
              <a:gd name="connsiteY613" fmla="*/ 675947 h 895572"/>
              <a:gd name="connsiteX614" fmla="*/ 753333 w 1090712"/>
              <a:gd name="connsiteY614" fmla="*/ 682124 h 895572"/>
              <a:gd name="connsiteX615" fmla="*/ 750244 w 1090712"/>
              <a:gd name="connsiteY615" fmla="*/ 684738 h 895572"/>
              <a:gd name="connsiteX616" fmla="*/ 747155 w 1090712"/>
              <a:gd name="connsiteY616" fmla="*/ 687589 h 895572"/>
              <a:gd name="connsiteX617" fmla="*/ 744067 w 1090712"/>
              <a:gd name="connsiteY617" fmla="*/ 689252 h 895572"/>
              <a:gd name="connsiteX618" fmla="*/ 740978 w 1090712"/>
              <a:gd name="connsiteY618" fmla="*/ 690915 h 895572"/>
              <a:gd name="connsiteX619" fmla="*/ 737890 w 1090712"/>
              <a:gd name="connsiteY619" fmla="*/ 691865 h 895572"/>
              <a:gd name="connsiteX620" fmla="*/ 734801 w 1090712"/>
              <a:gd name="connsiteY620" fmla="*/ 692816 h 895572"/>
              <a:gd name="connsiteX621" fmla="*/ 731950 w 1090712"/>
              <a:gd name="connsiteY621" fmla="*/ 693291 h 895572"/>
              <a:gd name="connsiteX622" fmla="*/ 728861 w 1090712"/>
              <a:gd name="connsiteY622" fmla="*/ 693291 h 895572"/>
              <a:gd name="connsiteX623" fmla="*/ 723634 w 1090712"/>
              <a:gd name="connsiteY623" fmla="*/ 692816 h 895572"/>
              <a:gd name="connsiteX624" fmla="*/ 718169 w 1090712"/>
              <a:gd name="connsiteY624" fmla="*/ 691390 h 895572"/>
              <a:gd name="connsiteX625" fmla="*/ 713418 w 1090712"/>
              <a:gd name="connsiteY625" fmla="*/ 689727 h 895572"/>
              <a:gd name="connsiteX626" fmla="*/ 708903 w 1090712"/>
              <a:gd name="connsiteY626" fmla="*/ 687826 h 895572"/>
              <a:gd name="connsiteX627" fmla="*/ 706765 w 1090712"/>
              <a:gd name="connsiteY627" fmla="*/ 687589 h 895572"/>
              <a:gd name="connsiteX628" fmla="*/ 704864 w 1090712"/>
              <a:gd name="connsiteY628" fmla="*/ 687114 h 895572"/>
              <a:gd name="connsiteX629" fmla="*/ 703201 w 1090712"/>
              <a:gd name="connsiteY629" fmla="*/ 686163 h 895572"/>
              <a:gd name="connsiteX630" fmla="*/ 701776 w 1090712"/>
              <a:gd name="connsiteY630" fmla="*/ 684738 h 895572"/>
              <a:gd name="connsiteX631" fmla="*/ 698687 w 1090712"/>
              <a:gd name="connsiteY631" fmla="*/ 681649 h 895572"/>
              <a:gd name="connsiteX632" fmla="*/ 696549 w 1090712"/>
              <a:gd name="connsiteY632" fmla="*/ 678085 h 895572"/>
              <a:gd name="connsiteX633" fmla="*/ 694648 w 1090712"/>
              <a:gd name="connsiteY633" fmla="*/ 673571 h 895572"/>
              <a:gd name="connsiteX634" fmla="*/ 693460 w 1090712"/>
              <a:gd name="connsiteY634" fmla="*/ 668819 h 895572"/>
              <a:gd name="connsiteX635" fmla="*/ 692510 w 1090712"/>
              <a:gd name="connsiteY635" fmla="*/ 664305 h 895572"/>
              <a:gd name="connsiteX636" fmla="*/ 692510 w 1090712"/>
              <a:gd name="connsiteY636" fmla="*/ 659790 h 895572"/>
              <a:gd name="connsiteX637" fmla="*/ 692510 w 1090712"/>
              <a:gd name="connsiteY637" fmla="*/ 647436 h 895572"/>
              <a:gd name="connsiteX638" fmla="*/ 693460 w 1090712"/>
              <a:gd name="connsiteY638" fmla="*/ 635319 h 895572"/>
              <a:gd name="connsiteX639" fmla="*/ 694173 w 1090712"/>
              <a:gd name="connsiteY639" fmla="*/ 624389 h 895572"/>
              <a:gd name="connsiteX640" fmla="*/ 695598 w 1090712"/>
              <a:gd name="connsiteY640" fmla="*/ 612748 h 895572"/>
              <a:gd name="connsiteX641" fmla="*/ 699162 w 1090712"/>
              <a:gd name="connsiteY641" fmla="*/ 591364 h 895572"/>
              <a:gd name="connsiteX642" fmla="*/ 703676 w 1090712"/>
              <a:gd name="connsiteY642" fmla="*/ 570456 h 895572"/>
              <a:gd name="connsiteX643" fmla="*/ 720070 w 1090712"/>
              <a:gd name="connsiteY643" fmla="*/ 574971 h 895572"/>
              <a:gd name="connsiteX644" fmla="*/ 736939 w 1090712"/>
              <a:gd name="connsiteY644" fmla="*/ 579247 h 895572"/>
              <a:gd name="connsiteX645" fmla="*/ 770677 w 1090712"/>
              <a:gd name="connsiteY645" fmla="*/ 589226 h 895572"/>
              <a:gd name="connsiteX646" fmla="*/ 788021 w 1090712"/>
              <a:gd name="connsiteY646" fmla="*/ 593503 h 895572"/>
              <a:gd name="connsiteX647" fmla="*/ 805365 w 1090712"/>
              <a:gd name="connsiteY647" fmla="*/ 597542 h 895572"/>
              <a:gd name="connsiteX648" fmla="*/ 823660 w 1090712"/>
              <a:gd name="connsiteY648" fmla="*/ 601106 h 895572"/>
              <a:gd name="connsiteX649" fmla="*/ 841954 w 1090712"/>
              <a:gd name="connsiteY649" fmla="*/ 603719 h 895572"/>
              <a:gd name="connsiteX650" fmla="*/ 861437 w 1090712"/>
              <a:gd name="connsiteY650" fmla="*/ 606570 h 895572"/>
              <a:gd name="connsiteX651" fmla="*/ 880682 w 1090712"/>
              <a:gd name="connsiteY651" fmla="*/ 608233 h 895572"/>
              <a:gd name="connsiteX652" fmla="*/ 889948 w 1090712"/>
              <a:gd name="connsiteY652" fmla="*/ 608708 h 895572"/>
              <a:gd name="connsiteX653" fmla="*/ 898976 w 1090712"/>
              <a:gd name="connsiteY653" fmla="*/ 608708 h 895572"/>
              <a:gd name="connsiteX654" fmla="*/ 908242 w 1090712"/>
              <a:gd name="connsiteY654" fmla="*/ 608708 h 895572"/>
              <a:gd name="connsiteX655" fmla="*/ 916795 w 1090712"/>
              <a:gd name="connsiteY655" fmla="*/ 608233 h 895572"/>
              <a:gd name="connsiteX656" fmla="*/ 925586 w 1090712"/>
              <a:gd name="connsiteY656" fmla="*/ 607283 h 895572"/>
              <a:gd name="connsiteX657" fmla="*/ 934140 w 1090712"/>
              <a:gd name="connsiteY657" fmla="*/ 606095 h 895572"/>
              <a:gd name="connsiteX658" fmla="*/ 942455 w 1090712"/>
              <a:gd name="connsiteY658" fmla="*/ 604669 h 895572"/>
              <a:gd name="connsiteX659" fmla="*/ 950533 w 1090712"/>
              <a:gd name="connsiteY659" fmla="*/ 603006 h 895572"/>
              <a:gd name="connsiteX660" fmla="*/ 958611 w 1090712"/>
              <a:gd name="connsiteY660" fmla="*/ 600630 h 895572"/>
              <a:gd name="connsiteX661" fmla="*/ 966452 w 1090712"/>
              <a:gd name="connsiteY661" fmla="*/ 598017 h 895572"/>
              <a:gd name="connsiteX662" fmla="*/ 974055 w 1090712"/>
              <a:gd name="connsiteY662" fmla="*/ 595403 h 895572"/>
              <a:gd name="connsiteX663" fmla="*/ 981658 w 1090712"/>
              <a:gd name="connsiteY663" fmla="*/ 591840 h 895572"/>
              <a:gd name="connsiteX664" fmla="*/ 989261 w 1090712"/>
              <a:gd name="connsiteY664" fmla="*/ 588276 h 895572"/>
              <a:gd name="connsiteX665" fmla="*/ 996388 w 1090712"/>
              <a:gd name="connsiteY665" fmla="*/ 584237 h 895572"/>
              <a:gd name="connsiteX666" fmla="*/ 1003041 w 1090712"/>
              <a:gd name="connsiteY666" fmla="*/ 579247 h 895572"/>
              <a:gd name="connsiteX667" fmla="*/ 1009694 w 1090712"/>
              <a:gd name="connsiteY667" fmla="*/ 574495 h 895572"/>
              <a:gd name="connsiteX668" fmla="*/ 1016346 w 1090712"/>
              <a:gd name="connsiteY668" fmla="*/ 569031 h 895572"/>
              <a:gd name="connsiteX669" fmla="*/ 1022998 w 1090712"/>
              <a:gd name="connsiteY669" fmla="*/ 562853 h 895572"/>
              <a:gd name="connsiteX670" fmla="*/ 1029176 w 1090712"/>
              <a:gd name="connsiteY670" fmla="*/ 556676 h 895572"/>
              <a:gd name="connsiteX671" fmla="*/ 1035116 w 1090712"/>
              <a:gd name="connsiteY671" fmla="*/ 549548 h 895572"/>
              <a:gd name="connsiteX672" fmla="*/ 1040818 w 1090712"/>
              <a:gd name="connsiteY672" fmla="*/ 541945 h 895572"/>
              <a:gd name="connsiteX673" fmla="*/ 1046520 w 1090712"/>
              <a:gd name="connsiteY673" fmla="*/ 534342 h 895572"/>
              <a:gd name="connsiteX674" fmla="*/ 1051985 w 1090712"/>
              <a:gd name="connsiteY674" fmla="*/ 526027 h 895572"/>
              <a:gd name="connsiteX675" fmla="*/ 1056737 w 1090712"/>
              <a:gd name="connsiteY675" fmla="*/ 516523 h 895572"/>
              <a:gd name="connsiteX676" fmla="*/ 1061726 w 1090712"/>
              <a:gd name="connsiteY676" fmla="*/ 507257 h 895572"/>
              <a:gd name="connsiteX677" fmla="*/ 1066715 w 1090712"/>
              <a:gd name="connsiteY677" fmla="*/ 497041 h 895572"/>
              <a:gd name="connsiteX678" fmla="*/ 1070992 w 1090712"/>
              <a:gd name="connsiteY678" fmla="*/ 486349 h 895572"/>
              <a:gd name="connsiteX679" fmla="*/ 1075506 w 1090712"/>
              <a:gd name="connsiteY679" fmla="*/ 475182 h 895572"/>
              <a:gd name="connsiteX680" fmla="*/ 1079070 w 1090712"/>
              <a:gd name="connsiteY680" fmla="*/ 462828 h 895572"/>
              <a:gd name="connsiteX681" fmla="*/ 1082634 w 1090712"/>
              <a:gd name="connsiteY681" fmla="*/ 449998 h 895572"/>
              <a:gd name="connsiteX682" fmla="*/ 1084772 w 1090712"/>
              <a:gd name="connsiteY682" fmla="*/ 437405 h 895572"/>
              <a:gd name="connsiteX683" fmla="*/ 1087148 w 1090712"/>
              <a:gd name="connsiteY683" fmla="*/ 425050 h 895572"/>
              <a:gd name="connsiteX684" fmla="*/ 1088811 w 1090712"/>
              <a:gd name="connsiteY684" fmla="*/ 411983 h 895572"/>
              <a:gd name="connsiteX685" fmla="*/ 1089762 w 1090712"/>
              <a:gd name="connsiteY685" fmla="*/ 399628 h 895572"/>
              <a:gd name="connsiteX686" fmla="*/ 1090712 w 1090712"/>
              <a:gd name="connsiteY686" fmla="*/ 386798 h 895572"/>
              <a:gd name="connsiteX687" fmla="*/ 1090712 w 1090712"/>
              <a:gd name="connsiteY687" fmla="*/ 373731 h 895572"/>
              <a:gd name="connsiteX688" fmla="*/ 1090712 w 1090712"/>
              <a:gd name="connsiteY688" fmla="*/ 360901 h 895572"/>
              <a:gd name="connsiteX689" fmla="*/ 1089762 w 1090712"/>
              <a:gd name="connsiteY689" fmla="*/ 348071 h 895572"/>
              <a:gd name="connsiteX690" fmla="*/ 1088811 w 1090712"/>
              <a:gd name="connsiteY690" fmla="*/ 335004 h 895572"/>
              <a:gd name="connsiteX691" fmla="*/ 1088099 w 1090712"/>
              <a:gd name="connsiteY691" fmla="*/ 321698 h 895572"/>
              <a:gd name="connsiteX692" fmla="*/ 1084772 w 1090712"/>
              <a:gd name="connsiteY692" fmla="*/ 295563 h 895572"/>
              <a:gd name="connsiteX693" fmla="*/ 1080971 w 1090712"/>
              <a:gd name="connsiteY693" fmla="*/ 268478 h 895572"/>
              <a:gd name="connsiteX694" fmla="*/ 1078595 w 1090712"/>
              <a:gd name="connsiteY694" fmla="*/ 258262 h 895572"/>
              <a:gd name="connsiteX695" fmla="*/ 1075981 w 1090712"/>
              <a:gd name="connsiteY695" fmla="*/ 248283 h 895572"/>
              <a:gd name="connsiteX696" fmla="*/ 1072417 w 1090712"/>
              <a:gd name="connsiteY696" fmla="*/ 238542 h 895572"/>
              <a:gd name="connsiteX697" fmla="*/ 1069329 w 1090712"/>
              <a:gd name="connsiteY697" fmla="*/ 229275 h 895572"/>
              <a:gd name="connsiteX698" fmla="*/ 1061251 w 1090712"/>
              <a:gd name="connsiteY698" fmla="*/ 210031 h 895572"/>
              <a:gd name="connsiteX699" fmla="*/ 1053173 w 1090712"/>
              <a:gd name="connsiteY699" fmla="*/ 190073 h 895572"/>
              <a:gd name="connsiteX700" fmla="*/ 1051034 w 1090712"/>
              <a:gd name="connsiteY700" fmla="*/ 186034 h 895572"/>
              <a:gd name="connsiteX701" fmla="*/ 1048896 w 1090712"/>
              <a:gd name="connsiteY701" fmla="*/ 182470 h 895572"/>
              <a:gd name="connsiteX702" fmla="*/ 1046045 w 1090712"/>
              <a:gd name="connsiteY702" fmla="*/ 179381 h 895572"/>
              <a:gd name="connsiteX703" fmla="*/ 1043906 w 1090712"/>
              <a:gd name="connsiteY703" fmla="*/ 176768 h 895572"/>
              <a:gd name="connsiteX704" fmla="*/ 1041293 w 1090712"/>
              <a:gd name="connsiteY704" fmla="*/ 174630 h 895572"/>
              <a:gd name="connsiteX705" fmla="*/ 1038680 w 1090712"/>
              <a:gd name="connsiteY705" fmla="*/ 172729 h 895572"/>
              <a:gd name="connsiteX706" fmla="*/ 1035828 w 1090712"/>
              <a:gd name="connsiteY706" fmla="*/ 171303 h 895572"/>
              <a:gd name="connsiteX707" fmla="*/ 1032740 w 1090712"/>
              <a:gd name="connsiteY707" fmla="*/ 170591 h 895572"/>
              <a:gd name="connsiteX708" fmla="*/ 1030126 w 1090712"/>
              <a:gd name="connsiteY708" fmla="*/ 170591 h 895572"/>
              <a:gd name="connsiteX709" fmla="*/ 1027038 w 1090712"/>
              <a:gd name="connsiteY709" fmla="*/ 170591 h 895572"/>
              <a:gd name="connsiteX710" fmla="*/ 1024424 w 1090712"/>
              <a:gd name="connsiteY710" fmla="*/ 171303 h 895572"/>
              <a:gd name="connsiteX711" fmla="*/ 1021335 w 1090712"/>
              <a:gd name="connsiteY711" fmla="*/ 172729 h 895572"/>
              <a:gd name="connsiteX712" fmla="*/ 1018247 w 1090712"/>
              <a:gd name="connsiteY712" fmla="*/ 174867 h 895572"/>
              <a:gd name="connsiteX713" fmla="*/ 1014920 w 1090712"/>
              <a:gd name="connsiteY713" fmla="*/ 177718 h 895572"/>
              <a:gd name="connsiteX714" fmla="*/ 1011832 w 1090712"/>
              <a:gd name="connsiteY714" fmla="*/ 180807 h 895572"/>
              <a:gd name="connsiteX715" fmla="*/ 1008743 w 1090712"/>
              <a:gd name="connsiteY715" fmla="*/ 184846 h 895572"/>
              <a:gd name="connsiteX716" fmla="*/ 991874 w 1090712"/>
              <a:gd name="connsiteY716" fmla="*/ 201240 h 895572"/>
              <a:gd name="connsiteX717" fmla="*/ 983321 w 1090712"/>
              <a:gd name="connsiteY717" fmla="*/ 209318 h 895572"/>
              <a:gd name="connsiteX718" fmla="*/ 974530 w 1090712"/>
              <a:gd name="connsiteY718" fmla="*/ 216683 h 895572"/>
              <a:gd name="connsiteX719" fmla="*/ 965739 w 1090712"/>
              <a:gd name="connsiteY719" fmla="*/ 223811 h 895572"/>
              <a:gd name="connsiteX720" fmla="*/ 956236 w 1090712"/>
              <a:gd name="connsiteY720" fmla="*/ 230226 h 895572"/>
              <a:gd name="connsiteX721" fmla="*/ 946494 w 1090712"/>
              <a:gd name="connsiteY721" fmla="*/ 235928 h 895572"/>
              <a:gd name="connsiteX722" fmla="*/ 941505 w 1090712"/>
              <a:gd name="connsiteY722" fmla="*/ 238066 h 895572"/>
              <a:gd name="connsiteX723" fmla="*/ 936753 w 1090712"/>
              <a:gd name="connsiteY723" fmla="*/ 240442 h 895572"/>
              <a:gd name="connsiteX724" fmla="*/ 932239 w 1090712"/>
              <a:gd name="connsiteY724" fmla="*/ 242581 h 895572"/>
              <a:gd name="connsiteX725" fmla="*/ 928675 w 1090712"/>
              <a:gd name="connsiteY725" fmla="*/ 245669 h 895572"/>
              <a:gd name="connsiteX726" fmla="*/ 925111 w 1090712"/>
              <a:gd name="connsiteY726" fmla="*/ 249233 h 895572"/>
              <a:gd name="connsiteX727" fmla="*/ 922022 w 1090712"/>
              <a:gd name="connsiteY727" fmla="*/ 252797 h 895572"/>
              <a:gd name="connsiteX728" fmla="*/ 919884 w 1090712"/>
              <a:gd name="connsiteY728" fmla="*/ 257311 h 895572"/>
              <a:gd name="connsiteX729" fmla="*/ 918934 w 1090712"/>
              <a:gd name="connsiteY729" fmla="*/ 259925 h 895572"/>
              <a:gd name="connsiteX730" fmla="*/ 918459 w 1090712"/>
              <a:gd name="connsiteY730" fmla="*/ 262538 h 895572"/>
              <a:gd name="connsiteX731" fmla="*/ 918459 w 1090712"/>
              <a:gd name="connsiteY731" fmla="*/ 265389 h 895572"/>
              <a:gd name="connsiteX732" fmla="*/ 918459 w 1090712"/>
              <a:gd name="connsiteY732" fmla="*/ 268003 h 895572"/>
              <a:gd name="connsiteX733" fmla="*/ 918934 w 1090712"/>
              <a:gd name="connsiteY733" fmla="*/ 271091 h 895572"/>
              <a:gd name="connsiteX734" fmla="*/ 919884 w 1090712"/>
              <a:gd name="connsiteY734" fmla="*/ 274180 h 895572"/>
              <a:gd name="connsiteX735" fmla="*/ 921547 w 1090712"/>
              <a:gd name="connsiteY735" fmla="*/ 282258 h 895572"/>
              <a:gd name="connsiteX736" fmla="*/ 922973 w 1090712"/>
              <a:gd name="connsiteY736" fmla="*/ 290574 h 895572"/>
              <a:gd name="connsiteX737" fmla="*/ 923923 w 1090712"/>
              <a:gd name="connsiteY737" fmla="*/ 299127 h 895572"/>
              <a:gd name="connsiteX738" fmla="*/ 924161 w 1090712"/>
              <a:gd name="connsiteY738" fmla="*/ 307443 h 895572"/>
              <a:gd name="connsiteX739" fmla="*/ 924161 w 1090712"/>
              <a:gd name="connsiteY739" fmla="*/ 315996 h 895572"/>
              <a:gd name="connsiteX740" fmla="*/ 923923 w 1090712"/>
              <a:gd name="connsiteY740" fmla="*/ 324550 h 895572"/>
              <a:gd name="connsiteX741" fmla="*/ 922973 w 1090712"/>
              <a:gd name="connsiteY741" fmla="*/ 332865 h 895572"/>
              <a:gd name="connsiteX742" fmla="*/ 922022 w 1090712"/>
              <a:gd name="connsiteY742" fmla="*/ 340943 h 895572"/>
              <a:gd name="connsiteX743" fmla="*/ 920597 w 1090712"/>
              <a:gd name="connsiteY743" fmla="*/ 349259 h 895572"/>
              <a:gd name="connsiteX744" fmla="*/ 918934 w 1090712"/>
              <a:gd name="connsiteY744" fmla="*/ 357812 h 895572"/>
              <a:gd name="connsiteX745" fmla="*/ 914420 w 1090712"/>
              <a:gd name="connsiteY745" fmla="*/ 374681 h 895572"/>
              <a:gd name="connsiteX746" fmla="*/ 909192 w 1090712"/>
              <a:gd name="connsiteY746" fmla="*/ 391075 h 895572"/>
              <a:gd name="connsiteX747" fmla="*/ 903253 w 1090712"/>
              <a:gd name="connsiteY747" fmla="*/ 408182 h 895572"/>
              <a:gd name="connsiteX748" fmla="*/ 903253 w 1090712"/>
              <a:gd name="connsiteY748" fmla="*/ 397965 h 895572"/>
              <a:gd name="connsiteX749" fmla="*/ 904203 w 1090712"/>
              <a:gd name="connsiteY749" fmla="*/ 387274 h 895572"/>
              <a:gd name="connsiteX750" fmla="*/ 906104 w 1090712"/>
              <a:gd name="connsiteY750" fmla="*/ 367078 h 895572"/>
              <a:gd name="connsiteX751" fmla="*/ 907767 w 1090712"/>
              <a:gd name="connsiteY751" fmla="*/ 347596 h 895572"/>
              <a:gd name="connsiteX752" fmla="*/ 908717 w 1090712"/>
              <a:gd name="connsiteY752" fmla="*/ 338567 h 895572"/>
              <a:gd name="connsiteX753" fmla="*/ 908717 w 1090712"/>
              <a:gd name="connsiteY753" fmla="*/ 329777 h 895572"/>
              <a:gd name="connsiteX754" fmla="*/ 908717 w 1090712"/>
              <a:gd name="connsiteY754" fmla="*/ 325738 h 895572"/>
              <a:gd name="connsiteX755" fmla="*/ 907767 w 1090712"/>
              <a:gd name="connsiteY755" fmla="*/ 322649 h 895572"/>
              <a:gd name="connsiteX756" fmla="*/ 906817 w 1090712"/>
              <a:gd name="connsiteY756" fmla="*/ 319560 h 895572"/>
              <a:gd name="connsiteX757" fmla="*/ 905154 w 1090712"/>
              <a:gd name="connsiteY757" fmla="*/ 316471 h 895572"/>
              <a:gd name="connsiteX758" fmla="*/ 903728 w 1090712"/>
              <a:gd name="connsiteY758" fmla="*/ 314096 h 895572"/>
              <a:gd name="connsiteX759" fmla="*/ 901590 w 1090712"/>
              <a:gd name="connsiteY759" fmla="*/ 311957 h 895572"/>
              <a:gd name="connsiteX760" fmla="*/ 897551 w 1090712"/>
              <a:gd name="connsiteY760" fmla="*/ 307443 h 895572"/>
              <a:gd name="connsiteX761" fmla="*/ 895412 w 1090712"/>
              <a:gd name="connsiteY761" fmla="*/ 309344 h 895572"/>
              <a:gd name="connsiteX762" fmla="*/ 892561 w 1090712"/>
              <a:gd name="connsiteY762" fmla="*/ 310769 h 895572"/>
              <a:gd name="connsiteX763" fmla="*/ 887334 w 1090712"/>
              <a:gd name="connsiteY763" fmla="*/ 313383 h 895572"/>
              <a:gd name="connsiteX764" fmla="*/ 884721 w 1090712"/>
              <a:gd name="connsiteY764" fmla="*/ 314096 h 895572"/>
              <a:gd name="connsiteX765" fmla="*/ 882820 w 1090712"/>
              <a:gd name="connsiteY765" fmla="*/ 315521 h 895572"/>
              <a:gd name="connsiteX766" fmla="*/ 881632 w 1090712"/>
              <a:gd name="connsiteY766" fmla="*/ 316947 h 895572"/>
              <a:gd name="connsiteX767" fmla="*/ 881157 w 1090712"/>
              <a:gd name="connsiteY767" fmla="*/ 318610 h 895572"/>
              <a:gd name="connsiteX768" fmla="*/ 872604 w 1090712"/>
              <a:gd name="connsiteY768" fmla="*/ 331915 h 895572"/>
              <a:gd name="connsiteX769" fmla="*/ 864288 w 1090712"/>
              <a:gd name="connsiteY769" fmla="*/ 346646 h 895572"/>
              <a:gd name="connsiteX770" fmla="*/ 856210 w 1090712"/>
              <a:gd name="connsiteY770" fmla="*/ 361376 h 895572"/>
              <a:gd name="connsiteX771" fmla="*/ 847656 w 1090712"/>
              <a:gd name="connsiteY771" fmla="*/ 374681 h 895572"/>
              <a:gd name="connsiteX772" fmla="*/ 841954 w 1090712"/>
              <a:gd name="connsiteY772" fmla="*/ 374681 h 895572"/>
              <a:gd name="connsiteX773" fmla="*/ 846468 w 1090712"/>
              <a:gd name="connsiteY773" fmla="*/ 357812 h 895572"/>
              <a:gd name="connsiteX774" fmla="*/ 850508 w 1090712"/>
              <a:gd name="connsiteY774" fmla="*/ 339518 h 895572"/>
              <a:gd name="connsiteX775" fmla="*/ 854784 w 1090712"/>
              <a:gd name="connsiteY775" fmla="*/ 319560 h 895572"/>
              <a:gd name="connsiteX776" fmla="*/ 858823 w 1090712"/>
              <a:gd name="connsiteY776" fmla="*/ 296514 h 895572"/>
              <a:gd name="connsiteX777" fmla="*/ 848132 w 1090712"/>
              <a:gd name="connsiteY777" fmla="*/ 303879 h 895572"/>
              <a:gd name="connsiteX778" fmla="*/ 840054 w 1090712"/>
              <a:gd name="connsiteY778" fmla="*/ 310294 h 895572"/>
              <a:gd name="connsiteX779" fmla="*/ 833163 w 1090712"/>
              <a:gd name="connsiteY779" fmla="*/ 316947 h 895572"/>
              <a:gd name="connsiteX780" fmla="*/ 825560 w 1090712"/>
              <a:gd name="connsiteY780" fmla="*/ 324550 h 895572"/>
              <a:gd name="connsiteX781" fmla="*/ 823185 w 1090712"/>
              <a:gd name="connsiteY781" fmla="*/ 326688 h 895572"/>
              <a:gd name="connsiteX782" fmla="*/ 821522 w 1090712"/>
              <a:gd name="connsiteY782" fmla="*/ 329301 h 895572"/>
              <a:gd name="connsiteX783" fmla="*/ 817007 w 1090712"/>
              <a:gd name="connsiteY783" fmla="*/ 335954 h 895572"/>
              <a:gd name="connsiteX784" fmla="*/ 812968 w 1090712"/>
              <a:gd name="connsiteY784" fmla="*/ 344032 h 895572"/>
              <a:gd name="connsiteX785" fmla="*/ 808929 w 1090712"/>
              <a:gd name="connsiteY785" fmla="*/ 352585 h 895572"/>
              <a:gd name="connsiteX786" fmla="*/ 809880 w 1090712"/>
              <a:gd name="connsiteY786" fmla="*/ 343557 h 895572"/>
              <a:gd name="connsiteX787" fmla="*/ 811305 w 1090712"/>
              <a:gd name="connsiteY787" fmla="*/ 335479 h 895572"/>
              <a:gd name="connsiteX788" fmla="*/ 812493 w 1090712"/>
              <a:gd name="connsiteY788" fmla="*/ 328826 h 895572"/>
              <a:gd name="connsiteX789" fmla="*/ 814394 w 1090712"/>
              <a:gd name="connsiteY789" fmla="*/ 323124 h 895572"/>
              <a:gd name="connsiteX790" fmla="*/ 816532 w 1090712"/>
              <a:gd name="connsiteY790" fmla="*/ 317659 h 895572"/>
              <a:gd name="connsiteX791" fmla="*/ 819146 w 1090712"/>
              <a:gd name="connsiteY791" fmla="*/ 313383 h 895572"/>
              <a:gd name="connsiteX792" fmla="*/ 822709 w 1090712"/>
              <a:gd name="connsiteY792" fmla="*/ 309344 h 895572"/>
              <a:gd name="connsiteX793" fmla="*/ 826748 w 1090712"/>
              <a:gd name="connsiteY793" fmla="*/ 306255 h 895572"/>
              <a:gd name="connsiteX794" fmla="*/ 832213 w 1090712"/>
              <a:gd name="connsiteY794" fmla="*/ 303166 h 895572"/>
              <a:gd name="connsiteX795" fmla="*/ 838390 w 1090712"/>
              <a:gd name="connsiteY795" fmla="*/ 300315 h 895572"/>
              <a:gd name="connsiteX796" fmla="*/ 845518 w 1090712"/>
              <a:gd name="connsiteY796" fmla="*/ 298177 h 895572"/>
              <a:gd name="connsiteX797" fmla="*/ 854071 w 1090712"/>
              <a:gd name="connsiteY797" fmla="*/ 295563 h 895572"/>
              <a:gd name="connsiteX798" fmla="*/ 875217 w 1090712"/>
              <a:gd name="connsiteY798" fmla="*/ 290574 h 895572"/>
              <a:gd name="connsiteX799" fmla="*/ 903253 w 1090712"/>
              <a:gd name="connsiteY799" fmla="*/ 285347 h 895572"/>
              <a:gd name="connsiteX800" fmla="*/ 886384 w 1090712"/>
              <a:gd name="connsiteY800" fmla="*/ 268478 h 895572"/>
              <a:gd name="connsiteX801" fmla="*/ 879731 w 1090712"/>
              <a:gd name="connsiteY801" fmla="*/ 270141 h 895572"/>
              <a:gd name="connsiteX802" fmla="*/ 873079 w 1090712"/>
              <a:gd name="connsiteY802" fmla="*/ 271091 h 895572"/>
              <a:gd name="connsiteX803" fmla="*/ 867376 w 1090712"/>
              <a:gd name="connsiteY803" fmla="*/ 271567 h 895572"/>
              <a:gd name="connsiteX804" fmla="*/ 862387 w 1090712"/>
              <a:gd name="connsiteY804" fmla="*/ 271091 h 895572"/>
              <a:gd name="connsiteX805" fmla="*/ 857398 w 1090712"/>
              <a:gd name="connsiteY805" fmla="*/ 269666 h 895572"/>
              <a:gd name="connsiteX806" fmla="*/ 853596 w 1090712"/>
              <a:gd name="connsiteY806" fmla="*/ 268003 h 895572"/>
              <a:gd name="connsiteX807" fmla="*/ 849557 w 1090712"/>
              <a:gd name="connsiteY807" fmla="*/ 265627 h 895572"/>
              <a:gd name="connsiteX808" fmla="*/ 846468 w 1090712"/>
              <a:gd name="connsiteY808" fmla="*/ 262538 h 895572"/>
              <a:gd name="connsiteX809" fmla="*/ 843380 w 1090712"/>
              <a:gd name="connsiteY809" fmla="*/ 259450 h 895572"/>
              <a:gd name="connsiteX810" fmla="*/ 840529 w 1090712"/>
              <a:gd name="connsiteY810" fmla="*/ 255411 h 895572"/>
              <a:gd name="connsiteX811" fmla="*/ 838390 w 1090712"/>
              <a:gd name="connsiteY811" fmla="*/ 251134 h 895572"/>
              <a:gd name="connsiteX812" fmla="*/ 836490 w 1090712"/>
              <a:gd name="connsiteY812" fmla="*/ 246620 h 895572"/>
              <a:gd name="connsiteX813" fmla="*/ 834827 w 1090712"/>
              <a:gd name="connsiteY813" fmla="*/ 241155 h 895572"/>
              <a:gd name="connsiteX814" fmla="*/ 833401 w 1090712"/>
              <a:gd name="connsiteY814" fmla="*/ 235453 h 895572"/>
              <a:gd name="connsiteX815" fmla="*/ 831263 w 1090712"/>
              <a:gd name="connsiteY815" fmla="*/ 223336 h 895572"/>
              <a:gd name="connsiteX816" fmla="*/ 897551 w 1090712"/>
              <a:gd name="connsiteY816" fmla="*/ 206942 h 895572"/>
              <a:gd name="connsiteX817" fmla="*/ 888997 w 1090712"/>
              <a:gd name="connsiteY817" fmla="*/ 194112 h 895572"/>
              <a:gd name="connsiteX818" fmla="*/ 880682 w 1090712"/>
              <a:gd name="connsiteY818" fmla="*/ 181282 h 895572"/>
              <a:gd name="connsiteX819" fmla="*/ 871416 w 1090712"/>
              <a:gd name="connsiteY819" fmla="*/ 168690 h 895572"/>
              <a:gd name="connsiteX820" fmla="*/ 866901 w 1090712"/>
              <a:gd name="connsiteY820" fmla="*/ 162988 h 895572"/>
              <a:gd name="connsiteX821" fmla="*/ 861437 w 1090712"/>
              <a:gd name="connsiteY821" fmla="*/ 157048 h 895572"/>
              <a:gd name="connsiteX822" fmla="*/ 856210 w 1090712"/>
              <a:gd name="connsiteY822" fmla="*/ 151821 h 895572"/>
              <a:gd name="connsiteX823" fmla="*/ 850745 w 1090712"/>
              <a:gd name="connsiteY823" fmla="*/ 146831 h 895572"/>
              <a:gd name="connsiteX824" fmla="*/ 844568 w 1090712"/>
              <a:gd name="connsiteY824" fmla="*/ 142555 h 895572"/>
              <a:gd name="connsiteX825" fmla="*/ 838390 w 1090712"/>
              <a:gd name="connsiteY825" fmla="*/ 138516 h 895572"/>
              <a:gd name="connsiteX826" fmla="*/ 831738 w 1090712"/>
              <a:gd name="connsiteY826" fmla="*/ 134952 h 895572"/>
              <a:gd name="connsiteX827" fmla="*/ 824610 w 1090712"/>
              <a:gd name="connsiteY827" fmla="*/ 132338 h 895572"/>
              <a:gd name="connsiteX828" fmla="*/ 817007 w 1090712"/>
              <a:gd name="connsiteY828" fmla="*/ 129963 h 895572"/>
              <a:gd name="connsiteX829" fmla="*/ 808929 w 1090712"/>
              <a:gd name="connsiteY829" fmla="*/ 128774 h 895572"/>
              <a:gd name="connsiteX830" fmla="*/ 806791 w 1090712"/>
              <a:gd name="connsiteY830" fmla="*/ 128299 h 895572"/>
              <a:gd name="connsiteX831" fmla="*/ 804652 w 1090712"/>
              <a:gd name="connsiteY831" fmla="*/ 127824 h 895572"/>
              <a:gd name="connsiteX832" fmla="*/ 802752 w 1090712"/>
              <a:gd name="connsiteY832" fmla="*/ 126399 h 895572"/>
              <a:gd name="connsiteX833" fmla="*/ 801089 w 1090712"/>
              <a:gd name="connsiteY833" fmla="*/ 125211 h 895572"/>
              <a:gd name="connsiteX834" fmla="*/ 799663 w 1090712"/>
              <a:gd name="connsiteY834" fmla="*/ 123310 h 895572"/>
              <a:gd name="connsiteX835" fmla="*/ 798713 w 1090712"/>
              <a:gd name="connsiteY835" fmla="*/ 121647 h 895572"/>
              <a:gd name="connsiteX836" fmla="*/ 798000 w 1090712"/>
              <a:gd name="connsiteY836" fmla="*/ 119271 h 895572"/>
              <a:gd name="connsiteX837" fmla="*/ 798000 w 1090712"/>
              <a:gd name="connsiteY837" fmla="*/ 117608 h 895572"/>
              <a:gd name="connsiteX838" fmla="*/ 785408 w 1090712"/>
              <a:gd name="connsiteY838" fmla="*/ 106916 h 895572"/>
              <a:gd name="connsiteX839" fmla="*/ 772578 w 1090712"/>
              <a:gd name="connsiteY839" fmla="*/ 95749 h 895572"/>
              <a:gd name="connsiteX840" fmla="*/ 747155 w 1090712"/>
              <a:gd name="connsiteY840" fmla="*/ 72703 h 895572"/>
              <a:gd name="connsiteX841" fmla="*/ 733850 w 1090712"/>
              <a:gd name="connsiteY841" fmla="*/ 61061 h 895572"/>
              <a:gd name="connsiteX842" fmla="*/ 720545 w 1090712"/>
              <a:gd name="connsiteY842" fmla="*/ 49894 h 895572"/>
              <a:gd name="connsiteX843" fmla="*/ 706765 w 1090712"/>
              <a:gd name="connsiteY843" fmla="*/ 38728 h 895572"/>
              <a:gd name="connsiteX844" fmla="*/ 692510 w 1090712"/>
              <a:gd name="connsiteY844" fmla="*/ 28036 h 895572"/>
              <a:gd name="connsiteX845" fmla="*/ 679442 w 1090712"/>
              <a:gd name="connsiteY845" fmla="*/ 21859 h 895572"/>
              <a:gd name="connsiteX846" fmla="*/ 666137 w 1090712"/>
              <a:gd name="connsiteY846" fmla="*/ 16632 h 895572"/>
              <a:gd name="connsiteX847" fmla="*/ 652832 w 1090712"/>
              <a:gd name="connsiteY847" fmla="*/ 11642 h 895572"/>
              <a:gd name="connsiteX848" fmla="*/ 639527 w 1090712"/>
              <a:gd name="connsiteY848" fmla="*/ 7603 h 895572"/>
              <a:gd name="connsiteX849" fmla="*/ 626222 w 1090712"/>
              <a:gd name="connsiteY849" fmla="*/ 4514 h 895572"/>
              <a:gd name="connsiteX850" fmla="*/ 612917 w 1090712"/>
              <a:gd name="connsiteY850" fmla="*/ 1901 h 895572"/>
              <a:gd name="connsiteX851" fmla="*/ 599374 w 1090712"/>
              <a:gd name="connsiteY851" fmla="*/ 475 h 895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Lst>
            <a:rect l="l" t="t" r="r" b="b"/>
            <a:pathLst>
              <a:path w="1090712" h="895572">
                <a:moveTo>
                  <a:pt x="603413" y="721327"/>
                </a:moveTo>
                <a:lnTo>
                  <a:pt x="578466" y="770746"/>
                </a:lnTo>
                <a:lnTo>
                  <a:pt x="553519" y="818264"/>
                </a:lnTo>
                <a:lnTo>
                  <a:pt x="528334" y="865069"/>
                </a:lnTo>
                <a:lnTo>
                  <a:pt x="511825" y="895572"/>
                </a:lnTo>
                <a:lnTo>
                  <a:pt x="624528" y="895572"/>
                </a:lnTo>
                <a:lnTo>
                  <a:pt x="624796" y="894768"/>
                </a:lnTo>
                <a:lnTo>
                  <a:pt x="625271" y="891679"/>
                </a:lnTo>
                <a:lnTo>
                  <a:pt x="625747" y="889066"/>
                </a:lnTo>
                <a:lnTo>
                  <a:pt x="625747" y="860555"/>
                </a:lnTo>
                <a:lnTo>
                  <a:pt x="624796" y="833945"/>
                </a:lnTo>
                <a:lnTo>
                  <a:pt x="624321" y="820877"/>
                </a:lnTo>
                <a:lnTo>
                  <a:pt x="623608" y="808047"/>
                </a:lnTo>
                <a:lnTo>
                  <a:pt x="621708" y="795218"/>
                </a:lnTo>
                <a:lnTo>
                  <a:pt x="620044" y="782625"/>
                </a:lnTo>
                <a:lnTo>
                  <a:pt x="616005" y="766707"/>
                </a:lnTo>
                <a:lnTo>
                  <a:pt x="611966" y="751976"/>
                </a:lnTo>
                <a:lnTo>
                  <a:pt x="607452" y="737245"/>
                </a:lnTo>
                <a:close/>
                <a:moveTo>
                  <a:pt x="698212" y="530778"/>
                </a:moveTo>
                <a:lnTo>
                  <a:pt x="693460" y="534818"/>
                </a:lnTo>
                <a:lnTo>
                  <a:pt x="688471" y="538857"/>
                </a:lnTo>
                <a:lnTo>
                  <a:pt x="678254" y="546935"/>
                </a:lnTo>
                <a:lnTo>
                  <a:pt x="669226" y="553587"/>
                </a:lnTo>
                <a:lnTo>
                  <a:pt x="663048" y="558814"/>
                </a:lnTo>
                <a:lnTo>
                  <a:pt x="663048" y="556676"/>
                </a:lnTo>
                <a:lnTo>
                  <a:pt x="663523" y="554538"/>
                </a:lnTo>
                <a:lnTo>
                  <a:pt x="665424" y="550498"/>
                </a:lnTo>
                <a:lnTo>
                  <a:pt x="668038" y="546459"/>
                </a:lnTo>
                <a:lnTo>
                  <a:pt x="671602" y="542420"/>
                </a:lnTo>
                <a:lnTo>
                  <a:pt x="676829" y="538857"/>
                </a:lnTo>
                <a:lnTo>
                  <a:pt x="682768" y="535768"/>
                </a:lnTo>
                <a:lnTo>
                  <a:pt x="689896" y="533154"/>
                </a:lnTo>
                <a:close/>
                <a:moveTo>
                  <a:pt x="654257" y="302216"/>
                </a:moveTo>
                <a:lnTo>
                  <a:pt x="651882" y="302691"/>
                </a:lnTo>
                <a:lnTo>
                  <a:pt x="649268" y="303166"/>
                </a:lnTo>
                <a:lnTo>
                  <a:pt x="647130" y="304354"/>
                </a:lnTo>
                <a:lnTo>
                  <a:pt x="644516" y="306255"/>
                </a:lnTo>
                <a:lnTo>
                  <a:pt x="642140" y="307918"/>
                </a:lnTo>
                <a:lnTo>
                  <a:pt x="640002" y="310294"/>
                </a:lnTo>
                <a:lnTo>
                  <a:pt x="638101" y="312432"/>
                </a:lnTo>
                <a:lnTo>
                  <a:pt x="636913" y="314571"/>
                </a:lnTo>
                <a:lnTo>
                  <a:pt x="635963" y="316946"/>
                </a:lnTo>
                <a:lnTo>
                  <a:pt x="635963" y="319085"/>
                </a:lnTo>
                <a:lnTo>
                  <a:pt x="636913" y="321223"/>
                </a:lnTo>
                <a:lnTo>
                  <a:pt x="637626" y="324074"/>
                </a:lnTo>
                <a:lnTo>
                  <a:pt x="639527" y="326688"/>
                </a:lnTo>
                <a:lnTo>
                  <a:pt x="643091" y="331677"/>
                </a:lnTo>
                <a:lnTo>
                  <a:pt x="647130" y="335954"/>
                </a:lnTo>
                <a:lnTo>
                  <a:pt x="655920" y="330727"/>
                </a:lnTo>
                <a:lnTo>
                  <a:pt x="663999" y="324787"/>
                </a:lnTo>
                <a:lnTo>
                  <a:pt x="679917" y="313383"/>
                </a:lnTo>
                <a:lnTo>
                  <a:pt x="676354" y="311007"/>
                </a:lnTo>
                <a:lnTo>
                  <a:pt x="672790" y="308393"/>
                </a:lnTo>
                <a:lnTo>
                  <a:pt x="668988" y="306730"/>
                </a:lnTo>
                <a:lnTo>
                  <a:pt x="664949" y="304829"/>
                </a:lnTo>
                <a:lnTo>
                  <a:pt x="660910" y="303641"/>
                </a:lnTo>
                <a:lnTo>
                  <a:pt x="657346" y="302691"/>
                </a:lnTo>
                <a:close/>
                <a:moveTo>
                  <a:pt x="696549" y="252322"/>
                </a:moveTo>
                <a:lnTo>
                  <a:pt x="696786" y="259925"/>
                </a:lnTo>
                <a:lnTo>
                  <a:pt x="698212" y="266102"/>
                </a:lnTo>
                <a:lnTo>
                  <a:pt x="700113" y="272042"/>
                </a:lnTo>
                <a:lnTo>
                  <a:pt x="701776" y="276794"/>
                </a:lnTo>
                <a:lnTo>
                  <a:pt x="704389" y="280833"/>
                </a:lnTo>
                <a:lnTo>
                  <a:pt x="707240" y="284397"/>
                </a:lnTo>
                <a:lnTo>
                  <a:pt x="710329" y="287010"/>
                </a:lnTo>
                <a:lnTo>
                  <a:pt x="713418" y="289624"/>
                </a:lnTo>
                <a:lnTo>
                  <a:pt x="716506" y="291524"/>
                </a:lnTo>
                <a:lnTo>
                  <a:pt x="719595" y="293187"/>
                </a:lnTo>
                <a:lnTo>
                  <a:pt x="725772" y="295088"/>
                </a:lnTo>
                <a:lnTo>
                  <a:pt x="731237" y="296514"/>
                </a:lnTo>
                <a:lnTo>
                  <a:pt x="734801" y="296751"/>
                </a:lnTo>
                <a:lnTo>
                  <a:pt x="722209" y="303879"/>
                </a:lnTo>
                <a:lnTo>
                  <a:pt x="710804" y="311007"/>
                </a:lnTo>
                <a:lnTo>
                  <a:pt x="688471" y="324787"/>
                </a:lnTo>
                <a:lnTo>
                  <a:pt x="667563" y="339043"/>
                </a:lnTo>
                <a:lnTo>
                  <a:pt x="646179" y="352823"/>
                </a:lnTo>
                <a:lnTo>
                  <a:pt x="620044" y="313383"/>
                </a:lnTo>
                <a:lnTo>
                  <a:pt x="617668" y="312432"/>
                </a:lnTo>
                <a:lnTo>
                  <a:pt x="615055" y="312432"/>
                </a:lnTo>
                <a:lnTo>
                  <a:pt x="612441" y="313383"/>
                </a:lnTo>
                <a:lnTo>
                  <a:pt x="609353" y="314095"/>
                </a:lnTo>
                <a:lnTo>
                  <a:pt x="602938" y="316946"/>
                </a:lnTo>
                <a:lnTo>
                  <a:pt x="599849" y="317659"/>
                </a:lnTo>
                <a:lnTo>
                  <a:pt x="596760" y="318610"/>
                </a:lnTo>
                <a:lnTo>
                  <a:pt x="607927" y="307205"/>
                </a:lnTo>
                <a:lnTo>
                  <a:pt x="618619" y="295088"/>
                </a:lnTo>
                <a:lnTo>
                  <a:pt x="623846" y="289386"/>
                </a:lnTo>
                <a:lnTo>
                  <a:pt x="629786" y="283921"/>
                </a:lnTo>
                <a:lnTo>
                  <a:pt x="635963" y="278694"/>
                </a:lnTo>
                <a:lnTo>
                  <a:pt x="642140" y="273705"/>
                </a:lnTo>
                <a:lnTo>
                  <a:pt x="648793" y="269191"/>
                </a:lnTo>
                <a:lnTo>
                  <a:pt x="655446" y="265627"/>
                </a:lnTo>
                <a:lnTo>
                  <a:pt x="662098" y="263013"/>
                </a:lnTo>
                <a:lnTo>
                  <a:pt x="668988" y="260400"/>
                </a:lnTo>
                <a:lnTo>
                  <a:pt x="682768" y="256361"/>
                </a:lnTo>
                <a:close/>
                <a:moveTo>
                  <a:pt x="1030602" y="200289"/>
                </a:moveTo>
                <a:lnTo>
                  <a:pt x="1027513" y="207892"/>
                </a:lnTo>
                <a:lnTo>
                  <a:pt x="1023949" y="214545"/>
                </a:lnTo>
                <a:lnTo>
                  <a:pt x="1019910" y="221197"/>
                </a:lnTo>
                <a:lnTo>
                  <a:pt x="1015396" y="226899"/>
                </a:lnTo>
                <a:lnTo>
                  <a:pt x="1011119" y="232839"/>
                </a:lnTo>
                <a:lnTo>
                  <a:pt x="1006130" y="237591"/>
                </a:lnTo>
                <a:lnTo>
                  <a:pt x="1001140" y="242105"/>
                </a:lnTo>
                <a:lnTo>
                  <a:pt x="996388" y="246144"/>
                </a:lnTo>
                <a:lnTo>
                  <a:pt x="990924" y="249708"/>
                </a:lnTo>
                <a:lnTo>
                  <a:pt x="985697" y="252797"/>
                </a:lnTo>
                <a:lnTo>
                  <a:pt x="980232" y="254935"/>
                </a:lnTo>
                <a:lnTo>
                  <a:pt x="975005" y="256836"/>
                </a:lnTo>
                <a:lnTo>
                  <a:pt x="969541" y="258262"/>
                </a:lnTo>
                <a:lnTo>
                  <a:pt x="963839" y="258499"/>
                </a:lnTo>
                <a:lnTo>
                  <a:pt x="958612" y="258499"/>
                </a:lnTo>
                <a:lnTo>
                  <a:pt x="953622" y="257786"/>
                </a:lnTo>
                <a:lnTo>
                  <a:pt x="970966" y="244006"/>
                </a:lnTo>
                <a:lnTo>
                  <a:pt x="990211" y="229275"/>
                </a:lnTo>
                <a:lnTo>
                  <a:pt x="1010169" y="214069"/>
                </a:lnTo>
                <a:lnTo>
                  <a:pt x="1020385" y="206942"/>
                </a:lnTo>
                <a:close/>
                <a:moveTo>
                  <a:pt x="389581" y="176768"/>
                </a:moveTo>
                <a:lnTo>
                  <a:pt x="397422" y="177243"/>
                </a:lnTo>
                <a:lnTo>
                  <a:pt x="414766" y="178906"/>
                </a:lnTo>
                <a:lnTo>
                  <a:pt x="405500" y="179856"/>
                </a:lnTo>
                <a:lnTo>
                  <a:pt x="396946" y="181995"/>
                </a:lnTo>
                <a:lnTo>
                  <a:pt x="389581" y="184371"/>
                </a:lnTo>
                <a:lnTo>
                  <a:pt x="381978" y="186984"/>
                </a:lnTo>
                <a:lnTo>
                  <a:pt x="375326" y="190548"/>
                </a:lnTo>
                <a:lnTo>
                  <a:pt x="368911" y="194112"/>
                </a:lnTo>
                <a:lnTo>
                  <a:pt x="363208" y="198626"/>
                </a:lnTo>
                <a:lnTo>
                  <a:pt x="357981" y="202903"/>
                </a:lnTo>
                <a:lnTo>
                  <a:pt x="352517" y="208367"/>
                </a:lnTo>
                <a:lnTo>
                  <a:pt x="348003" y="214070"/>
                </a:lnTo>
                <a:lnTo>
                  <a:pt x="343726" y="220247"/>
                </a:lnTo>
                <a:lnTo>
                  <a:pt x="339687" y="226662"/>
                </a:lnTo>
                <a:lnTo>
                  <a:pt x="335648" y="233790"/>
                </a:lnTo>
                <a:lnTo>
                  <a:pt x="332559" y="240917"/>
                </a:lnTo>
                <a:lnTo>
                  <a:pt x="328995" y="248758"/>
                </a:lnTo>
                <a:lnTo>
                  <a:pt x="325907" y="256836"/>
                </a:lnTo>
                <a:lnTo>
                  <a:pt x="325432" y="252797"/>
                </a:lnTo>
                <a:lnTo>
                  <a:pt x="324956" y="248283"/>
                </a:lnTo>
                <a:lnTo>
                  <a:pt x="323056" y="239492"/>
                </a:lnTo>
                <a:lnTo>
                  <a:pt x="320917" y="229275"/>
                </a:lnTo>
                <a:lnTo>
                  <a:pt x="320442" y="223811"/>
                </a:lnTo>
                <a:lnTo>
                  <a:pt x="319967" y="217633"/>
                </a:lnTo>
                <a:lnTo>
                  <a:pt x="314740" y="217633"/>
                </a:lnTo>
                <a:lnTo>
                  <a:pt x="302148" y="243056"/>
                </a:lnTo>
                <a:lnTo>
                  <a:pt x="289793" y="267528"/>
                </a:lnTo>
                <a:lnTo>
                  <a:pt x="277438" y="291049"/>
                </a:lnTo>
                <a:lnTo>
                  <a:pt x="264371" y="312907"/>
                </a:lnTo>
                <a:lnTo>
                  <a:pt x="267459" y="295088"/>
                </a:lnTo>
                <a:lnTo>
                  <a:pt x="271023" y="279170"/>
                </a:lnTo>
                <a:lnTo>
                  <a:pt x="274587" y="263964"/>
                </a:lnTo>
                <a:lnTo>
                  <a:pt x="279101" y="250183"/>
                </a:lnTo>
                <a:lnTo>
                  <a:pt x="284091" y="238066"/>
                </a:lnTo>
                <a:lnTo>
                  <a:pt x="289318" y="226900"/>
                </a:lnTo>
                <a:lnTo>
                  <a:pt x="292406" y="221673"/>
                </a:lnTo>
                <a:lnTo>
                  <a:pt x="295495" y="217158"/>
                </a:lnTo>
                <a:lnTo>
                  <a:pt x="298584" y="212406"/>
                </a:lnTo>
                <a:lnTo>
                  <a:pt x="302148" y="208367"/>
                </a:lnTo>
                <a:lnTo>
                  <a:pt x="305711" y="204328"/>
                </a:lnTo>
                <a:lnTo>
                  <a:pt x="309275" y="200765"/>
                </a:lnTo>
                <a:lnTo>
                  <a:pt x="313314" y="197201"/>
                </a:lnTo>
                <a:lnTo>
                  <a:pt x="317354" y="194112"/>
                </a:lnTo>
                <a:lnTo>
                  <a:pt x="321868" y="191498"/>
                </a:lnTo>
                <a:lnTo>
                  <a:pt x="326382" y="188647"/>
                </a:lnTo>
                <a:lnTo>
                  <a:pt x="330659" y="186509"/>
                </a:lnTo>
                <a:lnTo>
                  <a:pt x="335648" y="184371"/>
                </a:lnTo>
                <a:lnTo>
                  <a:pt x="340637" y="182470"/>
                </a:lnTo>
                <a:lnTo>
                  <a:pt x="345864" y="181282"/>
                </a:lnTo>
                <a:lnTo>
                  <a:pt x="351091" y="179856"/>
                </a:lnTo>
                <a:lnTo>
                  <a:pt x="357031" y="178431"/>
                </a:lnTo>
                <a:lnTo>
                  <a:pt x="368911" y="177243"/>
                </a:lnTo>
                <a:lnTo>
                  <a:pt x="381978" y="176768"/>
                </a:lnTo>
                <a:close/>
                <a:moveTo>
                  <a:pt x="609353" y="174629"/>
                </a:moveTo>
                <a:lnTo>
                  <a:pt x="602463" y="180807"/>
                </a:lnTo>
                <a:lnTo>
                  <a:pt x="596285" y="187459"/>
                </a:lnTo>
                <a:lnTo>
                  <a:pt x="583931" y="201715"/>
                </a:lnTo>
                <a:lnTo>
                  <a:pt x="571101" y="215495"/>
                </a:lnTo>
                <a:lnTo>
                  <a:pt x="564686" y="222148"/>
                </a:lnTo>
                <a:lnTo>
                  <a:pt x="558508" y="228325"/>
                </a:lnTo>
                <a:lnTo>
                  <a:pt x="557558" y="223335"/>
                </a:lnTo>
                <a:lnTo>
                  <a:pt x="557083" y="219059"/>
                </a:lnTo>
                <a:lnTo>
                  <a:pt x="557083" y="215020"/>
                </a:lnTo>
                <a:lnTo>
                  <a:pt x="557558" y="210981"/>
                </a:lnTo>
                <a:lnTo>
                  <a:pt x="558508" y="207417"/>
                </a:lnTo>
                <a:lnTo>
                  <a:pt x="560409" y="203853"/>
                </a:lnTo>
                <a:lnTo>
                  <a:pt x="562072" y="200764"/>
                </a:lnTo>
                <a:lnTo>
                  <a:pt x="564686" y="197676"/>
                </a:lnTo>
                <a:lnTo>
                  <a:pt x="567774" y="194587"/>
                </a:lnTo>
                <a:lnTo>
                  <a:pt x="571813" y="191973"/>
                </a:lnTo>
                <a:lnTo>
                  <a:pt x="576328" y="188647"/>
                </a:lnTo>
                <a:lnTo>
                  <a:pt x="581317" y="186034"/>
                </a:lnTo>
                <a:lnTo>
                  <a:pt x="587019" y="183420"/>
                </a:lnTo>
                <a:lnTo>
                  <a:pt x="593672" y="180332"/>
                </a:lnTo>
                <a:close/>
                <a:moveTo>
                  <a:pt x="586544" y="0"/>
                </a:moveTo>
                <a:lnTo>
                  <a:pt x="570150" y="2851"/>
                </a:lnTo>
                <a:lnTo>
                  <a:pt x="553519" y="5940"/>
                </a:lnTo>
                <a:lnTo>
                  <a:pt x="536650" y="10454"/>
                </a:lnTo>
                <a:lnTo>
                  <a:pt x="520256" y="14731"/>
                </a:lnTo>
                <a:lnTo>
                  <a:pt x="486993" y="24472"/>
                </a:lnTo>
                <a:lnTo>
                  <a:pt x="469887" y="28986"/>
                </a:lnTo>
                <a:lnTo>
                  <a:pt x="453493" y="33500"/>
                </a:lnTo>
                <a:lnTo>
                  <a:pt x="438762" y="40153"/>
                </a:lnTo>
                <a:lnTo>
                  <a:pt x="424507" y="47281"/>
                </a:lnTo>
                <a:lnTo>
                  <a:pt x="417379" y="51320"/>
                </a:lnTo>
                <a:lnTo>
                  <a:pt x="410727" y="55834"/>
                </a:lnTo>
                <a:lnTo>
                  <a:pt x="403599" y="60111"/>
                </a:lnTo>
                <a:lnTo>
                  <a:pt x="397422" y="65100"/>
                </a:lnTo>
                <a:lnTo>
                  <a:pt x="390769" y="69852"/>
                </a:lnTo>
                <a:lnTo>
                  <a:pt x="384592" y="75792"/>
                </a:lnTo>
                <a:lnTo>
                  <a:pt x="378889" y="81494"/>
                </a:lnTo>
                <a:lnTo>
                  <a:pt x="372950" y="87671"/>
                </a:lnTo>
                <a:lnTo>
                  <a:pt x="367723" y="94324"/>
                </a:lnTo>
                <a:lnTo>
                  <a:pt x="362733" y="101452"/>
                </a:lnTo>
                <a:lnTo>
                  <a:pt x="357981" y="109055"/>
                </a:lnTo>
                <a:lnTo>
                  <a:pt x="353467" y="117608"/>
                </a:lnTo>
                <a:lnTo>
                  <a:pt x="409064" y="117608"/>
                </a:lnTo>
                <a:lnTo>
                  <a:pt x="406925" y="119271"/>
                </a:lnTo>
                <a:lnTo>
                  <a:pt x="404074" y="121647"/>
                </a:lnTo>
                <a:lnTo>
                  <a:pt x="400510" y="123310"/>
                </a:lnTo>
                <a:lnTo>
                  <a:pt x="397422" y="125211"/>
                </a:lnTo>
                <a:lnTo>
                  <a:pt x="393383" y="126399"/>
                </a:lnTo>
                <a:lnTo>
                  <a:pt x="389581" y="127824"/>
                </a:lnTo>
                <a:lnTo>
                  <a:pt x="385542" y="128299"/>
                </a:lnTo>
                <a:lnTo>
                  <a:pt x="381503" y="128774"/>
                </a:lnTo>
                <a:lnTo>
                  <a:pt x="375326" y="130438"/>
                </a:lnTo>
                <a:lnTo>
                  <a:pt x="368435" y="131863"/>
                </a:lnTo>
                <a:lnTo>
                  <a:pt x="361783" y="133051"/>
                </a:lnTo>
                <a:lnTo>
                  <a:pt x="355606" y="134001"/>
                </a:lnTo>
                <a:lnTo>
                  <a:pt x="342300" y="135427"/>
                </a:lnTo>
                <a:lnTo>
                  <a:pt x="329471" y="137090"/>
                </a:lnTo>
                <a:lnTo>
                  <a:pt x="322818" y="138040"/>
                </a:lnTo>
                <a:lnTo>
                  <a:pt x="316403" y="139704"/>
                </a:lnTo>
                <a:lnTo>
                  <a:pt x="310226" y="141604"/>
                </a:lnTo>
                <a:lnTo>
                  <a:pt x="304048" y="144218"/>
                </a:lnTo>
                <a:lnTo>
                  <a:pt x="298346" y="147307"/>
                </a:lnTo>
                <a:lnTo>
                  <a:pt x="292406" y="151346"/>
                </a:lnTo>
                <a:lnTo>
                  <a:pt x="286704" y="156335"/>
                </a:lnTo>
                <a:lnTo>
                  <a:pt x="281240" y="162037"/>
                </a:lnTo>
                <a:lnTo>
                  <a:pt x="262232" y="182945"/>
                </a:lnTo>
                <a:lnTo>
                  <a:pt x="242987" y="203378"/>
                </a:lnTo>
                <a:lnTo>
                  <a:pt x="203547" y="244006"/>
                </a:lnTo>
                <a:lnTo>
                  <a:pt x="183827" y="264439"/>
                </a:lnTo>
                <a:lnTo>
                  <a:pt x="164345" y="285822"/>
                </a:lnTo>
                <a:lnTo>
                  <a:pt x="144862" y="307443"/>
                </a:lnTo>
                <a:lnTo>
                  <a:pt x="126093" y="329777"/>
                </a:lnTo>
                <a:lnTo>
                  <a:pt x="122054" y="335004"/>
                </a:lnTo>
                <a:lnTo>
                  <a:pt x="118015" y="340468"/>
                </a:lnTo>
                <a:lnTo>
                  <a:pt x="110887" y="352110"/>
                </a:lnTo>
                <a:lnTo>
                  <a:pt x="104709" y="363514"/>
                </a:lnTo>
                <a:lnTo>
                  <a:pt x="99007" y="375156"/>
                </a:lnTo>
                <a:lnTo>
                  <a:pt x="87840" y="400103"/>
                </a:lnTo>
                <a:lnTo>
                  <a:pt x="82138" y="412458"/>
                </a:lnTo>
                <a:lnTo>
                  <a:pt x="75723" y="425050"/>
                </a:lnTo>
                <a:lnTo>
                  <a:pt x="75723" y="429802"/>
                </a:lnTo>
                <a:lnTo>
                  <a:pt x="76674" y="436217"/>
                </a:lnTo>
                <a:lnTo>
                  <a:pt x="77149" y="439306"/>
                </a:lnTo>
                <a:lnTo>
                  <a:pt x="78574" y="442395"/>
                </a:lnTo>
                <a:lnTo>
                  <a:pt x="79762" y="445008"/>
                </a:lnTo>
                <a:lnTo>
                  <a:pt x="81663" y="447147"/>
                </a:lnTo>
                <a:lnTo>
                  <a:pt x="94018" y="468055"/>
                </a:lnTo>
                <a:lnTo>
                  <a:pt x="106848" y="488963"/>
                </a:lnTo>
                <a:lnTo>
                  <a:pt x="113975" y="499654"/>
                </a:lnTo>
                <a:lnTo>
                  <a:pt x="121103" y="510346"/>
                </a:lnTo>
                <a:lnTo>
                  <a:pt x="128706" y="520562"/>
                </a:lnTo>
                <a:lnTo>
                  <a:pt x="137259" y="531254"/>
                </a:lnTo>
                <a:lnTo>
                  <a:pt x="149614" y="514385"/>
                </a:lnTo>
                <a:lnTo>
                  <a:pt x="162206" y="498466"/>
                </a:lnTo>
                <a:lnTo>
                  <a:pt x="174561" y="483260"/>
                </a:lnTo>
                <a:lnTo>
                  <a:pt x="180739" y="476133"/>
                </a:lnTo>
                <a:lnTo>
                  <a:pt x="186916" y="469480"/>
                </a:lnTo>
                <a:lnTo>
                  <a:pt x="182639" y="482310"/>
                </a:lnTo>
                <a:lnTo>
                  <a:pt x="178125" y="495615"/>
                </a:lnTo>
                <a:lnTo>
                  <a:pt x="172423" y="509871"/>
                </a:lnTo>
                <a:lnTo>
                  <a:pt x="164820" y="525552"/>
                </a:lnTo>
                <a:lnTo>
                  <a:pt x="156267" y="538381"/>
                </a:lnTo>
                <a:lnTo>
                  <a:pt x="152703" y="544559"/>
                </a:lnTo>
                <a:lnTo>
                  <a:pt x="148664" y="551449"/>
                </a:lnTo>
                <a:lnTo>
                  <a:pt x="145100" y="558339"/>
                </a:lnTo>
                <a:lnTo>
                  <a:pt x="142011" y="565467"/>
                </a:lnTo>
                <a:lnTo>
                  <a:pt x="139398" y="573070"/>
                </a:lnTo>
                <a:lnTo>
                  <a:pt x="137259" y="581623"/>
                </a:lnTo>
                <a:lnTo>
                  <a:pt x="136309" y="583761"/>
                </a:lnTo>
                <a:lnTo>
                  <a:pt x="135359" y="586137"/>
                </a:lnTo>
                <a:lnTo>
                  <a:pt x="134883" y="590889"/>
                </a:lnTo>
                <a:lnTo>
                  <a:pt x="134883" y="595879"/>
                </a:lnTo>
                <a:lnTo>
                  <a:pt x="135359" y="601106"/>
                </a:lnTo>
                <a:lnTo>
                  <a:pt x="136784" y="606095"/>
                </a:lnTo>
                <a:lnTo>
                  <a:pt x="138447" y="611322"/>
                </a:lnTo>
                <a:lnTo>
                  <a:pt x="140348" y="616311"/>
                </a:lnTo>
                <a:lnTo>
                  <a:pt x="142486" y="620826"/>
                </a:lnTo>
                <a:lnTo>
                  <a:pt x="148664" y="629616"/>
                </a:lnTo>
                <a:lnTo>
                  <a:pt x="155554" y="637219"/>
                </a:lnTo>
                <a:lnTo>
                  <a:pt x="162444" y="643872"/>
                </a:lnTo>
                <a:lnTo>
                  <a:pt x="169572" y="649099"/>
                </a:lnTo>
                <a:lnTo>
                  <a:pt x="177175" y="653613"/>
                </a:lnTo>
                <a:lnTo>
                  <a:pt x="184778" y="657177"/>
                </a:lnTo>
                <a:lnTo>
                  <a:pt x="192856" y="659553"/>
                </a:lnTo>
                <a:lnTo>
                  <a:pt x="200934" y="661216"/>
                </a:lnTo>
                <a:lnTo>
                  <a:pt x="209250" y="661691"/>
                </a:lnTo>
                <a:lnTo>
                  <a:pt x="218278" y="661691"/>
                </a:lnTo>
                <a:lnTo>
                  <a:pt x="227069" y="660266"/>
                </a:lnTo>
                <a:lnTo>
                  <a:pt x="236335" y="658603"/>
                </a:lnTo>
                <a:lnTo>
                  <a:pt x="245838" y="655514"/>
                </a:lnTo>
                <a:lnTo>
                  <a:pt x="255580" y="652425"/>
                </a:lnTo>
                <a:lnTo>
                  <a:pt x="265321" y="647911"/>
                </a:lnTo>
                <a:lnTo>
                  <a:pt x="276013" y="642922"/>
                </a:lnTo>
                <a:lnTo>
                  <a:pt x="288367" y="635081"/>
                </a:lnTo>
                <a:lnTo>
                  <a:pt x="301910" y="627478"/>
                </a:lnTo>
                <a:lnTo>
                  <a:pt x="315215" y="620350"/>
                </a:lnTo>
                <a:lnTo>
                  <a:pt x="329471" y="613698"/>
                </a:lnTo>
                <a:lnTo>
                  <a:pt x="343726" y="607283"/>
                </a:lnTo>
                <a:lnTo>
                  <a:pt x="357981" y="602056"/>
                </a:lnTo>
                <a:lnTo>
                  <a:pt x="371999" y="597066"/>
                </a:lnTo>
                <a:lnTo>
                  <a:pt x="386730" y="592790"/>
                </a:lnTo>
                <a:lnTo>
                  <a:pt x="394808" y="590414"/>
                </a:lnTo>
                <a:lnTo>
                  <a:pt x="402411" y="587325"/>
                </a:lnTo>
                <a:lnTo>
                  <a:pt x="409064" y="583761"/>
                </a:lnTo>
                <a:lnTo>
                  <a:pt x="411677" y="581623"/>
                </a:lnTo>
                <a:lnTo>
                  <a:pt x="414766" y="579247"/>
                </a:lnTo>
                <a:lnTo>
                  <a:pt x="417142" y="577109"/>
                </a:lnTo>
                <a:lnTo>
                  <a:pt x="419280" y="574495"/>
                </a:lnTo>
                <a:lnTo>
                  <a:pt x="420943" y="571407"/>
                </a:lnTo>
                <a:lnTo>
                  <a:pt x="422844" y="568318"/>
                </a:lnTo>
                <a:lnTo>
                  <a:pt x="424269" y="565229"/>
                </a:lnTo>
                <a:lnTo>
                  <a:pt x="424982" y="561665"/>
                </a:lnTo>
                <a:lnTo>
                  <a:pt x="425457" y="557626"/>
                </a:lnTo>
                <a:lnTo>
                  <a:pt x="425932" y="553587"/>
                </a:lnTo>
                <a:lnTo>
                  <a:pt x="425932" y="413884"/>
                </a:lnTo>
                <a:lnTo>
                  <a:pt x="425932" y="285347"/>
                </a:lnTo>
                <a:lnTo>
                  <a:pt x="429496" y="300078"/>
                </a:lnTo>
                <a:lnTo>
                  <a:pt x="433060" y="314096"/>
                </a:lnTo>
                <a:lnTo>
                  <a:pt x="436149" y="328826"/>
                </a:lnTo>
                <a:lnTo>
                  <a:pt x="438762" y="343082"/>
                </a:lnTo>
                <a:lnTo>
                  <a:pt x="443752" y="370642"/>
                </a:lnTo>
                <a:lnTo>
                  <a:pt x="447791" y="397015"/>
                </a:lnTo>
                <a:lnTo>
                  <a:pt x="451830" y="421962"/>
                </a:lnTo>
                <a:lnTo>
                  <a:pt x="454919" y="446434"/>
                </a:lnTo>
                <a:lnTo>
                  <a:pt x="456106" y="458313"/>
                </a:lnTo>
                <a:lnTo>
                  <a:pt x="457057" y="470430"/>
                </a:lnTo>
                <a:lnTo>
                  <a:pt x="457532" y="482310"/>
                </a:lnTo>
                <a:lnTo>
                  <a:pt x="457532" y="493952"/>
                </a:lnTo>
                <a:lnTo>
                  <a:pt x="457532" y="506069"/>
                </a:lnTo>
                <a:lnTo>
                  <a:pt x="456582" y="517473"/>
                </a:lnTo>
                <a:lnTo>
                  <a:pt x="455869" y="529116"/>
                </a:lnTo>
                <a:lnTo>
                  <a:pt x="453968" y="540757"/>
                </a:lnTo>
                <a:lnTo>
                  <a:pt x="452305" y="552162"/>
                </a:lnTo>
                <a:lnTo>
                  <a:pt x="449454" y="563804"/>
                </a:lnTo>
                <a:lnTo>
                  <a:pt x="446365" y="575446"/>
                </a:lnTo>
                <a:lnTo>
                  <a:pt x="442326" y="586850"/>
                </a:lnTo>
                <a:lnTo>
                  <a:pt x="440188" y="591364"/>
                </a:lnTo>
                <a:lnTo>
                  <a:pt x="437574" y="595403"/>
                </a:lnTo>
                <a:lnTo>
                  <a:pt x="434486" y="598967"/>
                </a:lnTo>
                <a:lnTo>
                  <a:pt x="431397" y="602531"/>
                </a:lnTo>
                <a:lnTo>
                  <a:pt x="428071" y="605145"/>
                </a:lnTo>
                <a:lnTo>
                  <a:pt x="424982" y="607283"/>
                </a:lnTo>
                <a:lnTo>
                  <a:pt x="422369" y="608708"/>
                </a:lnTo>
                <a:lnTo>
                  <a:pt x="420230" y="609659"/>
                </a:lnTo>
                <a:lnTo>
                  <a:pt x="410727" y="610847"/>
                </a:lnTo>
                <a:lnTo>
                  <a:pt x="401461" y="612748"/>
                </a:lnTo>
                <a:lnTo>
                  <a:pt x="392670" y="614886"/>
                </a:lnTo>
                <a:lnTo>
                  <a:pt x="383641" y="617262"/>
                </a:lnTo>
                <a:lnTo>
                  <a:pt x="374850" y="620350"/>
                </a:lnTo>
                <a:lnTo>
                  <a:pt x="365822" y="623914"/>
                </a:lnTo>
                <a:lnTo>
                  <a:pt x="348478" y="631042"/>
                </a:lnTo>
                <a:lnTo>
                  <a:pt x="331609" y="639358"/>
                </a:lnTo>
                <a:lnTo>
                  <a:pt x="314740" y="647911"/>
                </a:lnTo>
                <a:lnTo>
                  <a:pt x="281240" y="665255"/>
                </a:lnTo>
                <a:lnTo>
                  <a:pt x="274587" y="669294"/>
                </a:lnTo>
                <a:lnTo>
                  <a:pt x="267935" y="672858"/>
                </a:lnTo>
                <a:lnTo>
                  <a:pt x="261757" y="675947"/>
                </a:lnTo>
                <a:lnTo>
                  <a:pt x="255105" y="679035"/>
                </a:lnTo>
                <a:lnTo>
                  <a:pt x="248927" y="681174"/>
                </a:lnTo>
                <a:lnTo>
                  <a:pt x="242987" y="683075"/>
                </a:lnTo>
                <a:lnTo>
                  <a:pt x="236810" y="684738"/>
                </a:lnTo>
                <a:lnTo>
                  <a:pt x="231108" y="686163"/>
                </a:lnTo>
                <a:lnTo>
                  <a:pt x="225406" y="687114"/>
                </a:lnTo>
                <a:lnTo>
                  <a:pt x="219466" y="687589"/>
                </a:lnTo>
                <a:lnTo>
                  <a:pt x="213764" y="687589"/>
                </a:lnTo>
                <a:lnTo>
                  <a:pt x="208299" y="687589"/>
                </a:lnTo>
                <a:lnTo>
                  <a:pt x="203072" y="687114"/>
                </a:lnTo>
                <a:lnTo>
                  <a:pt x="197607" y="686163"/>
                </a:lnTo>
                <a:lnTo>
                  <a:pt x="192380" y="684738"/>
                </a:lnTo>
                <a:lnTo>
                  <a:pt x="186916" y="683550"/>
                </a:lnTo>
                <a:lnTo>
                  <a:pt x="181689" y="681649"/>
                </a:lnTo>
                <a:lnTo>
                  <a:pt x="176699" y="679986"/>
                </a:lnTo>
                <a:lnTo>
                  <a:pt x="171472" y="677610"/>
                </a:lnTo>
                <a:lnTo>
                  <a:pt x="166483" y="674996"/>
                </a:lnTo>
                <a:lnTo>
                  <a:pt x="156742" y="669294"/>
                </a:lnTo>
                <a:lnTo>
                  <a:pt x="147001" y="662167"/>
                </a:lnTo>
                <a:lnTo>
                  <a:pt x="137735" y="654564"/>
                </a:lnTo>
                <a:lnTo>
                  <a:pt x="127756" y="645535"/>
                </a:lnTo>
                <a:lnTo>
                  <a:pt x="118490" y="636269"/>
                </a:lnTo>
                <a:lnTo>
                  <a:pt x="109224" y="626053"/>
                </a:lnTo>
                <a:lnTo>
                  <a:pt x="107323" y="623914"/>
                </a:lnTo>
                <a:lnTo>
                  <a:pt x="106135" y="620350"/>
                </a:lnTo>
                <a:lnTo>
                  <a:pt x="105185" y="616311"/>
                </a:lnTo>
                <a:lnTo>
                  <a:pt x="105185" y="612272"/>
                </a:lnTo>
                <a:lnTo>
                  <a:pt x="105185" y="608233"/>
                </a:lnTo>
                <a:lnTo>
                  <a:pt x="106135" y="604194"/>
                </a:lnTo>
                <a:lnTo>
                  <a:pt x="107323" y="600630"/>
                </a:lnTo>
                <a:lnTo>
                  <a:pt x="109224" y="598017"/>
                </a:lnTo>
                <a:lnTo>
                  <a:pt x="111837" y="591840"/>
                </a:lnTo>
                <a:lnTo>
                  <a:pt x="113975" y="586137"/>
                </a:lnTo>
                <a:lnTo>
                  <a:pt x="115401" y="579722"/>
                </a:lnTo>
                <a:lnTo>
                  <a:pt x="115876" y="574020"/>
                </a:lnTo>
                <a:lnTo>
                  <a:pt x="115876" y="568318"/>
                </a:lnTo>
                <a:lnTo>
                  <a:pt x="115401" y="562378"/>
                </a:lnTo>
                <a:lnTo>
                  <a:pt x="114451" y="557151"/>
                </a:lnTo>
                <a:lnTo>
                  <a:pt x="112788" y="551449"/>
                </a:lnTo>
                <a:lnTo>
                  <a:pt x="110412" y="545984"/>
                </a:lnTo>
                <a:lnTo>
                  <a:pt x="108273" y="540757"/>
                </a:lnTo>
                <a:lnTo>
                  <a:pt x="105185" y="535293"/>
                </a:lnTo>
                <a:lnTo>
                  <a:pt x="102096" y="530066"/>
                </a:lnTo>
                <a:lnTo>
                  <a:pt x="94968" y="519374"/>
                </a:lnTo>
                <a:lnTo>
                  <a:pt x="86890" y="508683"/>
                </a:lnTo>
                <a:lnTo>
                  <a:pt x="78812" y="497991"/>
                </a:lnTo>
                <a:lnTo>
                  <a:pt x="70972" y="486824"/>
                </a:lnTo>
                <a:lnTo>
                  <a:pt x="67408" y="481122"/>
                </a:lnTo>
                <a:lnTo>
                  <a:pt x="64319" y="474707"/>
                </a:lnTo>
                <a:lnTo>
                  <a:pt x="61230" y="469005"/>
                </a:lnTo>
                <a:lnTo>
                  <a:pt x="58379" y="462828"/>
                </a:lnTo>
                <a:lnTo>
                  <a:pt x="56716" y="456175"/>
                </a:lnTo>
                <a:lnTo>
                  <a:pt x="54815" y="449998"/>
                </a:lnTo>
                <a:lnTo>
                  <a:pt x="54103" y="443345"/>
                </a:lnTo>
                <a:lnTo>
                  <a:pt x="53627" y="436455"/>
                </a:lnTo>
                <a:lnTo>
                  <a:pt x="53627" y="429327"/>
                </a:lnTo>
                <a:lnTo>
                  <a:pt x="54815" y="422675"/>
                </a:lnTo>
                <a:lnTo>
                  <a:pt x="56716" y="415547"/>
                </a:lnTo>
                <a:lnTo>
                  <a:pt x="59330" y="408182"/>
                </a:lnTo>
                <a:lnTo>
                  <a:pt x="60280" y="403192"/>
                </a:lnTo>
                <a:lnTo>
                  <a:pt x="61943" y="397965"/>
                </a:lnTo>
                <a:lnTo>
                  <a:pt x="65507" y="387986"/>
                </a:lnTo>
                <a:lnTo>
                  <a:pt x="69546" y="378720"/>
                </a:lnTo>
                <a:lnTo>
                  <a:pt x="74535" y="369929"/>
                </a:lnTo>
                <a:lnTo>
                  <a:pt x="79762" y="360901"/>
                </a:lnTo>
                <a:lnTo>
                  <a:pt x="85940" y="352585"/>
                </a:lnTo>
                <a:lnTo>
                  <a:pt x="98057" y="335479"/>
                </a:lnTo>
                <a:lnTo>
                  <a:pt x="102571" y="328113"/>
                </a:lnTo>
                <a:lnTo>
                  <a:pt x="106848" y="320986"/>
                </a:lnTo>
                <a:lnTo>
                  <a:pt x="116827" y="307205"/>
                </a:lnTo>
                <a:lnTo>
                  <a:pt x="127043" y="293188"/>
                </a:lnTo>
                <a:lnTo>
                  <a:pt x="137735" y="279407"/>
                </a:lnTo>
                <a:lnTo>
                  <a:pt x="159831" y="251847"/>
                </a:lnTo>
                <a:lnTo>
                  <a:pt x="170522" y="238066"/>
                </a:lnTo>
                <a:lnTo>
                  <a:pt x="181214" y="223336"/>
                </a:lnTo>
                <a:lnTo>
                  <a:pt x="164820" y="223336"/>
                </a:lnTo>
                <a:lnTo>
                  <a:pt x="137972" y="230226"/>
                </a:lnTo>
                <a:lnTo>
                  <a:pt x="125142" y="233790"/>
                </a:lnTo>
                <a:lnTo>
                  <a:pt x="112788" y="237591"/>
                </a:lnTo>
                <a:lnTo>
                  <a:pt x="100195" y="241630"/>
                </a:lnTo>
                <a:lnTo>
                  <a:pt x="87840" y="245669"/>
                </a:lnTo>
                <a:lnTo>
                  <a:pt x="75723" y="250183"/>
                </a:lnTo>
                <a:lnTo>
                  <a:pt x="64319" y="254935"/>
                </a:lnTo>
                <a:lnTo>
                  <a:pt x="52677" y="260400"/>
                </a:lnTo>
                <a:lnTo>
                  <a:pt x="41035" y="265627"/>
                </a:lnTo>
                <a:lnTo>
                  <a:pt x="29868" y="271567"/>
                </a:lnTo>
                <a:lnTo>
                  <a:pt x="18939" y="277744"/>
                </a:lnTo>
                <a:lnTo>
                  <a:pt x="7772" y="284397"/>
                </a:lnTo>
                <a:lnTo>
                  <a:pt x="0" y="289924"/>
                </a:lnTo>
                <a:lnTo>
                  <a:pt x="0" y="895572"/>
                </a:lnTo>
                <a:lnTo>
                  <a:pt x="125653" y="895572"/>
                </a:lnTo>
                <a:lnTo>
                  <a:pt x="127756" y="892155"/>
                </a:lnTo>
                <a:lnTo>
                  <a:pt x="131082" y="885502"/>
                </a:lnTo>
                <a:lnTo>
                  <a:pt x="133696" y="878374"/>
                </a:lnTo>
                <a:lnTo>
                  <a:pt x="135834" y="871722"/>
                </a:lnTo>
                <a:lnTo>
                  <a:pt x="137735" y="864594"/>
                </a:lnTo>
                <a:lnTo>
                  <a:pt x="138923" y="857466"/>
                </a:lnTo>
                <a:lnTo>
                  <a:pt x="140348" y="850339"/>
                </a:lnTo>
                <a:lnTo>
                  <a:pt x="141298" y="843211"/>
                </a:lnTo>
                <a:lnTo>
                  <a:pt x="142011" y="828955"/>
                </a:lnTo>
                <a:lnTo>
                  <a:pt x="142486" y="814225"/>
                </a:lnTo>
                <a:lnTo>
                  <a:pt x="142486" y="799494"/>
                </a:lnTo>
                <a:lnTo>
                  <a:pt x="142486" y="782625"/>
                </a:lnTo>
                <a:lnTo>
                  <a:pt x="142486" y="771458"/>
                </a:lnTo>
                <a:lnTo>
                  <a:pt x="143912" y="778586"/>
                </a:lnTo>
                <a:lnTo>
                  <a:pt x="145100" y="784526"/>
                </a:lnTo>
                <a:lnTo>
                  <a:pt x="147476" y="789753"/>
                </a:lnTo>
                <a:lnTo>
                  <a:pt x="149614" y="794267"/>
                </a:lnTo>
                <a:lnTo>
                  <a:pt x="152228" y="797831"/>
                </a:lnTo>
                <a:lnTo>
                  <a:pt x="155554" y="801395"/>
                </a:lnTo>
                <a:lnTo>
                  <a:pt x="158643" y="803533"/>
                </a:lnTo>
                <a:lnTo>
                  <a:pt x="162206" y="805909"/>
                </a:lnTo>
                <a:lnTo>
                  <a:pt x="165770" y="807572"/>
                </a:lnTo>
                <a:lnTo>
                  <a:pt x="169572" y="808523"/>
                </a:lnTo>
                <a:lnTo>
                  <a:pt x="174086" y="809473"/>
                </a:lnTo>
                <a:lnTo>
                  <a:pt x="178600" y="810186"/>
                </a:lnTo>
                <a:lnTo>
                  <a:pt x="187866" y="810661"/>
                </a:lnTo>
                <a:lnTo>
                  <a:pt x="198083" y="810661"/>
                </a:lnTo>
                <a:lnTo>
                  <a:pt x="236810" y="810661"/>
                </a:lnTo>
                <a:lnTo>
                  <a:pt x="249640" y="811136"/>
                </a:lnTo>
                <a:lnTo>
                  <a:pt x="263183" y="811611"/>
                </a:lnTo>
                <a:lnTo>
                  <a:pt x="270310" y="811611"/>
                </a:lnTo>
                <a:lnTo>
                  <a:pt x="276963" y="811136"/>
                </a:lnTo>
                <a:lnTo>
                  <a:pt x="283140" y="810186"/>
                </a:lnTo>
                <a:lnTo>
                  <a:pt x="289793" y="808523"/>
                </a:lnTo>
                <a:lnTo>
                  <a:pt x="295495" y="806147"/>
                </a:lnTo>
                <a:lnTo>
                  <a:pt x="301435" y="803058"/>
                </a:lnTo>
                <a:lnTo>
                  <a:pt x="304524" y="801395"/>
                </a:lnTo>
                <a:lnTo>
                  <a:pt x="307137" y="799256"/>
                </a:lnTo>
                <a:lnTo>
                  <a:pt x="309275" y="796881"/>
                </a:lnTo>
                <a:lnTo>
                  <a:pt x="312126" y="794267"/>
                </a:lnTo>
                <a:lnTo>
                  <a:pt x="314265" y="791178"/>
                </a:lnTo>
                <a:lnTo>
                  <a:pt x="316403" y="788090"/>
                </a:lnTo>
                <a:lnTo>
                  <a:pt x="318304" y="784051"/>
                </a:lnTo>
                <a:lnTo>
                  <a:pt x="319967" y="780012"/>
                </a:lnTo>
                <a:lnTo>
                  <a:pt x="321868" y="775973"/>
                </a:lnTo>
                <a:lnTo>
                  <a:pt x="323056" y="771221"/>
                </a:lnTo>
                <a:lnTo>
                  <a:pt x="324481" y="765756"/>
                </a:lnTo>
                <a:lnTo>
                  <a:pt x="325907" y="760529"/>
                </a:lnTo>
                <a:lnTo>
                  <a:pt x="325907" y="827530"/>
                </a:lnTo>
                <a:lnTo>
                  <a:pt x="310226" y="835608"/>
                </a:lnTo>
                <a:lnTo>
                  <a:pt x="295970" y="843686"/>
                </a:lnTo>
                <a:lnTo>
                  <a:pt x="282665" y="850339"/>
                </a:lnTo>
                <a:lnTo>
                  <a:pt x="276488" y="852952"/>
                </a:lnTo>
                <a:lnTo>
                  <a:pt x="270310" y="855565"/>
                </a:lnTo>
                <a:lnTo>
                  <a:pt x="266271" y="857942"/>
                </a:lnTo>
                <a:lnTo>
                  <a:pt x="262708" y="860080"/>
                </a:lnTo>
                <a:lnTo>
                  <a:pt x="259619" y="862693"/>
                </a:lnTo>
                <a:lnTo>
                  <a:pt x="256768" y="865544"/>
                </a:lnTo>
                <a:lnTo>
                  <a:pt x="254154" y="868633"/>
                </a:lnTo>
                <a:lnTo>
                  <a:pt x="252491" y="871722"/>
                </a:lnTo>
                <a:lnTo>
                  <a:pt x="250590" y="874810"/>
                </a:lnTo>
                <a:lnTo>
                  <a:pt x="249402" y="877899"/>
                </a:lnTo>
                <a:lnTo>
                  <a:pt x="248452" y="880988"/>
                </a:lnTo>
                <a:lnTo>
                  <a:pt x="247977" y="884076"/>
                </a:lnTo>
                <a:lnTo>
                  <a:pt x="247977" y="887165"/>
                </a:lnTo>
                <a:lnTo>
                  <a:pt x="248452" y="890016"/>
                </a:lnTo>
                <a:lnTo>
                  <a:pt x="249402" y="893105"/>
                </a:lnTo>
                <a:lnTo>
                  <a:pt x="250075" y="895572"/>
                </a:lnTo>
                <a:lnTo>
                  <a:pt x="474750" y="895572"/>
                </a:lnTo>
                <a:lnTo>
                  <a:pt x="475827" y="894768"/>
                </a:lnTo>
                <a:lnTo>
                  <a:pt x="486993" y="882889"/>
                </a:lnTo>
                <a:lnTo>
                  <a:pt x="497210" y="870296"/>
                </a:lnTo>
                <a:lnTo>
                  <a:pt x="506951" y="857942"/>
                </a:lnTo>
                <a:lnTo>
                  <a:pt x="515742" y="844636"/>
                </a:lnTo>
                <a:lnTo>
                  <a:pt x="523820" y="831094"/>
                </a:lnTo>
                <a:lnTo>
                  <a:pt x="531898" y="816838"/>
                </a:lnTo>
                <a:lnTo>
                  <a:pt x="539026" y="802583"/>
                </a:lnTo>
                <a:lnTo>
                  <a:pt x="545678" y="788565"/>
                </a:lnTo>
                <a:lnTo>
                  <a:pt x="552331" y="773359"/>
                </a:lnTo>
                <a:lnTo>
                  <a:pt x="558033" y="758628"/>
                </a:lnTo>
                <a:lnTo>
                  <a:pt x="563498" y="743185"/>
                </a:lnTo>
                <a:lnTo>
                  <a:pt x="568725" y="727979"/>
                </a:lnTo>
                <a:lnTo>
                  <a:pt x="573714" y="712298"/>
                </a:lnTo>
                <a:lnTo>
                  <a:pt x="577991" y="696855"/>
                </a:lnTo>
                <a:lnTo>
                  <a:pt x="586544" y="665255"/>
                </a:lnTo>
                <a:lnTo>
                  <a:pt x="586069" y="663117"/>
                </a:lnTo>
                <a:lnTo>
                  <a:pt x="584881" y="660266"/>
                </a:lnTo>
                <a:lnTo>
                  <a:pt x="582980" y="657177"/>
                </a:lnTo>
                <a:lnTo>
                  <a:pt x="580367" y="654088"/>
                </a:lnTo>
                <a:lnTo>
                  <a:pt x="574902" y="647911"/>
                </a:lnTo>
                <a:lnTo>
                  <a:pt x="570150" y="642922"/>
                </a:lnTo>
                <a:lnTo>
                  <a:pt x="565636" y="636744"/>
                </a:lnTo>
                <a:lnTo>
                  <a:pt x="560647" y="631517"/>
                </a:lnTo>
                <a:lnTo>
                  <a:pt x="555420" y="626053"/>
                </a:lnTo>
                <a:lnTo>
                  <a:pt x="550193" y="621301"/>
                </a:lnTo>
                <a:lnTo>
                  <a:pt x="544253" y="616787"/>
                </a:lnTo>
                <a:lnTo>
                  <a:pt x="538075" y="612272"/>
                </a:lnTo>
                <a:lnTo>
                  <a:pt x="525721" y="603719"/>
                </a:lnTo>
                <a:lnTo>
                  <a:pt x="563023" y="619875"/>
                </a:lnTo>
                <a:lnTo>
                  <a:pt x="581317" y="628191"/>
                </a:lnTo>
                <a:lnTo>
                  <a:pt x="599374" y="636744"/>
                </a:lnTo>
                <a:lnTo>
                  <a:pt x="607927" y="641259"/>
                </a:lnTo>
                <a:lnTo>
                  <a:pt x="616718" y="646010"/>
                </a:lnTo>
                <a:lnTo>
                  <a:pt x="625271" y="651000"/>
                </a:lnTo>
                <a:lnTo>
                  <a:pt x="633349" y="656227"/>
                </a:lnTo>
                <a:lnTo>
                  <a:pt x="641665" y="662167"/>
                </a:lnTo>
                <a:lnTo>
                  <a:pt x="649268" y="668344"/>
                </a:lnTo>
                <a:lnTo>
                  <a:pt x="656871" y="674996"/>
                </a:lnTo>
                <a:lnTo>
                  <a:pt x="664474" y="682124"/>
                </a:lnTo>
                <a:lnTo>
                  <a:pt x="668988" y="686163"/>
                </a:lnTo>
                <a:lnTo>
                  <a:pt x="672790" y="690202"/>
                </a:lnTo>
                <a:lnTo>
                  <a:pt x="677304" y="693291"/>
                </a:lnTo>
                <a:lnTo>
                  <a:pt x="682293" y="696855"/>
                </a:lnTo>
                <a:lnTo>
                  <a:pt x="686570" y="699468"/>
                </a:lnTo>
                <a:lnTo>
                  <a:pt x="691559" y="702082"/>
                </a:lnTo>
                <a:lnTo>
                  <a:pt x="696549" y="703983"/>
                </a:lnTo>
                <a:lnTo>
                  <a:pt x="701300" y="705646"/>
                </a:lnTo>
                <a:lnTo>
                  <a:pt x="706290" y="707071"/>
                </a:lnTo>
                <a:lnTo>
                  <a:pt x="711042" y="708497"/>
                </a:lnTo>
                <a:lnTo>
                  <a:pt x="716506" y="708734"/>
                </a:lnTo>
                <a:lnTo>
                  <a:pt x="721258" y="708734"/>
                </a:lnTo>
                <a:lnTo>
                  <a:pt x="726723" y="708497"/>
                </a:lnTo>
                <a:lnTo>
                  <a:pt x="731712" y="707546"/>
                </a:lnTo>
                <a:lnTo>
                  <a:pt x="736939" y="706121"/>
                </a:lnTo>
                <a:lnTo>
                  <a:pt x="742166" y="704458"/>
                </a:lnTo>
                <a:lnTo>
                  <a:pt x="749294" y="702082"/>
                </a:lnTo>
                <a:lnTo>
                  <a:pt x="756184" y="699468"/>
                </a:lnTo>
                <a:lnTo>
                  <a:pt x="762361" y="696380"/>
                </a:lnTo>
                <a:lnTo>
                  <a:pt x="768063" y="692816"/>
                </a:lnTo>
                <a:lnTo>
                  <a:pt x="773528" y="689252"/>
                </a:lnTo>
                <a:lnTo>
                  <a:pt x="778755" y="684738"/>
                </a:lnTo>
                <a:lnTo>
                  <a:pt x="783269" y="680461"/>
                </a:lnTo>
                <a:lnTo>
                  <a:pt x="787308" y="674996"/>
                </a:lnTo>
                <a:lnTo>
                  <a:pt x="791110" y="669769"/>
                </a:lnTo>
                <a:lnTo>
                  <a:pt x="794436" y="663830"/>
                </a:lnTo>
                <a:lnTo>
                  <a:pt x="797050" y="657652"/>
                </a:lnTo>
                <a:lnTo>
                  <a:pt x="799188" y="651000"/>
                </a:lnTo>
                <a:lnTo>
                  <a:pt x="801089" y="643872"/>
                </a:lnTo>
                <a:lnTo>
                  <a:pt x="802277" y="636744"/>
                </a:lnTo>
                <a:lnTo>
                  <a:pt x="803227" y="628666"/>
                </a:lnTo>
                <a:lnTo>
                  <a:pt x="803227" y="620826"/>
                </a:lnTo>
                <a:lnTo>
                  <a:pt x="801089" y="622489"/>
                </a:lnTo>
                <a:lnTo>
                  <a:pt x="798238" y="623914"/>
                </a:lnTo>
                <a:lnTo>
                  <a:pt x="793011" y="626053"/>
                </a:lnTo>
                <a:lnTo>
                  <a:pt x="790397" y="627478"/>
                </a:lnTo>
                <a:lnTo>
                  <a:pt x="788496" y="628191"/>
                </a:lnTo>
                <a:lnTo>
                  <a:pt x="787308" y="630092"/>
                </a:lnTo>
                <a:lnTo>
                  <a:pt x="786833" y="631755"/>
                </a:lnTo>
                <a:lnTo>
                  <a:pt x="785408" y="635794"/>
                </a:lnTo>
                <a:lnTo>
                  <a:pt x="784220" y="639833"/>
                </a:lnTo>
                <a:lnTo>
                  <a:pt x="780656" y="646485"/>
                </a:lnTo>
                <a:lnTo>
                  <a:pt x="776617" y="653138"/>
                </a:lnTo>
                <a:lnTo>
                  <a:pt x="772103" y="659078"/>
                </a:lnTo>
                <a:lnTo>
                  <a:pt x="762361" y="670007"/>
                </a:lnTo>
                <a:lnTo>
                  <a:pt x="757847" y="675947"/>
                </a:lnTo>
                <a:lnTo>
                  <a:pt x="753333" y="682124"/>
                </a:lnTo>
                <a:lnTo>
                  <a:pt x="750244" y="684738"/>
                </a:lnTo>
                <a:lnTo>
                  <a:pt x="747155" y="687589"/>
                </a:lnTo>
                <a:lnTo>
                  <a:pt x="744067" y="689252"/>
                </a:lnTo>
                <a:lnTo>
                  <a:pt x="740978" y="690915"/>
                </a:lnTo>
                <a:lnTo>
                  <a:pt x="737890" y="691865"/>
                </a:lnTo>
                <a:lnTo>
                  <a:pt x="734801" y="692816"/>
                </a:lnTo>
                <a:lnTo>
                  <a:pt x="731950" y="693291"/>
                </a:lnTo>
                <a:lnTo>
                  <a:pt x="728861" y="693291"/>
                </a:lnTo>
                <a:lnTo>
                  <a:pt x="723634" y="692816"/>
                </a:lnTo>
                <a:lnTo>
                  <a:pt x="718169" y="691390"/>
                </a:lnTo>
                <a:lnTo>
                  <a:pt x="713418" y="689727"/>
                </a:lnTo>
                <a:lnTo>
                  <a:pt x="708903" y="687826"/>
                </a:lnTo>
                <a:lnTo>
                  <a:pt x="706765" y="687589"/>
                </a:lnTo>
                <a:lnTo>
                  <a:pt x="704864" y="687114"/>
                </a:lnTo>
                <a:lnTo>
                  <a:pt x="703201" y="686163"/>
                </a:lnTo>
                <a:lnTo>
                  <a:pt x="701776" y="684738"/>
                </a:lnTo>
                <a:lnTo>
                  <a:pt x="698687" y="681649"/>
                </a:lnTo>
                <a:lnTo>
                  <a:pt x="696549" y="678085"/>
                </a:lnTo>
                <a:lnTo>
                  <a:pt x="694648" y="673571"/>
                </a:lnTo>
                <a:lnTo>
                  <a:pt x="693460" y="668819"/>
                </a:lnTo>
                <a:lnTo>
                  <a:pt x="692510" y="664305"/>
                </a:lnTo>
                <a:lnTo>
                  <a:pt x="692510" y="659790"/>
                </a:lnTo>
                <a:lnTo>
                  <a:pt x="692510" y="647436"/>
                </a:lnTo>
                <a:lnTo>
                  <a:pt x="693460" y="635319"/>
                </a:lnTo>
                <a:lnTo>
                  <a:pt x="694173" y="624389"/>
                </a:lnTo>
                <a:lnTo>
                  <a:pt x="695598" y="612748"/>
                </a:lnTo>
                <a:lnTo>
                  <a:pt x="699162" y="591364"/>
                </a:lnTo>
                <a:lnTo>
                  <a:pt x="703676" y="570456"/>
                </a:lnTo>
                <a:lnTo>
                  <a:pt x="720070" y="574971"/>
                </a:lnTo>
                <a:lnTo>
                  <a:pt x="736939" y="579247"/>
                </a:lnTo>
                <a:lnTo>
                  <a:pt x="770677" y="589226"/>
                </a:lnTo>
                <a:lnTo>
                  <a:pt x="788021" y="593503"/>
                </a:lnTo>
                <a:lnTo>
                  <a:pt x="805365" y="597542"/>
                </a:lnTo>
                <a:lnTo>
                  <a:pt x="823660" y="601106"/>
                </a:lnTo>
                <a:lnTo>
                  <a:pt x="841954" y="603719"/>
                </a:lnTo>
                <a:lnTo>
                  <a:pt x="861437" y="606570"/>
                </a:lnTo>
                <a:lnTo>
                  <a:pt x="880682" y="608233"/>
                </a:lnTo>
                <a:lnTo>
                  <a:pt x="889948" y="608708"/>
                </a:lnTo>
                <a:lnTo>
                  <a:pt x="898976" y="608708"/>
                </a:lnTo>
                <a:lnTo>
                  <a:pt x="908242" y="608708"/>
                </a:lnTo>
                <a:lnTo>
                  <a:pt x="916795" y="608233"/>
                </a:lnTo>
                <a:lnTo>
                  <a:pt x="925586" y="607283"/>
                </a:lnTo>
                <a:lnTo>
                  <a:pt x="934140" y="606095"/>
                </a:lnTo>
                <a:lnTo>
                  <a:pt x="942455" y="604669"/>
                </a:lnTo>
                <a:lnTo>
                  <a:pt x="950533" y="603006"/>
                </a:lnTo>
                <a:lnTo>
                  <a:pt x="958611" y="600630"/>
                </a:lnTo>
                <a:lnTo>
                  <a:pt x="966452" y="598017"/>
                </a:lnTo>
                <a:lnTo>
                  <a:pt x="974055" y="595403"/>
                </a:lnTo>
                <a:lnTo>
                  <a:pt x="981658" y="591840"/>
                </a:lnTo>
                <a:lnTo>
                  <a:pt x="989261" y="588276"/>
                </a:lnTo>
                <a:lnTo>
                  <a:pt x="996388" y="584237"/>
                </a:lnTo>
                <a:lnTo>
                  <a:pt x="1003041" y="579247"/>
                </a:lnTo>
                <a:lnTo>
                  <a:pt x="1009694" y="574495"/>
                </a:lnTo>
                <a:lnTo>
                  <a:pt x="1016346" y="569031"/>
                </a:lnTo>
                <a:lnTo>
                  <a:pt x="1022998" y="562853"/>
                </a:lnTo>
                <a:lnTo>
                  <a:pt x="1029176" y="556676"/>
                </a:lnTo>
                <a:lnTo>
                  <a:pt x="1035116" y="549548"/>
                </a:lnTo>
                <a:lnTo>
                  <a:pt x="1040818" y="541945"/>
                </a:lnTo>
                <a:lnTo>
                  <a:pt x="1046520" y="534342"/>
                </a:lnTo>
                <a:lnTo>
                  <a:pt x="1051985" y="526027"/>
                </a:lnTo>
                <a:lnTo>
                  <a:pt x="1056737" y="516523"/>
                </a:lnTo>
                <a:lnTo>
                  <a:pt x="1061726" y="507257"/>
                </a:lnTo>
                <a:lnTo>
                  <a:pt x="1066715" y="497041"/>
                </a:lnTo>
                <a:lnTo>
                  <a:pt x="1070992" y="486349"/>
                </a:lnTo>
                <a:lnTo>
                  <a:pt x="1075506" y="475182"/>
                </a:lnTo>
                <a:lnTo>
                  <a:pt x="1079070" y="462828"/>
                </a:lnTo>
                <a:lnTo>
                  <a:pt x="1082634" y="449998"/>
                </a:lnTo>
                <a:lnTo>
                  <a:pt x="1084772" y="437405"/>
                </a:lnTo>
                <a:lnTo>
                  <a:pt x="1087148" y="425050"/>
                </a:lnTo>
                <a:lnTo>
                  <a:pt x="1088811" y="411983"/>
                </a:lnTo>
                <a:lnTo>
                  <a:pt x="1089762" y="399628"/>
                </a:lnTo>
                <a:lnTo>
                  <a:pt x="1090712" y="386798"/>
                </a:lnTo>
                <a:lnTo>
                  <a:pt x="1090712" y="373731"/>
                </a:lnTo>
                <a:lnTo>
                  <a:pt x="1090712" y="360901"/>
                </a:lnTo>
                <a:lnTo>
                  <a:pt x="1089762" y="348071"/>
                </a:lnTo>
                <a:lnTo>
                  <a:pt x="1088811" y="335004"/>
                </a:lnTo>
                <a:lnTo>
                  <a:pt x="1088099" y="321698"/>
                </a:lnTo>
                <a:lnTo>
                  <a:pt x="1084772" y="295563"/>
                </a:lnTo>
                <a:lnTo>
                  <a:pt x="1080971" y="268478"/>
                </a:lnTo>
                <a:lnTo>
                  <a:pt x="1078595" y="258262"/>
                </a:lnTo>
                <a:lnTo>
                  <a:pt x="1075981" y="248283"/>
                </a:lnTo>
                <a:lnTo>
                  <a:pt x="1072417" y="238542"/>
                </a:lnTo>
                <a:lnTo>
                  <a:pt x="1069329" y="229275"/>
                </a:lnTo>
                <a:lnTo>
                  <a:pt x="1061251" y="210031"/>
                </a:lnTo>
                <a:lnTo>
                  <a:pt x="1053173" y="190073"/>
                </a:lnTo>
                <a:lnTo>
                  <a:pt x="1051034" y="186034"/>
                </a:lnTo>
                <a:lnTo>
                  <a:pt x="1048896" y="182470"/>
                </a:lnTo>
                <a:lnTo>
                  <a:pt x="1046045" y="179381"/>
                </a:lnTo>
                <a:lnTo>
                  <a:pt x="1043906" y="176768"/>
                </a:lnTo>
                <a:lnTo>
                  <a:pt x="1041293" y="174630"/>
                </a:lnTo>
                <a:lnTo>
                  <a:pt x="1038680" y="172729"/>
                </a:lnTo>
                <a:lnTo>
                  <a:pt x="1035828" y="171303"/>
                </a:lnTo>
                <a:lnTo>
                  <a:pt x="1032740" y="170591"/>
                </a:lnTo>
                <a:lnTo>
                  <a:pt x="1030126" y="170591"/>
                </a:lnTo>
                <a:lnTo>
                  <a:pt x="1027038" y="170591"/>
                </a:lnTo>
                <a:lnTo>
                  <a:pt x="1024424" y="171303"/>
                </a:lnTo>
                <a:lnTo>
                  <a:pt x="1021335" y="172729"/>
                </a:lnTo>
                <a:lnTo>
                  <a:pt x="1018247" y="174867"/>
                </a:lnTo>
                <a:lnTo>
                  <a:pt x="1014920" y="177718"/>
                </a:lnTo>
                <a:lnTo>
                  <a:pt x="1011832" y="180807"/>
                </a:lnTo>
                <a:lnTo>
                  <a:pt x="1008743" y="184846"/>
                </a:lnTo>
                <a:lnTo>
                  <a:pt x="991874" y="201240"/>
                </a:lnTo>
                <a:lnTo>
                  <a:pt x="983321" y="209318"/>
                </a:lnTo>
                <a:lnTo>
                  <a:pt x="974530" y="216683"/>
                </a:lnTo>
                <a:lnTo>
                  <a:pt x="965739" y="223811"/>
                </a:lnTo>
                <a:lnTo>
                  <a:pt x="956236" y="230226"/>
                </a:lnTo>
                <a:lnTo>
                  <a:pt x="946494" y="235928"/>
                </a:lnTo>
                <a:lnTo>
                  <a:pt x="941505" y="238066"/>
                </a:lnTo>
                <a:lnTo>
                  <a:pt x="936753" y="240442"/>
                </a:lnTo>
                <a:lnTo>
                  <a:pt x="932239" y="242581"/>
                </a:lnTo>
                <a:lnTo>
                  <a:pt x="928675" y="245669"/>
                </a:lnTo>
                <a:lnTo>
                  <a:pt x="925111" y="249233"/>
                </a:lnTo>
                <a:lnTo>
                  <a:pt x="922022" y="252797"/>
                </a:lnTo>
                <a:lnTo>
                  <a:pt x="919884" y="257311"/>
                </a:lnTo>
                <a:lnTo>
                  <a:pt x="918934" y="259925"/>
                </a:lnTo>
                <a:lnTo>
                  <a:pt x="918459" y="262538"/>
                </a:lnTo>
                <a:lnTo>
                  <a:pt x="918459" y="265389"/>
                </a:lnTo>
                <a:lnTo>
                  <a:pt x="918459" y="268003"/>
                </a:lnTo>
                <a:lnTo>
                  <a:pt x="918934" y="271091"/>
                </a:lnTo>
                <a:lnTo>
                  <a:pt x="919884" y="274180"/>
                </a:lnTo>
                <a:lnTo>
                  <a:pt x="921547" y="282258"/>
                </a:lnTo>
                <a:lnTo>
                  <a:pt x="922973" y="290574"/>
                </a:lnTo>
                <a:lnTo>
                  <a:pt x="923923" y="299127"/>
                </a:lnTo>
                <a:lnTo>
                  <a:pt x="924161" y="307443"/>
                </a:lnTo>
                <a:lnTo>
                  <a:pt x="924161" y="315996"/>
                </a:lnTo>
                <a:lnTo>
                  <a:pt x="923923" y="324550"/>
                </a:lnTo>
                <a:lnTo>
                  <a:pt x="922973" y="332865"/>
                </a:lnTo>
                <a:lnTo>
                  <a:pt x="922022" y="340943"/>
                </a:lnTo>
                <a:lnTo>
                  <a:pt x="920597" y="349259"/>
                </a:lnTo>
                <a:lnTo>
                  <a:pt x="918934" y="357812"/>
                </a:lnTo>
                <a:lnTo>
                  <a:pt x="914420" y="374681"/>
                </a:lnTo>
                <a:lnTo>
                  <a:pt x="909192" y="391075"/>
                </a:lnTo>
                <a:lnTo>
                  <a:pt x="903253" y="408182"/>
                </a:lnTo>
                <a:lnTo>
                  <a:pt x="903253" y="397965"/>
                </a:lnTo>
                <a:lnTo>
                  <a:pt x="904203" y="387274"/>
                </a:lnTo>
                <a:lnTo>
                  <a:pt x="906104" y="367078"/>
                </a:lnTo>
                <a:lnTo>
                  <a:pt x="907767" y="347596"/>
                </a:lnTo>
                <a:lnTo>
                  <a:pt x="908717" y="338567"/>
                </a:lnTo>
                <a:lnTo>
                  <a:pt x="908717" y="329777"/>
                </a:lnTo>
                <a:lnTo>
                  <a:pt x="908717" y="325738"/>
                </a:lnTo>
                <a:lnTo>
                  <a:pt x="907767" y="322649"/>
                </a:lnTo>
                <a:lnTo>
                  <a:pt x="906817" y="319560"/>
                </a:lnTo>
                <a:lnTo>
                  <a:pt x="905154" y="316471"/>
                </a:lnTo>
                <a:lnTo>
                  <a:pt x="903728" y="314096"/>
                </a:lnTo>
                <a:lnTo>
                  <a:pt x="901590" y="311957"/>
                </a:lnTo>
                <a:lnTo>
                  <a:pt x="897551" y="307443"/>
                </a:lnTo>
                <a:lnTo>
                  <a:pt x="895412" y="309344"/>
                </a:lnTo>
                <a:lnTo>
                  <a:pt x="892561" y="310769"/>
                </a:lnTo>
                <a:lnTo>
                  <a:pt x="887334" y="313383"/>
                </a:lnTo>
                <a:lnTo>
                  <a:pt x="884721" y="314096"/>
                </a:lnTo>
                <a:lnTo>
                  <a:pt x="882820" y="315521"/>
                </a:lnTo>
                <a:lnTo>
                  <a:pt x="881632" y="316947"/>
                </a:lnTo>
                <a:lnTo>
                  <a:pt x="881157" y="318610"/>
                </a:lnTo>
                <a:lnTo>
                  <a:pt x="872604" y="331915"/>
                </a:lnTo>
                <a:lnTo>
                  <a:pt x="864288" y="346646"/>
                </a:lnTo>
                <a:lnTo>
                  <a:pt x="856210" y="361376"/>
                </a:lnTo>
                <a:lnTo>
                  <a:pt x="847656" y="374681"/>
                </a:lnTo>
                <a:lnTo>
                  <a:pt x="841954" y="374681"/>
                </a:lnTo>
                <a:lnTo>
                  <a:pt x="846468" y="357812"/>
                </a:lnTo>
                <a:lnTo>
                  <a:pt x="850508" y="339518"/>
                </a:lnTo>
                <a:lnTo>
                  <a:pt x="854784" y="319560"/>
                </a:lnTo>
                <a:lnTo>
                  <a:pt x="858823" y="296514"/>
                </a:lnTo>
                <a:lnTo>
                  <a:pt x="848132" y="303879"/>
                </a:lnTo>
                <a:lnTo>
                  <a:pt x="840054" y="310294"/>
                </a:lnTo>
                <a:lnTo>
                  <a:pt x="833163" y="316947"/>
                </a:lnTo>
                <a:lnTo>
                  <a:pt x="825560" y="324550"/>
                </a:lnTo>
                <a:lnTo>
                  <a:pt x="823185" y="326688"/>
                </a:lnTo>
                <a:lnTo>
                  <a:pt x="821522" y="329301"/>
                </a:lnTo>
                <a:lnTo>
                  <a:pt x="817007" y="335954"/>
                </a:lnTo>
                <a:lnTo>
                  <a:pt x="812968" y="344032"/>
                </a:lnTo>
                <a:lnTo>
                  <a:pt x="808929" y="352585"/>
                </a:lnTo>
                <a:lnTo>
                  <a:pt x="809880" y="343557"/>
                </a:lnTo>
                <a:lnTo>
                  <a:pt x="811305" y="335479"/>
                </a:lnTo>
                <a:lnTo>
                  <a:pt x="812493" y="328826"/>
                </a:lnTo>
                <a:lnTo>
                  <a:pt x="814394" y="323124"/>
                </a:lnTo>
                <a:lnTo>
                  <a:pt x="816532" y="317659"/>
                </a:lnTo>
                <a:lnTo>
                  <a:pt x="819146" y="313383"/>
                </a:lnTo>
                <a:lnTo>
                  <a:pt x="822709" y="309344"/>
                </a:lnTo>
                <a:lnTo>
                  <a:pt x="826748" y="306255"/>
                </a:lnTo>
                <a:lnTo>
                  <a:pt x="832213" y="303166"/>
                </a:lnTo>
                <a:lnTo>
                  <a:pt x="838390" y="300315"/>
                </a:lnTo>
                <a:lnTo>
                  <a:pt x="845518" y="298177"/>
                </a:lnTo>
                <a:lnTo>
                  <a:pt x="854071" y="295563"/>
                </a:lnTo>
                <a:lnTo>
                  <a:pt x="875217" y="290574"/>
                </a:lnTo>
                <a:lnTo>
                  <a:pt x="903253" y="285347"/>
                </a:lnTo>
                <a:lnTo>
                  <a:pt x="886384" y="268478"/>
                </a:lnTo>
                <a:lnTo>
                  <a:pt x="879731" y="270141"/>
                </a:lnTo>
                <a:lnTo>
                  <a:pt x="873079" y="271091"/>
                </a:lnTo>
                <a:lnTo>
                  <a:pt x="867376" y="271567"/>
                </a:lnTo>
                <a:lnTo>
                  <a:pt x="862387" y="271091"/>
                </a:lnTo>
                <a:lnTo>
                  <a:pt x="857398" y="269666"/>
                </a:lnTo>
                <a:lnTo>
                  <a:pt x="853596" y="268003"/>
                </a:lnTo>
                <a:lnTo>
                  <a:pt x="849557" y="265627"/>
                </a:lnTo>
                <a:lnTo>
                  <a:pt x="846468" y="262538"/>
                </a:lnTo>
                <a:lnTo>
                  <a:pt x="843380" y="259450"/>
                </a:lnTo>
                <a:lnTo>
                  <a:pt x="840529" y="255411"/>
                </a:lnTo>
                <a:lnTo>
                  <a:pt x="838390" y="251134"/>
                </a:lnTo>
                <a:lnTo>
                  <a:pt x="836490" y="246620"/>
                </a:lnTo>
                <a:lnTo>
                  <a:pt x="834827" y="241155"/>
                </a:lnTo>
                <a:lnTo>
                  <a:pt x="833401" y="235453"/>
                </a:lnTo>
                <a:lnTo>
                  <a:pt x="831263" y="223336"/>
                </a:lnTo>
                <a:lnTo>
                  <a:pt x="897551" y="206942"/>
                </a:lnTo>
                <a:lnTo>
                  <a:pt x="888997" y="194112"/>
                </a:lnTo>
                <a:lnTo>
                  <a:pt x="880682" y="181282"/>
                </a:lnTo>
                <a:lnTo>
                  <a:pt x="871416" y="168690"/>
                </a:lnTo>
                <a:lnTo>
                  <a:pt x="866901" y="162988"/>
                </a:lnTo>
                <a:lnTo>
                  <a:pt x="861437" y="157048"/>
                </a:lnTo>
                <a:lnTo>
                  <a:pt x="856210" y="151821"/>
                </a:lnTo>
                <a:lnTo>
                  <a:pt x="850745" y="146831"/>
                </a:lnTo>
                <a:lnTo>
                  <a:pt x="844568" y="142555"/>
                </a:lnTo>
                <a:lnTo>
                  <a:pt x="838390" y="138516"/>
                </a:lnTo>
                <a:lnTo>
                  <a:pt x="831738" y="134952"/>
                </a:lnTo>
                <a:lnTo>
                  <a:pt x="824610" y="132338"/>
                </a:lnTo>
                <a:lnTo>
                  <a:pt x="817007" y="129963"/>
                </a:lnTo>
                <a:lnTo>
                  <a:pt x="808929" y="128774"/>
                </a:lnTo>
                <a:lnTo>
                  <a:pt x="806791" y="128299"/>
                </a:lnTo>
                <a:lnTo>
                  <a:pt x="804652" y="127824"/>
                </a:lnTo>
                <a:lnTo>
                  <a:pt x="802752" y="126399"/>
                </a:lnTo>
                <a:lnTo>
                  <a:pt x="801089" y="125211"/>
                </a:lnTo>
                <a:lnTo>
                  <a:pt x="799663" y="123310"/>
                </a:lnTo>
                <a:lnTo>
                  <a:pt x="798713" y="121647"/>
                </a:lnTo>
                <a:lnTo>
                  <a:pt x="798000" y="119271"/>
                </a:lnTo>
                <a:lnTo>
                  <a:pt x="798000" y="117608"/>
                </a:lnTo>
                <a:lnTo>
                  <a:pt x="785408" y="106916"/>
                </a:lnTo>
                <a:lnTo>
                  <a:pt x="772578" y="95749"/>
                </a:lnTo>
                <a:lnTo>
                  <a:pt x="747155" y="72703"/>
                </a:lnTo>
                <a:lnTo>
                  <a:pt x="733850" y="61061"/>
                </a:lnTo>
                <a:lnTo>
                  <a:pt x="720545" y="49894"/>
                </a:lnTo>
                <a:lnTo>
                  <a:pt x="706765" y="38728"/>
                </a:lnTo>
                <a:lnTo>
                  <a:pt x="692510" y="28036"/>
                </a:lnTo>
                <a:lnTo>
                  <a:pt x="679442" y="21859"/>
                </a:lnTo>
                <a:lnTo>
                  <a:pt x="666137" y="16632"/>
                </a:lnTo>
                <a:lnTo>
                  <a:pt x="652832" y="11642"/>
                </a:lnTo>
                <a:lnTo>
                  <a:pt x="639527" y="7603"/>
                </a:lnTo>
                <a:lnTo>
                  <a:pt x="626222" y="4514"/>
                </a:lnTo>
                <a:lnTo>
                  <a:pt x="612917" y="1901"/>
                </a:lnTo>
                <a:lnTo>
                  <a:pt x="599374" y="475"/>
                </a:lnTo>
                <a:close/>
              </a:path>
            </a:pathLst>
          </a:custGeom>
          <a:solidFill>
            <a:schemeClr val="bg1">
              <a:alpha val="25000"/>
            </a:schemeClr>
          </a:solidFill>
          <a:ln>
            <a:noFill/>
          </a:ln>
        </p:spPr>
        <p:txBody>
          <a:bodyPr vert="horz" wrap="square" lIns="89642" tIns="44821" rIns="89642" bIns="44821" numCol="1" anchor="t" anchorCtr="0" compatLnSpc="1">
            <a:prstTxWarp prst="textNoShape">
              <a:avLst/>
            </a:prstTxWarp>
            <a:noAutofit/>
          </a:bodyPr>
          <a:lstStyle/>
          <a:p>
            <a:endParaRPr lang="en-IN" sz="1765"/>
          </a:p>
        </p:txBody>
      </p:sp>
      <p:sp>
        <p:nvSpPr>
          <p:cNvPr id="7" name="Rectangle 6"/>
          <p:cNvSpPr/>
          <p:nvPr/>
        </p:nvSpPr>
        <p:spPr>
          <a:xfrm>
            <a:off x="8929" y="1213304"/>
            <a:ext cx="5220355" cy="825547"/>
          </a:xfrm>
          <a:prstGeom prst="rect">
            <a:avLst/>
          </a:prstGeom>
        </p:spPr>
        <p:txBody>
          <a:bodyPr wrap="square" lIns="268927">
            <a:spAutoFit/>
          </a:bodyPr>
          <a:lstStyle/>
          <a:p>
            <a:pPr defTabSz="914102" fontAlgn="base">
              <a:lnSpc>
                <a:spcPct val="90000"/>
              </a:lnSpc>
              <a:spcBef>
                <a:spcPct val="0"/>
              </a:spcBef>
              <a:spcAft>
                <a:spcPct val="0"/>
              </a:spcAft>
            </a:pPr>
            <a:r>
              <a:rPr lang="en-US" sz="5294" dirty="0">
                <a:solidFill>
                  <a:schemeClr val="bg1"/>
                </a:solidFill>
                <a:latin typeface="+mj-lt"/>
                <a:ea typeface="Segoe UI" pitchFamily="34" charset="0"/>
                <a:cs typeface="Segoe UI" pitchFamily="34" charset="0"/>
              </a:rPr>
              <a:t>Hive</a:t>
            </a:r>
          </a:p>
        </p:txBody>
      </p:sp>
      <p:sp>
        <p:nvSpPr>
          <p:cNvPr id="2" name="Slide Number Placeholder 1"/>
          <p:cNvSpPr>
            <a:spLocks noGrp="1"/>
          </p:cNvSpPr>
          <p:nvPr>
            <p:ph type="sldNum" sz="quarter" idx="11"/>
          </p:nvPr>
        </p:nvSpPr>
        <p:spPr/>
        <p:txBody>
          <a:bodyPr/>
          <a:lstStyle/>
          <a:p>
            <a:pPr>
              <a:defRPr/>
            </a:pPr>
            <a:fld id="{F8A0AC42-AA1D-4944-8D96-660DE70C7E1B}" type="slidenum">
              <a:rPr lang="en-IN" smtClean="0"/>
              <a:pPr>
                <a:defRPr/>
              </a:pPr>
              <a:t>27</a:t>
            </a:fld>
            <a:endParaRPr lang="en-IN" dirty="0"/>
          </a:p>
        </p:txBody>
      </p:sp>
    </p:spTree>
    <p:extLst>
      <p:ext uri="{BB962C8B-B14F-4D97-AF65-F5344CB8AC3E}">
        <p14:creationId xmlns:p14="http://schemas.microsoft.com/office/powerpoint/2010/main" val="3033033885"/>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ache HIVE: What is it?</a:t>
            </a:r>
          </a:p>
        </p:txBody>
      </p:sp>
      <p:sp>
        <p:nvSpPr>
          <p:cNvPr id="4" name="Slide Number Placeholder 3"/>
          <p:cNvSpPr>
            <a:spLocks noGrp="1"/>
          </p:cNvSpPr>
          <p:nvPr>
            <p:ph type="sldNum" sz="quarter" idx="11"/>
          </p:nvPr>
        </p:nvSpPr>
        <p:spPr/>
        <p:txBody>
          <a:bodyPr/>
          <a:lstStyle/>
          <a:p>
            <a:pPr>
              <a:defRPr/>
            </a:pPr>
            <a:fld id="{F8A0AC42-AA1D-4944-8D96-660DE70C7E1B}" type="slidenum">
              <a:rPr lang="en-IN"/>
              <a:pPr>
                <a:defRPr/>
              </a:pPr>
              <a:t>28</a:t>
            </a:fld>
            <a:endParaRPr lang="en-IN" dirty="0"/>
          </a:p>
        </p:txBody>
      </p:sp>
      <p:sp>
        <p:nvSpPr>
          <p:cNvPr id="3" name="Content Placeholder 2"/>
          <p:cNvSpPr>
            <a:spLocks noGrp="1"/>
          </p:cNvSpPr>
          <p:nvPr>
            <p:ph idx="4294967295"/>
          </p:nvPr>
        </p:nvSpPr>
        <p:spPr>
          <a:xfrm>
            <a:off x="479518" y="1883661"/>
            <a:ext cx="6556925" cy="4396858"/>
          </a:xfrm>
          <a:prstGeom prst="rect">
            <a:avLst/>
          </a:prstGeom>
        </p:spPr>
        <p:txBody>
          <a:bodyPr/>
          <a:lstStyle/>
          <a:p>
            <a:pPr>
              <a:lnSpc>
                <a:spcPts val="3000"/>
              </a:lnSpc>
              <a:spcBef>
                <a:spcPts val="300"/>
              </a:spcBef>
              <a:spcAft>
                <a:spcPts val="300"/>
              </a:spcAft>
            </a:pPr>
            <a:r>
              <a:rPr lang="en-US" sz="2000" dirty="0">
                <a:solidFill>
                  <a:schemeClr val="tx1">
                    <a:lumMod val="65000"/>
                    <a:lumOff val="35000"/>
                  </a:schemeClr>
                </a:solidFill>
                <a:latin typeface="+mn-lt"/>
              </a:rPr>
              <a:t>Enables you to view big data as ‘Tables’ and use familiar SQL-like operations on them.</a:t>
            </a:r>
          </a:p>
          <a:p>
            <a:pPr marL="679045" lvl="1" indent="-342900">
              <a:lnSpc>
                <a:spcPts val="3000"/>
              </a:lnSpc>
              <a:spcBef>
                <a:spcPts val="300"/>
              </a:spcBef>
              <a:spcAft>
                <a:spcPts val="300"/>
              </a:spcAft>
            </a:pPr>
            <a:r>
              <a:rPr lang="en-US" sz="1800" dirty="0">
                <a:solidFill>
                  <a:schemeClr val="tx1">
                    <a:lumMod val="65000"/>
                    <a:lumOff val="35000"/>
                  </a:schemeClr>
                </a:solidFill>
              </a:rPr>
              <a:t>Lets you impose a table-like view on big data</a:t>
            </a:r>
          </a:p>
          <a:p>
            <a:pPr marL="679045" lvl="1" indent="-342900">
              <a:lnSpc>
                <a:spcPts val="3000"/>
              </a:lnSpc>
              <a:spcBef>
                <a:spcPts val="300"/>
              </a:spcBef>
              <a:spcAft>
                <a:spcPts val="300"/>
              </a:spcAft>
            </a:pPr>
            <a:r>
              <a:rPr lang="en-US" sz="1800" dirty="0">
                <a:solidFill>
                  <a:schemeClr val="tx1">
                    <a:lumMod val="65000"/>
                    <a:lumOff val="35000"/>
                  </a:schemeClr>
                </a:solidFill>
              </a:rPr>
              <a:t>However, not a substitute for full-fledged RDBMS.</a:t>
            </a:r>
          </a:p>
          <a:p>
            <a:pPr>
              <a:lnSpc>
                <a:spcPts val="3000"/>
              </a:lnSpc>
              <a:spcBef>
                <a:spcPts val="600"/>
              </a:spcBef>
              <a:spcAft>
                <a:spcPts val="600"/>
              </a:spcAft>
            </a:pPr>
            <a:r>
              <a:rPr lang="en-US" sz="2000" dirty="0">
                <a:solidFill>
                  <a:schemeClr val="tx1">
                    <a:lumMod val="65000"/>
                    <a:lumOff val="35000"/>
                  </a:schemeClr>
                </a:solidFill>
                <a:latin typeface="+mn-lt"/>
              </a:rPr>
              <a:t>Hive tables can be queried using </a:t>
            </a:r>
            <a:r>
              <a:rPr lang="en-US" sz="2000" b="1" dirty="0" err="1">
                <a:solidFill>
                  <a:schemeClr val="tx1">
                    <a:lumMod val="65000"/>
                    <a:lumOff val="35000"/>
                  </a:schemeClr>
                </a:solidFill>
                <a:latin typeface="+mn-lt"/>
              </a:rPr>
              <a:t>HiveQL</a:t>
            </a:r>
            <a:r>
              <a:rPr lang="en-US" sz="2000" dirty="0">
                <a:solidFill>
                  <a:schemeClr val="tx1">
                    <a:lumMod val="65000"/>
                    <a:lumOff val="35000"/>
                  </a:schemeClr>
                </a:solidFill>
                <a:latin typeface="+mn-lt"/>
              </a:rPr>
              <a:t>, a SQL-like query language</a:t>
            </a:r>
          </a:p>
          <a:p>
            <a:pPr marL="679045" lvl="1" indent="-342900">
              <a:lnSpc>
                <a:spcPts val="3000"/>
              </a:lnSpc>
              <a:spcBef>
                <a:spcPts val="300"/>
              </a:spcBef>
              <a:spcAft>
                <a:spcPts val="300"/>
              </a:spcAft>
            </a:pPr>
            <a:r>
              <a:rPr lang="en-US" sz="1800" dirty="0" err="1">
                <a:solidFill>
                  <a:schemeClr val="tx1">
                    <a:lumMod val="65000"/>
                    <a:lumOff val="35000"/>
                  </a:schemeClr>
                </a:solidFill>
              </a:rPr>
              <a:t>HiveQL</a:t>
            </a:r>
            <a:r>
              <a:rPr lang="en-US" sz="1800" dirty="0">
                <a:solidFill>
                  <a:schemeClr val="tx1">
                    <a:lumMod val="65000"/>
                    <a:lumOff val="35000"/>
                  </a:schemeClr>
                </a:solidFill>
              </a:rPr>
              <a:t> queries are eventually executed as MapReduce or Tez programs by Hadoop</a:t>
            </a:r>
            <a:endParaRPr lang="en-US" sz="2000" dirty="0">
              <a:solidFill>
                <a:schemeClr val="tx1">
                  <a:lumMod val="65000"/>
                  <a:lumOff val="35000"/>
                </a:schemeClr>
              </a:solidFill>
            </a:endParaRPr>
          </a:p>
          <a:p>
            <a:pPr marL="457112" lvl="1" indent="0">
              <a:buNone/>
            </a:pPr>
            <a:endParaRPr lang="en-US" sz="2000" dirty="0"/>
          </a:p>
        </p:txBody>
      </p:sp>
      <p:grpSp>
        <p:nvGrpSpPr>
          <p:cNvPr id="5" name="Group 4"/>
          <p:cNvGrpSpPr/>
          <p:nvPr/>
        </p:nvGrpSpPr>
        <p:grpSpPr>
          <a:xfrm>
            <a:off x="7157542" y="1883979"/>
            <a:ext cx="4586528" cy="4396540"/>
            <a:chOff x="7072771" y="1418896"/>
            <a:chExt cx="5026026" cy="4861623"/>
          </a:xfrm>
        </p:grpSpPr>
        <p:sp>
          <p:nvSpPr>
            <p:cNvPr id="52" name="Rectangle 51"/>
            <p:cNvSpPr/>
            <p:nvPr/>
          </p:nvSpPr>
          <p:spPr bwMode="auto">
            <a:xfrm>
              <a:off x="7072771" y="1418896"/>
              <a:ext cx="5026026" cy="486162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grpSp>
          <p:nvGrpSpPr>
            <p:cNvPr id="35" name="Group 34"/>
            <p:cNvGrpSpPr/>
            <p:nvPr/>
          </p:nvGrpSpPr>
          <p:grpSpPr>
            <a:xfrm>
              <a:off x="7356051" y="4773720"/>
              <a:ext cx="4256897" cy="1237676"/>
              <a:chOff x="7491846" y="4764667"/>
              <a:chExt cx="4256897" cy="1237676"/>
            </a:xfrm>
          </p:grpSpPr>
          <p:sp>
            <p:nvSpPr>
              <p:cNvPr id="16" name="Rectangle 15"/>
              <p:cNvSpPr/>
              <p:nvPr/>
            </p:nvSpPr>
            <p:spPr bwMode="auto">
              <a:xfrm>
                <a:off x="7491846" y="4764667"/>
                <a:ext cx="4256897" cy="1237676"/>
              </a:xfrm>
              <a:prstGeom prst="rect">
                <a:avLst/>
              </a:prstGeom>
              <a:solidFill>
                <a:schemeClr val="accent3"/>
              </a:solidFill>
              <a:ln w="317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a:ln>
                    <a:noFill/>
                  </a:ln>
                  <a:gradFill>
                    <a:gsLst>
                      <a:gs pos="0">
                        <a:srgbClr val="FFFFFF"/>
                      </a:gs>
                      <a:gs pos="100000">
                        <a:srgbClr val="FFFFFF"/>
                      </a:gs>
                    </a:gsLst>
                    <a:lin ang="5400000" scaled="0"/>
                  </a:gradFill>
                  <a:effectLst/>
                  <a:uLnTx/>
                  <a:uFillTx/>
                  <a:latin typeface="Cambria" panose="02040503050406030204" pitchFamily="18" charset="0"/>
                  <a:ea typeface="+mn-ea"/>
                  <a:cs typeface="+mn-cs"/>
                </a:endParaRPr>
              </a:p>
            </p:txBody>
          </p:sp>
          <p:sp>
            <p:nvSpPr>
              <p:cNvPr id="17" name="Rounded Rectangle 16"/>
              <p:cNvSpPr/>
              <p:nvPr/>
            </p:nvSpPr>
            <p:spPr bwMode="auto">
              <a:xfrm>
                <a:off x="8528255" y="4844992"/>
                <a:ext cx="595746" cy="360218"/>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8" name="Rounded Rectangle 17"/>
              <p:cNvSpPr/>
              <p:nvPr/>
            </p:nvSpPr>
            <p:spPr bwMode="auto">
              <a:xfrm>
                <a:off x="9322421" y="5124885"/>
                <a:ext cx="595746" cy="360218"/>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9" name="Rounded Rectangle 18"/>
              <p:cNvSpPr/>
              <p:nvPr/>
            </p:nvSpPr>
            <p:spPr bwMode="auto">
              <a:xfrm>
                <a:off x="10127815" y="4854045"/>
                <a:ext cx="595746" cy="360218"/>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20" name="Rounded Rectangle 19"/>
              <p:cNvSpPr/>
              <p:nvPr/>
            </p:nvSpPr>
            <p:spPr bwMode="auto">
              <a:xfrm>
                <a:off x="10680889" y="5439789"/>
                <a:ext cx="595746" cy="360218"/>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21" name="Rounded Rectangle 20"/>
              <p:cNvSpPr/>
              <p:nvPr/>
            </p:nvSpPr>
            <p:spPr bwMode="auto">
              <a:xfrm>
                <a:off x="8057940" y="5439789"/>
                <a:ext cx="595746" cy="360218"/>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22" name="TextBox 21"/>
              <p:cNvSpPr txBox="1"/>
              <p:nvPr/>
            </p:nvSpPr>
            <p:spPr>
              <a:xfrm>
                <a:off x="9163094" y="5485103"/>
                <a:ext cx="914400" cy="517240"/>
              </a:xfrm>
              <a:prstGeom prst="rect">
                <a:avLst/>
              </a:prstGeom>
              <a:noFill/>
            </p:spPr>
            <p:txBody>
              <a:bodyPr wrap="none" lIns="182880" tIns="146304" rIns="182880" bIns="146304" rtlCol="0" anchor="ctr">
                <a:noAutofit/>
              </a:bodyPr>
              <a:lstStyle/>
              <a:p>
                <a:pPr algn="ctr">
                  <a:lnSpc>
                    <a:spcPct val="90000"/>
                  </a:lnSpc>
                  <a:spcAft>
                    <a:spcPts val="600"/>
                  </a:spcAft>
                </a:pPr>
                <a:r>
                  <a:rPr lang="en-US" sz="2000" dirty="0">
                    <a:solidFill>
                      <a:schemeClr val="bg1"/>
                    </a:solidFill>
                  </a:rPr>
                  <a:t>HDFS</a:t>
                </a:r>
              </a:p>
            </p:txBody>
          </p:sp>
          <p:sp>
            <p:nvSpPr>
              <p:cNvPr id="167" name="Freeform 166"/>
              <p:cNvSpPr>
                <a:spLocks/>
              </p:cNvSpPr>
              <p:nvPr/>
            </p:nvSpPr>
            <p:spPr bwMode="auto">
              <a:xfrm>
                <a:off x="7523621" y="5138007"/>
                <a:ext cx="541592" cy="410807"/>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4367"/>
                <a:endParaRPr lang="en-IN" sz="1961">
                  <a:solidFill>
                    <a:srgbClr val="000000"/>
                  </a:solidFill>
                </a:endParaRPr>
              </a:p>
            </p:txBody>
          </p:sp>
        </p:grpSp>
        <p:grpSp>
          <p:nvGrpSpPr>
            <p:cNvPr id="47" name="Group 46"/>
            <p:cNvGrpSpPr/>
            <p:nvPr/>
          </p:nvGrpSpPr>
          <p:grpSpPr>
            <a:xfrm>
              <a:off x="8045760" y="3114219"/>
              <a:ext cx="2877477" cy="895452"/>
              <a:chOff x="7710139" y="3141866"/>
              <a:chExt cx="2877477" cy="933154"/>
            </a:xfrm>
          </p:grpSpPr>
          <p:sp>
            <p:nvSpPr>
              <p:cNvPr id="8" name="Rectangle 7"/>
              <p:cNvSpPr/>
              <p:nvPr/>
            </p:nvSpPr>
            <p:spPr bwMode="auto">
              <a:xfrm>
                <a:off x="7710139" y="3141866"/>
                <a:ext cx="2877477" cy="933154"/>
              </a:xfrm>
              <a:prstGeom prst="rect">
                <a:avLst/>
              </a:prstGeom>
              <a:solidFill>
                <a:schemeClr val="accent2"/>
              </a:solid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grpSp>
            <p:nvGrpSpPr>
              <p:cNvPr id="29" name="Group 28"/>
              <p:cNvGrpSpPr/>
              <p:nvPr/>
            </p:nvGrpSpPr>
            <p:grpSpPr>
              <a:xfrm>
                <a:off x="7833384" y="3257717"/>
                <a:ext cx="843834" cy="700526"/>
                <a:chOff x="10450072" y="3249718"/>
                <a:chExt cx="843834" cy="700526"/>
              </a:xfrm>
            </p:grpSpPr>
            <p:sp>
              <p:nvSpPr>
                <p:cNvPr id="90" name="Rectangle 89"/>
                <p:cNvSpPr/>
                <p:nvPr/>
              </p:nvSpPr>
              <p:spPr bwMode="auto">
                <a:xfrm>
                  <a:off x="10455346" y="3251213"/>
                  <a:ext cx="838560" cy="699031"/>
                </a:xfrm>
                <a:prstGeom prst="rect">
                  <a:avLst/>
                </a:prstGeom>
                <a:solidFill>
                  <a:schemeClr val="accent1"/>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cxnSp>
              <p:nvCxnSpPr>
                <p:cNvPr id="91" name="Straight Connector 90"/>
                <p:cNvCxnSpPr/>
                <p:nvPr/>
              </p:nvCxnSpPr>
              <p:spPr>
                <a:xfrm>
                  <a:off x="10455346" y="3374282"/>
                  <a:ext cx="838560" cy="0"/>
                </a:xfrm>
                <a:prstGeom prst="line">
                  <a:avLst/>
                </a:prstGeom>
                <a:solidFill>
                  <a:schemeClr val="accent1"/>
                </a:solid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0455346" y="3482583"/>
                  <a:ext cx="838560" cy="0"/>
                </a:xfrm>
                <a:prstGeom prst="line">
                  <a:avLst/>
                </a:prstGeom>
                <a:solidFill>
                  <a:schemeClr val="accent1"/>
                </a:solid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a:off x="10455346" y="3590884"/>
                  <a:ext cx="838560" cy="0"/>
                </a:xfrm>
                <a:prstGeom prst="line">
                  <a:avLst/>
                </a:prstGeom>
                <a:solidFill>
                  <a:schemeClr val="accent1"/>
                </a:solid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a:off x="10455346" y="3699184"/>
                  <a:ext cx="838560" cy="0"/>
                </a:xfrm>
                <a:prstGeom prst="line">
                  <a:avLst/>
                </a:prstGeom>
                <a:solidFill>
                  <a:schemeClr val="accent1"/>
                </a:solid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a:off x="10450072" y="3817332"/>
                  <a:ext cx="838560" cy="0"/>
                </a:xfrm>
                <a:prstGeom prst="line">
                  <a:avLst/>
                </a:prstGeom>
                <a:solidFill>
                  <a:schemeClr val="accent1"/>
                </a:solid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rot="5400000">
                  <a:off x="10305031" y="3592618"/>
                  <a:ext cx="685800" cy="0"/>
                </a:xfrm>
                <a:prstGeom prst="line">
                  <a:avLst/>
                </a:prstGeom>
                <a:solidFill>
                  <a:schemeClr val="accent1"/>
                </a:solid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rot="5400000">
                  <a:off x="10466484" y="3592618"/>
                  <a:ext cx="685800" cy="0"/>
                </a:xfrm>
                <a:prstGeom prst="line">
                  <a:avLst/>
                </a:prstGeom>
                <a:solidFill>
                  <a:schemeClr val="accent1"/>
                </a:solid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rot="5400000">
                  <a:off x="10618884" y="3592618"/>
                  <a:ext cx="685800" cy="0"/>
                </a:xfrm>
                <a:prstGeom prst="line">
                  <a:avLst/>
                </a:prstGeom>
                <a:solidFill>
                  <a:schemeClr val="accent1"/>
                </a:solid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rot="5400000">
                  <a:off x="10780337" y="3592618"/>
                  <a:ext cx="685800" cy="0"/>
                </a:xfrm>
                <a:prstGeom prst="line">
                  <a:avLst/>
                </a:prstGeom>
                <a:solidFill>
                  <a:schemeClr val="accent1"/>
                </a:solid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04" name="Group 103"/>
              <p:cNvGrpSpPr/>
              <p:nvPr/>
            </p:nvGrpSpPr>
            <p:grpSpPr>
              <a:xfrm>
                <a:off x="8721165" y="3257717"/>
                <a:ext cx="843834" cy="700526"/>
                <a:chOff x="10450072" y="3249718"/>
                <a:chExt cx="843834" cy="700526"/>
              </a:xfrm>
              <a:solidFill>
                <a:schemeClr val="accent2"/>
              </a:solidFill>
            </p:grpSpPr>
            <p:sp>
              <p:nvSpPr>
                <p:cNvPr id="122" name="Rectangle 121"/>
                <p:cNvSpPr/>
                <p:nvPr/>
              </p:nvSpPr>
              <p:spPr bwMode="auto">
                <a:xfrm>
                  <a:off x="10455346" y="3251213"/>
                  <a:ext cx="838560" cy="699031"/>
                </a:xfrm>
                <a:prstGeom prst="rect">
                  <a:avLst/>
                </a:prstGeom>
                <a:solidFill>
                  <a:schemeClr val="tx2">
                    <a:lumMod val="75000"/>
                  </a:schemeClr>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cxnSp>
              <p:nvCxnSpPr>
                <p:cNvPr id="129" name="Straight Connector 128"/>
                <p:cNvCxnSpPr/>
                <p:nvPr/>
              </p:nvCxnSpPr>
              <p:spPr>
                <a:xfrm>
                  <a:off x="10455346" y="3374282"/>
                  <a:ext cx="838560" cy="0"/>
                </a:xfrm>
                <a:prstGeom prst="line">
                  <a:avLst/>
                </a:prstGeom>
                <a:grp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a:off x="10455346" y="3482583"/>
                  <a:ext cx="838560" cy="0"/>
                </a:xfrm>
                <a:prstGeom prst="line">
                  <a:avLst/>
                </a:prstGeom>
                <a:grp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a:off x="10455346" y="3590884"/>
                  <a:ext cx="838560" cy="0"/>
                </a:xfrm>
                <a:prstGeom prst="line">
                  <a:avLst/>
                </a:prstGeom>
                <a:grp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nvCxnSpPr>
              <p:spPr>
                <a:xfrm>
                  <a:off x="10455346" y="3699184"/>
                  <a:ext cx="838560" cy="0"/>
                </a:xfrm>
                <a:prstGeom prst="line">
                  <a:avLst/>
                </a:prstGeom>
                <a:grp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p:nvPr/>
              </p:nvCxnSpPr>
              <p:spPr>
                <a:xfrm>
                  <a:off x="10450072" y="3817332"/>
                  <a:ext cx="838560" cy="0"/>
                </a:xfrm>
                <a:prstGeom prst="line">
                  <a:avLst/>
                </a:prstGeom>
                <a:grp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1" name="Straight Connector 140"/>
                <p:cNvCxnSpPr/>
                <p:nvPr/>
              </p:nvCxnSpPr>
              <p:spPr>
                <a:xfrm rot="5400000">
                  <a:off x="10305031" y="3592618"/>
                  <a:ext cx="685800" cy="0"/>
                </a:xfrm>
                <a:prstGeom prst="line">
                  <a:avLst/>
                </a:prstGeom>
                <a:grp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p:nvPr/>
              </p:nvCxnSpPr>
              <p:spPr>
                <a:xfrm rot="5400000">
                  <a:off x="10466484" y="3592618"/>
                  <a:ext cx="685800" cy="0"/>
                </a:xfrm>
                <a:prstGeom prst="line">
                  <a:avLst/>
                </a:prstGeom>
                <a:grp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3" name="Straight Connector 142"/>
                <p:cNvCxnSpPr/>
                <p:nvPr/>
              </p:nvCxnSpPr>
              <p:spPr>
                <a:xfrm rot="5400000">
                  <a:off x="10618884" y="3592618"/>
                  <a:ext cx="685800" cy="0"/>
                </a:xfrm>
                <a:prstGeom prst="line">
                  <a:avLst/>
                </a:prstGeom>
                <a:grp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4" name="Straight Connector 143"/>
                <p:cNvCxnSpPr/>
                <p:nvPr/>
              </p:nvCxnSpPr>
              <p:spPr>
                <a:xfrm rot="5400000">
                  <a:off x="10780337" y="3592618"/>
                  <a:ext cx="685800" cy="0"/>
                </a:xfrm>
                <a:prstGeom prst="line">
                  <a:avLst/>
                </a:prstGeom>
                <a:grp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45" name="Group 144"/>
              <p:cNvGrpSpPr/>
              <p:nvPr/>
            </p:nvGrpSpPr>
            <p:grpSpPr>
              <a:xfrm>
                <a:off x="9606250" y="3257717"/>
                <a:ext cx="843834" cy="700526"/>
                <a:chOff x="10450072" y="3249718"/>
                <a:chExt cx="843834" cy="700526"/>
              </a:xfrm>
              <a:solidFill>
                <a:schemeClr val="accent4">
                  <a:lumMod val="75000"/>
                </a:schemeClr>
              </a:solidFill>
            </p:grpSpPr>
            <p:sp>
              <p:nvSpPr>
                <p:cNvPr id="146" name="Rectangle 145"/>
                <p:cNvSpPr/>
                <p:nvPr/>
              </p:nvSpPr>
              <p:spPr bwMode="auto">
                <a:xfrm>
                  <a:off x="10455346" y="3251213"/>
                  <a:ext cx="838560" cy="699031"/>
                </a:xfrm>
                <a:prstGeom prst="rect">
                  <a:avLst/>
                </a:prstGeom>
                <a:grp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cxnSp>
              <p:nvCxnSpPr>
                <p:cNvPr id="147" name="Straight Connector 146"/>
                <p:cNvCxnSpPr/>
                <p:nvPr/>
              </p:nvCxnSpPr>
              <p:spPr>
                <a:xfrm>
                  <a:off x="10455346" y="3374282"/>
                  <a:ext cx="838560" cy="0"/>
                </a:xfrm>
                <a:prstGeom prst="line">
                  <a:avLst/>
                </a:prstGeom>
                <a:grp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8" name="Straight Connector 147"/>
                <p:cNvCxnSpPr/>
                <p:nvPr/>
              </p:nvCxnSpPr>
              <p:spPr>
                <a:xfrm>
                  <a:off x="10455346" y="3482583"/>
                  <a:ext cx="838560" cy="0"/>
                </a:xfrm>
                <a:prstGeom prst="line">
                  <a:avLst/>
                </a:prstGeom>
                <a:grp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9" name="Straight Connector 148"/>
                <p:cNvCxnSpPr/>
                <p:nvPr/>
              </p:nvCxnSpPr>
              <p:spPr>
                <a:xfrm>
                  <a:off x="10455346" y="3590884"/>
                  <a:ext cx="838560" cy="0"/>
                </a:xfrm>
                <a:prstGeom prst="line">
                  <a:avLst/>
                </a:prstGeom>
                <a:grp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0" name="Straight Connector 149"/>
                <p:cNvCxnSpPr/>
                <p:nvPr/>
              </p:nvCxnSpPr>
              <p:spPr>
                <a:xfrm>
                  <a:off x="10455346" y="3699184"/>
                  <a:ext cx="838560" cy="0"/>
                </a:xfrm>
                <a:prstGeom prst="line">
                  <a:avLst/>
                </a:prstGeom>
                <a:grp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1" name="Straight Connector 150"/>
                <p:cNvCxnSpPr/>
                <p:nvPr/>
              </p:nvCxnSpPr>
              <p:spPr>
                <a:xfrm>
                  <a:off x="10450072" y="3817332"/>
                  <a:ext cx="838560" cy="0"/>
                </a:xfrm>
                <a:prstGeom prst="line">
                  <a:avLst/>
                </a:prstGeom>
                <a:grp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2" name="Straight Connector 151"/>
                <p:cNvCxnSpPr/>
                <p:nvPr/>
              </p:nvCxnSpPr>
              <p:spPr>
                <a:xfrm rot="5400000">
                  <a:off x="10305031" y="3592618"/>
                  <a:ext cx="685800" cy="0"/>
                </a:xfrm>
                <a:prstGeom prst="line">
                  <a:avLst/>
                </a:prstGeom>
                <a:grp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3" name="Straight Connector 152"/>
                <p:cNvCxnSpPr/>
                <p:nvPr/>
              </p:nvCxnSpPr>
              <p:spPr>
                <a:xfrm rot="5400000">
                  <a:off x="10466484" y="3592618"/>
                  <a:ext cx="685800" cy="0"/>
                </a:xfrm>
                <a:prstGeom prst="line">
                  <a:avLst/>
                </a:prstGeom>
                <a:grp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4" name="Straight Connector 153"/>
                <p:cNvCxnSpPr/>
                <p:nvPr/>
              </p:nvCxnSpPr>
              <p:spPr>
                <a:xfrm rot="5400000">
                  <a:off x="10618884" y="3592618"/>
                  <a:ext cx="685800" cy="0"/>
                </a:xfrm>
                <a:prstGeom prst="line">
                  <a:avLst/>
                </a:prstGeom>
                <a:grp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p:nvPr/>
              </p:nvCxnSpPr>
              <p:spPr>
                <a:xfrm rot="5400000">
                  <a:off x="10780337" y="3592618"/>
                  <a:ext cx="685800" cy="0"/>
                </a:xfrm>
                <a:prstGeom prst="line">
                  <a:avLst/>
                </a:prstGeom>
                <a:grp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31" name="Trapezoid 30"/>
            <p:cNvSpPr/>
            <p:nvPr/>
          </p:nvSpPr>
          <p:spPr bwMode="auto">
            <a:xfrm>
              <a:off x="7356050" y="4306492"/>
              <a:ext cx="4229590" cy="457825"/>
            </a:xfrm>
            <a:prstGeom prst="trapezoid">
              <a:avLst>
                <a:gd name="adj" fmla="val 64879"/>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32" name="TextBox 31"/>
            <p:cNvSpPr txBox="1"/>
            <p:nvPr/>
          </p:nvSpPr>
          <p:spPr>
            <a:xfrm>
              <a:off x="8807032" y="4069362"/>
              <a:ext cx="1367757" cy="315213"/>
            </a:xfrm>
            <a:prstGeom prst="rect">
              <a:avLst/>
            </a:prstGeom>
            <a:noFill/>
          </p:spPr>
          <p:txBody>
            <a:bodyPr wrap="none" lIns="182880" tIns="146304" rIns="182880" bIns="146304" rtlCol="0" anchor="ctr">
              <a:noAutofit/>
            </a:bodyPr>
            <a:lstStyle/>
            <a:p>
              <a:pPr>
                <a:lnSpc>
                  <a:spcPct val="90000"/>
                </a:lnSpc>
                <a:spcAft>
                  <a:spcPts val="600"/>
                </a:spcAft>
              </a:pPr>
              <a:r>
                <a:rPr lang="en-US" sz="1600" dirty="0">
                  <a:solidFill>
                    <a:schemeClr val="accent1"/>
                  </a:solidFill>
                </a:rPr>
                <a:t>Table View</a:t>
              </a:r>
            </a:p>
          </p:txBody>
        </p:sp>
        <p:grpSp>
          <p:nvGrpSpPr>
            <p:cNvPr id="37" name="Group 36"/>
            <p:cNvGrpSpPr/>
            <p:nvPr/>
          </p:nvGrpSpPr>
          <p:grpSpPr>
            <a:xfrm>
              <a:off x="7356050" y="1536574"/>
              <a:ext cx="4256897" cy="1568240"/>
              <a:chOff x="7491845" y="1536574"/>
              <a:chExt cx="4256897" cy="1568240"/>
            </a:xfrm>
          </p:grpSpPr>
          <p:sp>
            <p:nvSpPr>
              <p:cNvPr id="119" name="Rectangle 118"/>
              <p:cNvSpPr/>
              <p:nvPr/>
            </p:nvSpPr>
            <p:spPr bwMode="auto">
              <a:xfrm>
                <a:off x="7491845" y="1536574"/>
                <a:ext cx="4256897" cy="886691"/>
              </a:xfrm>
              <a:prstGeom prst="rect">
                <a:avLst/>
              </a:prstGeom>
              <a:solidFill>
                <a:srgbClr val="FFC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0" name="Freeform 9"/>
              <p:cNvSpPr/>
              <p:nvPr/>
            </p:nvSpPr>
            <p:spPr bwMode="auto">
              <a:xfrm>
                <a:off x="7711402" y="1966064"/>
                <a:ext cx="331417" cy="366148"/>
              </a:xfrm>
              <a:custGeom>
                <a:avLst/>
                <a:gdLst>
                  <a:gd name="connsiteX0" fmla="*/ 338138 w 728663"/>
                  <a:gd name="connsiteY0" fmla="*/ 0 h 823912"/>
                  <a:gd name="connsiteX1" fmla="*/ 73819 w 728663"/>
                  <a:gd name="connsiteY1" fmla="*/ 97631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38138 w 728663"/>
                  <a:gd name="connsiteY0" fmla="*/ 0 h 823912"/>
                  <a:gd name="connsiteX1" fmla="*/ 35719 w 728663"/>
                  <a:gd name="connsiteY1" fmla="*/ 73819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38138 w 728663"/>
                  <a:gd name="connsiteY0" fmla="*/ 0 h 823912"/>
                  <a:gd name="connsiteX1" fmla="*/ 97631 w 728663"/>
                  <a:gd name="connsiteY1" fmla="*/ 66675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38138 w 728663"/>
                  <a:gd name="connsiteY0" fmla="*/ 0 h 823912"/>
                  <a:gd name="connsiteX1" fmla="*/ 97631 w 728663"/>
                  <a:gd name="connsiteY1" fmla="*/ 66675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38138 w 728663"/>
                  <a:gd name="connsiteY0" fmla="*/ 0 h 823912"/>
                  <a:gd name="connsiteX1" fmla="*/ 97631 w 728663"/>
                  <a:gd name="connsiteY1" fmla="*/ 66675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21470 w 711995"/>
                  <a:gd name="connsiteY0" fmla="*/ 0 h 823912"/>
                  <a:gd name="connsiteX1" fmla="*/ 80963 w 711995"/>
                  <a:gd name="connsiteY1" fmla="*/ 66675 h 823912"/>
                  <a:gd name="connsiteX2" fmla="*/ 0 w 711995"/>
                  <a:gd name="connsiteY2" fmla="*/ 497681 h 823912"/>
                  <a:gd name="connsiteX3" fmla="*/ 450057 w 711995"/>
                  <a:gd name="connsiteY3" fmla="*/ 823912 h 823912"/>
                  <a:gd name="connsiteX4" fmla="*/ 711995 w 711995"/>
                  <a:gd name="connsiteY4" fmla="*/ 733425 h 823912"/>
                  <a:gd name="connsiteX5" fmla="*/ 476251 w 711995"/>
                  <a:gd name="connsiteY5" fmla="*/ 707231 h 823912"/>
                  <a:gd name="connsiteX6" fmla="*/ 495301 w 711995"/>
                  <a:gd name="connsiteY6" fmla="*/ 621506 h 823912"/>
                  <a:gd name="connsiteX7" fmla="*/ 497682 w 711995"/>
                  <a:gd name="connsiteY7" fmla="*/ 571500 h 823912"/>
                  <a:gd name="connsiteX8" fmla="*/ 350045 w 711995"/>
                  <a:gd name="connsiteY8" fmla="*/ 423862 h 823912"/>
                  <a:gd name="connsiteX9" fmla="*/ 521495 w 711995"/>
                  <a:gd name="connsiteY9" fmla="*/ 528637 h 823912"/>
                  <a:gd name="connsiteX10" fmla="*/ 521495 w 711995"/>
                  <a:gd name="connsiteY10" fmla="*/ 302418 h 823912"/>
                  <a:gd name="connsiteX11" fmla="*/ 357189 w 711995"/>
                  <a:gd name="connsiteY11" fmla="*/ 54768 h 823912"/>
                  <a:gd name="connsiteX12" fmla="*/ 321470 w 711995"/>
                  <a:gd name="connsiteY12" fmla="*/ 0 h 823912"/>
                  <a:gd name="connsiteX0" fmla="*/ 347343 w 737868"/>
                  <a:gd name="connsiteY0" fmla="*/ 0 h 823912"/>
                  <a:gd name="connsiteX1" fmla="*/ 106836 w 737868"/>
                  <a:gd name="connsiteY1" fmla="*/ 66675 h 823912"/>
                  <a:gd name="connsiteX2" fmla="*/ 25873 w 737868"/>
                  <a:gd name="connsiteY2" fmla="*/ 497681 h 823912"/>
                  <a:gd name="connsiteX3" fmla="*/ 475930 w 737868"/>
                  <a:gd name="connsiteY3" fmla="*/ 823912 h 823912"/>
                  <a:gd name="connsiteX4" fmla="*/ 737868 w 737868"/>
                  <a:gd name="connsiteY4" fmla="*/ 733425 h 823912"/>
                  <a:gd name="connsiteX5" fmla="*/ 502124 w 737868"/>
                  <a:gd name="connsiteY5" fmla="*/ 707231 h 823912"/>
                  <a:gd name="connsiteX6" fmla="*/ 521174 w 737868"/>
                  <a:gd name="connsiteY6" fmla="*/ 621506 h 823912"/>
                  <a:gd name="connsiteX7" fmla="*/ 523555 w 737868"/>
                  <a:gd name="connsiteY7" fmla="*/ 571500 h 823912"/>
                  <a:gd name="connsiteX8" fmla="*/ 375918 w 737868"/>
                  <a:gd name="connsiteY8" fmla="*/ 423862 h 823912"/>
                  <a:gd name="connsiteX9" fmla="*/ 547368 w 737868"/>
                  <a:gd name="connsiteY9" fmla="*/ 528637 h 823912"/>
                  <a:gd name="connsiteX10" fmla="*/ 547368 w 737868"/>
                  <a:gd name="connsiteY10" fmla="*/ 302418 h 823912"/>
                  <a:gd name="connsiteX11" fmla="*/ 383062 w 737868"/>
                  <a:gd name="connsiteY11" fmla="*/ 54768 h 823912"/>
                  <a:gd name="connsiteX12" fmla="*/ 347343 w 737868"/>
                  <a:gd name="connsiteY12" fmla="*/ 0 h 823912"/>
                  <a:gd name="connsiteX0" fmla="*/ 347343 w 737868"/>
                  <a:gd name="connsiteY0" fmla="*/ 0 h 823912"/>
                  <a:gd name="connsiteX1" fmla="*/ 106836 w 737868"/>
                  <a:gd name="connsiteY1" fmla="*/ 66675 h 823912"/>
                  <a:gd name="connsiteX2" fmla="*/ 25873 w 737868"/>
                  <a:gd name="connsiteY2" fmla="*/ 497681 h 823912"/>
                  <a:gd name="connsiteX3" fmla="*/ 475930 w 737868"/>
                  <a:gd name="connsiteY3" fmla="*/ 823912 h 823912"/>
                  <a:gd name="connsiteX4" fmla="*/ 737868 w 737868"/>
                  <a:gd name="connsiteY4" fmla="*/ 733425 h 823912"/>
                  <a:gd name="connsiteX5" fmla="*/ 502124 w 737868"/>
                  <a:gd name="connsiteY5" fmla="*/ 707231 h 823912"/>
                  <a:gd name="connsiteX6" fmla="*/ 521174 w 737868"/>
                  <a:gd name="connsiteY6" fmla="*/ 621506 h 823912"/>
                  <a:gd name="connsiteX7" fmla="*/ 523555 w 737868"/>
                  <a:gd name="connsiteY7" fmla="*/ 571500 h 823912"/>
                  <a:gd name="connsiteX8" fmla="*/ 375918 w 737868"/>
                  <a:gd name="connsiteY8" fmla="*/ 423862 h 823912"/>
                  <a:gd name="connsiteX9" fmla="*/ 547368 w 737868"/>
                  <a:gd name="connsiteY9" fmla="*/ 528637 h 823912"/>
                  <a:gd name="connsiteX10" fmla="*/ 547368 w 737868"/>
                  <a:gd name="connsiteY10" fmla="*/ 302418 h 823912"/>
                  <a:gd name="connsiteX11" fmla="*/ 383062 w 737868"/>
                  <a:gd name="connsiteY11" fmla="*/ 54768 h 823912"/>
                  <a:gd name="connsiteX12" fmla="*/ 347343 w 737868"/>
                  <a:gd name="connsiteY12" fmla="*/ 0 h 823912"/>
                  <a:gd name="connsiteX0" fmla="*/ 347343 w 737868"/>
                  <a:gd name="connsiteY0" fmla="*/ 0 h 795337"/>
                  <a:gd name="connsiteX1" fmla="*/ 106836 w 737868"/>
                  <a:gd name="connsiteY1" fmla="*/ 66675 h 795337"/>
                  <a:gd name="connsiteX2" fmla="*/ 25873 w 737868"/>
                  <a:gd name="connsiteY2" fmla="*/ 497681 h 795337"/>
                  <a:gd name="connsiteX3" fmla="*/ 487836 w 737868"/>
                  <a:gd name="connsiteY3" fmla="*/ 795337 h 795337"/>
                  <a:gd name="connsiteX4" fmla="*/ 737868 w 737868"/>
                  <a:gd name="connsiteY4" fmla="*/ 733425 h 795337"/>
                  <a:gd name="connsiteX5" fmla="*/ 502124 w 737868"/>
                  <a:gd name="connsiteY5" fmla="*/ 707231 h 795337"/>
                  <a:gd name="connsiteX6" fmla="*/ 521174 w 737868"/>
                  <a:gd name="connsiteY6" fmla="*/ 621506 h 795337"/>
                  <a:gd name="connsiteX7" fmla="*/ 523555 w 737868"/>
                  <a:gd name="connsiteY7" fmla="*/ 571500 h 795337"/>
                  <a:gd name="connsiteX8" fmla="*/ 375918 w 737868"/>
                  <a:gd name="connsiteY8" fmla="*/ 423862 h 795337"/>
                  <a:gd name="connsiteX9" fmla="*/ 547368 w 737868"/>
                  <a:gd name="connsiteY9" fmla="*/ 528637 h 795337"/>
                  <a:gd name="connsiteX10" fmla="*/ 547368 w 737868"/>
                  <a:gd name="connsiteY10" fmla="*/ 302418 h 795337"/>
                  <a:gd name="connsiteX11" fmla="*/ 383062 w 737868"/>
                  <a:gd name="connsiteY11" fmla="*/ 54768 h 795337"/>
                  <a:gd name="connsiteX12" fmla="*/ 347343 w 737868"/>
                  <a:gd name="connsiteY12" fmla="*/ 0 h 795337"/>
                  <a:gd name="connsiteX0" fmla="*/ 347343 w 737868"/>
                  <a:gd name="connsiteY0" fmla="*/ 0 h 800325"/>
                  <a:gd name="connsiteX1" fmla="*/ 106836 w 737868"/>
                  <a:gd name="connsiteY1" fmla="*/ 66675 h 800325"/>
                  <a:gd name="connsiteX2" fmla="*/ 25873 w 737868"/>
                  <a:gd name="connsiteY2" fmla="*/ 497681 h 800325"/>
                  <a:gd name="connsiteX3" fmla="*/ 487836 w 737868"/>
                  <a:gd name="connsiteY3" fmla="*/ 795337 h 800325"/>
                  <a:gd name="connsiteX4" fmla="*/ 737868 w 737868"/>
                  <a:gd name="connsiteY4" fmla="*/ 733425 h 800325"/>
                  <a:gd name="connsiteX5" fmla="*/ 502124 w 737868"/>
                  <a:gd name="connsiteY5" fmla="*/ 707231 h 800325"/>
                  <a:gd name="connsiteX6" fmla="*/ 521174 w 737868"/>
                  <a:gd name="connsiteY6" fmla="*/ 621506 h 800325"/>
                  <a:gd name="connsiteX7" fmla="*/ 523555 w 737868"/>
                  <a:gd name="connsiteY7" fmla="*/ 571500 h 800325"/>
                  <a:gd name="connsiteX8" fmla="*/ 375918 w 737868"/>
                  <a:gd name="connsiteY8" fmla="*/ 423862 h 800325"/>
                  <a:gd name="connsiteX9" fmla="*/ 547368 w 737868"/>
                  <a:gd name="connsiteY9" fmla="*/ 528637 h 800325"/>
                  <a:gd name="connsiteX10" fmla="*/ 547368 w 737868"/>
                  <a:gd name="connsiteY10" fmla="*/ 302418 h 800325"/>
                  <a:gd name="connsiteX11" fmla="*/ 383062 w 737868"/>
                  <a:gd name="connsiteY11" fmla="*/ 54768 h 800325"/>
                  <a:gd name="connsiteX12" fmla="*/ 347343 w 737868"/>
                  <a:gd name="connsiteY12" fmla="*/ 0 h 800325"/>
                  <a:gd name="connsiteX0" fmla="*/ 347343 w 771205"/>
                  <a:gd name="connsiteY0" fmla="*/ 0 h 800325"/>
                  <a:gd name="connsiteX1" fmla="*/ 106836 w 771205"/>
                  <a:gd name="connsiteY1" fmla="*/ 66675 h 800325"/>
                  <a:gd name="connsiteX2" fmla="*/ 25873 w 771205"/>
                  <a:gd name="connsiteY2" fmla="*/ 497681 h 800325"/>
                  <a:gd name="connsiteX3" fmla="*/ 487836 w 771205"/>
                  <a:gd name="connsiteY3" fmla="*/ 795337 h 800325"/>
                  <a:gd name="connsiteX4" fmla="*/ 771205 w 771205"/>
                  <a:gd name="connsiteY4" fmla="*/ 707232 h 800325"/>
                  <a:gd name="connsiteX5" fmla="*/ 502124 w 771205"/>
                  <a:gd name="connsiteY5" fmla="*/ 707231 h 800325"/>
                  <a:gd name="connsiteX6" fmla="*/ 521174 w 771205"/>
                  <a:gd name="connsiteY6" fmla="*/ 621506 h 800325"/>
                  <a:gd name="connsiteX7" fmla="*/ 523555 w 771205"/>
                  <a:gd name="connsiteY7" fmla="*/ 571500 h 800325"/>
                  <a:gd name="connsiteX8" fmla="*/ 375918 w 771205"/>
                  <a:gd name="connsiteY8" fmla="*/ 423862 h 800325"/>
                  <a:gd name="connsiteX9" fmla="*/ 547368 w 771205"/>
                  <a:gd name="connsiteY9" fmla="*/ 528637 h 800325"/>
                  <a:gd name="connsiteX10" fmla="*/ 547368 w 771205"/>
                  <a:gd name="connsiteY10" fmla="*/ 302418 h 800325"/>
                  <a:gd name="connsiteX11" fmla="*/ 383062 w 771205"/>
                  <a:gd name="connsiteY11" fmla="*/ 54768 h 800325"/>
                  <a:gd name="connsiteX12" fmla="*/ 347343 w 771205"/>
                  <a:gd name="connsiteY12" fmla="*/ 0 h 800325"/>
                  <a:gd name="connsiteX0" fmla="*/ 347343 w 771205"/>
                  <a:gd name="connsiteY0" fmla="*/ 0 h 800325"/>
                  <a:gd name="connsiteX1" fmla="*/ 106836 w 771205"/>
                  <a:gd name="connsiteY1" fmla="*/ 66675 h 800325"/>
                  <a:gd name="connsiteX2" fmla="*/ 25873 w 771205"/>
                  <a:gd name="connsiteY2" fmla="*/ 497681 h 800325"/>
                  <a:gd name="connsiteX3" fmla="*/ 487836 w 771205"/>
                  <a:gd name="connsiteY3" fmla="*/ 795337 h 800325"/>
                  <a:gd name="connsiteX4" fmla="*/ 771205 w 771205"/>
                  <a:gd name="connsiteY4" fmla="*/ 707232 h 800325"/>
                  <a:gd name="connsiteX5" fmla="*/ 502124 w 771205"/>
                  <a:gd name="connsiteY5" fmla="*/ 707231 h 800325"/>
                  <a:gd name="connsiteX6" fmla="*/ 521174 w 771205"/>
                  <a:gd name="connsiteY6" fmla="*/ 621506 h 800325"/>
                  <a:gd name="connsiteX7" fmla="*/ 523555 w 771205"/>
                  <a:gd name="connsiteY7" fmla="*/ 571500 h 800325"/>
                  <a:gd name="connsiteX8" fmla="*/ 375918 w 771205"/>
                  <a:gd name="connsiteY8" fmla="*/ 423862 h 800325"/>
                  <a:gd name="connsiteX9" fmla="*/ 547368 w 771205"/>
                  <a:gd name="connsiteY9" fmla="*/ 528637 h 800325"/>
                  <a:gd name="connsiteX10" fmla="*/ 547368 w 771205"/>
                  <a:gd name="connsiteY10" fmla="*/ 302418 h 800325"/>
                  <a:gd name="connsiteX11" fmla="*/ 383062 w 771205"/>
                  <a:gd name="connsiteY11" fmla="*/ 54768 h 800325"/>
                  <a:gd name="connsiteX12" fmla="*/ 347343 w 77120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502124 w 752155"/>
                  <a:gd name="connsiteY5" fmla="*/ 707231 h 800325"/>
                  <a:gd name="connsiteX6" fmla="*/ 521174 w 752155"/>
                  <a:gd name="connsiteY6" fmla="*/ 621506 h 800325"/>
                  <a:gd name="connsiteX7" fmla="*/ 523555 w 752155"/>
                  <a:gd name="connsiteY7" fmla="*/ 571500 h 800325"/>
                  <a:gd name="connsiteX8" fmla="*/ 375918 w 752155"/>
                  <a:gd name="connsiteY8" fmla="*/ 423862 h 800325"/>
                  <a:gd name="connsiteX9" fmla="*/ 547368 w 752155"/>
                  <a:gd name="connsiteY9" fmla="*/ 528637 h 800325"/>
                  <a:gd name="connsiteX10" fmla="*/ 547368 w 752155"/>
                  <a:gd name="connsiteY10" fmla="*/ 302418 h 800325"/>
                  <a:gd name="connsiteX11" fmla="*/ 383062 w 752155"/>
                  <a:gd name="connsiteY11" fmla="*/ 54768 h 800325"/>
                  <a:gd name="connsiteX12" fmla="*/ 347343 w 75215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1174 w 752155"/>
                  <a:gd name="connsiteY6" fmla="*/ 621506 h 800325"/>
                  <a:gd name="connsiteX7" fmla="*/ 523555 w 752155"/>
                  <a:gd name="connsiteY7" fmla="*/ 571500 h 800325"/>
                  <a:gd name="connsiteX8" fmla="*/ 375918 w 752155"/>
                  <a:gd name="connsiteY8" fmla="*/ 423862 h 800325"/>
                  <a:gd name="connsiteX9" fmla="*/ 547368 w 752155"/>
                  <a:gd name="connsiteY9" fmla="*/ 528637 h 800325"/>
                  <a:gd name="connsiteX10" fmla="*/ 547368 w 752155"/>
                  <a:gd name="connsiteY10" fmla="*/ 302418 h 800325"/>
                  <a:gd name="connsiteX11" fmla="*/ 383062 w 752155"/>
                  <a:gd name="connsiteY11" fmla="*/ 54768 h 800325"/>
                  <a:gd name="connsiteX12" fmla="*/ 347343 w 75215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1174 w 752155"/>
                  <a:gd name="connsiteY6" fmla="*/ 621506 h 800325"/>
                  <a:gd name="connsiteX7" fmla="*/ 523555 w 752155"/>
                  <a:gd name="connsiteY7" fmla="*/ 571500 h 800325"/>
                  <a:gd name="connsiteX8" fmla="*/ 375918 w 752155"/>
                  <a:gd name="connsiteY8" fmla="*/ 423862 h 800325"/>
                  <a:gd name="connsiteX9" fmla="*/ 547368 w 752155"/>
                  <a:gd name="connsiteY9" fmla="*/ 528637 h 800325"/>
                  <a:gd name="connsiteX10" fmla="*/ 547368 w 752155"/>
                  <a:gd name="connsiteY10" fmla="*/ 302418 h 800325"/>
                  <a:gd name="connsiteX11" fmla="*/ 383062 w 752155"/>
                  <a:gd name="connsiteY11" fmla="*/ 54768 h 800325"/>
                  <a:gd name="connsiteX12" fmla="*/ 347343 w 75215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1174 w 752155"/>
                  <a:gd name="connsiteY6" fmla="*/ 621506 h 800325"/>
                  <a:gd name="connsiteX7" fmla="*/ 523555 w 752155"/>
                  <a:gd name="connsiteY7" fmla="*/ 571500 h 800325"/>
                  <a:gd name="connsiteX8" fmla="*/ 375918 w 752155"/>
                  <a:gd name="connsiteY8" fmla="*/ 423862 h 800325"/>
                  <a:gd name="connsiteX9" fmla="*/ 547368 w 752155"/>
                  <a:gd name="connsiteY9" fmla="*/ 528637 h 800325"/>
                  <a:gd name="connsiteX10" fmla="*/ 547368 w 752155"/>
                  <a:gd name="connsiteY10" fmla="*/ 302418 h 800325"/>
                  <a:gd name="connsiteX11" fmla="*/ 383062 w 752155"/>
                  <a:gd name="connsiteY11" fmla="*/ 54768 h 800325"/>
                  <a:gd name="connsiteX12" fmla="*/ 347343 w 75215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11649 w 752155"/>
                  <a:gd name="connsiteY6" fmla="*/ 666751 h 800325"/>
                  <a:gd name="connsiteX7" fmla="*/ 521174 w 752155"/>
                  <a:gd name="connsiteY7" fmla="*/ 621506 h 800325"/>
                  <a:gd name="connsiteX8" fmla="*/ 523555 w 752155"/>
                  <a:gd name="connsiteY8" fmla="*/ 571500 h 800325"/>
                  <a:gd name="connsiteX9" fmla="*/ 375918 w 752155"/>
                  <a:gd name="connsiteY9" fmla="*/ 423862 h 800325"/>
                  <a:gd name="connsiteX10" fmla="*/ 547368 w 752155"/>
                  <a:gd name="connsiteY10" fmla="*/ 528637 h 800325"/>
                  <a:gd name="connsiteX11" fmla="*/ 547368 w 752155"/>
                  <a:gd name="connsiteY11" fmla="*/ 302418 h 800325"/>
                  <a:gd name="connsiteX12" fmla="*/ 383062 w 752155"/>
                  <a:gd name="connsiteY12" fmla="*/ 54768 h 800325"/>
                  <a:gd name="connsiteX13" fmla="*/ 347343 w 752155"/>
                  <a:gd name="connsiteY13"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3419 h 800325"/>
                  <a:gd name="connsiteX7" fmla="*/ 521174 w 752155"/>
                  <a:gd name="connsiteY7" fmla="*/ 621506 h 800325"/>
                  <a:gd name="connsiteX8" fmla="*/ 523555 w 752155"/>
                  <a:gd name="connsiteY8" fmla="*/ 571500 h 800325"/>
                  <a:gd name="connsiteX9" fmla="*/ 375918 w 752155"/>
                  <a:gd name="connsiteY9" fmla="*/ 423862 h 800325"/>
                  <a:gd name="connsiteX10" fmla="*/ 547368 w 752155"/>
                  <a:gd name="connsiteY10" fmla="*/ 528637 h 800325"/>
                  <a:gd name="connsiteX11" fmla="*/ 547368 w 752155"/>
                  <a:gd name="connsiteY11" fmla="*/ 302418 h 800325"/>
                  <a:gd name="connsiteX12" fmla="*/ 383062 w 752155"/>
                  <a:gd name="connsiteY12" fmla="*/ 54768 h 800325"/>
                  <a:gd name="connsiteX13" fmla="*/ 347343 w 752155"/>
                  <a:gd name="connsiteY13"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3419 h 800325"/>
                  <a:gd name="connsiteX7" fmla="*/ 528318 w 752155"/>
                  <a:gd name="connsiteY7" fmla="*/ 642938 h 800325"/>
                  <a:gd name="connsiteX8" fmla="*/ 521174 w 752155"/>
                  <a:gd name="connsiteY8" fmla="*/ 621506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3419 h 800325"/>
                  <a:gd name="connsiteX7" fmla="*/ 387824 w 752155"/>
                  <a:gd name="connsiteY7" fmla="*/ 614363 h 800325"/>
                  <a:gd name="connsiteX8" fmla="*/ 521174 w 752155"/>
                  <a:gd name="connsiteY8" fmla="*/ 621506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3419 h 800325"/>
                  <a:gd name="connsiteX7" fmla="*/ 387824 w 752155"/>
                  <a:gd name="connsiteY7" fmla="*/ 614363 h 800325"/>
                  <a:gd name="connsiteX8" fmla="*/ 521174 w 752155"/>
                  <a:gd name="connsiteY8" fmla="*/ 621506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1174 w 752155"/>
                  <a:gd name="connsiteY8" fmla="*/ 621506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547368 w 752155"/>
                  <a:gd name="connsiteY9" fmla="*/ 545306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537843 w 752155"/>
                  <a:gd name="connsiteY9" fmla="*/ 578644 h 800325"/>
                  <a:gd name="connsiteX10" fmla="*/ 547368 w 752155"/>
                  <a:gd name="connsiteY10" fmla="*/ 545306 h 800325"/>
                  <a:gd name="connsiteX11" fmla="*/ 375918 w 752155"/>
                  <a:gd name="connsiteY11" fmla="*/ 423862 h 800325"/>
                  <a:gd name="connsiteX12" fmla="*/ 547368 w 752155"/>
                  <a:gd name="connsiteY12" fmla="*/ 528637 h 800325"/>
                  <a:gd name="connsiteX13" fmla="*/ 547368 w 752155"/>
                  <a:gd name="connsiteY13" fmla="*/ 302418 h 800325"/>
                  <a:gd name="connsiteX14" fmla="*/ 383062 w 752155"/>
                  <a:gd name="connsiteY14" fmla="*/ 54768 h 800325"/>
                  <a:gd name="connsiteX15" fmla="*/ 347343 w 752155"/>
                  <a:gd name="connsiteY15"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1630 w 752155"/>
                  <a:gd name="connsiteY9" fmla="*/ 554831 h 800325"/>
                  <a:gd name="connsiteX10" fmla="*/ 547368 w 752155"/>
                  <a:gd name="connsiteY10" fmla="*/ 545306 h 800325"/>
                  <a:gd name="connsiteX11" fmla="*/ 375918 w 752155"/>
                  <a:gd name="connsiteY11" fmla="*/ 423862 h 800325"/>
                  <a:gd name="connsiteX12" fmla="*/ 547368 w 752155"/>
                  <a:gd name="connsiteY12" fmla="*/ 528637 h 800325"/>
                  <a:gd name="connsiteX13" fmla="*/ 547368 w 752155"/>
                  <a:gd name="connsiteY13" fmla="*/ 302418 h 800325"/>
                  <a:gd name="connsiteX14" fmla="*/ 383062 w 752155"/>
                  <a:gd name="connsiteY14" fmla="*/ 54768 h 800325"/>
                  <a:gd name="connsiteX15" fmla="*/ 347343 w 752155"/>
                  <a:gd name="connsiteY15"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1630 w 752155"/>
                  <a:gd name="connsiteY9" fmla="*/ 554831 h 800325"/>
                  <a:gd name="connsiteX10" fmla="*/ 447355 w 752155"/>
                  <a:gd name="connsiteY10" fmla="*/ 552451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1630 w 752155"/>
                  <a:gd name="connsiteY9" fmla="*/ 554831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99730 w 752155"/>
                  <a:gd name="connsiteY12" fmla="*/ 428624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99730 w 752155"/>
                  <a:gd name="connsiteY12" fmla="*/ 428624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99730 w 752155"/>
                  <a:gd name="connsiteY12" fmla="*/ 428624 h 800325"/>
                  <a:gd name="connsiteX13" fmla="*/ 533080 w 752155"/>
                  <a:gd name="connsiteY13" fmla="*/ 435768 h 800325"/>
                  <a:gd name="connsiteX14" fmla="*/ 547368 w 752155"/>
                  <a:gd name="connsiteY14" fmla="*/ 302418 h 800325"/>
                  <a:gd name="connsiteX15" fmla="*/ 383062 w 752155"/>
                  <a:gd name="connsiteY15" fmla="*/ 54768 h 800325"/>
                  <a:gd name="connsiteX16" fmla="*/ 347343 w 752155"/>
                  <a:gd name="connsiteY16" fmla="*/ 0 h 800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52155" h="800325">
                    <a:moveTo>
                      <a:pt x="347343" y="0"/>
                    </a:moveTo>
                    <a:cubicBezTo>
                      <a:pt x="267174" y="22225"/>
                      <a:pt x="165574" y="11112"/>
                      <a:pt x="106836" y="66675"/>
                    </a:cubicBezTo>
                    <a:cubicBezTo>
                      <a:pt x="-11433" y="199230"/>
                      <a:pt x="-20164" y="298450"/>
                      <a:pt x="25873" y="497681"/>
                    </a:cubicBezTo>
                    <a:cubicBezTo>
                      <a:pt x="106835" y="742156"/>
                      <a:pt x="421161" y="822324"/>
                      <a:pt x="487836" y="795337"/>
                    </a:cubicBezTo>
                    <a:lnTo>
                      <a:pt x="752155" y="709613"/>
                    </a:lnTo>
                    <a:cubicBezTo>
                      <a:pt x="660079" y="719138"/>
                      <a:pt x="534668" y="731044"/>
                      <a:pt x="464024" y="695325"/>
                    </a:cubicBezTo>
                    <a:cubicBezTo>
                      <a:pt x="423940" y="688181"/>
                      <a:pt x="518793" y="698103"/>
                      <a:pt x="528318" y="685800"/>
                    </a:cubicBezTo>
                    <a:cubicBezTo>
                      <a:pt x="539034" y="677069"/>
                      <a:pt x="431878" y="688975"/>
                      <a:pt x="387824" y="614363"/>
                    </a:cubicBezTo>
                    <a:cubicBezTo>
                      <a:pt x="469976" y="611188"/>
                      <a:pt x="524349" y="619123"/>
                      <a:pt x="523555" y="607217"/>
                    </a:cubicBezTo>
                    <a:cubicBezTo>
                      <a:pt x="474343" y="604837"/>
                      <a:pt x="408461" y="600074"/>
                      <a:pt x="366392" y="557212"/>
                    </a:cubicBezTo>
                    <a:lnTo>
                      <a:pt x="383061" y="483395"/>
                    </a:lnTo>
                    <a:cubicBezTo>
                      <a:pt x="425923" y="532607"/>
                      <a:pt x="473550" y="553243"/>
                      <a:pt x="533080" y="559594"/>
                    </a:cubicBezTo>
                    <a:cubicBezTo>
                      <a:pt x="466405" y="540544"/>
                      <a:pt x="418779" y="488155"/>
                      <a:pt x="399730" y="428624"/>
                    </a:cubicBezTo>
                    <a:lnTo>
                      <a:pt x="533080" y="435768"/>
                    </a:lnTo>
                    <a:lnTo>
                      <a:pt x="547368" y="302418"/>
                    </a:lnTo>
                    <a:lnTo>
                      <a:pt x="383062" y="54768"/>
                    </a:lnTo>
                    <a:lnTo>
                      <a:pt x="347343" y="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IN" sz="1961" b="1" dirty="0">
                  <a:solidFill>
                    <a:srgbClr val="FFFFFF"/>
                  </a:solidFill>
                  <a:ea typeface="Segoe UI" pitchFamily="34" charset="0"/>
                  <a:cs typeface="Segoe UI" pitchFamily="34" charset="0"/>
                </a:endParaRPr>
              </a:p>
            </p:txBody>
          </p:sp>
          <p:grpSp>
            <p:nvGrpSpPr>
              <p:cNvPr id="11" name="Group 10"/>
              <p:cNvGrpSpPr/>
              <p:nvPr/>
            </p:nvGrpSpPr>
            <p:grpSpPr>
              <a:xfrm>
                <a:off x="7543720" y="1707886"/>
                <a:ext cx="610528" cy="618101"/>
                <a:chOff x="1058398" y="3354141"/>
                <a:chExt cx="533724" cy="520412"/>
              </a:xfrm>
            </p:grpSpPr>
            <p:sp>
              <p:nvSpPr>
                <p:cNvPr id="12" name="Freeform 11"/>
                <p:cNvSpPr/>
                <p:nvPr/>
              </p:nvSpPr>
              <p:spPr bwMode="auto">
                <a:xfrm>
                  <a:off x="1058398" y="3354142"/>
                  <a:ext cx="533723" cy="415322"/>
                </a:xfrm>
                <a:custGeom>
                  <a:avLst/>
                  <a:gdLst>
                    <a:gd name="connsiteX0" fmla="*/ 528506 w 533723"/>
                    <a:gd name="connsiteY0" fmla="*/ 291832 h 418083"/>
                    <a:gd name="connsiteX1" fmla="*/ 510121 w 533723"/>
                    <a:gd name="connsiteY1" fmla="*/ 300446 h 418083"/>
                    <a:gd name="connsiteX2" fmla="*/ 500354 w 533723"/>
                    <a:gd name="connsiteY2" fmla="*/ 302312 h 418083"/>
                    <a:gd name="connsiteX3" fmla="*/ 489695 w 533723"/>
                    <a:gd name="connsiteY3" fmla="*/ 299159 h 418083"/>
                    <a:gd name="connsiteX4" fmla="*/ 490953 w 533723"/>
                    <a:gd name="connsiteY4" fmla="*/ 302242 h 418083"/>
                    <a:gd name="connsiteX5" fmla="*/ 490826 w 533723"/>
                    <a:gd name="connsiteY5" fmla="*/ 302554 h 418083"/>
                    <a:gd name="connsiteX6" fmla="*/ 497481 w 533723"/>
                    <a:gd name="connsiteY6" fmla="*/ 306188 h 418083"/>
                    <a:gd name="connsiteX7" fmla="*/ 505812 w 533723"/>
                    <a:gd name="connsiteY7" fmla="*/ 305901 h 418083"/>
                    <a:gd name="connsiteX8" fmla="*/ 523335 w 533723"/>
                    <a:gd name="connsiteY8" fmla="*/ 297575 h 418083"/>
                    <a:gd name="connsiteX9" fmla="*/ 528506 w 533723"/>
                    <a:gd name="connsiteY9" fmla="*/ 291832 h 418083"/>
                    <a:gd name="connsiteX10" fmla="*/ 459095 w 533723"/>
                    <a:gd name="connsiteY10" fmla="*/ 214354 h 418083"/>
                    <a:gd name="connsiteX11" fmla="*/ 470185 w 533723"/>
                    <a:gd name="connsiteY11" fmla="*/ 232917 h 418083"/>
                    <a:gd name="connsiteX12" fmla="*/ 469083 w 533723"/>
                    <a:gd name="connsiteY12" fmla="*/ 236710 h 418083"/>
                    <a:gd name="connsiteX13" fmla="*/ 465107 w 533723"/>
                    <a:gd name="connsiteY13" fmla="*/ 228628 h 418083"/>
                    <a:gd name="connsiteX14" fmla="*/ 462850 w 533723"/>
                    <a:gd name="connsiteY14" fmla="*/ 223907 h 418083"/>
                    <a:gd name="connsiteX15" fmla="*/ 461361 w 533723"/>
                    <a:gd name="connsiteY15" fmla="*/ 220754 h 418083"/>
                    <a:gd name="connsiteX16" fmla="*/ 458921 w 533723"/>
                    <a:gd name="connsiteY16" fmla="*/ 213862 h 418083"/>
                    <a:gd name="connsiteX17" fmla="*/ 459095 w 533723"/>
                    <a:gd name="connsiteY17" fmla="*/ 214354 h 418083"/>
                    <a:gd name="connsiteX18" fmla="*/ 458953 w 533723"/>
                    <a:gd name="connsiteY18" fmla="*/ 214116 h 418083"/>
                    <a:gd name="connsiteX19" fmla="*/ 231642 w 533723"/>
                    <a:gd name="connsiteY19" fmla="*/ 117869 h 418083"/>
                    <a:gd name="connsiteX20" fmla="*/ 245739 w 533723"/>
                    <a:gd name="connsiteY20" fmla="*/ 119960 h 418083"/>
                    <a:gd name="connsiteX21" fmla="*/ 247479 w 533723"/>
                    <a:gd name="connsiteY21" fmla="*/ 117948 h 418083"/>
                    <a:gd name="connsiteX22" fmla="*/ 241439 w 533723"/>
                    <a:gd name="connsiteY22" fmla="*/ 117896 h 418083"/>
                    <a:gd name="connsiteX23" fmla="*/ 231642 w 533723"/>
                    <a:gd name="connsiteY23" fmla="*/ 117869 h 418083"/>
                    <a:gd name="connsiteX24" fmla="*/ 393966 w 533723"/>
                    <a:gd name="connsiteY24" fmla="*/ 59548 h 418083"/>
                    <a:gd name="connsiteX25" fmla="*/ 394760 w 533723"/>
                    <a:gd name="connsiteY25" fmla="*/ 61641 h 418083"/>
                    <a:gd name="connsiteX26" fmla="*/ 396543 w 533723"/>
                    <a:gd name="connsiteY26" fmla="*/ 61922 h 418083"/>
                    <a:gd name="connsiteX27" fmla="*/ 135290 w 533723"/>
                    <a:gd name="connsiteY27" fmla="*/ 95 h 418083"/>
                    <a:gd name="connsiteX28" fmla="*/ 142002 w 533723"/>
                    <a:gd name="connsiteY28" fmla="*/ 118 h 418083"/>
                    <a:gd name="connsiteX29" fmla="*/ 184247 w 533723"/>
                    <a:gd name="connsiteY29" fmla="*/ 9888 h 418083"/>
                    <a:gd name="connsiteX30" fmla="*/ 237411 w 533723"/>
                    <a:gd name="connsiteY30" fmla="*/ 31727 h 418083"/>
                    <a:gd name="connsiteX31" fmla="*/ 273908 w 533723"/>
                    <a:gd name="connsiteY31" fmla="*/ 50693 h 418083"/>
                    <a:gd name="connsiteX32" fmla="*/ 300993 w 533723"/>
                    <a:gd name="connsiteY32" fmla="*/ 65241 h 418083"/>
                    <a:gd name="connsiteX33" fmla="*/ 313770 w 533723"/>
                    <a:gd name="connsiteY33" fmla="*/ 72415 h 418083"/>
                    <a:gd name="connsiteX34" fmla="*/ 317458 w 533723"/>
                    <a:gd name="connsiteY34" fmla="*/ 74704 h 418083"/>
                    <a:gd name="connsiteX35" fmla="*/ 321989 w 533723"/>
                    <a:gd name="connsiteY35" fmla="*/ 77518 h 418083"/>
                    <a:gd name="connsiteX36" fmla="*/ 328509 w 533723"/>
                    <a:gd name="connsiteY36" fmla="*/ 81728 h 418083"/>
                    <a:gd name="connsiteX37" fmla="*/ 329950 w 533723"/>
                    <a:gd name="connsiteY37" fmla="*/ 82770 h 418083"/>
                    <a:gd name="connsiteX38" fmla="*/ 322786 w 533723"/>
                    <a:gd name="connsiteY38" fmla="*/ 67357 h 418083"/>
                    <a:gd name="connsiteX39" fmla="*/ 318179 w 533723"/>
                    <a:gd name="connsiteY39" fmla="*/ 66024 h 418083"/>
                    <a:gd name="connsiteX40" fmla="*/ 315145 w 533723"/>
                    <a:gd name="connsiteY40" fmla="*/ 65146 h 418083"/>
                    <a:gd name="connsiteX41" fmla="*/ 315984 w 533723"/>
                    <a:gd name="connsiteY41" fmla="*/ 64282 h 418083"/>
                    <a:gd name="connsiteX42" fmla="*/ 336115 w 533723"/>
                    <a:gd name="connsiteY42" fmla="*/ 45493 h 418083"/>
                    <a:gd name="connsiteX43" fmla="*/ 339135 w 533723"/>
                    <a:gd name="connsiteY43" fmla="*/ 43303 h 418083"/>
                    <a:gd name="connsiteX44" fmla="*/ 344556 w 533723"/>
                    <a:gd name="connsiteY44" fmla="*/ 40552 h 418083"/>
                    <a:gd name="connsiteX45" fmla="*/ 348957 w 533723"/>
                    <a:gd name="connsiteY45" fmla="*/ 38760 h 418083"/>
                    <a:gd name="connsiteX46" fmla="*/ 368054 w 533723"/>
                    <a:gd name="connsiteY46" fmla="*/ 34807 h 418083"/>
                    <a:gd name="connsiteX47" fmla="*/ 382234 w 533723"/>
                    <a:gd name="connsiteY47" fmla="*/ 37952 h 418083"/>
                    <a:gd name="connsiteX48" fmla="*/ 390275 w 533723"/>
                    <a:gd name="connsiteY48" fmla="*/ 35652 h 418083"/>
                    <a:gd name="connsiteX49" fmla="*/ 390840 w 533723"/>
                    <a:gd name="connsiteY49" fmla="*/ 35749 h 418083"/>
                    <a:gd name="connsiteX50" fmla="*/ 391575 w 533723"/>
                    <a:gd name="connsiteY50" fmla="*/ 35894 h 418083"/>
                    <a:gd name="connsiteX51" fmla="*/ 391750 w 533723"/>
                    <a:gd name="connsiteY51" fmla="*/ 35955 h 418083"/>
                    <a:gd name="connsiteX52" fmla="*/ 392615 w 533723"/>
                    <a:gd name="connsiteY52" fmla="*/ 36327 h 418083"/>
                    <a:gd name="connsiteX53" fmla="*/ 393242 w 533723"/>
                    <a:gd name="connsiteY53" fmla="*/ 36306 h 418083"/>
                    <a:gd name="connsiteX54" fmla="*/ 393406 w 533723"/>
                    <a:gd name="connsiteY54" fmla="*/ 36317 h 418083"/>
                    <a:gd name="connsiteX55" fmla="*/ 397383 w 533723"/>
                    <a:gd name="connsiteY55" fmla="*/ 37341 h 418083"/>
                    <a:gd name="connsiteX56" fmla="*/ 408367 w 533723"/>
                    <a:gd name="connsiteY56" fmla="*/ 43126 h 418083"/>
                    <a:gd name="connsiteX57" fmla="*/ 459773 w 533723"/>
                    <a:gd name="connsiteY57" fmla="*/ 126491 h 418083"/>
                    <a:gd name="connsiteX58" fmla="*/ 441680 w 533723"/>
                    <a:gd name="connsiteY58" fmla="*/ 188008 h 418083"/>
                    <a:gd name="connsiteX59" fmla="*/ 442553 w 533723"/>
                    <a:gd name="connsiteY59" fmla="*/ 192637 h 418083"/>
                    <a:gd name="connsiteX60" fmla="*/ 443081 w 533723"/>
                    <a:gd name="connsiteY60" fmla="*/ 194875 h 418083"/>
                    <a:gd name="connsiteX61" fmla="*/ 451172 w 533723"/>
                    <a:gd name="connsiteY61" fmla="*/ 201092 h 418083"/>
                    <a:gd name="connsiteX62" fmla="*/ 458953 w 533723"/>
                    <a:gd name="connsiteY62" fmla="*/ 214116 h 418083"/>
                    <a:gd name="connsiteX63" fmla="*/ 459209 w 533723"/>
                    <a:gd name="connsiteY63" fmla="*/ 216161 h 418083"/>
                    <a:gd name="connsiteX64" fmla="*/ 460971 w 533723"/>
                    <a:gd name="connsiteY64" fmla="*/ 219929 h 418083"/>
                    <a:gd name="connsiteX65" fmla="*/ 461361 w 533723"/>
                    <a:gd name="connsiteY65" fmla="*/ 220754 h 418083"/>
                    <a:gd name="connsiteX66" fmla="*/ 470303 w 533723"/>
                    <a:gd name="connsiteY66" fmla="*/ 246015 h 418083"/>
                    <a:gd name="connsiteX67" fmla="*/ 469962 w 533723"/>
                    <a:gd name="connsiteY67" fmla="*/ 245448 h 418083"/>
                    <a:gd name="connsiteX68" fmla="*/ 468971 w 533723"/>
                    <a:gd name="connsiteY68" fmla="*/ 243799 h 418083"/>
                    <a:gd name="connsiteX69" fmla="*/ 464115 w 533723"/>
                    <a:gd name="connsiteY69" fmla="*/ 240660 h 418083"/>
                    <a:gd name="connsiteX70" fmla="*/ 457544 w 533723"/>
                    <a:gd name="connsiteY70" fmla="*/ 239804 h 418083"/>
                    <a:gd name="connsiteX71" fmla="*/ 463829 w 533723"/>
                    <a:gd name="connsiteY71" fmla="*/ 242086 h 418083"/>
                    <a:gd name="connsiteX72" fmla="*/ 469895 w 533723"/>
                    <a:gd name="connsiteY72" fmla="*/ 245979 h 418083"/>
                    <a:gd name="connsiteX73" fmla="*/ 470460 w 533723"/>
                    <a:gd name="connsiteY73" fmla="*/ 246460 h 418083"/>
                    <a:gd name="connsiteX74" fmla="*/ 485321 w 533723"/>
                    <a:gd name="connsiteY74" fmla="*/ 288443 h 418083"/>
                    <a:gd name="connsiteX75" fmla="*/ 485666 w 533723"/>
                    <a:gd name="connsiteY75" fmla="*/ 289289 h 418083"/>
                    <a:gd name="connsiteX76" fmla="*/ 485392 w 533723"/>
                    <a:gd name="connsiteY76" fmla="*/ 285754 h 418083"/>
                    <a:gd name="connsiteX77" fmla="*/ 485409 w 533723"/>
                    <a:gd name="connsiteY77" fmla="*/ 284254 h 418083"/>
                    <a:gd name="connsiteX78" fmla="*/ 485552 w 533723"/>
                    <a:gd name="connsiteY78" fmla="*/ 284634 h 418083"/>
                    <a:gd name="connsiteX79" fmla="*/ 487684 w 533723"/>
                    <a:gd name="connsiteY79" fmla="*/ 290297 h 418083"/>
                    <a:gd name="connsiteX80" fmla="*/ 487716 w 533723"/>
                    <a:gd name="connsiteY80" fmla="*/ 290381 h 418083"/>
                    <a:gd name="connsiteX81" fmla="*/ 487709 w 533723"/>
                    <a:gd name="connsiteY81" fmla="*/ 290382 h 418083"/>
                    <a:gd name="connsiteX82" fmla="*/ 486150 w 533723"/>
                    <a:gd name="connsiteY82" fmla="*/ 290474 h 418083"/>
                    <a:gd name="connsiteX83" fmla="*/ 488742 w 533723"/>
                    <a:gd name="connsiteY83" fmla="*/ 296824 h 418083"/>
                    <a:gd name="connsiteX84" fmla="*/ 494320 w 533723"/>
                    <a:gd name="connsiteY84" fmla="*/ 295556 h 418083"/>
                    <a:gd name="connsiteX85" fmla="*/ 512429 w 533723"/>
                    <a:gd name="connsiteY85" fmla="*/ 291820 h 418083"/>
                    <a:gd name="connsiteX86" fmla="*/ 519005 w 533723"/>
                    <a:gd name="connsiteY86" fmla="*/ 287509 h 418083"/>
                    <a:gd name="connsiteX87" fmla="*/ 520508 w 533723"/>
                    <a:gd name="connsiteY87" fmla="*/ 286839 h 418083"/>
                    <a:gd name="connsiteX88" fmla="*/ 522424 w 533723"/>
                    <a:gd name="connsiteY88" fmla="*/ 286502 h 418083"/>
                    <a:gd name="connsiteX89" fmla="*/ 523091 w 533723"/>
                    <a:gd name="connsiteY89" fmla="*/ 286385 h 418083"/>
                    <a:gd name="connsiteX90" fmla="*/ 525364 w 533723"/>
                    <a:gd name="connsiteY90" fmla="*/ 286646 h 418083"/>
                    <a:gd name="connsiteX91" fmla="*/ 533413 w 533723"/>
                    <a:gd name="connsiteY91" fmla="*/ 297855 h 418083"/>
                    <a:gd name="connsiteX92" fmla="*/ 530826 w 533723"/>
                    <a:gd name="connsiteY92" fmla="*/ 316249 h 418083"/>
                    <a:gd name="connsiteX93" fmla="*/ 530588 w 533723"/>
                    <a:gd name="connsiteY93" fmla="*/ 318085 h 418083"/>
                    <a:gd name="connsiteX94" fmla="*/ 530192 w 533723"/>
                    <a:gd name="connsiteY94" fmla="*/ 320320 h 418083"/>
                    <a:gd name="connsiteX95" fmla="*/ 529838 w 533723"/>
                    <a:gd name="connsiteY95" fmla="*/ 321637 h 418083"/>
                    <a:gd name="connsiteX96" fmla="*/ 526883 w 533723"/>
                    <a:gd name="connsiteY96" fmla="*/ 332653 h 418083"/>
                    <a:gd name="connsiteX97" fmla="*/ 524435 w 533723"/>
                    <a:gd name="connsiteY97" fmla="*/ 341781 h 418083"/>
                    <a:gd name="connsiteX98" fmla="*/ 519934 w 533723"/>
                    <a:gd name="connsiteY98" fmla="*/ 353045 h 418083"/>
                    <a:gd name="connsiteX99" fmla="*/ 493458 w 533723"/>
                    <a:gd name="connsiteY99" fmla="*/ 392987 h 418083"/>
                    <a:gd name="connsiteX100" fmla="*/ 421143 w 533723"/>
                    <a:gd name="connsiteY100" fmla="*/ 403455 h 418083"/>
                    <a:gd name="connsiteX101" fmla="*/ 416615 w 533723"/>
                    <a:gd name="connsiteY101" fmla="*/ 401105 h 418083"/>
                    <a:gd name="connsiteX102" fmla="*/ 415306 w 533723"/>
                    <a:gd name="connsiteY102" fmla="*/ 404311 h 418083"/>
                    <a:gd name="connsiteX103" fmla="*/ 382546 w 533723"/>
                    <a:gd name="connsiteY103" fmla="*/ 418083 h 418083"/>
                    <a:gd name="connsiteX104" fmla="*/ 364512 w 533723"/>
                    <a:gd name="connsiteY104" fmla="*/ 414388 h 418083"/>
                    <a:gd name="connsiteX105" fmla="*/ 362260 w 533723"/>
                    <a:gd name="connsiteY105" fmla="*/ 412847 h 418083"/>
                    <a:gd name="connsiteX106" fmla="*/ 359508 w 533723"/>
                    <a:gd name="connsiteY106" fmla="*/ 412530 h 418083"/>
                    <a:gd name="connsiteX107" fmla="*/ 354180 w 533723"/>
                    <a:gd name="connsiteY107" fmla="*/ 409493 h 418083"/>
                    <a:gd name="connsiteX108" fmla="*/ 351263 w 533723"/>
                    <a:gd name="connsiteY108" fmla="*/ 406931 h 418083"/>
                    <a:gd name="connsiteX109" fmla="*/ 351015 w 533723"/>
                    <a:gd name="connsiteY109" fmla="*/ 406713 h 418083"/>
                    <a:gd name="connsiteX110" fmla="*/ 348397 w 533723"/>
                    <a:gd name="connsiteY110" fmla="*/ 403432 h 418083"/>
                    <a:gd name="connsiteX111" fmla="*/ 347445 w 533723"/>
                    <a:gd name="connsiteY111" fmla="*/ 401927 h 418083"/>
                    <a:gd name="connsiteX112" fmla="*/ 345319 w 533723"/>
                    <a:gd name="connsiteY112" fmla="*/ 397536 h 418083"/>
                    <a:gd name="connsiteX113" fmla="*/ 344561 w 533723"/>
                    <a:gd name="connsiteY113" fmla="*/ 395286 h 418083"/>
                    <a:gd name="connsiteX114" fmla="*/ 335650 w 533723"/>
                    <a:gd name="connsiteY114" fmla="*/ 375455 h 418083"/>
                    <a:gd name="connsiteX115" fmla="*/ 322714 w 533723"/>
                    <a:gd name="connsiteY115" fmla="*/ 362234 h 418083"/>
                    <a:gd name="connsiteX116" fmla="*/ 319648 w 533723"/>
                    <a:gd name="connsiteY116" fmla="*/ 358159 h 418083"/>
                    <a:gd name="connsiteX117" fmla="*/ 319434 w 533723"/>
                    <a:gd name="connsiteY117" fmla="*/ 357823 h 418083"/>
                    <a:gd name="connsiteX118" fmla="*/ 314734 w 533723"/>
                    <a:gd name="connsiteY118" fmla="*/ 350455 h 418083"/>
                    <a:gd name="connsiteX119" fmla="*/ 319052 w 533723"/>
                    <a:gd name="connsiteY119" fmla="*/ 316733 h 418083"/>
                    <a:gd name="connsiteX120" fmla="*/ 323333 w 533723"/>
                    <a:gd name="connsiteY120" fmla="*/ 310656 h 418083"/>
                    <a:gd name="connsiteX121" fmla="*/ 320679 w 533723"/>
                    <a:gd name="connsiteY121" fmla="*/ 310837 h 418083"/>
                    <a:gd name="connsiteX122" fmla="*/ 316984 w 533723"/>
                    <a:gd name="connsiteY122" fmla="*/ 309959 h 418083"/>
                    <a:gd name="connsiteX123" fmla="*/ 278469 w 533723"/>
                    <a:gd name="connsiteY123" fmla="*/ 281787 h 418083"/>
                    <a:gd name="connsiteX124" fmla="*/ 279196 w 533723"/>
                    <a:gd name="connsiteY124" fmla="*/ 221148 h 418083"/>
                    <a:gd name="connsiteX125" fmla="*/ 281137 w 533723"/>
                    <a:gd name="connsiteY125" fmla="*/ 212759 h 418083"/>
                    <a:gd name="connsiteX126" fmla="*/ 280817 w 533723"/>
                    <a:gd name="connsiteY126" fmla="*/ 212855 h 418083"/>
                    <a:gd name="connsiteX127" fmla="*/ 280074 w 533723"/>
                    <a:gd name="connsiteY127" fmla="*/ 213019 h 418083"/>
                    <a:gd name="connsiteX128" fmla="*/ 208386 w 533723"/>
                    <a:gd name="connsiteY128" fmla="*/ 230868 h 418083"/>
                    <a:gd name="connsiteX129" fmla="*/ 129358 w 533723"/>
                    <a:gd name="connsiteY129" fmla="*/ 256155 h 418083"/>
                    <a:gd name="connsiteX130" fmla="*/ 76481 w 533723"/>
                    <a:gd name="connsiteY130" fmla="*/ 253856 h 418083"/>
                    <a:gd name="connsiteX131" fmla="*/ 56365 w 533723"/>
                    <a:gd name="connsiteY131" fmla="*/ 204718 h 418083"/>
                    <a:gd name="connsiteX132" fmla="*/ 6361 w 533723"/>
                    <a:gd name="connsiteY132" fmla="*/ 145234 h 418083"/>
                    <a:gd name="connsiteX133" fmla="*/ 4924 w 533723"/>
                    <a:gd name="connsiteY133" fmla="*/ 90923 h 418083"/>
                    <a:gd name="connsiteX134" fmla="*/ 26190 w 533723"/>
                    <a:gd name="connsiteY134" fmla="*/ 62762 h 418083"/>
                    <a:gd name="connsiteX135" fmla="*/ 51192 w 533723"/>
                    <a:gd name="connsiteY135" fmla="*/ 63624 h 418083"/>
                    <a:gd name="connsiteX136" fmla="*/ 92574 w 533723"/>
                    <a:gd name="connsiteY136" fmla="*/ 72245 h 418083"/>
                    <a:gd name="connsiteX137" fmla="*/ 148899 w 533723"/>
                    <a:gd name="connsiteY137" fmla="*/ 97533 h 418083"/>
                    <a:gd name="connsiteX138" fmla="*/ 100620 w 533723"/>
                    <a:gd name="connsiteY138" fmla="*/ 70233 h 418083"/>
                    <a:gd name="connsiteX139" fmla="*/ 68722 w 533723"/>
                    <a:gd name="connsiteY139" fmla="*/ 57877 h 418083"/>
                    <a:gd name="connsiteX140" fmla="*/ 95735 w 533723"/>
                    <a:gd name="connsiteY140" fmla="*/ 33739 h 418083"/>
                    <a:gd name="connsiteX141" fmla="*/ 118438 w 533723"/>
                    <a:gd name="connsiteY141" fmla="*/ 6440 h 418083"/>
                    <a:gd name="connsiteX142" fmla="*/ 135290 w 533723"/>
                    <a:gd name="connsiteY142" fmla="*/ 95 h 418083"/>
                    <a:gd name="connsiteX0" fmla="*/ 528506 w 533723"/>
                    <a:gd name="connsiteY0" fmla="*/ 291832 h 419386"/>
                    <a:gd name="connsiteX1" fmla="*/ 510121 w 533723"/>
                    <a:gd name="connsiteY1" fmla="*/ 300446 h 419386"/>
                    <a:gd name="connsiteX2" fmla="*/ 500354 w 533723"/>
                    <a:gd name="connsiteY2" fmla="*/ 302312 h 419386"/>
                    <a:gd name="connsiteX3" fmla="*/ 489695 w 533723"/>
                    <a:gd name="connsiteY3" fmla="*/ 299159 h 419386"/>
                    <a:gd name="connsiteX4" fmla="*/ 490953 w 533723"/>
                    <a:gd name="connsiteY4" fmla="*/ 302242 h 419386"/>
                    <a:gd name="connsiteX5" fmla="*/ 490826 w 533723"/>
                    <a:gd name="connsiteY5" fmla="*/ 302554 h 419386"/>
                    <a:gd name="connsiteX6" fmla="*/ 497481 w 533723"/>
                    <a:gd name="connsiteY6" fmla="*/ 306188 h 419386"/>
                    <a:gd name="connsiteX7" fmla="*/ 505812 w 533723"/>
                    <a:gd name="connsiteY7" fmla="*/ 305901 h 419386"/>
                    <a:gd name="connsiteX8" fmla="*/ 523335 w 533723"/>
                    <a:gd name="connsiteY8" fmla="*/ 297575 h 419386"/>
                    <a:gd name="connsiteX9" fmla="*/ 528506 w 533723"/>
                    <a:gd name="connsiteY9" fmla="*/ 291832 h 419386"/>
                    <a:gd name="connsiteX10" fmla="*/ 459095 w 533723"/>
                    <a:gd name="connsiteY10" fmla="*/ 214354 h 419386"/>
                    <a:gd name="connsiteX11" fmla="*/ 470185 w 533723"/>
                    <a:gd name="connsiteY11" fmla="*/ 232917 h 419386"/>
                    <a:gd name="connsiteX12" fmla="*/ 469083 w 533723"/>
                    <a:gd name="connsiteY12" fmla="*/ 236710 h 419386"/>
                    <a:gd name="connsiteX13" fmla="*/ 465107 w 533723"/>
                    <a:gd name="connsiteY13" fmla="*/ 228628 h 419386"/>
                    <a:gd name="connsiteX14" fmla="*/ 462850 w 533723"/>
                    <a:gd name="connsiteY14" fmla="*/ 223907 h 419386"/>
                    <a:gd name="connsiteX15" fmla="*/ 461361 w 533723"/>
                    <a:gd name="connsiteY15" fmla="*/ 220754 h 419386"/>
                    <a:gd name="connsiteX16" fmla="*/ 459095 w 533723"/>
                    <a:gd name="connsiteY16" fmla="*/ 214354 h 419386"/>
                    <a:gd name="connsiteX17" fmla="*/ 458921 w 533723"/>
                    <a:gd name="connsiteY17" fmla="*/ 213862 h 419386"/>
                    <a:gd name="connsiteX18" fmla="*/ 459095 w 533723"/>
                    <a:gd name="connsiteY18" fmla="*/ 214354 h 419386"/>
                    <a:gd name="connsiteX19" fmla="*/ 458953 w 533723"/>
                    <a:gd name="connsiteY19" fmla="*/ 214116 h 419386"/>
                    <a:gd name="connsiteX20" fmla="*/ 458921 w 533723"/>
                    <a:gd name="connsiteY20" fmla="*/ 213862 h 419386"/>
                    <a:gd name="connsiteX21" fmla="*/ 231642 w 533723"/>
                    <a:gd name="connsiteY21" fmla="*/ 117869 h 419386"/>
                    <a:gd name="connsiteX22" fmla="*/ 245739 w 533723"/>
                    <a:gd name="connsiteY22" fmla="*/ 119960 h 419386"/>
                    <a:gd name="connsiteX23" fmla="*/ 247479 w 533723"/>
                    <a:gd name="connsiteY23" fmla="*/ 117948 h 419386"/>
                    <a:gd name="connsiteX24" fmla="*/ 241439 w 533723"/>
                    <a:gd name="connsiteY24" fmla="*/ 117896 h 419386"/>
                    <a:gd name="connsiteX25" fmla="*/ 231642 w 533723"/>
                    <a:gd name="connsiteY25" fmla="*/ 117869 h 419386"/>
                    <a:gd name="connsiteX26" fmla="*/ 393966 w 533723"/>
                    <a:gd name="connsiteY26" fmla="*/ 59548 h 419386"/>
                    <a:gd name="connsiteX27" fmla="*/ 394760 w 533723"/>
                    <a:gd name="connsiteY27" fmla="*/ 61641 h 419386"/>
                    <a:gd name="connsiteX28" fmla="*/ 396543 w 533723"/>
                    <a:gd name="connsiteY28" fmla="*/ 61922 h 419386"/>
                    <a:gd name="connsiteX29" fmla="*/ 393966 w 533723"/>
                    <a:gd name="connsiteY29" fmla="*/ 59548 h 419386"/>
                    <a:gd name="connsiteX30" fmla="*/ 135290 w 533723"/>
                    <a:gd name="connsiteY30" fmla="*/ 95 h 419386"/>
                    <a:gd name="connsiteX31" fmla="*/ 142002 w 533723"/>
                    <a:gd name="connsiteY31" fmla="*/ 118 h 419386"/>
                    <a:gd name="connsiteX32" fmla="*/ 184247 w 533723"/>
                    <a:gd name="connsiteY32" fmla="*/ 9888 h 419386"/>
                    <a:gd name="connsiteX33" fmla="*/ 237411 w 533723"/>
                    <a:gd name="connsiteY33" fmla="*/ 31727 h 419386"/>
                    <a:gd name="connsiteX34" fmla="*/ 273908 w 533723"/>
                    <a:gd name="connsiteY34" fmla="*/ 50693 h 419386"/>
                    <a:gd name="connsiteX35" fmla="*/ 300993 w 533723"/>
                    <a:gd name="connsiteY35" fmla="*/ 65241 h 419386"/>
                    <a:gd name="connsiteX36" fmla="*/ 313770 w 533723"/>
                    <a:gd name="connsiteY36" fmla="*/ 72415 h 419386"/>
                    <a:gd name="connsiteX37" fmla="*/ 317458 w 533723"/>
                    <a:gd name="connsiteY37" fmla="*/ 74704 h 419386"/>
                    <a:gd name="connsiteX38" fmla="*/ 321989 w 533723"/>
                    <a:gd name="connsiteY38" fmla="*/ 77518 h 419386"/>
                    <a:gd name="connsiteX39" fmla="*/ 328509 w 533723"/>
                    <a:gd name="connsiteY39" fmla="*/ 81728 h 419386"/>
                    <a:gd name="connsiteX40" fmla="*/ 329950 w 533723"/>
                    <a:gd name="connsiteY40" fmla="*/ 82770 h 419386"/>
                    <a:gd name="connsiteX41" fmla="*/ 322786 w 533723"/>
                    <a:gd name="connsiteY41" fmla="*/ 67357 h 419386"/>
                    <a:gd name="connsiteX42" fmla="*/ 318179 w 533723"/>
                    <a:gd name="connsiteY42" fmla="*/ 66024 h 419386"/>
                    <a:gd name="connsiteX43" fmla="*/ 315145 w 533723"/>
                    <a:gd name="connsiteY43" fmla="*/ 65146 h 419386"/>
                    <a:gd name="connsiteX44" fmla="*/ 315984 w 533723"/>
                    <a:gd name="connsiteY44" fmla="*/ 64282 h 419386"/>
                    <a:gd name="connsiteX45" fmla="*/ 336115 w 533723"/>
                    <a:gd name="connsiteY45" fmla="*/ 45493 h 419386"/>
                    <a:gd name="connsiteX46" fmla="*/ 339135 w 533723"/>
                    <a:gd name="connsiteY46" fmla="*/ 43303 h 419386"/>
                    <a:gd name="connsiteX47" fmla="*/ 344556 w 533723"/>
                    <a:gd name="connsiteY47" fmla="*/ 40552 h 419386"/>
                    <a:gd name="connsiteX48" fmla="*/ 348957 w 533723"/>
                    <a:gd name="connsiteY48" fmla="*/ 38760 h 419386"/>
                    <a:gd name="connsiteX49" fmla="*/ 368054 w 533723"/>
                    <a:gd name="connsiteY49" fmla="*/ 34807 h 419386"/>
                    <a:gd name="connsiteX50" fmla="*/ 382234 w 533723"/>
                    <a:gd name="connsiteY50" fmla="*/ 37952 h 419386"/>
                    <a:gd name="connsiteX51" fmla="*/ 390275 w 533723"/>
                    <a:gd name="connsiteY51" fmla="*/ 35652 h 419386"/>
                    <a:gd name="connsiteX52" fmla="*/ 390840 w 533723"/>
                    <a:gd name="connsiteY52" fmla="*/ 35749 h 419386"/>
                    <a:gd name="connsiteX53" fmla="*/ 391575 w 533723"/>
                    <a:gd name="connsiteY53" fmla="*/ 35894 h 419386"/>
                    <a:gd name="connsiteX54" fmla="*/ 391750 w 533723"/>
                    <a:gd name="connsiteY54" fmla="*/ 35955 h 419386"/>
                    <a:gd name="connsiteX55" fmla="*/ 392615 w 533723"/>
                    <a:gd name="connsiteY55" fmla="*/ 36327 h 419386"/>
                    <a:gd name="connsiteX56" fmla="*/ 393242 w 533723"/>
                    <a:gd name="connsiteY56" fmla="*/ 36306 h 419386"/>
                    <a:gd name="connsiteX57" fmla="*/ 393406 w 533723"/>
                    <a:gd name="connsiteY57" fmla="*/ 36317 h 419386"/>
                    <a:gd name="connsiteX58" fmla="*/ 397383 w 533723"/>
                    <a:gd name="connsiteY58" fmla="*/ 37341 h 419386"/>
                    <a:gd name="connsiteX59" fmla="*/ 408367 w 533723"/>
                    <a:gd name="connsiteY59" fmla="*/ 43126 h 419386"/>
                    <a:gd name="connsiteX60" fmla="*/ 459773 w 533723"/>
                    <a:gd name="connsiteY60" fmla="*/ 126491 h 419386"/>
                    <a:gd name="connsiteX61" fmla="*/ 441680 w 533723"/>
                    <a:gd name="connsiteY61" fmla="*/ 188008 h 419386"/>
                    <a:gd name="connsiteX62" fmla="*/ 442553 w 533723"/>
                    <a:gd name="connsiteY62" fmla="*/ 192637 h 419386"/>
                    <a:gd name="connsiteX63" fmla="*/ 443081 w 533723"/>
                    <a:gd name="connsiteY63" fmla="*/ 194875 h 419386"/>
                    <a:gd name="connsiteX64" fmla="*/ 451172 w 533723"/>
                    <a:gd name="connsiteY64" fmla="*/ 201092 h 419386"/>
                    <a:gd name="connsiteX65" fmla="*/ 458953 w 533723"/>
                    <a:gd name="connsiteY65" fmla="*/ 214116 h 419386"/>
                    <a:gd name="connsiteX66" fmla="*/ 459209 w 533723"/>
                    <a:gd name="connsiteY66" fmla="*/ 216161 h 419386"/>
                    <a:gd name="connsiteX67" fmla="*/ 460971 w 533723"/>
                    <a:gd name="connsiteY67" fmla="*/ 219929 h 419386"/>
                    <a:gd name="connsiteX68" fmla="*/ 461361 w 533723"/>
                    <a:gd name="connsiteY68" fmla="*/ 220754 h 419386"/>
                    <a:gd name="connsiteX69" fmla="*/ 470303 w 533723"/>
                    <a:gd name="connsiteY69" fmla="*/ 246015 h 419386"/>
                    <a:gd name="connsiteX70" fmla="*/ 469962 w 533723"/>
                    <a:gd name="connsiteY70" fmla="*/ 245448 h 419386"/>
                    <a:gd name="connsiteX71" fmla="*/ 468971 w 533723"/>
                    <a:gd name="connsiteY71" fmla="*/ 243799 h 419386"/>
                    <a:gd name="connsiteX72" fmla="*/ 464115 w 533723"/>
                    <a:gd name="connsiteY72" fmla="*/ 240660 h 419386"/>
                    <a:gd name="connsiteX73" fmla="*/ 457544 w 533723"/>
                    <a:gd name="connsiteY73" fmla="*/ 239804 h 419386"/>
                    <a:gd name="connsiteX74" fmla="*/ 463829 w 533723"/>
                    <a:gd name="connsiteY74" fmla="*/ 242086 h 419386"/>
                    <a:gd name="connsiteX75" fmla="*/ 469895 w 533723"/>
                    <a:gd name="connsiteY75" fmla="*/ 245979 h 419386"/>
                    <a:gd name="connsiteX76" fmla="*/ 470460 w 533723"/>
                    <a:gd name="connsiteY76" fmla="*/ 246460 h 419386"/>
                    <a:gd name="connsiteX77" fmla="*/ 485321 w 533723"/>
                    <a:gd name="connsiteY77" fmla="*/ 288443 h 419386"/>
                    <a:gd name="connsiteX78" fmla="*/ 485666 w 533723"/>
                    <a:gd name="connsiteY78" fmla="*/ 289289 h 419386"/>
                    <a:gd name="connsiteX79" fmla="*/ 485392 w 533723"/>
                    <a:gd name="connsiteY79" fmla="*/ 285754 h 419386"/>
                    <a:gd name="connsiteX80" fmla="*/ 485409 w 533723"/>
                    <a:gd name="connsiteY80" fmla="*/ 284254 h 419386"/>
                    <a:gd name="connsiteX81" fmla="*/ 485552 w 533723"/>
                    <a:gd name="connsiteY81" fmla="*/ 284634 h 419386"/>
                    <a:gd name="connsiteX82" fmla="*/ 487684 w 533723"/>
                    <a:gd name="connsiteY82" fmla="*/ 290297 h 419386"/>
                    <a:gd name="connsiteX83" fmla="*/ 487716 w 533723"/>
                    <a:gd name="connsiteY83" fmla="*/ 290381 h 419386"/>
                    <a:gd name="connsiteX84" fmla="*/ 487709 w 533723"/>
                    <a:gd name="connsiteY84" fmla="*/ 290382 h 419386"/>
                    <a:gd name="connsiteX85" fmla="*/ 486150 w 533723"/>
                    <a:gd name="connsiteY85" fmla="*/ 290474 h 419386"/>
                    <a:gd name="connsiteX86" fmla="*/ 488742 w 533723"/>
                    <a:gd name="connsiteY86" fmla="*/ 296824 h 419386"/>
                    <a:gd name="connsiteX87" fmla="*/ 494320 w 533723"/>
                    <a:gd name="connsiteY87" fmla="*/ 295556 h 419386"/>
                    <a:gd name="connsiteX88" fmla="*/ 512429 w 533723"/>
                    <a:gd name="connsiteY88" fmla="*/ 291820 h 419386"/>
                    <a:gd name="connsiteX89" fmla="*/ 519005 w 533723"/>
                    <a:gd name="connsiteY89" fmla="*/ 287509 h 419386"/>
                    <a:gd name="connsiteX90" fmla="*/ 520508 w 533723"/>
                    <a:gd name="connsiteY90" fmla="*/ 286839 h 419386"/>
                    <a:gd name="connsiteX91" fmla="*/ 522424 w 533723"/>
                    <a:gd name="connsiteY91" fmla="*/ 286502 h 419386"/>
                    <a:gd name="connsiteX92" fmla="*/ 523091 w 533723"/>
                    <a:gd name="connsiteY92" fmla="*/ 286385 h 419386"/>
                    <a:gd name="connsiteX93" fmla="*/ 525364 w 533723"/>
                    <a:gd name="connsiteY93" fmla="*/ 286646 h 419386"/>
                    <a:gd name="connsiteX94" fmla="*/ 533413 w 533723"/>
                    <a:gd name="connsiteY94" fmla="*/ 297855 h 419386"/>
                    <a:gd name="connsiteX95" fmla="*/ 530826 w 533723"/>
                    <a:gd name="connsiteY95" fmla="*/ 316249 h 419386"/>
                    <a:gd name="connsiteX96" fmla="*/ 530588 w 533723"/>
                    <a:gd name="connsiteY96" fmla="*/ 318085 h 419386"/>
                    <a:gd name="connsiteX97" fmla="*/ 530192 w 533723"/>
                    <a:gd name="connsiteY97" fmla="*/ 320320 h 419386"/>
                    <a:gd name="connsiteX98" fmla="*/ 529838 w 533723"/>
                    <a:gd name="connsiteY98" fmla="*/ 321637 h 419386"/>
                    <a:gd name="connsiteX99" fmla="*/ 526883 w 533723"/>
                    <a:gd name="connsiteY99" fmla="*/ 332653 h 419386"/>
                    <a:gd name="connsiteX100" fmla="*/ 524435 w 533723"/>
                    <a:gd name="connsiteY100" fmla="*/ 341781 h 419386"/>
                    <a:gd name="connsiteX101" fmla="*/ 519934 w 533723"/>
                    <a:gd name="connsiteY101" fmla="*/ 353045 h 419386"/>
                    <a:gd name="connsiteX102" fmla="*/ 493458 w 533723"/>
                    <a:gd name="connsiteY102" fmla="*/ 392987 h 419386"/>
                    <a:gd name="connsiteX103" fmla="*/ 421143 w 533723"/>
                    <a:gd name="connsiteY103" fmla="*/ 403455 h 419386"/>
                    <a:gd name="connsiteX104" fmla="*/ 416615 w 533723"/>
                    <a:gd name="connsiteY104" fmla="*/ 401105 h 419386"/>
                    <a:gd name="connsiteX105" fmla="*/ 401019 w 533723"/>
                    <a:gd name="connsiteY105" fmla="*/ 392405 h 419386"/>
                    <a:gd name="connsiteX106" fmla="*/ 382546 w 533723"/>
                    <a:gd name="connsiteY106" fmla="*/ 418083 h 419386"/>
                    <a:gd name="connsiteX107" fmla="*/ 364512 w 533723"/>
                    <a:gd name="connsiteY107" fmla="*/ 414388 h 419386"/>
                    <a:gd name="connsiteX108" fmla="*/ 362260 w 533723"/>
                    <a:gd name="connsiteY108" fmla="*/ 412847 h 419386"/>
                    <a:gd name="connsiteX109" fmla="*/ 359508 w 533723"/>
                    <a:gd name="connsiteY109" fmla="*/ 412530 h 419386"/>
                    <a:gd name="connsiteX110" fmla="*/ 354180 w 533723"/>
                    <a:gd name="connsiteY110" fmla="*/ 409493 h 419386"/>
                    <a:gd name="connsiteX111" fmla="*/ 351263 w 533723"/>
                    <a:gd name="connsiteY111" fmla="*/ 406931 h 419386"/>
                    <a:gd name="connsiteX112" fmla="*/ 351015 w 533723"/>
                    <a:gd name="connsiteY112" fmla="*/ 406713 h 419386"/>
                    <a:gd name="connsiteX113" fmla="*/ 348397 w 533723"/>
                    <a:gd name="connsiteY113" fmla="*/ 403432 h 419386"/>
                    <a:gd name="connsiteX114" fmla="*/ 347445 w 533723"/>
                    <a:gd name="connsiteY114" fmla="*/ 401927 h 419386"/>
                    <a:gd name="connsiteX115" fmla="*/ 345319 w 533723"/>
                    <a:gd name="connsiteY115" fmla="*/ 397536 h 419386"/>
                    <a:gd name="connsiteX116" fmla="*/ 344561 w 533723"/>
                    <a:gd name="connsiteY116" fmla="*/ 395286 h 419386"/>
                    <a:gd name="connsiteX117" fmla="*/ 335650 w 533723"/>
                    <a:gd name="connsiteY117" fmla="*/ 375455 h 419386"/>
                    <a:gd name="connsiteX118" fmla="*/ 322714 w 533723"/>
                    <a:gd name="connsiteY118" fmla="*/ 362234 h 419386"/>
                    <a:gd name="connsiteX119" fmla="*/ 319648 w 533723"/>
                    <a:gd name="connsiteY119" fmla="*/ 358159 h 419386"/>
                    <a:gd name="connsiteX120" fmla="*/ 319434 w 533723"/>
                    <a:gd name="connsiteY120" fmla="*/ 357823 h 419386"/>
                    <a:gd name="connsiteX121" fmla="*/ 314734 w 533723"/>
                    <a:gd name="connsiteY121" fmla="*/ 350455 h 419386"/>
                    <a:gd name="connsiteX122" fmla="*/ 319052 w 533723"/>
                    <a:gd name="connsiteY122" fmla="*/ 316733 h 419386"/>
                    <a:gd name="connsiteX123" fmla="*/ 323333 w 533723"/>
                    <a:gd name="connsiteY123" fmla="*/ 310656 h 419386"/>
                    <a:gd name="connsiteX124" fmla="*/ 320679 w 533723"/>
                    <a:gd name="connsiteY124" fmla="*/ 310837 h 419386"/>
                    <a:gd name="connsiteX125" fmla="*/ 316984 w 533723"/>
                    <a:gd name="connsiteY125" fmla="*/ 309959 h 419386"/>
                    <a:gd name="connsiteX126" fmla="*/ 278469 w 533723"/>
                    <a:gd name="connsiteY126" fmla="*/ 281787 h 419386"/>
                    <a:gd name="connsiteX127" fmla="*/ 279196 w 533723"/>
                    <a:gd name="connsiteY127" fmla="*/ 221148 h 419386"/>
                    <a:gd name="connsiteX128" fmla="*/ 281137 w 533723"/>
                    <a:gd name="connsiteY128" fmla="*/ 212759 h 419386"/>
                    <a:gd name="connsiteX129" fmla="*/ 280817 w 533723"/>
                    <a:gd name="connsiteY129" fmla="*/ 212855 h 419386"/>
                    <a:gd name="connsiteX130" fmla="*/ 280074 w 533723"/>
                    <a:gd name="connsiteY130" fmla="*/ 213019 h 419386"/>
                    <a:gd name="connsiteX131" fmla="*/ 208386 w 533723"/>
                    <a:gd name="connsiteY131" fmla="*/ 230868 h 419386"/>
                    <a:gd name="connsiteX132" fmla="*/ 129358 w 533723"/>
                    <a:gd name="connsiteY132" fmla="*/ 256155 h 419386"/>
                    <a:gd name="connsiteX133" fmla="*/ 76481 w 533723"/>
                    <a:gd name="connsiteY133" fmla="*/ 253856 h 419386"/>
                    <a:gd name="connsiteX134" fmla="*/ 56365 w 533723"/>
                    <a:gd name="connsiteY134" fmla="*/ 204718 h 419386"/>
                    <a:gd name="connsiteX135" fmla="*/ 6361 w 533723"/>
                    <a:gd name="connsiteY135" fmla="*/ 145234 h 419386"/>
                    <a:gd name="connsiteX136" fmla="*/ 4924 w 533723"/>
                    <a:gd name="connsiteY136" fmla="*/ 90923 h 419386"/>
                    <a:gd name="connsiteX137" fmla="*/ 26190 w 533723"/>
                    <a:gd name="connsiteY137" fmla="*/ 62762 h 419386"/>
                    <a:gd name="connsiteX138" fmla="*/ 51192 w 533723"/>
                    <a:gd name="connsiteY138" fmla="*/ 63624 h 419386"/>
                    <a:gd name="connsiteX139" fmla="*/ 92574 w 533723"/>
                    <a:gd name="connsiteY139" fmla="*/ 72245 h 419386"/>
                    <a:gd name="connsiteX140" fmla="*/ 148899 w 533723"/>
                    <a:gd name="connsiteY140" fmla="*/ 97533 h 419386"/>
                    <a:gd name="connsiteX141" fmla="*/ 100620 w 533723"/>
                    <a:gd name="connsiteY141" fmla="*/ 70233 h 419386"/>
                    <a:gd name="connsiteX142" fmla="*/ 68722 w 533723"/>
                    <a:gd name="connsiteY142" fmla="*/ 57877 h 419386"/>
                    <a:gd name="connsiteX143" fmla="*/ 95735 w 533723"/>
                    <a:gd name="connsiteY143" fmla="*/ 33739 h 419386"/>
                    <a:gd name="connsiteX144" fmla="*/ 118438 w 533723"/>
                    <a:gd name="connsiteY144" fmla="*/ 6440 h 419386"/>
                    <a:gd name="connsiteX145" fmla="*/ 135290 w 533723"/>
                    <a:gd name="connsiteY145" fmla="*/ 95 h 419386"/>
                    <a:gd name="connsiteX0" fmla="*/ 528506 w 533723"/>
                    <a:gd name="connsiteY0" fmla="*/ 291832 h 415347"/>
                    <a:gd name="connsiteX1" fmla="*/ 510121 w 533723"/>
                    <a:gd name="connsiteY1" fmla="*/ 300446 h 415347"/>
                    <a:gd name="connsiteX2" fmla="*/ 500354 w 533723"/>
                    <a:gd name="connsiteY2" fmla="*/ 302312 h 415347"/>
                    <a:gd name="connsiteX3" fmla="*/ 489695 w 533723"/>
                    <a:gd name="connsiteY3" fmla="*/ 299159 h 415347"/>
                    <a:gd name="connsiteX4" fmla="*/ 490953 w 533723"/>
                    <a:gd name="connsiteY4" fmla="*/ 302242 h 415347"/>
                    <a:gd name="connsiteX5" fmla="*/ 490826 w 533723"/>
                    <a:gd name="connsiteY5" fmla="*/ 302554 h 415347"/>
                    <a:gd name="connsiteX6" fmla="*/ 497481 w 533723"/>
                    <a:gd name="connsiteY6" fmla="*/ 306188 h 415347"/>
                    <a:gd name="connsiteX7" fmla="*/ 505812 w 533723"/>
                    <a:gd name="connsiteY7" fmla="*/ 305901 h 415347"/>
                    <a:gd name="connsiteX8" fmla="*/ 523335 w 533723"/>
                    <a:gd name="connsiteY8" fmla="*/ 297575 h 415347"/>
                    <a:gd name="connsiteX9" fmla="*/ 528506 w 533723"/>
                    <a:gd name="connsiteY9" fmla="*/ 291832 h 415347"/>
                    <a:gd name="connsiteX10" fmla="*/ 459095 w 533723"/>
                    <a:gd name="connsiteY10" fmla="*/ 214354 h 415347"/>
                    <a:gd name="connsiteX11" fmla="*/ 470185 w 533723"/>
                    <a:gd name="connsiteY11" fmla="*/ 232917 h 415347"/>
                    <a:gd name="connsiteX12" fmla="*/ 469083 w 533723"/>
                    <a:gd name="connsiteY12" fmla="*/ 236710 h 415347"/>
                    <a:gd name="connsiteX13" fmla="*/ 465107 w 533723"/>
                    <a:gd name="connsiteY13" fmla="*/ 228628 h 415347"/>
                    <a:gd name="connsiteX14" fmla="*/ 462850 w 533723"/>
                    <a:gd name="connsiteY14" fmla="*/ 223907 h 415347"/>
                    <a:gd name="connsiteX15" fmla="*/ 461361 w 533723"/>
                    <a:gd name="connsiteY15" fmla="*/ 220754 h 415347"/>
                    <a:gd name="connsiteX16" fmla="*/ 459095 w 533723"/>
                    <a:gd name="connsiteY16" fmla="*/ 214354 h 415347"/>
                    <a:gd name="connsiteX17" fmla="*/ 458921 w 533723"/>
                    <a:gd name="connsiteY17" fmla="*/ 213862 h 415347"/>
                    <a:gd name="connsiteX18" fmla="*/ 459095 w 533723"/>
                    <a:gd name="connsiteY18" fmla="*/ 214354 h 415347"/>
                    <a:gd name="connsiteX19" fmla="*/ 458953 w 533723"/>
                    <a:gd name="connsiteY19" fmla="*/ 214116 h 415347"/>
                    <a:gd name="connsiteX20" fmla="*/ 458921 w 533723"/>
                    <a:gd name="connsiteY20" fmla="*/ 213862 h 415347"/>
                    <a:gd name="connsiteX21" fmla="*/ 231642 w 533723"/>
                    <a:gd name="connsiteY21" fmla="*/ 117869 h 415347"/>
                    <a:gd name="connsiteX22" fmla="*/ 245739 w 533723"/>
                    <a:gd name="connsiteY22" fmla="*/ 119960 h 415347"/>
                    <a:gd name="connsiteX23" fmla="*/ 247479 w 533723"/>
                    <a:gd name="connsiteY23" fmla="*/ 117948 h 415347"/>
                    <a:gd name="connsiteX24" fmla="*/ 241439 w 533723"/>
                    <a:gd name="connsiteY24" fmla="*/ 117896 h 415347"/>
                    <a:gd name="connsiteX25" fmla="*/ 231642 w 533723"/>
                    <a:gd name="connsiteY25" fmla="*/ 117869 h 415347"/>
                    <a:gd name="connsiteX26" fmla="*/ 393966 w 533723"/>
                    <a:gd name="connsiteY26" fmla="*/ 59548 h 415347"/>
                    <a:gd name="connsiteX27" fmla="*/ 394760 w 533723"/>
                    <a:gd name="connsiteY27" fmla="*/ 61641 h 415347"/>
                    <a:gd name="connsiteX28" fmla="*/ 396543 w 533723"/>
                    <a:gd name="connsiteY28" fmla="*/ 61922 h 415347"/>
                    <a:gd name="connsiteX29" fmla="*/ 393966 w 533723"/>
                    <a:gd name="connsiteY29" fmla="*/ 59548 h 415347"/>
                    <a:gd name="connsiteX30" fmla="*/ 135290 w 533723"/>
                    <a:gd name="connsiteY30" fmla="*/ 95 h 415347"/>
                    <a:gd name="connsiteX31" fmla="*/ 142002 w 533723"/>
                    <a:gd name="connsiteY31" fmla="*/ 118 h 415347"/>
                    <a:gd name="connsiteX32" fmla="*/ 184247 w 533723"/>
                    <a:gd name="connsiteY32" fmla="*/ 9888 h 415347"/>
                    <a:gd name="connsiteX33" fmla="*/ 237411 w 533723"/>
                    <a:gd name="connsiteY33" fmla="*/ 31727 h 415347"/>
                    <a:gd name="connsiteX34" fmla="*/ 273908 w 533723"/>
                    <a:gd name="connsiteY34" fmla="*/ 50693 h 415347"/>
                    <a:gd name="connsiteX35" fmla="*/ 300993 w 533723"/>
                    <a:gd name="connsiteY35" fmla="*/ 65241 h 415347"/>
                    <a:gd name="connsiteX36" fmla="*/ 313770 w 533723"/>
                    <a:gd name="connsiteY36" fmla="*/ 72415 h 415347"/>
                    <a:gd name="connsiteX37" fmla="*/ 317458 w 533723"/>
                    <a:gd name="connsiteY37" fmla="*/ 74704 h 415347"/>
                    <a:gd name="connsiteX38" fmla="*/ 321989 w 533723"/>
                    <a:gd name="connsiteY38" fmla="*/ 77518 h 415347"/>
                    <a:gd name="connsiteX39" fmla="*/ 328509 w 533723"/>
                    <a:gd name="connsiteY39" fmla="*/ 81728 h 415347"/>
                    <a:gd name="connsiteX40" fmla="*/ 329950 w 533723"/>
                    <a:gd name="connsiteY40" fmla="*/ 82770 h 415347"/>
                    <a:gd name="connsiteX41" fmla="*/ 322786 w 533723"/>
                    <a:gd name="connsiteY41" fmla="*/ 67357 h 415347"/>
                    <a:gd name="connsiteX42" fmla="*/ 318179 w 533723"/>
                    <a:gd name="connsiteY42" fmla="*/ 66024 h 415347"/>
                    <a:gd name="connsiteX43" fmla="*/ 315145 w 533723"/>
                    <a:gd name="connsiteY43" fmla="*/ 65146 h 415347"/>
                    <a:gd name="connsiteX44" fmla="*/ 315984 w 533723"/>
                    <a:gd name="connsiteY44" fmla="*/ 64282 h 415347"/>
                    <a:gd name="connsiteX45" fmla="*/ 336115 w 533723"/>
                    <a:gd name="connsiteY45" fmla="*/ 45493 h 415347"/>
                    <a:gd name="connsiteX46" fmla="*/ 339135 w 533723"/>
                    <a:gd name="connsiteY46" fmla="*/ 43303 h 415347"/>
                    <a:gd name="connsiteX47" fmla="*/ 344556 w 533723"/>
                    <a:gd name="connsiteY47" fmla="*/ 40552 h 415347"/>
                    <a:gd name="connsiteX48" fmla="*/ 348957 w 533723"/>
                    <a:gd name="connsiteY48" fmla="*/ 38760 h 415347"/>
                    <a:gd name="connsiteX49" fmla="*/ 368054 w 533723"/>
                    <a:gd name="connsiteY49" fmla="*/ 34807 h 415347"/>
                    <a:gd name="connsiteX50" fmla="*/ 382234 w 533723"/>
                    <a:gd name="connsiteY50" fmla="*/ 37952 h 415347"/>
                    <a:gd name="connsiteX51" fmla="*/ 390275 w 533723"/>
                    <a:gd name="connsiteY51" fmla="*/ 35652 h 415347"/>
                    <a:gd name="connsiteX52" fmla="*/ 390840 w 533723"/>
                    <a:gd name="connsiteY52" fmla="*/ 35749 h 415347"/>
                    <a:gd name="connsiteX53" fmla="*/ 391575 w 533723"/>
                    <a:gd name="connsiteY53" fmla="*/ 35894 h 415347"/>
                    <a:gd name="connsiteX54" fmla="*/ 391750 w 533723"/>
                    <a:gd name="connsiteY54" fmla="*/ 35955 h 415347"/>
                    <a:gd name="connsiteX55" fmla="*/ 392615 w 533723"/>
                    <a:gd name="connsiteY55" fmla="*/ 36327 h 415347"/>
                    <a:gd name="connsiteX56" fmla="*/ 393242 w 533723"/>
                    <a:gd name="connsiteY56" fmla="*/ 36306 h 415347"/>
                    <a:gd name="connsiteX57" fmla="*/ 393406 w 533723"/>
                    <a:gd name="connsiteY57" fmla="*/ 36317 h 415347"/>
                    <a:gd name="connsiteX58" fmla="*/ 397383 w 533723"/>
                    <a:gd name="connsiteY58" fmla="*/ 37341 h 415347"/>
                    <a:gd name="connsiteX59" fmla="*/ 408367 w 533723"/>
                    <a:gd name="connsiteY59" fmla="*/ 43126 h 415347"/>
                    <a:gd name="connsiteX60" fmla="*/ 459773 w 533723"/>
                    <a:gd name="connsiteY60" fmla="*/ 126491 h 415347"/>
                    <a:gd name="connsiteX61" fmla="*/ 441680 w 533723"/>
                    <a:gd name="connsiteY61" fmla="*/ 188008 h 415347"/>
                    <a:gd name="connsiteX62" fmla="*/ 442553 w 533723"/>
                    <a:gd name="connsiteY62" fmla="*/ 192637 h 415347"/>
                    <a:gd name="connsiteX63" fmla="*/ 443081 w 533723"/>
                    <a:gd name="connsiteY63" fmla="*/ 194875 h 415347"/>
                    <a:gd name="connsiteX64" fmla="*/ 451172 w 533723"/>
                    <a:gd name="connsiteY64" fmla="*/ 201092 h 415347"/>
                    <a:gd name="connsiteX65" fmla="*/ 458953 w 533723"/>
                    <a:gd name="connsiteY65" fmla="*/ 214116 h 415347"/>
                    <a:gd name="connsiteX66" fmla="*/ 459209 w 533723"/>
                    <a:gd name="connsiteY66" fmla="*/ 216161 h 415347"/>
                    <a:gd name="connsiteX67" fmla="*/ 460971 w 533723"/>
                    <a:gd name="connsiteY67" fmla="*/ 219929 h 415347"/>
                    <a:gd name="connsiteX68" fmla="*/ 461361 w 533723"/>
                    <a:gd name="connsiteY68" fmla="*/ 220754 h 415347"/>
                    <a:gd name="connsiteX69" fmla="*/ 470303 w 533723"/>
                    <a:gd name="connsiteY69" fmla="*/ 246015 h 415347"/>
                    <a:gd name="connsiteX70" fmla="*/ 469962 w 533723"/>
                    <a:gd name="connsiteY70" fmla="*/ 245448 h 415347"/>
                    <a:gd name="connsiteX71" fmla="*/ 468971 w 533723"/>
                    <a:gd name="connsiteY71" fmla="*/ 243799 h 415347"/>
                    <a:gd name="connsiteX72" fmla="*/ 464115 w 533723"/>
                    <a:gd name="connsiteY72" fmla="*/ 240660 h 415347"/>
                    <a:gd name="connsiteX73" fmla="*/ 457544 w 533723"/>
                    <a:gd name="connsiteY73" fmla="*/ 239804 h 415347"/>
                    <a:gd name="connsiteX74" fmla="*/ 463829 w 533723"/>
                    <a:gd name="connsiteY74" fmla="*/ 242086 h 415347"/>
                    <a:gd name="connsiteX75" fmla="*/ 469895 w 533723"/>
                    <a:gd name="connsiteY75" fmla="*/ 245979 h 415347"/>
                    <a:gd name="connsiteX76" fmla="*/ 470460 w 533723"/>
                    <a:gd name="connsiteY76" fmla="*/ 246460 h 415347"/>
                    <a:gd name="connsiteX77" fmla="*/ 485321 w 533723"/>
                    <a:gd name="connsiteY77" fmla="*/ 288443 h 415347"/>
                    <a:gd name="connsiteX78" fmla="*/ 485666 w 533723"/>
                    <a:gd name="connsiteY78" fmla="*/ 289289 h 415347"/>
                    <a:gd name="connsiteX79" fmla="*/ 485392 w 533723"/>
                    <a:gd name="connsiteY79" fmla="*/ 285754 h 415347"/>
                    <a:gd name="connsiteX80" fmla="*/ 485409 w 533723"/>
                    <a:gd name="connsiteY80" fmla="*/ 284254 h 415347"/>
                    <a:gd name="connsiteX81" fmla="*/ 485552 w 533723"/>
                    <a:gd name="connsiteY81" fmla="*/ 284634 h 415347"/>
                    <a:gd name="connsiteX82" fmla="*/ 487684 w 533723"/>
                    <a:gd name="connsiteY82" fmla="*/ 290297 h 415347"/>
                    <a:gd name="connsiteX83" fmla="*/ 487716 w 533723"/>
                    <a:gd name="connsiteY83" fmla="*/ 290381 h 415347"/>
                    <a:gd name="connsiteX84" fmla="*/ 487709 w 533723"/>
                    <a:gd name="connsiteY84" fmla="*/ 290382 h 415347"/>
                    <a:gd name="connsiteX85" fmla="*/ 486150 w 533723"/>
                    <a:gd name="connsiteY85" fmla="*/ 290474 h 415347"/>
                    <a:gd name="connsiteX86" fmla="*/ 488742 w 533723"/>
                    <a:gd name="connsiteY86" fmla="*/ 296824 h 415347"/>
                    <a:gd name="connsiteX87" fmla="*/ 494320 w 533723"/>
                    <a:gd name="connsiteY87" fmla="*/ 295556 h 415347"/>
                    <a:gd name="connsiteX88" fmla="*/ 512429 w 533723"/>
                    <a:gd name="connsiteY88" fmla="*/ 291820 h 415347"/>
                    <a:gd name="connsiteX89" fmla="*/ 519005 w 533723"/>
                    <a:gd name="connsiteY89" fmla="*/ 287509 h 415347"/>
                    <a:gd name="connsiteX90" fmla="*/ 520508 w 533723"/>
                    <a:gd name="connsiteY90" fmla="*/ 286839 h 415347"/>
                    <a:gd name="connsiteX91" fmla="*/ 522424 w 533723"/>
                    <a:gd name="connsiteY91" fmla="*/ 286502 h 415347"/>
                    <a:gd name="connsiteX92" fmla="*/ 523091 w 533723"/>
                    <a:gd name="connsiteY92" fmla="*/ 286385 h 415347"/>
                    <a:gd name="connsiteX93" fmla="*/ 525364 w 533723"/>
                    <a:gd name="connsiteY93" fmla="*/ 286646 h 415347"/>
                    <a:gd name="connsiteX94" fmla="*/ 533413 w 533723"/>
                    <a:gd name="connsiteY94" fmla="*/ 297855 h 415347"/>
                    <a:gd name="connsiteX95" fmla="*/ 530826 w 533723"/>
                    <a:gd name="connsiteY95" fmla="*/ 316249 h 415347"/>
                    <a:gd name="connsiteX96" fmla="*/ 530588 w 533723"/>
                    <a:gd name="connsiteY96" fmla="*/ 318085 h 415347"/>
                    <a:gd name="connsiteX97" fmla="*/ 530192 w 533723"/>
                    <a:gd name="connsiteY97" fmla="*/ 320320 h 415347"/>
                    <a:gd name="connsiteX98" fmla="*/ 529838 w 533723"/>
                    <a:gd name="connsiteY98" fmla="*/ 321637 h 415347"/>
                    <a:gd name="connsiteX99" fmla="*/ 526883 w 533723"/>
                    <a:gd name="connsiteY99" fmla="*/ 332653 h 415347"/>
                    <a:gd name="connsiteX100" fmla="*/ 524435 w 533723"/>
                    <a:gd name="connsiteY100" fmla="*/ 341781 h 415347"/>
                    <a:gd name="connsiteX101" fmla="*/ 519934 w 533723"/>
                    <a:gd name="connsiteY101" fmla="*/ 353045 h 415347"/>
                    <a:gd name="connsiteX102" fmla="*/ 493458 w 533723"/>
                    <a:gd name="connsiteY102" fmla="*/ 392987 h 415347"/>
                    <a:gd name="connsiteX103" fmla="*/ 421143 w 533723"/>
                    <a:gd name="connsiteY103" fmla="*/ 403455 h 415347"/>
                    <a:gd name="connsiteX104" fmla="*/ 416615 w 533723"/>
                    <a:gd name="connsiteY104" fmla="*/ 401105 h 415347"/>
                    <a:gd name="connsiteX105" fmla="*/ 401019 w 533723"/>
                    <a:gd name="connsiteY105" fmla="*/ 392405 h 415347"/>
                    <a:gd name="connsiteX106" fmla="*/ 381629 w 533723"/>
                    <a:gd name="connsiteY106" fmla="*/ 410745 h 415347"/>
                    <a:gd name="connsiteX107" fmla="*/ 364512 w 533723"/>
                    <a:gd name="connsiteY107" fmla="*/ 414388 h 415347"/>
                    <a:gd name="connsiteX108" fmla="*/ 362260 w 533723"/>
                    <a:gd name="connsiteY108" fmla="*/ 412847 h 415347"/>
                    <a:gd name="connsiteX109" fmla="*/ 359508 w 533723"/>
                    <a:gd name="connsiteY109" fmla="*/ 412530 h 415347"/>
                    <a:gd name="connsiteX110" fmla="*/ 354180 w 533723"/>
                    <a:gd name="connsiteY110" fmla="*/ 409493 h 415347"/>
                    <a:gd name="connsiteX111" fmla="*/ 351263 w 533723"/>
                    <a:gd name="connsiteY111" fmla="*/ 406931 h 415347"/>
                    <a:gd name="connsiteX112" fmla="*/ 351015 w 533723"/>
                    <a:gd name="connsiteY112" fmla="*/ 406713 h 415347"/>
                    <a:gd name="connsiteX113" fmla="*/ 348397 w 533723"/>
                    <a:gd name="connsiteY113" fmla="*/ 403432 h 415347"/>
                    <a:gd name="connsiteX114" fmla="*/ 347445 w 533723"/>
                    <a:gd name="connsiteY114" fmla="*/ 401927 h 415347"/>
                    <a:gd name="connsiteX115" fmla="*/ 345319 w 533723"/>
                    <a:gd name="connsiteY115" fmla="*/ 397536 h 415347"/>
                    <a:gd name="connsiteX116" fmla="*/ 344561 w 533723"/>
                    <a:gd name="connsiteY116" fmla="*/ 395286 h 415347"/>
                    <a:gd name="connsiteX117" fmla="*/ 335650 w 533723"/>
                    <a:gd name="connsiteY117" fmla="*/ 375455 h 415347"/>
                    <a:gd name="connsiteX118" fmla="*/ 322714 w 533723"/>
                    <a:gd name="connsiteY118" fmla="*/ 362234 h 415347"/>
                    <a:gd name="connsiteX119" fmla="*/ 319648 w 533723"/>
                    <a:gd name="connsiteY119" fmla="*/ 358159 h 415347"/>
                    <a:gd name="connsiteX120" fmla="*/ 319434 w 533723"/>
                    <a:gd name="connsiteY120" fmla="*/ 357823 h 415347"/>
                    <a:gd name="connsiteX121" fmla="*/ 314734 w 533723"/>
                    <a:gd name="connsiteY121" fmla="*/ 350455 h 415347"/>
                    <a:gd name="connsiteX122" fmla="*/ 319052 w 533723"/>
                    <a:gd name="connsiteY122" fmla="*/ 316733 h 415347"/>
                    <a:gd name="connsiteX123" fmla="*/ 323333 w 533723"/>
                    <a:gd name="connsiteY123" fmla="*/ 310656 h 415347"/>
                    <a:gd name="connsiteX124" fmla="*/ 320679 w 533723"/>
                    <a:gd name="connsiteY124" fmla="*/ 310837 h 415347"/>
                    <a:gd name="connsiteX125" fmla="*/ 316984 w 533723"/>
                    <a:gd name="connsiteY125" fmla="*/ 309959 h 415347"/>
                    <a:gd name="connsiteX126" fmla="*/ 278469 w 533723"/>
                    <a:gd name="connsiteY126" fmla="*/ 281787 h 415347"/>
                    <a:gd name="connsiteX127" fmla="*/ 279196 w 533723"/>
                    <a:gd name="connsiteY127" fmla="*/ 221148 h 415347"/>
                    <a:gd name="connsiteX128" fmla="*/ 281137 w 533723"/>
                    <a:gd name="connsiteY128" fmla="*/ 212759 h 415347"/>
                    <a:gd name="connsiteX129" fmla="*/ 280817 w 533723"/>
                    <a:gd name="connsiteY129" fmla="*/ 212855 h 415347"/>
                    <a:gd name="connsiteX130" fmla="*/ 280074 w 533723"/>
                    <a:gd name="connsiteY130" fmla="*/ 213019 h 415347"/>
                    <a:gd name="connsiteX131" fmla="*/ 208386 w 533723"/>
                    <a:gd name="connsiteY131" fmla="*/ 230868 h 415347"/>
                    <a:gd name="connsiteX132" fmla="*/ 129358 w 533723"/>
                    <a:gd name="connsiteY132" fmla="*/ 256155 h 415347"/>
                    <a:gd name="connsiteX133" fmla="*/ 76481 w 533723"/>
                    <a:gd name="connsiteY133" fmla="*/ 253856 h 415347"/>
                    <a:gd name="connsiteX134" fmla="*/ 56365 w 533723"/>
                    <a:gd name="connsiteY134" fmla="*/ 204718 h 415347"/>
                    <a:gd name="connsiteX135" fmla="*/ 6361 w 533723"/>
                    <a:gd name="connsiteY135" fmla="*/ 145234 h 415347"/>
                    <a:gd name="connsiteX136" fmla="*/ 4924 w 533723"/>
                    <a:gd name="connsiteY136" fmla="*/ 90923 h 415347"/>
                    <a:gd name="connsiteX137" fmla="*/ 26190 w 533723"/>
                    <a:gd name="connsiteY137" fmla="*/ 62762 h 415347"/>
                    <a:gd name="connsiteX138" fmla="*/ 51192 w 533723"/>
                    <a:gd name="connsiteY138" fmla="*/ 63624 h 415347"/>
                    <a:gd name="connsiteX139" fmla="*/ 92574 w 533723"/>
                    <a:gd name="connsiteY139" fmla="*/ 72245 h 415347"/>
                    <a:gd name="connsiteX140" fmla="*/ 148899 w 533723"/>
                    <a:gd name="connsiteY140" fmla="*/ 97533 h 415347"/>
                    <a:gd name="connsiteX141" fmla="*/ 100620 w 533723"/>
                    <a:gd name="connsiteY141" fmla="*/ 70233 h 415347"/>
                    <a:gd name="connsiteX142" fmla="*/ 68722 w 533723"/>
                    <a:gd name="connsiteY142" fmla="*/ 57877 h 415347"/>
                    <a:gd name="connsiteX143" fmla="*/ 95735 w 533723"/>
                    <a:gd name="connsiteY143" fmla="*/ 33739 h 415347"/>
                    <a:gd name="connsiteX144" fmla="*/ 118438 w 533723"/>
                    <a:gd name="connsiteY144" fmla="*/ 6440 h 415347"/>
                    <a:gd name="connsiteX145" fmla="*/ 135290 w 533723"/>
                    <a:gd name="connsiteY145" fmla="*/ 95 h 415347"/>
                    <a:gd name="connsiteX0" fmla="*/ 528506 w 533723"/>
                    <a:gd name="connsiteY0" fmla="*/ 291832 h 415322"/>
                    <a:gd name="connsiteX1" fmla="*/ 510121 w 533723"/>
                    <a:gd name="connsiteY1" fmla="*/ 300446 h 415322"/>
                    <a:gd name="connsiteX2" fmla="*/ 500354 w 533723"/>
                    <a:gd name="connsiteY2" fmla="*/ 302312 h 415322"/>
                    <a:gd name="connsiteX3" fmla="*/ 489695 w 533723"/>
                    <a:gd name="connsiteY3" fmla="*/ 299159 h 415322"/>
                    <a:gd name="connsiteX4" fmla="*/ 490953 w 533723"/>
                    <a:gd name="connsiteY4" fmla="*/ 302242 h 415322"/>
                    <a:gd name="connsiteX5" fmla="*/ 490826 w 533723"/>
                    <a:gd name="connsiteY5" fmla="*/ 302554 h 415322"/>
                    <a:gd name="connsiteX6" fmla="*/ 497481 w 533723"/>
                    <a:gd name="connsiteY6" fmla="*/ 306188 h 415322"/>
                    <a:gd name="connsiteX7" fmla="*/ 505812 w 533723"/>
                    <a:gd name="connsiteY7" fmla="*/ 305901 h 415322"/>
                    <a:gd name="connsiteX8" fmla="*/ 523335 w 533723"/>
                    <a:gd name="connsiteY8" fmla="*/ 297575 h 415322"/>
                    <a:gd name="connsiteX9" fmla="*/ 528506 w 533723"/>
                    <a:gd name="connsiteY9" fmla="*/ 291832 h 415322"/>
                    <a:gd name="connsiteX10" fmla="*/ 459095 w 533723"/>
                    <a:gd name="connsiteY10" fmla="*/ 214354 h 415322"/>
                    <a:gd name="connsiteX11" fmla="*/ 470185 w 533723"/>
                    <a:gd name="connsiteY11" fmla="*/ 232917 h 415322"/>
                    <a:gd name="connsiteX12" fmla="*/ 469083 w 533723"/>
                    <a:gd name="connsiteY12" fmla="*/ 236710 h 415322"/>
                    <a:gd name="connsiteX13" fmla="*/ 465107 w 533723"/>
                    <a:gd name="connsiteY13" fmla="*/ 228628 h 415322"/>
                    <a:gd name="connsiteX14" fmla="*/ 462850 w 533723"/>
                    <a:gd name="connsiteY14" fmla="*/ 223907 h 415322"/>
                    <a:gd name="connsiteX15" fmla="*/ 461361 w 533723"/>
                    <a:gd name="connsiteY15" fmla="*/ 220754 h 415322"/>
                    <a:gd name="connsiteX16" fmla="*/ 459095 w 533723"/>
                    <a:gd name="connsiteY16" fmla="*/ 214354 h 415322"/>
                    <a:gd name="connsiteX17" fmla="*/ 458921 w 533723"/>
                    <a:gd name="connsiteY17" fmla="*/ 213862 h 415322"/>
                    <a:gd name="connsiteX18" fmla="*/ 459095 w 533723"/>
                    <a:gd name="connsiteY18" fmla="*/ 214354 h 415322"/>
                    <a:gd name="connsiteX19" fmla="*/ 458953 w 533723"/>
                    <a:gd name="connsiteY19" fmla="*/ 214116 h 415322"/>
                    <a:gd name="connsiteX20" fmla="*/ 458921 w 533723"/>
                    <a:gd name="connsiteY20" fmla="*/ 213862 h 415322"/>
                    <a:gd name="connsiteX21" fmla="*/ 231642 w 533723"/>
                    <a:gd name="connsiteY21" fmla="*/ 117869 h 415322"/>
                    <a:gd name="connsiteX22" fmla="*/ 245739 w 533723"/>
                    <a:gd name="connsiteY22" fmla="*/ 119960 h 415322"/>
                    <a:gd name="connsiteX23" fmla="*/ 247479 w 533723"/>
                    <a:gd name="connsiteY23" fmla="*/ 117948 h 415322"/>
                    <a:gd name="connsiteX24" fmla="*/ 241439 w 533723"/>
                    <a:gd name="connsiteY24" fmla="*/ 117896 h 415322"/>
                    <a:gd name="connsiteX25" fmla="*/ 231642 w 533723"/>
                    <a:gd name="connsiteY25" fmla="*/ 117869 h 415322"/>
                    <a:gd name="connsiteX26" fmla="*/ 393966 w 533723"/>
                    <a:gd name="connsiteY26" fmla="*/ 59548 h 415322"/>
                    <a:gd name="connsiteX27" fmla="*/ 394760 w 533723"/>
                    <a:gd name="connsiteY27" fmla="*/ 61641 h 415322"/>
                    <a:gd name="connsiteX28" fmla="*/ 396543 w 533723"/>
                    <a:gd name="connsiteY28" fmla="*/ 61922 h 415322"/>
                    <a:gd name="connsiteX29" fmla="*/ 393966 w 533723"/>
                    <a:gd name="connsiteY29" fmla="*/ 59548 h 415322"/>
                    <a:gd name="connsiteX30" fmla="*/ 135290 w 533723"/>
                    <a:gd name="connsiteY30" fmla="*/ 95 h 415322"/>
                    <a:gd name="connsiteX31" fmla="*/ 142002 w 533723"/>
                    <a:gd name="connsiteY31" fmla="*/ 118 h 415322"/>
                    <a:gd name="connsiteX32" fmla="*/ 184247 w 533723"/>
                    <a:gd name="connsiteY32" fmla="*/ 9888 h 415322"/>
                    <a:gd name="connsiteX33" fmla="*/ 237411 w 533723"/>
                    <a:gd name="connsiteY33" fmla="*/ 31727 h 415322"/>
                    <a:gd name="connsiteX34" fmla="*/ 273908 w 533723"/>
                    <a:gd name="connsiteY34" fmla="*/ 50693 h 415322"/>
                    <a:gd name="connsiteX35" fmla="*/ 300993 w 533723"/>
                    <a:gd name="connsiteY35" fmla="*/ 65241 h 415322"/>
                    <a:gd name="connsiteX36" fmla="*/ 313770 w 533723"/>
                    <a:gd name="connsiteY36" fmla="*/ 72415 h 415322"/>
                    <a:gd name="connsiteX37" fmla="*/ 317458 w 533723"/>
                    <a:gd name="connsiteY37" fmla="*/ 74704 h 415322"/>
                    <a:gd name="connsiteX38" fmla="*/ 321989 w 533723"/>
                    <a:gd name="connsiteY38" fmla="*/ 77518 h 415322"/>
                    <a:gd name="connsiteX39" fmla="*/ 328509 w 533723"/>
                    <a:gd name="connsiteY39" fmla="*/ 81728 h 415322"/>
                    <a:gd name="connsiteX40" fmla="*/ 329950 w 533723"/>
                    <a:gd name="connsiteY40" fmla="*/ 82770 h 415322"/>
                    <a:gd name="connsiteX41" fmla="*/ 322786 w 533723"/>
                    <a:gd name="connsiteY41" fmla="*/ 67357 h 415322"/>
                    <a:gd name="connsiteX42" fmla="*/ 318179 w 533723"/>
                    <a:gd name="connsiteY42" fmla="*/ 66024 h 415322"/>
                    <a:gd name="connsiteX43" fmla="*/ 315145 w 533723"/>
                    <a:gd name="connsiteY43" fmla="*/ 65146 h 415322"/>
                    <a:gd name="connsiteX44" fmla="*/ 315984 w 533723"/>
                    <a:gd name="connsiteY44" fmla="*/ 64282 h 415322"/>
                    <a:gd name="connsiteX45" fmla="*/ 336115 w 533723"/>
                    <a:gd name="connsiteY45" fmla="*/ 45493 h 415322"/>
                    <a:gd name="connsiteX46" fmla="*/ 339135 w 533723"/>
                    <a:gd name="connsiteY46" fmla="*/ 43303 h 415322"/>
                    <a:gd name="connsiteX47" fmla="*/ 344556 w 533723"/>
                    <a:gd name="connsiteY47" fmla="*/ 40552 h 415322"/>
                    <a:gd name="connsiteX48" fmla="*/ 348957 w 533723"/>
                    <a:gd name="connsiteY48" fmla="*/ 38760 h 415322"/>
                    <a:gd name="connsiteX49" fmla="*/ 368054 w 533723"/>
                    <a:gd name="connsiteY49" fmla="*/ 34807 h 415322"/>
                    <a:gd name="connsiteX50" fmla="*/ 382234 w 533723"/>
                    <a:gd name="connsiteY50" fmla="*/ 37952 h 415322"/>
                    <a:gd name="connsiteX51" fmla="*/ 390275 w 533723"/>
                    <a:gd name="connsiteY51" fmla="*/ 35652 h 415322"/>
                    <a:gd name="connsiteX52" fmla="*/ 390840 w 533723"/>
                    <a:gd name="connsiteY52" fmla="*/ 35749 h 415322"/>
                    <a:gd name="connsiteX53" fmla="*/ 391575 w 533723"/>
                    <a:gd name="connsiteY53" fmla="*/ 35894 h 415322"/>
                    <a:gd name="connsiteX54" fmla="*/ 391750 w 533723"/>
                    <a:gd name="connsiteY54" fmla="*/ 35955 h 415322"/>
                    <a:gd name="connsiteX55" fmla="*/ 392615 w 533723"/>
                    <a:gd name="connsiteY55" fmla="*/ 36327 h 415322"/>
                    <a:gd name="connsiteX56" fmla="*/ 393242 w 533723"/>
                    <a:gd name="connsiteY56" fmla="*/ 36306 h 415322"/>
                    <a:gd name="connsiteX57" fmla="*/ 393406 w 533723"/>
                    <a:gd name="connsiteY57" fmla="*/ 36317 h 415322"/>
                    <a:gd name="connsiteX58" fmla="*/ 397383 w 533723"/>
                    <a:gd name="connsiteY58" fmla="*/ 37341 h 415322"/>
                    <a:gd name="connsiteX59" fmla="*/ 408367 w 533723"/>
                    <a:gd name="connsiteY59" fmla="*/ 43126 h 415322"/>
                    <a:gd name="connsiteX60" fmla="*/ 459773 w 533723"/>
                    <a:gd name="connsiteY60" fmla="*/ 126491 h 415322"/>
                    <a:gd name="connsiteX61" fmla="*/ 441680 w 533723"/>
                    <a:gd name="connsiteY61" fmla="*/ 188008 h 415322"/>
                    <a:gd name="connsiteX62" fmla="*/ 442553 w 533723"/>
                    <a:gd name="connsiteY62" fmla="*/ 192637 h 415322"/>
                    <a:gd name="connsiteX63" fmla="*/ 443081 w 533723"/>
                    <a:gd name="connsiteY63" fmla="*/ 194875 h 415322"/>
                    <a:gd name="connsiteX64" fmla="*/ 451172 w 533723"/>
                    <a:gd name="connsiteY64" fmla="*/ 201092 h 415322"/>
                    <a:gd name="connsiteX65" fmla="*/ 458953 w 533723"/>
                    <a:gd name="connsiteY65" fmla="*/ 214116 h 415322"/>
                    <a:gd name="connsiteX66" fmla="*/ 459209 w 533723"/>
                    <a:gd name="connsiteY66" fmla="*/ 216161 h 415322"/>
                    <a:gd name="connsiteX67" fmla="*/ 460971 w 533723"/>
                    <a:gd name="connsiteY67" fmla="*/ 219929 h 415322"/>
                    <a:gd name="connsiteX68" fmla="*/ 461361 w 533723"/>
                    <a:gd name="connsiteY68" fmla="*/ 220754 h 415322"/>
                    <a:gd name="connsiteX69" fmla="*/ 470303 w 533723"/>
                    <a:gd name="connsiteY69" fmla="*/ 246015 h 415322"/>
                    <a:gd name="connsiteX70" fmla="*/ 469962 w 533723"/>
                    <a:gd name="connsiteY70" fmla="*/ 245448 h 415322"/>
                    <a:gd name="connsiteX71" fmla="*/ 468971 w 533723"/>
                    <a:gd name="connsiteY71" fmla="*/ 243799 h 415322"/>
                    <a:gd name="connsiteX72" fmla="*/ 464115 w 533723"/>
                    <a:gd name="connsiteY72" fmla="*/ 240660 h 415322"/>
                    <a:gd name="connsiteX73" fmla="*/ 457544 w 533723"/>
                    <a:gd name="connsiteY73" fmla="*/ 239804 h 415322"/>
                    <a:gd name="connsiteX74" fmla="*/ 463829 w 533723"/>
                    <a:gd name="connsiteY74" fmla="*/ 242086 h 415322"/>
                    <a:gd name="connsiteX75" fmla="*/ 469895 w 533723"/>
                    <a:gd name="connsiteY75" fmla="*/ 245979 h 415322"/>
                    <a:gd name="connsiteX76" fmla="*/ 470460 w 533723"/>
                    <a:gd name="connsiteY76" fmla="*/ 246460 h 415322"/>
                    <a:gd name="connsiteX77" fmla="*/ 485321 w 533723"/>
                    <a:gd name="connsiteY77" fmla="*/ 288443 h 415322"/>
                    <a:gd name="connsiteX78" fmla="*/ 485666 w 533723"/>
                    <a:gd name="connsiteY78" fmla="*/ 289289 h 415322"/>
                    <a:gd name="connsiteX79" fmla="*/ 485392 w 533723"/>
                    <a:gd name="connsiteY79" fmla="*/ 285754 h 415322"/>
                    <a:gd name="connsiteX80" fmla="*/ 485409 w 533723"/>
                    <a:gd name="connsiteY80" fmla="*/ 284254 h 415322"/>
                    <a:gd name="connsiteX81" fmla="*/ 485552 w 533723"/>
                    <a:gd name="connsiteY81" fmla="*/ 284634 h 415322"/>
                    <a:gd name="connsiteX82" fmla="*/ 487684 w 533723"/>
                    <a:gd name="connsiteY82" fmla="*/ 290297 h 415322"/>
                    <a:gd name="connsiteX83" fmla="*/ 487716 w 533723"/>
                    <a:gd name="connsiteY83" fmla="*/ 290381 h 415322"/>
                    <a:gd name="connsiteX84" fmla="*/ 487709 w 533723"/>
                    <a:gd name="connsiteY84" fmla="*/ 290382 h 415322"/>
                    <a:gd name="connsiteX85" fmla="*/ 486150 w 533723"/>
                    <a:gd name="connsiteY85" fmla="*/ 290474 h 415322"/>
                    <a:gd name="connsiteX86" fmla="*/ 488742 w 533723"/>
                    <a:gd name="connsiteY86" fmla="*/ 296824 h 415322"/>
                    <a:gd name="connsiteX87" fmla="*/ 494320 w 533723"/>
                    <a:gd name="connsiteY87" fmla="*/ 295556 h 415322"/>
                    <a:gd name="connsiteX88" fmla="*/ 512429 w 533723"/>
                    <a:gd name="connsiteY88" fmla="*/ 291820 h 415322"/>
                    <a:gd name="connsiteX89" fmla="*/ 519005 w 533723"/>
                    <a:gd name="connsiteY89" fmla="*/ 287509 h 415322"/>
                    <a:gd name="connsiteX90" fmla="*/ 520508 w 533723"/>
                    <a:gd name="connsiteY90" fmla="*/ 286839 h 415322"/>
                    <a:gd name="connsiteX91" fmla="*/ 522424 w 533723"/>
                    <a:gd name="connsiteY91" fmla="*/ 286502 h 415322"/>
                    <a:gd name="connsiteX92" fmla="*/ 523091 w 533723"/>
                    <a:gd name="connsiteY92" fmla="*/ 286385 h 415322"/>
                    <a:gd name="connsiteX93" fmla="*/ 525364 w 533723"/>
                    <a:gd name="connsiteY93" fmla="*/ 286646 h 415322"/>
                    <a:gd name="connsiteX94" fmla="*/ 533413 w 533723"/>
                    <a:gd name="connsiteY94" fmla="*/ 297855 h 415322"/>
                    <a:gd name="connsiteX95" fmla="*/ 530826 w 533723"/>
                    <a:gd name="connsiteY95" fmla="*/ 316249 h 415322"/>
                    <a:gd name="connsiteX96" fmla="*/ 530588 w 533723"/>
                    <a:gd name="connsiteY96" fmla="*/ 318085 h 415322"/>
                    <a:gd name="connsiteX97" fmla="*/ 530192 w 533723"/>
                    <a:gd name="connsiteY97" fmla="*/ 320320 h 415322"/>
                    <a:gd name="connsiteX98" fmla="*/ 529838 w 533723"/>
                    <a:gd name="connsiteY98" fmla="*/ 321637 h 415322"/>
                    <a:gd name="connsiteX99" fmla="*/ 526883 w 533723"/>
                    <a:gd name="connsiteY99" fmla="*/ 332653 h 415322"/>
                    <a:gd name="connsiteX100" fmla="*/ 524435 w 533723"/>
                    <a:gd name="connsiteY100" fmla="*/ 341781 h 415322"/>
                    <a:gd name="connsiteX101" fmla="*/ 519934 w 533723"/>
                    <a:gd name="connsiteY101" fmla="*/ 353045 h 415322"/>
                    <a:gd name="connsiteX102" fmla="*/ 493458 w 533723"/>
                    <a:gd name="connsiteY102" fmla="*/ 392987 h 415322"/>
                    <a:gd name="connsiteX103" fmla="*/ 421143 w 533723"/>
                    <a:gd name="connsiteY103" fmla="*/ 403455 h 415322"/>
                    <a:gd name="connsiteX104" fmla="*/ 416615 w 533723"/>
                    <a:gd name="connsiteY104" fmla="*/ 401105 h 415322"/>
                    <a:gd name="connsiteX105" fmla="*/ 403771 w 533723"/>
                    <a:gd name="connsiteY105" fmla="*/ 393322 h 415322"/>
                    <a:gd name="connsiteX106" fmla="*/ 381629 w 533723"/>
                    <a:gd name="connsiteY106" fmla="*/ 410745 h 415322"/>
                    <a:gd name="connsiteX107" fmla="*/ 364512 w 533723"/>
                    <a:gd name="connsiteY107" fmla="*/ 414388 h 415322"/>
                    <a:gd name="connsiteX108" fmla="*/ 362260 w 533723"/>
                    <a:gd name="connsiteY108" fmla="*/ 412847 h 415322"/>
                    <a:gd name="connsiteX109" fmla="*/ 359508 w 533723"/>
                    <a:gd name="connsiteY109" fmla="*/ 412530 h 415322"/>
                    <a:gd name="connsiteX110" fmla="*/ 354180 w 533723"/>
                    <a:gd name="connsiteY110" fmla="*/ 409493 h 415322"/>
                    <a:gd name="connsiteX111" fmla="*/ 351263 w 533723"/>
                    <a:gd name="connsiteY111" fmla="*/ 406931 h 415322"/>
                    <a:gd name="connsiteX112" fmla="*/ 351015 w 533723"/>
                    <a:gd name="connsiteY112" fmla="*/ 406713 h 415322"/>
                    <a:gd name="connsiteX113" fmla="*/ 348397 w 533723"/>
                    <a:gd name="connsiteY113" fmla="*/ 403432 h 415322"/>
                    <a:gd name="connsiteX114" fmla="*/ 347445 w 533723"/>
                    <a:gd name="connsiteY114" fmla="*/ 401927 h 415322"/>
                    <a:gd name="connsiteX115" fmla="*/ 345319 w 533723"/>
                    <a:gd name="connsiteY115" fmla="*/ 397536 h 415322"/>
                    <a:gd name="connsiteX116" fmla="*/ 344561 w 533723"/>
                    <a:gd name="connsiteY116" fmla="*/ 395286 h 415322"/>
                    <a:gd name="connsiteX117" fmla="*/ 335650 w 533723"/>
                    <a:gd name="connsiteY117" fmla="*/ 375455 h 415322"/>
                    <a:gd name="connsiteX118" fmla="*/ 322714 w 533723"/>
                    <a:gd name="connsiteY118" fmla="*/ 362234 h 415322"/>
                    <a:gd name="connsiteX119" fmla="*/ 319648 w 533723"/>
                    <a:gd name="connsiteY119" fmla="*/ 358159 h 415322"/>
                    <a:gd name="connsiteX120" fmla="*/ 319434 w 533723"/>
                    <a:gd name="connsiteY120" fmla="*/ 357823 h 415322"/>
                    <a:gd name="connsiteX121" fmla="*/ 314734 w 533723"/>
                    <a:gd name="connsiteY121" fmla="*/ 350455 h 415322"/>
                    <a:gd name="connsiteX122" fmla="*/ 319052 w 533723"/>
                    <a:gd name="connsiteY122" fmla="*/ 316733 h 415322"/>
                    <a:gd name="connsiteX123" fmla="*/ 323333 w 533723"/>
                    <a:gd name="connsiteY123" fmla="*/ 310656 h 415322"/>
                    <a:gd name="connsiteX124" fmla="*/ 320679 w 533723"/>
                    <a:gd name="connsiteY124" fmla="*/ 310837 h 415322"/>
                    <a:gd name="connsiteX125" fmla="*/ 316984 w 533723"/>
                    <a:gd name="connsiteY125" fmla="*/ 309959 h 415322"/>
                    <a:gd name="connsiteX126" fmla="*/ 278469 w 533723"/>
                    <a:gd name="connsiteY126" fmla="*/ 281787 h 415322"/>
                    <a:gd name="connsiteX127" fmla="*/ 279196 w 533723"/>
                    <a:gd name="connsiteY127" fmla="*/ 221148 h 415322"/>
                    <a:gd name="connsiteX128" fmla="*/ 281137 w 533723"/>
                    <a:gd name="connsiteY128" fmla="*/ 212759 h 415322"/>
                    <a:gd name="connsiteX129" fmla="*/ 280817 w 533723"/>
                    <a:gd name="connsiteY129" fmla="*/ 212855 h 415322"/>
                    <a:gd name="connsiteX130" fmla="*/ 280074 w 533723"/>
                    <a:gd name="connsiteY130" fmla="*/ 213019 h 415322"/>
                    <a:gd name="connsiteX131" fmla="*/ 208386 w 533723"/>
                    <a:gd name="connsiteY131" fmla="*/ 230868 h 415322"/>
                    <a:gd name="connsiteX132" fmla="*/ 129358 w 533723"/>
                    <a:gd name="connsiteY132" fmla="*/ 256155 h 415322"/>
                    <a:gd name="connsiteX133" fmla="*/ 76481 w 533723"/>
                    <a:gd name="connsiteY133" fmla="*/ 253856 h 415322"/>
                    <a:gd name="connsiteX134" fmla="*/ 56365 w 533723"/>
                    <a:gd name="connsiteY134" fmla="*/ 204718 h 415322"/>
                    <a:gd name="connsiteX135" fmla="*/ 6361 w 533723"/>
                    <a:gd name="connsiteY135" fmla="*/ 145234 h 415322"/>
                    <a:gd name="connsiteX136" fmla="*/ 4924 w 533723"/>
                    <a:gd name="connsiteY136" fmla="*/ 90923 h 415322"/>
                    <a:gd name="connsiteX137" fmla="*/ 26190 w 533723"/>
                    <a:gd name="connsiteY137" fmla="*/ 62762 h 415322"/>
                    <a:gd name="connsiteX138" fmla="*/ 51192 w 533723"/>
                    <a:gd name="connsiteY138" fmla="*/ 63624 h 415322"/>
                    <a:gd name="connsiteX139" fmla="*/ 92574 w 533723"/>
                    <a:gd name="connsiteY139" fmla="*/ 72245 h 415322"/>
                    <a:gd name="connsiteX140" fmla="*/ 148899 w 533723"/>
                    <a:gd name="connsiteY140" fmla="*/ 97533 h 415322"/>
                    <a:gd name="connsiteX141" fmla="*/ 100620 w 533723"/>
                    <a:gd name="connsiteY141" fmla="*/ 70233 h 415322"/>
                    <a:gd name="connsiteX142" fmla="*/ 68722 w 533723"/>
                    <a:gd name="connsiteY142" fmla="*/ 57877 h 415322"/>
                    <a:gd name="connsiteX143" fmla="*/ 95735 w 533723"/>
                    <a:gd name="connsiteY143" fmla="*/ 33739 h 415322"/>
                    <a:gd name="connsiteX144" fmla="*/ 118438 w 533723"/>
                    <a:gd name="connsiteY144" fmla="*/ 6440 h 415322"/>
                    <a:gd name="connsiteX145" fmla="*/ 135290 w 533723"/>
                    <a:gd name="connsiteY145" fmla="*/ 95 h 415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533723" h="415322">
                      <a:moveTo>
                        <a:pt x="528506" y="291832"/>
                      </a:moveTo>
                      <a:cubicBezTo>
                        <a:pt x="528506" y="291832"/>
                        <a:pt x="516154" y="299584"/>
                        <a:pt x="510121" y="300446"/>
                      </a:cubicBezTo>
                      <a:cubicBezTo>
                        <a:pt x="507105" y="300877"/>
                        <a:pt x="504089" y="302097"/>
                        <a:pt x="500354" y="302312"/>
                      </a:cubicBezTo>
                      <a:lnTo>
                        <a:pt x="489695" y="299159"/>
                      </a:lnTo>
                      <a:lnTo>
                        <a:pt x="490953" y="302242"/>
                      </a:lnTo>
                      <a:cubicBezTo>
                        <a:pt x="490911" y="302346"/>
                        <a:pt x="490868" y="302450"/>
                        <a:pt x="490826" y="302554"/>
                      </a:cubicBezTo>
                      <a:lnTo>
                        <a:pt x="497481" y="306188"/>
                      </a:lnTo>
                      <a:cubicBezTo>
                        <a:pt x="502940" y="306475"/>
                        <a:pt x="505812" y="305901"/>
                        <a:pt x="505812" y="305901"/>
                      </a:cubicBezTo>
                      <a:cubicBezTo>
                        <a:pt x="517015" y="304465"/>
                        <a:pt x="521899" y="299010"/>
                        <a:pt x="523335" y="297575"/>
                      </a:cubicBezTo>
                      <a:cubicBezTo>
                        <a:pt x="525059" y="296426"/>
                        <a:pt x="528506" y="291832"/>
                        <a:pt x="528506" y="291832"/>
                      </a:cubicBezTo>
                      <a:close/>
                      <a:moveTo>
                        <a:pt x="459095" y="214354"/>
                      </a:moveTo>
                      <a:lnTo>
                        <a:pt x="470185" y="232917"/>
                      </a:lnTo>
                      <a:lnTo>
                        <a:pt x="469083" y="236710"/>
                      </a:lnTo>
                      <a:lnTo>
                        <a:pt x="465107" y="228628"/>
                      </a:lnTo>
                      <a:cubicBezTo>
                        <a:pt x="464316" y="226985"/>
                        <a:pt x="463551" y="225384"/>
                        <a:pt x="462850" y="223907"/>
                      </a:cubicBezTo>
                      <a:lnTo>
                        <a:pt x="461361" y="220754"/>
                      </a:lnTo>
                      <a:lnTo>
                        <a:pt x="459095" y="214354"/>
                      </a:lnTo>
                      <a:close/>
                      <a:moveTo>
                        <a:pt x="458921" y="213862"/>
                      </a:moveTo>
                      <a:lnTo>
                        <a:pt x="459095" y="214354"/>
                      </a:lnTo>
                      <a:lnTo>
                        <a:pt x="458953" y="214116"/>
                      </a:lnTo>
                      <a:cubicBezTo>
                        <a:pt x="458942" y="214031"/>
                        <a:pt x="458932" y="213947"/>
                        <a:pt x="458921" y="213862"/>
                      </a:cubicBezTo>
                      <a:close/>
                      <a:moveTo>
                        <a:pt x="231642" y="117869"/>
                      </a:moveTo>
                      <a:lnTo>
                        <a:pt x="245739" y="119960"/>
                      </a:lnTo>
                      <a:lnTo>
                        <a:pt x="247479" y="117948"/>
                      </a:lnTo>
                      <a:lnTo>
                        <a:pt x="241439" y="117896"/>
                      </a:lnTo>
                      <a:lnTo>
                        <a:pt x="231642" y="117869"/>
                      </a:lnTo>
                      <a:close/>
                      <a:moveTo>
                        <a:pt x="393966" y="59548"/>
                      </a:moveTo>
                      <a:lnTo>
                        <a:pt x="394760" y="61641"/>
                      </a:lnTo>
                      <a:lnTo>
                        <a:pt x="396543" y="61922"/>
                      </a:lnTo>
                      <a:lnTo>
                        <a:pt x="393966" y="59548"/>
                      </a:lnTo>
                      <a:close/>
                      <a:moveTo>
                        <a:pt x="135290" y="95"/>
                      </a:moveTo>
                      <a:cubicBezTo>
                        <a:pt x="137297" y="-44"/>
                        <a:pt x="139488" y="-26"/>
                        <a:pt x="142002" y="118"/>
                      </a:cubicBezTo>
                      <a:cubicBezTo>
                        <a:pt x="151773" y="692"/>
                        <a:pt x="171890" y="5290"/>
                        <a:pt x="184247" y="9888"/>
                      </a:cubicBezTo>
                      <a:cubicBezTo>
                        <a:pt x="196604" y="14198"/>
                        <a:pt x="225916" y="24831"/>
                        <a:pt x="237411" y="31727"/>
                      </a:cubicBezTo>
                      <a:cubicBezTo>
                        <a:pt x="250056" y="38911"/>
                        <a:pt x="261551" y="43509"/>
                        <a:pt x="273908" y="50693"/>
                      </a:cubicBezTo>
                      <a:cubicBezTo>
                        <a:pt x="280230" y="54285"/>
                        <a:pt x="290576" y="59601"/>
                        <a:pt x="300993" y="65241"/>
                      </a:cubicBezTo>
                      <a:lnTo>
                        <a:pt x="313770" y="72415"/>
                      </a:lnTo>
                      <a:lnTo>
                        <a:pt x="317458" y="74704"/>
                      </a:lnTo>
                      <a:lnTo>
                        <a:pt x="321989" y="77518"/>
                      </a:lnTo>
                      <a:lnTo>
                        <a:pt x="328509" y="81728"/>
                      </a:lnTo>
                      <a:lnTo>
                        <a:pt x="329950" y="82770"/>
                      </a:lnTo>
                      <a:lnTo>
                        <a:pt x="322786" y="67357"/>
                      </a:lnTo>
                      <a:lnTo>
                        <a:pt x="318179" y="66024"/>
                      </a:lnTo>
                      <a:lnTo>
                        <a:pt x="315145" y="65146"/>
                      </a:lnTo>
                      <a:lnTo>
                        <a:pt x="315984" y="64282"/>
                      </a:lnTo>
                      <a:cubicBezTo>
                        <a:pt x="319030" y="61163"/>
                        <a:pt x="328778" y="51321"/>
                        <a:pt x="336115" y="45493"/>
                      </a:cubicBezTo>
                      <a:lnTo>
                        <a:pt x="339135" y="43303"/>
                      </a:lnTo>
                      <a:lnTo>
                        <a:pt x="344556" y="40552"/>
                      </a:lnTo>
                      <a:lnTo>
                        <a:pt x="348957" y="38760"/>
                      </a:lnTo>
                      <a:cubicBezTo>
                        <a:pt x="353552" y="36748"/>
                        <a:pt x="359726" y="34376"/>
                        <a:pt x="368054" y="34807"/>
                      </a:cubicBezTo>
                      <a:cubicBezTo>
                        <a:pt x="372219" y="35023"/>
                        <a:pt x="376921" y="35939"/>
                        <a:pt x="382234" y="37952"/>
                      </a:cubicBezTo>
                      <a:cubicBezTo>
                        <a:pt x="403198" y="46001"/>
                        <a:pt x="390275" y="35652"/>
                        <a:pt x="390275" y="35652"/>
                      </a:cubicBezTo>
                      <a:cubicBezTo>
                        <a:pt x="390275" y="35652"/>
                        <a:pt x="390477" y="35683"/>
                        <a:pt x="390840" y="35749"/>
                      </a:cubicBezTo>
                      <a:lnTo>
                        <a:pt x="391575" y="35894"/>
                      </a:lnTo>
                      <a:lnTo>
                        <a:pt x="391750" y="35955"/>
                      </a:lnTo>
                      <a:cubicBezTo>
                        <a:pt x="392319" y="36184"/>
                        <a:pt x="392615" y="36327"/>
                        <a:pt x="392615" y="36327"/>
                      </a:cubicBezTo>
                      <a:cubicBezTo>
                        <a:pt x="392615" y="36327"/>
                        <a:pt x="392831" y="36305"/>
                        <a:pt x="393242" y="36306"/>
                      </a:cubicBezTo>
                      <a:lnTo>
                        <a:pt x="393406" y="36317"/>
                      </a:lnTo>
                      <a:lnTo>
                        <a:pt x="397383" y="37341"/>
                      </a:lnTo>
                      <a:cubicBezTo>
                        <a:pt x="401260" y="38527"/>
                        <a:pt x="405783" y="40395"/>
                        <a:pt x="408367" y="43126"/>
                      </a:cubicBezTo>
                      <a:cubicBezTo>
                        <a:pt x="413537" y="48875"/>
                        <a:pt x="463219" y="96019"/>
                        <a:pt x="459773" y="126491"/>
                      </a:cubicBezTo>
                      <a:cubicBezTo>
                        <a:pt x="457762" y="144888"/>
                        <a:pt x="440819" y="179671"/>
                        <a:pt x="441680" y="188008"/>
                      </a:cubicBezTo>
                      <a:cubicBezTo>
                        <a:pt x="441860" y="189266"/>
                        <a:pt x="442165" y="190853"/>
                        <a:pt x="442553" y="192637"/>
                      </a:cubicBezTo>
                      <a:lnTo>
                        <a:pt x="443081" y="194875"/>
                      </a:lnTo>
                      <a:lnTo>
                        <a:pt x="451172" y="201092"/>
                      </a:lnTo>
                      <a:lnTo>
                        <a:pt x="458953" y="214116"/>
                      </a:lnTo>
                      <a:cubicBezTo>
                        <a:pt x="459038" y="214798"/>
                        <a:pt x="459124" y="215479"/>
                        <a:pt x="459209" y="216161"/>
                      </a:cubicBezTo>
                      <a:cubicBezTo>
                        <a:pt x="459209" y="216161"/>
                        <a:pt x="459892" y="217634"/>
                        <a:pt x="460971" y="219929"/>
                      </a:cubicBezTo>
                      <a:lnTo>
                        <a:pt x="461361" y="220754"/>
                      </a:lnTo>
                      <a:lnTo>
                        <a:pt x="470303" y="246015"/>
                      </a:lnTo>
                      <a:lnTo>
                        <a:pt x="469962" y="245448"/>
                      </a:lnTo>
                      <a:lnTo>
                        <a:pt x="468971" y="243799"/>
                      </a:lnTo>
                      <a:cubicBezTo>
                        <a:pt x="468971" y="243799"/>
                        <a:pt x="466400" y="241516"/>
                        <a:pt x="464115" y="240660"/>
                      </a:cubicBezTo>
                      <a:cubicBezTo>
                        <a:pt x="461829" y="239518"/>
                        <a:pt x="457544" y="239804"/>
                        <a:pt x="457544" y="239804"/>
                      </a:cubicBezTo>
                      <a:cubicBezTo>
                        <a:pt x="457544" y="239804"/>
                        <a:pt x="461829" y="241516"/>
                        <a:pt x="463829" y="242086"/>
                      </a:cubicBezTo>
                      <a:cubicBezTo>
                        <a:pt x="465329" y="242300"/>
                        <a:pt x="468435" y="244762"/>
                        <a:pt x="469895" y="245979"/>
                      </a:cubicBezTo>
                      <a:lnTo>
                        <a:pt x="470460" y="246460"/>
                      </a:lnTo>
                      <a:lnTo>
                        <a:pt x="485321" y="288443"/>
                      </a:lnTo>
                      <a:lnTo>
                        <a:pt x="485666" y="289289"/>
                      </a:lnTo>
                      <a:cubicBezTo>
                        <a:pt x="485575" y="288111"/>
                        <a:pt x="485483" y="286932"/>
                        <a:pt x="485392" y="285754"/>
                      </a:cubicBezTo>
                      <a:cubicBezTo>
                        <a:pt x="485398" y="285254"/>
                        <a:pt x="485403" y="284754"/>
                        <a:pt x="485409" y="284254"/>
                      </a:cubicBezTo>
                      <a:cubicBezTo>
                        <a:pt x="485457" y="284381"/>
                        <a:pt x="485504" y="284507"/>
                        <a:pt x="485552" y="284634"/>
                      </a:cubicBezTo>
                      <a:lnTo>
                        <a:pt x="487684" y="290297"/>
                      </a:lnTo>
                      <a:cubicBezTo>
                        <a:pt x="487695" y="290325"/>
                        <a:pt x="487705" y="290353"/>
                        <a:pt x="487716" y="290381"/>
                      </a:cubicBezTo>
                      <a:cubicBezTo>
                        <a:pt x="487714" y="290381"/>
                        <a:pt x="487711" y="290382"/>
                        <a:pt x="487709" y="290382"/>
                      </a:cubicBezTo>
                      <a:lnTo>
                        <a:pt x="486150" y="290474"/>
                      </a:lnTo>
                      <a:lnTo>
                        <a:pt x="488742" y="296824"/>
                      </a:lnTo>
                      <a:lnTo>
                        <a:pt x="494320" y="295556"/>
                      </a:lnTo>
                      <a:cubicBezTo>
                        <a:pt x="500644" y="296131"/>
                        <a:pt x="506393" y="294406"/>
                        <a:pt x="512429" y="291820"/>
                      </a:cubicBezTo>
                      <a:cubicBezTo>
                        <a:pt x="515304" y="290526"/>
                        <a:pt x="517172" y="288730"/>
                        <a:pt x="519005" y="287509"/>
                      </a:cubicBezTo>
                      <a:lnTo>
                        <a:pt x="520508" y="286839"/>
                      </a:lnTo>
                      <a:lnTo>
                        <a:pt x="522424" y="286502"/>
                      </a:lnTo>
                      <a:lnTo>
                        <a:pt x="523091" y="286385"/>
                      </a:lnTo>
                      <a:lnTo>
                        <a:pt x="525364" y="286646"/>
                      </a:lnTo>
                      <a:cubicBezTo>
                        <a:pt x="530826" y="288371"/>
                        <a:pt x="531976" y="291532"/>
                        <a:pt x="533413" y="297855"/>
                      </a:cubicBezTo>
                      <a:cubicBezTo>
                        <a:pt x="534850" y="304178"/>
                        <a:pt x="530826" y="316249"/>
                        <a:pt x="530826" y="316249"/>
                      </a:cubicBezTo>
                      <a:cubicBezTo>
                        <a:pt x="530826" y="316249"/>
                        <a:pt x="530763" y="316891"/>
                        <a:pt x="530588" y="318085"/>
                      </a:cubicBezTo>
                      <a:lnTo>
                        <a:pt x="530192" y="320320"/>
                      </a:lnTo>
                      <a:lnTo>
                        <a:pt x="529838" y="321637"/>
                      </a:lnTo>
                      <a:lnTo>
                        <a:pt x="526883" y="332653"/>
                      </a:lnTo>
                      <a:lnTo>
                        <a:pt x="524435" y="341781"/>
                      </a:lnTo>
                      <a:lnTo>
                        <a:pt x="519934" y="353045"/>
                      </a:lnTo>
                      <a:cubicBezTo>
                        <a:pt x="514343" y="365490"/>
                        <a:pt x="505962" y="379622"/>
                        <a:pt x="493458" y="392987"/>
                      </a:cubicBezTo>
                      <a:cubicBezTo>
                        <a:pt x="468666" y="419716"/>
                        <a:pt x="437567" y="410878"/>
                        <a:pt x="421143" y="403455"/>
                      </a:cubicBezTo>
                      <a:lnTo>
                        <a:pt x="416615" y="401105"/>
                      </a:lnTo>
                      <a:cubicBezTo>
                        <a:pt x="416179" y="402174"/>
                        <a:pt x="404207" y="392253"/>
                        <a:pt x="403771" y="393322"/>
                      </a:cubicBezTo>
                      <a:cubicBezTo>
                        <a:pt x="395387" y="401831"/>
                        <a:pt x="388172" y="407234"/>
                        <a:pt x="381629" y="410745"/>
                      </a:cubicBezTo>
                      <a:cubicBezTo>
                        <a:pt x="375086" y="414256"/>
                        <a:pt x="370055" y="416767"/>
                        <a:pt x="364512" y="414388"/>
                      </a:cubicBezTo>
                      <a:lnTo>
                        <a:pt x="362260" y="412847"/>
                      </a:lnTo>
                      <a:lnTo>
                        <a:pt x="359508" y="412530"/>
                      </a:lnTo>
                      <a:lnTo>
                        <a:pt x="354180" y="409493"/>
                      </a:lnTo>
                      <a:lnTo>
                        <a:pt x="351263" y="406931"/>
                      </a:lnTo>
                      <a:lnTo>
                        <a:pt x="351015" y="406713"/>
                      </a:lnTo>
                      <a:lnTo>
                        <a:pt x="348397" y="403432"/>
                      </a:lnTo>
                      <a:lnTo>
                        <a:pt x="347445" y="401927"/>
                      </a:lnTo>
                      <a:lnTo>
                        <a:pt x="345319" y="397536"/>
                      </a:lnTo>
                      <a:cubicBezTo>
                        <a:pt x="344794" y="396166"/>
                        <a:pt x="344561" y="395286"/>
                        <a:pt x="344561" y="395286"/>
                      </a:cubicBezTo>
                      <a:lnTo>
                        <a:pt x="335650" y="375455"/>
                      </a:lnTo>
                      <a:cubicBezTo>
                        <a:pt x="335650" y="375455"/>
                        <a:pt x="327314" y="367408"/>
                        <a:pt x="322714" y="362234"/>
                      </a:cubicBezTo>
                      <a:lnTo>
                        <a:pt x="319648" y="358159"/>
                      </a:lnTo>
                      <a:lnTo>
                        <a:pt x="319434" y="357823"/>
                      </a:lnTo>
                      <a:lnTo>
                        <a:pt x="314734" y="350455"/>
                      </a:lnTo>
                      <a:cubicBezTo>
                        <a:pt x="314734" y="350455"/>
                        <a:pt x="310334" y="332411"/>
                        <a:pt x="319052" y="316733"/>
                      </a:cubicBezTo>
                      <a:lnTo>
                        <a:pt x="323333" y="310656"/>
                      </a:lnTo>
                      <a:lnTo>
                        <a:pt x="320679" y="310837"/>
                      </a:lnTo>
                      <a:cubicBezTo>
                        <a:pt x="319405" y="310763"/>
                        <a:pt x="318170" y="310498"/>
                        <a:pt x="316984" y="309959"/>
                      </a:cubicBezTo>
                      <a:cubicBezTo>
                        <a:pt x="307787" y="305647"/>
                        <a:pt x="281056" y="298172"/>
                        <a:pt x="278469" y="281787"/>
                      </a:cubicBezTo>
                      <a:cubicBezTo>
                        <a:pt x="276529" y="269497"/>
                        <a:pt x="275235" y="243140"/>
                        <a:pt x="279196" y="221148"/>
                      </a:cubicBezTo>
                      <a:lnTo>
                        <a:pt x="281137" y="212759"/>
                      </a:lnTo>
                      <a:lnTo>
                        <a:pt x="280817" y="212855"/>
                      </a:lnTo>
                      <a:lnTo>
                        <a:pt x="280074" y="213019"/>
                      </a:lnTo>
                      <a:cubicBezTo>
                        <a:pt x="269049" y="215467"/>
                        <a:pt x="223976" y="225587"/>
                        <a:pt x="208386" y="230868"/>
                      </a:cubicBezTo>
                      <a:cubicBezTo>
                        <a:pt x="190569" y="236902"/>
                        <a:pt x="148612" y="256155"/>
                        <a:pt x="129358" y="256155"/>
                      </a:cubicBezTo>
                      <a:cubicBezTo>
                        <a:pt x="102632" y="255868"/>
                        <a:pt x="76481" y="253856"/>
                        <a:pt x="76481" y="253856"/>
                      </a:cubicBezTo>
                      <a:cubicBezTo>
                        <a:pt x="76481" y="253856"/>
                        <a:pt x="66710" y="217649"/>
                        <a:pt x="56365" y="204718"/>
                      </a:cubicBezTo>
                      <a:cubicBezTo>
                        <a:pt x="45732" y="191787"/>
                        <a:pt x="12971" y="165062"/>
                        <a:pt x="6361" y="145234"/>
                      </a:cubicBezTo>
                      <a:cubicBezTo>
                        <a:pt x="39" y="125119"/>
                        <a:pt x="-3409" y="109027"/>
                        <a:pt x="4924" y="90923"/>
                      </a:cubicBezTo>
                      <a:cubicBezTo>
                        <a:pt x="12971" y="73107"/>
                        <a:pt x="26190" y="62762"/>
                        <a:pt x="26190" y="62762"/>
                      </a:cubicBezTo>
                      <a:lnTo>
                        <a:pt x="51192" y="63624"/>
                      </a:lnTo>
                      <a:cubicBezTo>
                        <a:pt x="62399" y="65061"/>
                        <a:pt x="80217" y="68222"/>
                        <a:pt x="92574" y="72245"/>
                      </a:cubicBezTo>
                      <a:cubicBezTo>
                        <a:pt x="104644" y="76268"/>
                        <a:pt x="148899" y="97533"/>
                        <a:pt x="148899" y="97533"/>
                      </a:cubicBezTo>
                      <a:lnTo>
                        <a:pt x="100620" y="70233"/>
                      </a:lnTo>
                      <a:lnTo>
                        <a:pt x="68722" y="57877"/>
                      </a:lnTo>
                      <a:cubicBezTo>
                        <a:pt x="68722" y="57877"/>
                        <a:pt x="82803" y="49544"/>
                        <a:pt x="95735" y="33739"/>
                      </a:cubicBezTo>
                      <a:cubicBezTo>
                        <a:pt x="108667" y="17934"/>
                        <a:pt x="109816" y="12187"/>
                        <a:pt x="118438" y="6440"/>
                      </a:cubicBezTo>
                      <a:cubicBezTo>
                        <a:pt x="124904" y="2345"/>
                        <a:pt x="129268" y="513"/>
                        <a:pt x="135290" y="95"/>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IN" sz="1961" b="1" dirty="0">
                    <a:solidFill>
                      <a:srgbClr val="FFFFFF"/>
                    </a:solidFill>
                    <a:ea typeface="Segoe UI" pitchFamily="34" charset="0"/>
                    <a:cs typeface="Segoe UI" pitchFamily="34" charset="0"/>
                  </a:endParaRPr>
                </a:p>
              </p:txBody>
            </p:sp>
            <p:sp>
              <p:nvSpPr>
                <p:cNvPr id="13" name="Freeform 12"/>
                <p:cNvSpPr>
                  <a:spLocks/>
                </p:cNvSpPr>
                <p:nvPr/>
              </p:nvSpPr>
              <p:spPr bwMode="auto">
                <a:xfrm>
                  <a:off x="1203881" y="3576757"/>
                  <a:ext cx="290830" cy="297796"/>
                </a:xfrm>
                <a:custGeom>
                  <a:avLst/>
                  <a:gdLst>
                    <a:gd name="connsiteX0" fmla="*/ 1222186 w 2129049"/>
                    <a:gd name="connsiteY0" fmla="*/ 1839320 h 2180047"/>
                    <a:gd name="connsiteX1" fmla="*/ 1208400 w 2129049"/>
                    <a:gd name="connsiteY1" fmla="*/ 1841119 h 2180047"/>
                    <a:gd name="connsiteX2" fmla="*/ 1186099 w 2129049"/>
                    <a:gd name="connsiteY2" fmla="*/ 1843640 h 2180047"/>
                    <a:gd name="connsiteX3" fmla="*/ 1188379 w 2129049"/>
                    <a:gd name="connsiteY3" fmla="*/ 1844841 h 2180047"/>
                    <a:gd name="connsiteX4" fmla="*/ 1243194 w 2129049"/>
                    <a:gd name="connsiteY4" fmla="*/ 1939957 h 2180047"/>
                    <a:gd name="connsiteX5" fmla="*/ 1223702 w 2129049"/>
                    <a:gd name="connsiteY5" fmla="*/ 1853174 h 2180047"/>
                    <a:gd name="connsiteX6" fmla="*/ 1222569 w 2129049"/>
                    <a:gd name="connsiteY6" fmla="*/ 1839342 h 2180047"/>
                    <a:gd name="connsiteX7" fmla="*/ 441891 w 2129049"/>
                    <a:gd name="connsiteY7" fmla="*/ 1746105 h 2180047"/>
                    <a:gd name="connsiteX8" fmla="*/ 450977 w 2129049"/>
                    <a:gd name="connsiteY8" fmla="*/ 1757606 h 2180047"/>
                    <a:gd name="connsiteX9" fmla="*/ 707370 w 2129049"/>
                    <a:gd name="connsiteY9" fmla="*/ 1976776 h 2180047"/>
                    <a:gd name="connsiteX10" fmla="*/ 766453 w 2129049"/>
                    <a:gd name="connsiteY10" fmla="*/ 2010648 h 2180047"/>
                    <a:gd name="connsiteX11" fmla="*/ 831225 w 2129049"/>
                    <a:gd name="connsiteY11" fmla="*/ 2015356 h 2180047"/>
                    <a:gd name="connsiteX12" fmla="*/ 999836 w 2129049"/>
                    <a:gd name="connsiteY12" fmla="*/ 2014732 h 2180047"/>
                    <a:gd name="connsiteX13" fmla="*/ 1033552 w 2129049"/>
                    <a:gd name="connsiteY13" fmla="*/ 2011934 h 2180047"/>
                    <a:gd name="connsiteX14" fmla="*/ 1030508 w 2129049"/>
                    <a:gd name="connsiteY14" fmla="*/ 1991231 h 2180047"/>
                    <a:gd name="connsiteX15" fmla="*/ 1069280 w 2129049"/>
                    <a:gd name="connsiteY15" fmla="*/ 1869985 h 2180047"/>
                    <a:gd name="connsiteX16" fmla="*/ 1086998 w 2129049"/>
                    <a:gd name="connsiteY16" fmla="*/ 1852207 h 2180047"/>
                    <a:gd name="connsiteX17" fmla="*/ 1040249 w 2129049"/>
                    <a:gd name="connsiteY17" fmla="*/ 1855089 h 2180047"/>
                    <a:gd name="connsiteX18" fmla="*/ 700561 w 2129049"/>
                    <a:gd name="connsiteY18" fmla="*/ 1833012 h 2180047"/>
                    <a:gd name="connsiteX19" fmla="*/ 442094 w 2129049"/>
                    <a:gd name="connsiteY19" fmla="*/ 1746192 h 2180047"/>
                    <a:gd name="connsiteX20" fmla="*/ 1059954 w 2129049"/>
                    <a:gd name="connsiteY20" fmla="*/ 1504433 h 2180047"/>
                    <a:gd name="connsiteX21" fmla="*/ 1137935 w 2129049"/>
                    <a:gd name="connsiteY21" fmla="*/ 1553560 h 2180047"/>
                    <a:gd name="connsiteX22" fmla="*/ 1232714 w 2129049"/>
                    <a:gd name="connsiteY22" fmla="*/ 1597039 h 2180047"/>
                    <a:gd name="connsiteX23" fmla="*/ 1498003 w 2129049"/>
                    <a:gd name="connsiteY23" fmla="*/ 1620193 h 2180047"/>
                    <a:gd name="connsiteX24" fmla="*/ 1417995 w 2129049"/>
                    <a:gd name="connsiteY24" fmla="*/ 1660186 h 2180047"/>
                    <a:gd name="connsiteX25" fmla="*/ 1260085 w 2129049"/>
                    <a:gd name="connsiteY25" fmla="*/ 1660186 h 2180047"/>
                    <a:gd name="connsiteX26" fmla="*/ 1110597 w 2129049"/>
                    <a:gd name="connsiteY26" fmla="*/ 1640189 h 2180047"/>
                    <a:gd name="connsiteX27" fmla="*/ 1099046 w 2129049"/>
                    <a:gd name="connsiteY27" fmla="*/ 1638682 h 2180047"/>
                    <a:gd name="connsiteX28" fmla="*/ 251840 w 2129049"/>
                    <a:gd name="connsiteY28" fmla="*/ 316333 h 2180047"/>
                    <a:gd name="connsiteX29" fmla="*/ 246796 w 2129049"/>
                    <a:gd name="connsiteY29" fmla="*/ 329846 h 2180047"/>
                    <a:gd name="connsiteX30" fmla="*/ 161902 w 2129049"/>
                    <a:gd name="connsiteY30" fmla="*/ 686152 h 2180047"/>
                    <a:gd name="connsiteX31" fmla="*/ 163319 w 2129049"/>
                    <a:gd name="connsiteY31" fmla="*/ 765157 h 2180047"/>
                    <a:gd name="connsiteX32" fmla="*/ 168120 w 2129049"/>
                    <a:gd name="connsiteY32" fmla="*/ 772124 h 2180047"/>
                    <a:gd name="connsiteX33" fmla="*/ 462568 w 2129049"/>
                    <a:gd name="connsiteY33" fmla="*/ 1054574 h 2180047"/>
                    <a:gd name="connsiteX34" fmla="*/ 1083519 w 2129049"/>
                    <a:gd name="connsiteY34" fmla="*/ 1296666 h 2180047"/>
                    <a:gd name="connsiteX35" fmla="*/ 1112988 w 2129049"/>
                    <a:gd name="connsiteY35" fmla="*/ 1212460 h 2180047"/>
                    <a:gd name="connsiteX36" fmla="*/ 635171 w 2129049"/>
                    <a:gd name="connsiteY36" fmla="*/ 913528 h 2180047"/>
                    <a:gd name="connsiteX37" fmla="*/ 256327 w 2129049"/>
                    <a:gd name="connsiteY37" fmla="*/ 344726 h 2180047"/>
                    <a:gd name="connsiteX38" fmla="*/ 203697 w 2129049"/>
                    <a:gd name="connsiteY38" fmla="*/ 216555 h 2180047"/>
                    <a:gd name="connsiteX39" fmla="*/ 195507 w 2129049"/>
                    <a:gd name="connsiteY39" fmla="*/ 224152 h 2180047"/>
                    <a:gd name="connsiteX40" fmla="*/ 153435 w 2129049"/>
                    <a:gd name="connsiteY40" fmla="*/ 280530 h 2180047"/>
                    <a:gd name="connsiteX41" fmla="*/ 119142 w 2129049"/>
                    <a:gd name="connsiteY41" fmla="*/ 338248 h 2180047"/>
                    <a:gd name="connsiteX42" fmla="*/ 162420 w 2129049"/>
                    <a:gd name="connsiteY42" fmla="*/ 270250 h 2180047"/>
                    <a:gd name="connsiteX43" fmla="*/ 200473 w 2129049"/>
                    <a:gd name="connsiteY43" fmla="*/ 220227 h 2180047"/>
                    <a:gd name="connsiteX44" fmla="*/ 545326 w 2129049"/>
                    <a:gd name="connsiteY44" fmla="*/ 37476 h 2180047"/>
                    <a:gd name="connsiteX45" fmla="*/ 541800 w 2129049"/>
                    <a:gd name="connsiteY45" fmla="*/ 40991 h 2180047"/>
                    <a:gd name="connsiteX46" fmla="*/ 536701 w 2129049"/>
                    <a:gd name="connsiteY46" fmla="*/ 46149 h 2180047"/>
                    <a:gd name="connsiteX47" fmla="*/ 940947 w 2129049"/>
                    <a:gd name="connsiteY47" fmla="*/ 939893 h 2180047"/>
                    <a:gd name="connsiteX48" fmla="*/ 978333 w 2129049"/>
                    <a:gd name="connsiteY48" fmla="*/ 993267 h 2180047"/>
                    <a:gd name="connsiteX49" fmla="*/ 1095859 w 2129049"/>
                    <a:gd name="connsiteY49" fmla="*/ 1039243 h 2180047"/>
                    <a:gd name="connsiteX50" fmla="*/ 1131484 w 2129049"/>
                    <a:gd name="connsiteY50" fmla="*/ 1124187 h 2180047"/>
                    <a:gd name="connsiteX51" fmla="*/ 1146506 w 2129049"/>
                    <a:gd name="connsiteY51" fmla="*/ 1133109 h 2180047"/>
                    <a:gd name="connsiteX52" fmla="*/ 1148541 w 2129049"/>
                    <a:gd name="connsiteY52" fmla="*/ 1133748 h 2180047"/>
                    <a:gd name="connsiteX53" fmla="*/ 1141842 w 2129049"/>
                    <a:gd name="connsiteY53" fmla="*/ 1144915 h 2180047"/>
                    <a:gd name="connsiteX54" fmla="*/ 1141505 w 2129049"/>
                    <a:gd name="connsiteY54" fmla="*/ 1145660 h 2180047"/>
                    <a:gd name="connsiteX55" fmla="*/ 1187973 w 2129049"/>
                    <a:gd name="connsiteY55" fmla="*/ 1232630 h 2180047"/>
                    <a:gd name="connsiteX56" fmla="*/ 1289562 w 2129049"/>
                    <a:gd name="connsiteY56" fmla="*/ 1373921 h 2180047"/>
                    <a:gd name="connsiteX57" fmla="*/ 1531690 w 2129049"/>
                    <a:gd name="connsiteY57" fmla="*/ 1481270 h 2180047"/>
                    <a:gd name="connsiteX58" fmla="*/ 1426417 w 2129049"/>
                    <a:gd name="connsiteY58" fmla="*/ 1496004 h 2180047"/>
                    <a:gd name="connsiteX59" fmla="*/ 1194816 w 2129049"/>
                    <a:gd name="connsiteY59" fmla="*/ 1399179 h 2180047"/>
                    <a:gd name="connsiteX60" fmla="*/ 1145436 w 2129049"/>
                    <a:gd name="connsiteY60" fmla="*/ 1340670 h 2180047"/>
                    <a:gd name="connsiteX61" fmla="*/ 1091189 w 2129049"/>
                    <a:gd name="connsiteY61" fmla="*/ 1275923 h 2180047"/>
                    <a:gd name="connsiteX62" fmla="*/ 1064249 w 2129049"/>
                    <a:gd name="connsiteY62" fmla="*/ 1369079 h 2180047"/>
                    <a:gd name="connsiteX63" fmla="*/ 1046007 w 2129049"/>
                    <a:gd name="connsiteY63" fmla="*/ 1483657 h 2180047"/>
                    <a:gd name="connsiteX64" fmla="*/ 1046013 w 2129049"/>
                    <a:gd name="connsiteY64" fmla="*/ 1495461 h 2180047"/>
                    <a:gd name="connsiteX65" fmla="*/ 1012870 w 2129049"/>
                    <a:gd name="connsiteY65" fmla="*/ 1487283 h 2180047"/>
                    <a:gd name="connsiteX66" fmla="*/ 561761 w 2129049"/>
                    <a:gd name="connsiteY66" fmla="*/ 1355377 h 2180047"/>
                    <a:gd name="connsiteX67" fmla="*/ 245802 w 2129049"/>
                    <a:gd name="connsiteY67" fmla="*/ 1165644 h 2180047"/>
                    <a:gd name="connsiteX68" fmla="*/ 203985 w 2129049"/>
                    <a:gd name="connsiteY68" fmla="*/ 1132152 h 2180047"/>
                    <a:gd name="connsiteX69" fmla="*/ 234345 w 2129049"/>
                    <a:gd name="connsiteY69" fmla="*/ 1297625 h 2180047"/>
                    <a:gd name="connsiteX70" fmla="*/ 260418 w 2129049"/>
                    <a:gd name="connsiteY70" fmla="*/ 1401636 h 2180047"/>
                    <a:gd name="connsiteX71" fmla="*/ 276086 w 2129049"/>
                    <a:gd name="connsiteY71" fmla="*/ 1451374 h 2180047"/>
                    <a:gd name="connsiteX72" fmla="*/ 305709 w 2129049"/>
                    <a:gd name="connsiteY72" fmla="*/ 1466895 h 2180047"/>
                    <a:gd name="connsiteX73" fmla="*/ 561761 w 2129049"/>
                    <a:gd name="connsiteY73" fmla="*/ 1572001 h 2180047"/>
                    <a:gd name="connsiteX74" fmla="*/ 1106575 w 2129049"/>
                    <a:gd name="connsiteY74" fmla="*/ 1664539 h 2180047"/>
                    <a:gd name="connsiteX75" fmla="*/ 1106413 w 2129049"/>
                    <a:gd name="connsiteY75" fmla="*/ 1663981 h 2180047"/>
                    <a:gd name="connsiteX76" fmla="*/ 1109394 w 2129049"/>
                    <a:gd name="connsiteY76" fmla="*/ 1669032 h 2180047"/>
                    <a:gd name="connsiteX77" fmla="*/ 1145872 w 2129049"/>
                    <a:gd name="connsiteY77" fmla="*/ 1724864 h 2180047"/>
                    <a:gd name="connsiteX78" fmla="*/ 1151390 w 2129049"/>
                    <a:gd name="connsiteY78" fmla="*/ 1728726 h 2180047"/>
                    <a:gd name="connsiteX79" fmla="*/ 1244657 w 2129049"/>
                    <a:gd name="connsiteY79" fmla="*/ 1793994 h 2180047"/>
                    <a:gd name="connsiteX80" fmla="*/ 1255282 w 2129049"/>
                    <a:gd name="connsiteY80" fmla="*/ 1801430 h 2180047"/>
                    <a:gd name="connsiteX81" fmla="*/ 1259765 w 2129049"/>
                    <a:gd name="connsiteY81" fmla="*/ 1803273 h 2180047"/>
                    <a:gd name="connsiteX82" fmla="*/ 1262425 w 2129049"/>
                    <a:gd name="connsiteY82" fmla="*/ 1805592 h 2180047"/>
                    <a:gd name="connsiteX83" fmla="*/ 1274330 w 2129049"/>
                    <a:gd name="connsiteY83" fmla="*/ 1811179 h 2180047"/>
                    <a:gd name="connsiteX84" fmla="*/ 1470632 w 2129049"/>
                    <a:gd name="connsiteY84" fmla="*/ 1851731 h 2180047"/>
                    <a:gd name="connsiteX85" fmla="*/ 1337987 w 2129049"/>
                    <a:gd name="connsiteY85" fmla="*/ 1879094 h 2180047"/>
                    <a:gd name="connsiteX86" fmla="*/ 1331095 w 2129049"/>
                    <a:gd name="connsiteY86" fmla="*/ 1878426 h 2180047"/>
                    <a:gd name="connsiteX87" fmla="*/ 1337882 w 2129049"/>
                    <a:gd name="connsiteY87" fmla="*/ 1887387 h 2180047"/>
                    <a:gd name="connsiteX88" fmla="*/ 2129049 w 2129049"/>
                    <a:gd name="connsiteY88" fmla="*/ 1929443 h 2180047"/>
                    <a:gd name="connsiteX89" fmla="*/ 1413632 w 2129049"/>
                    <a:gd name="connsiteY89" fmla="*/ 2169166 h 2180047"/>
                    <a:gd name="connsiteX90" fmla="*/ 1301496 w 2129049"/>
                    <a:gd name="connsiteY90" fmla="*/ 2177335 h 2180047"/>
                    <a:gd name="connsiteX91" fmla="*/ 1281595 w 2129049"/>
                    <a:gd name="connsiteY91" fmla="*/ 2175656 h 2180047"/>
                    <a:gd name="connsiteX92" fmla="*/ 1272759 w 2129049"/>
                    <a:gd name="connsiteY92" fmla="*/ 2177928 h 2180047"/>
                    <a:gd name="connsiteX93" fmla="*/ 1063402 w 2129049"/>
                    <a:gd name="connsiteY93" fmla="*/ 2155016 h 2180047"/>
                    <a:gd name="connsiteX94" fmla="*/ 994039 w 2129049"/>
                    <a:gd name="connsiteY94" fmla="*/ 2133739 h 2180047"/>
                    <a:gd name="connsiteX95" fmla="*/ 954380 w 2129049"/>
                    <a:gd name="connsiteY95" fmla="*/ 2125140 h 2180047"/>
                    <a:gd name="connsiteX96" fmla="*/ 485181 w 2129049"/>
                    <a:gd name="connsiteY96" fmla="*/ 1869194 h 2180047"/>
                    <a:gd name="connsiteX97" fmla="*/ 424111 w 2129049"/>
                    <a:gd name="connsiteY97" fmla="*/ 1817746 h 2180047"/>
                    <a:gd name="connsiteX98" fmla="*/ 407264 w 2129049"/>
                    <a:gd name="connsiteY98" fmla="*/ 1804650 h 2180047"/>
                    <a:gd name="connsiteX99" fmla="*/ 400242 w 2129049"/>
                    <a:gd name="connsiteY99" fmla="*/ 1797638 h 2180047"/>
                    <a:gd name="connsiteX100" fmla="*/ 373060 w 2129049"/>
                    <a:gd name="connsiteY100" fmla="*/ 1774739 h 2180047"/>
                    <a:gd name="connsiteX101" fmla="*/ 178723 w 2129049"/>
                    <a:gd name="connsiteY101" fmla="*/ 1546546 h 2180047"/>
                    <a:gd name="connsiteX102" fmla="*/ 0 w 2129049"/>
                    <a:gd name="connsiteY102" fmla="*/ 780817 h 2180047"/>
                    <a:gd name="connsiteX103" fmla="*/ 75177 w 2129049"/>
                    <a:gd name="connsiteY103" fmla="*/ 424975 h 2180047"/>
                    <a:gd name="connsiteX104" fmla="*/ 118668 w 2129049"/>
                    <a:gd name="connsiteY104" fmla="*/ 339046 h 2180047"/>
                    <a:gd name="connsiteX105" fmla="*/ 116953 w 2129049"/>
                    <a:gd name="connsiteY105" fmla="*/ 341932 h 2180047"/>
                    <a:gd name="connsiteX106" fmla="*/ 93993 w 2129049"/>
                    <a:gd name="connsiteY106" fmla="*/ 385485 h 2180047"/>
                    <a:gd name="connsiteX107" fmla="*/ 93509 w 2129049"/>
                    <a:gd name="connsiteY107" fmla="*/ 386464 h 2180047"/>
                    <a:gd name="connsiteX108" fmla="*/ 95671 w 2129049"/>
                    <a:gd name="connsiteY108" fmla="*/ 380966 h 2180047"/>
                    <a:gd name="connsiteX109" fmla="*/ 182624 w 2129049"/>
                    <a:gd name="connsiteY109" fmla="*/ 235436 h 2180047"/>
                    <a:gd name="connsiteX110" fmla="*/ 478385 w 2129049"/>
                    <a:gd name="connsiteY110" fmla="*/ 56179 h 2180047"/>
                    <a:gd name="connsiteX111" fmla="*/ 999928 w 2129049"/>
                    <a:gd name="connsiteY111" fmla="*/ 0 h 2180047"/>
                    <a:gd name="connsiteX112" fmla="*/ 1676449 w 2129049"/>
                    <a:gd name="connsiteY112" fmla="*/ 525838 h 2180047"/>
                    <a:gd name="connsiteX113" fmla="*/ 1579666 w 2129049"/>
                    <a:gd name="connsiteY113" fmla="*/ 999319 h 2180047"/>
                    <a:gd name="connsiteX114" fmla="*/ 1467605 w 2129049"/>
                    <a:gd name="connsiteY114" fmla="*/ 1154947 h 2180047"/>
                    <a:gd name="connsiteX115" fmla="*/ 1464597 w 2129049"/>
                    <a:gd name="connsiteY115" fmla="*/ 1153889 h 2180047"/>
                    <a:gd name="connsiteX116" fmla="*/ 1452025 w 2129049"/>
                    <a:gd name="connsiteY116" fmla="*/ 1125910 h 2180047"/>
                    <a:gd name="connsiteX117" fmla="*/ 1421781 w 2129049"/>
                    <a:gd name="connsiteY117" fmla="*/ 1058603 h 2180047"/>
                    <a:gd name="connsiteX118" fmla="*/ 1327088 w 2129049"/>
                    <a:gd name="connsiteY118" fmla="*/ 961820 h 2180047"/>
                    <a:gd name="connsiteX119" fmla="*/ 1304643 w 2129049"/>
                    <a:gd name="connsiteY119" fmla="*/ 931982 h 2180047"/>
                    <a:gd name="connsiteX120" fmla="*/ 1303076 w 2129049"/>
                    <a:gd name="connsiteY120" fmla="*/ 929526 h 2180047"/>
                    <a:gd name="connsiteX121" fmla="*/ 1268667 w 2129049"/>
                    <a:gd name="connsiteY121" fmla="*/ 875590 h 2180047"/>
                    <a:gd name="connsiteX122" fmla="*/ 1300274 w 2129049"/>
                    <a:gd name="connsiteY122" fmla="*/ 628723 h 2180047"/>
                    <a:gd name="connsiteX123" fmla="*/ 1307563 w 2129049"/>
                    <a:gd name="connsiteY123" fmla="*/ 618378 h 2180047"/>
                    <a:gd name="connsiteX124" fmla="*/ 1298642 w 2129049"/>
                    <a:gd name="connsiteY124" fmla="*/ 596988 h 2180047"/>
                    <a:gd name="connsiteX125" fmla="*/ 1292154 w 2129049"/>
                    <a:gd name="connsiteY125" fmla="*/ 580800 h 2180047"/>
                    <a:gd name="connsiteX126" fmla="*/ 1285141 w 2129049"/>
                    <a:gd name="connsiteY126" fmla="*/ 579133 h 2180047"/>
                    <a:gd name="connsiteX127" fmla="*/ 1003184 w 2129049"/>
                    <a:gd name="connsiteY127" fmla="*/ 372896 h 2180047"/>
                    <a:gd name="connsiteX128" fmla="*/ 993448 w 2129049"/>
                    <a:gd name="connsiteY128" fmla="*/ 53615 h 2180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Lst>
                  <a:rect l="l" t="t" r="r" b="b"/>
                  <a:pathLst>
                    <a:path w="2129049" h="2180047">
                      <a:moveTo>
                        <a:pt x="1222186" y="1839320"/>
                      </a:moveTo>
                      <a:cubicBezTo>
                        <a:pt x="1222186" y="1839320"/>
                        <a:pt x="1217322" y="1840010"/>
                        <a:pt x="1208400" y="1841119"/>
                      </a:cubicBezTo>
                      <a:lnTo>
                        <a:pt x="1186099" y="1843640"/>
                      </a:lnTo>
                      <a:lnTo>
                        <a:pt x="1188379" y="1844841"/>
                      </a:lnTo>
                      <a:cubicBezTo>
                        <a:pt x="1208837" y="1862152"/>
                        <a:pt x="1227939" y="1892644"/>
                        <a:pt x="1243194" y="1939957"/>
                      </a:cubicBezTo>
                      <a:cubicBezTo>
                        <a:pt x="1232936" y="1903158"/>
                        <a:pt x="1226723" y="1874737"/>
                        <a:pt x="1223702" y="1853174"/>
                      </a:cubicBezTo>
                      <a:lnTo>
                        <a:pt x="1222569" y="1839342"/>
                      </a:lnTo>
                      <a:close/>
                      <a:moveTo>
                        <a:pt x="441891" y="1746105"/>
                      </a:moveTo>
                      <a:lnTo>
                        <a:pt x="450977" y="1757606"/>
                      </a:lnTo>
                      <a:cubicBezTo>
                        <a:pt x="523579" y="1840277"/>
                        <a:pt x="612111" y="1915885"/>
                        <a:pt x="707370" y="1976776"/>
                      </a:cubicBezTo>
                      <a:lnTo>
                        <a:pt x="766453" y="2010648"/>
                      </a:lnTo>
                      <a:lnTo>
                        <a:pt x="831225" y="2015356"/>
                      </a:lnTo>
                      <a:cubicBezTo>
                        <a:pt x="884464" y="2017808"/>
                        <a:pt x="942877" y="2017788"/>
                        <a:pt x="999836" y="2014732"/>
                      </a:cubicBezTo>
                      <a:lnTo>
                        <a:pt x="1033552" y="2011934"/>
                      </a:lnTo>
                      <a:lnTo>
                        <a:pt x="1030508" y="1991231"/>
                      </a:lnTo>
                      <a:cubicBezTo>
                        <a:pt x="1029673" y="1945751"/>
                        <a:pt x="1045399" y="1901238"/>
                        <a:pt x="1069280" y="1869985"/>
                      </a:cubicBezTo>
                      <a:lnTo>
                        <a:pt x="1086998" y="1852207"/>
                      </a:lnTo>
                      <a:lnTo>
                        <a:pt x="1040249" y="1855089"/>
                      </a:lnTo>
                      <a:cubicBezTo>
                        <a:pt x="936134" y="1859819"/>
                        <a:pt x="805728" y="1858242"/>
                        <a:pt x="700561" y="1833012"/>
                      </a:cubicBezTo>
                      <a:cubicBezTo>
                        <a:pt x="607620" y="1810016"/>
                        <a:pt x="515887" y="1776557"/>
                        <a:pt x="442094" y="1746192"/>
                      </a:cubicBezTo>
                      <a:close/>
                      <a:moveTo>
                        <a:pt x="1059954" y="1504433"/>
                      </a:moveTo>
                      <a:lnTo>
                        <a:pt x="1137935" y="1553560"/>
                      </a:lnTo>
                      <a:cubicBezTo>
                        <a:pt x="1171787" y="1572701"/>
                        <a:pt x="1204817" y="1588620"/>
                        <a:pt x="1232714" y="1597039"/>
                      </a:cubicBezTo>
                      <a:cubicBezTo>
                        <a:pt x="1361148" y="1634927"/>
                        <a:pt x="1457999" y="1643347"/>
                        <a:pt x="1498003" y="1620193"/>
                      </a:cubicBezTo>
                      <a:cubicBezTo>
                        <a:pt x="1498003" y="1620193"/>
                        <a:pt x="1462210" y="1649661"/>
                        <a:pt x="1417995" y="1660186"/>
                      </a:cubicBezTo>
                      <a:cubicBezTo>
                        <a:pt x="1373780" y="1668605"/>
                        <a:pt x="1319038" y="1668605"/>
                        <a:pt x="1260085" y="1660186"/>
                      </a:cubicBezTo>
                      <a:cubicBezTo>
                        <a:pt x="1230609" y="1655976"/>
                        <a:pt x="1166918" y="1647556"/>
                        <a:pt x="1110597" y="1640189"/>
                      </a:cubicBezTo>
                      <a:lnTo>
                        <a:pt x="1099046" y="1638682"/>
                      </a:lnTo>
                      <a:close/>
                      <a:moveTo>
                        <a:pt x="251840" y="316333"/>
                      </a:moveTo>
                      <a:lnTo>
                        <a:pt x="246796" y="329846"/>
                      </a:lnTo>
                      <a:cubicBezTo>
                        <a:pt x="205006" y="446862"/>
                        <a:pt x="162954" y="588333"/>
                        <a:pt x="161902" y="686152"/>
                      </a:cubicBezTo>
                      <a:lnTo>
                        <a:pt x="163319" y="765157"/>
                      </a:lnTo>
                      <a:lnTo>
                        <a:pt x="168120" y="772124"/>
                      </a:lnTo>
                      <a:cubicBezTo>
                        <a:pt x="237177" y="866056"/>
                        <a:pt x="334563" y="972605"/>
                        <a:pt x="462568" y="1054574"/>
                      </a:cubicBezTo>
                      <a:cubicBezTo>
                        <a:pt x="755152" y="1239827"/>
                        <a:pt x="1083519" y="1296666"/>
                        <a:pt x="1083519" y="1296666"/>
                      </a:cubicBezTo>
                      <a:cubicBezTo>
                        <a:pt x="1112988" y="1212460"/>
                        <a:pt x="1112988" y="1212460"/>
                        <a:pt x="1112988" y="1212460"/>
                      </a:cubicBezTo>
                      <a:cubicBezTo>
                        <a:pt x="1112988" y="1212460"/>
                        <a:pt x="1058260" y="1208250"/>
                        <a:pt x="635171" y="913528"/>
                      </a:cubicBezTo>
                      <a:cubicBezTo>
                        <a:pt x="372057" y="730643"/>
                        <a:pt x="286544" y="495129"/>
                        <a:pt x="256327" y="344726"/>
                      </a:cubicBezTo>
                      <a:close/>
                      <a:moveTo>
                        <a:pt x="203697" y="216555"/>
                      </a:moveTo>
                      <a:lnTo>
                        <a:pt x="195507" y="224152"/>
                      </a:lnTo>
                      <a:cubicBezTo>
                        <a:pt x="181433" y="239566"/>
                        <a:pt x="166968" y="259629"/>
                        <a:pt x="153435" y="280530"/>
                      </a:cubicBezTo>
                      <a:lnTo>
                        <a:pt x="119142" y="338248"/>
                      </a:lnTo>
                      <a:lnTo>
                        <a:pt x="162420" y="270250"/>
                      </a:lnTo>
                      <a:cubicBezTo>
                        <a:pt x="176342" y="250442"/>
                        <a:pt x="189335" y="233719"/>
                        <a:pt x="200473" y="220227"/>
                      </a:cubicBezTo>
                      <a:close/>
                      <a:moveTo>
                        <a:pt x="545326" y="37476"/>
                      </a:moveTo>
                      <a:lnTo>
                        <a:pt x="541800" y="40991"/>
                      </a:lnTo>
                      <a:cubicBezTo>
                        <a:pt x="538494" y="44318"/>
                        <a:pt x="536701" y="46149"/>
                        <a:pt x="536701" y="46149"/>
                      </a:cubicBezTo>
                      <a:cubicBezTo>
                        <a:pt x="536701" y="131636"/>
                        <a:pt x="760164" y="665826"/>
                        <a:pt x="940947" y="939893"/>
                      </a:cubicBezTo>
                      <a:lnTo>
                        <a:pt x="978333" y="993267"/>
                      </a:lnTo>
                      <a:lnTo>
                        <a:pt x="1095859" y="1039243"/>
                      </a:lnTo>
                      <a:lnTo>
                        <a:pt x="1131484" y="1124187"/>
                      </a:lnTo>
                      <a:lnTo>
                        <a:pt x="1146506" y="1133109"/>
                      </a:lnTo>
                      <a:lnTo>
                        <a:pt x="1148541" y="1133748"/>
                      </a:lnTo>
                      <a:lnTo>
                        <a:pt x="1141842" y="1144915"/>
                      </a:lnTo>
                      <a:lnTo>
                        <a:pt x="1141505" y="1145660"/>
                      </a:lnTo>
                      <a:lnTo>
                        <a:pt x="1187973" y="1232630"/>
                      </a:lnTo>
                      <a:cubicBezTo>
                        <a:pt x="1223766" y="1293409"/>
                        <a:pt x="1261138" y="1345505"/>
                        <a:pt x="1289562" y="1373921"/>
                      </a:cubicBezTo>
                      <a:cubicBezTo>
                        <a:pt x="1344304" y="1428648"/>
                        <a:pt x="1426417" y="1496004"/>
                        <a:pt x="1531690" y="1481270"/>
                      </a:cubicBezTo>
                      <a:cubicBezTo>
                        <a:pt x="1531690" y="1481270"/>
                        <a:pt x="1476948" y="1504424"/>
                        <a:pt x="1426417" y="1496004"/>
                      </a:cubicBezTo>
                      <a:cubicBezTo>
                        <a:pt x="1377991" y="1485480"/>
                        <a:pt x="1245347" y="1456011"/>
                        <a:pt x="1194816" y="1399179"/>
                      </a:cubicBezTo>
                      <a:cubicBezTo>
                        <a:pt x="1182709" y="1384971"/>
                        <a:pt x="1165076" y="1364054"/>
                        <a:pt x="1145436" y="1340670"/>
                      </a:cubicBezTo>
                      <a:lnTo>
                        <a:pt x="1091189" y="1275923"/>
                      </a:lnTo>
                      <a:lnTo>
                        <a:pt x="1064249" y="1369079"/>
                      </a:lnTo>
                      <a:cubicBezTo>
                        <a:pt x="1054868" y="1409695"/>
                        <a:pt x="1048279" y="1449238"/>
                        <a:pt x="1046007" y="1483657"/>
                      </a:cubicBezTo>
                      <a:lnTo>
                        <a:pt x="1046013" y="1495461"/>
                      </a:lnTo>
                      <a:lnTo>
                        <a:pt x="1012870" y="1487283"/>
                      </a:lnTo>
                      <a:cubicBezTo>
                        <a:pt x="926987" y="1465792"/>
                        <a:pt x="733725" y="1415316"/>
                        <a:pt x="561761" y="1355377"/>
                      </a:cubicBezTo>
                      <a:cubicBezTo>
                        <a:pt x="461449" y="1320412"/>
                        <a:pt x="345032" y="1242374"/>
                        <a:pt x="245802" y="1165644"/>
                      </a:cubicBezTo>
                      <a:lnTo>
                        <a:pt x="203985" y="1132152"/>
                      </a:lnTo>
                      <a:lnTo>
                        <a:pt x="234345" y="1297625"/>
                      </a:lnTo>
                      <a:cubicBezTo>
                        <a:pt x="242410" y="1333469"/>
                        <a:pt x="251108" y="1368352"/>
                        <a:pt x="260418" y="1401636"/>
                      </a:cubicBezTo>
                      <a:lnTo>
                        <a:pt x="276086" y="1451374"/>
                      </a:lnTo>
                      <a:lnTo>
                        <a:pt x="305709" y="1466895"/>
                      </a:lnTo>
                      <a:cubicBezTo>
                        <a:pt x="373741" y="1500727"/>
                        <a:pt x="458919" y="1537496"/>
                        <a:pt x="561761" y="1572001"/>
                      </a:cubicBezTo>
                      <a:cubicBezTo>
                        <a:pt x="875187" y="1675055"/>
                        <a:pt x="1106575" y="1664539"/>
                        <a:pt x="1106575" y="1664539"/>
                      </a:cubicBezTo>
                      <a:lnTo>
                        <a:pt x="1106413" y="1663981"/>
                      </a:lnTo>
                      <a:lnTo>
                        <a:pt x="1109394" y="1669032"/>
                      </a:lnTo>
                      <a:lnTo>
                        <a:pt x="1145872" y="1724864"/>
                      </a:lnTo>
                      <a:lnTo>
                        <a:pt x="1151390" y="1728726"/>
                      </a:lnTo>
                      <a:cubicBezTo>
                        <a:pt x="1204685" y="1766022"/>
                        <a:pt x="1231333" y="1784670"/>
                        <a:pt x="1244657" y="1793994"/>
                      </a:cubicBezTo>
                      <a:lnTo>
                        <a:pt x="1255282" y="1801430"/>
                      </a:lnTo>
                      <a:lnTo>
                        <a:pt x="1259765" y="1803273"/>
                      </a:lnTo>
                      <a:lnTo>
                        <a:pt x="1262425" y="1805592"/>
                      </a:lnTo>
                      <a:lnTo>
                        <a:pt x="1274330" y="1811179"/>
                      </a:lnTo>
                      <a:cubicBezTo>
                        <a:pt x="1306011" y="1825288"/>
                        <a:pt x="1380623" y="1853310"/>
                        <a:pt x="1470632" y="1851731"/>
                      </a:cubicBezTo>
                      <a:cubicBezTo>
                        <a:pt x="1470632" y="1851731"/>
                        <a:pt x="1375886" y="1881199"/>
                        <a:pt x="1337987" y="1879094"/>
                      </a:cubicBezTo>
                      <a:lnTo>
                        <a:pt x="1331095" y="1878426"/>
                      </a:lnTo>
                      <a:lnTo>
                        <a:pt x="1337882" y="1887387"/>
                      </a:lnTo>
                      <a:cubicBezTo>
                        <a:pt x="1419945" y="2013557"/>
                        <a:pt x="2129049" y="1929443"/>
                        <a:pt x="2129049" y="1929443"/>
                      </a:cubicBezTo>
                      <a:cubicBezTo>
                        <a:pt x="2129049" y="1929443"/>
                        <a:pt x="2129049" y="1929443"/>
                        <a:pt x="1413632" y="2169166"/>
                      </a:cubicBezTo>
                      <a:cubicBezTo>
                        <a:pt x="1372338" y="2174818"/>
                        <a:pt x="1335063" y="2177389"/>
                        <a:pt x="1301496" y="2177335"/>
                      </a:cubicBezTo>
                      <a:lnTo>
                        <a:pt x="1281595" y="2175656"/>
                      </a:lnTo>
                      <a:lnTo>
                        <a:pt x="1272759" y="2177928"/>
                      </a:lnTo>
                      <a:cubicBezTo>
                        <a:pt x="1225811" y="2184118"/>
                        <a:pt x="1152027" y="2176826"/>
                        <a:pt x="1063402" y="2155016"/>
                      </a:cubicBezTo>
                      <a:lnTo>
                        <a:pt x="994039" y="2133739"/>
                      </a:lnTo>
                      <a:lnTo>
                        <a:pt x="954380" y="2125140"/>
                      </a:lnTo>
                      <a:cubicBezTo>
                        <a:pt x="795130" y="2082053"/>
                        <a:pt x="625466" y="1978945"/>
                        <a:pt x="485181" y="1869194"/>
                      </a:cubicBezTo>
                      <a:lnTo>
                        <a:pt x="424111" y="1817746"/>
                      </a:lnTo>
                      <a:lnTo>
                        <a:pt x="407264" y="1804650"/>
                      </a:lnTo>
                      <a:lnTo>
                        <a:pt x="400242" y="1797638"/>
                      </a:lnTo>
                      <a:lnTo>
                        <a:pt x="373060" y="1774739"/>
                      </a:lnTo>
                      <a:cubicBezTo>
                        <a:pt x="269990" y="1681147"/>
                        <a:pt x="196858" y="1593878"/>
                        <a:pt x="178723" y="1546546"/>
                      </a:cubicBezTo>
                      <a:cubicBezTo>
                        <a:pt x="92516" y="1378254"/>
                        <a:pt x="0" y="1054291"/>
                        <a:pt x="0" y="780817"/>
                      </a:cubicBezTo>
                      <a:cubicBezTo>
                        <a:pt x="0" y="639609"/>
                        <a:pt x="33412" y="519701"/>
                        <a:pt x="75177" y="424975"/>
                      </a:cubicBezTo>
                      <a:lnTo>
                        <a:pt x="118668" y="339046"/>
                      </a:lnTo>
                      <a:lnTo>
                        <a:pt x="116953" y="341932"/>
                      </a:lnTo>
                      <a:cubicBezTo>
                        <a:pt x="106605" y="360695"/>
                        <a:pt x="98512" y="376484"/>
                        <a:pt x="93993" y="385485"/>
                      </a:cubicBezTo>
                      <a:lnTo>
                        <a:pt x="93509" y="386464"/>
                      </a:lnTo>
                      <a:lnTo>
                        <a:pt x="95671" y="380966"/>
                      </a:lnTo>
                      <a:cubicBezTo>
                        <a:pt x="123713" y="321057"/>
                        <a:pt x="154747" y="273315"/>
                        <a:pt x="182624" y="235436"/>
                      </a:cubicBezTo>
                      <a:cubicBezTo>
                        <a:pt x="241010" y="154155"/>
                        <a:pt x="355019" y="96548"/>
                        <a:pt x="478385" y="56179"/>
                      </a:cubicBezTo>
                      <a:close/>
                      <a:moveTo>
                        <a:pt x="999928" y="0"/>
                      </a:moveTo>
                      <a:lnTo>
                        <a:pt x="1676449" y="525838"/>
                      </a:lnTo>
                      <a:cubicBezTo>
                        <a:pt x="1676449" y="525838"/>
                        <a:pt x="1594394" y="780465"/>
                        <a:pt x="1579666" y="999319"/>
                      </a:cubicBezTo>
                      <a:cubicBezTo>
                        <a:pt x="1570461" y="1136103"/>
                        <a:pt x="1517697" y="1165202"/>
                        <a:pt x="1467605" y="1154947"/>
                      </a:cubicBezTo>
                      <a:lnTo>
                        <a:pt x="1464597" y="1153889"/>
                      </a:lnTo>
                      <a:lnTo>
                        <a:pt x="1452025" y="1125910"/>
                      </a:lnTo>
                      <a:cubicBezTo>
                        <a:pt x="1443951" y="1107940"/>
                        <a:pt x="1434013" y="1085824"/>
                        <a:pt x="1421781" y="1058603"/>
                      </a:cubicBezTo>
                      <a:cubicBezTo>
                        <a:pt x="1421781" y="1058603"/>
                        <a:pt x="1360757" y="999691"/>
                        <a:pt x="1327088" y="961820"/>
                      </a:cubicBezTo>
                      <a:lnTo>
                        <a:pt x="1304643" y="931982"/>
                      </a:lnTo>
                      <a:lnTo>
                        <a:pt x="1303076" y="929526"/>
                      </a:lnTo>
                      <a:cubicBezTo>
                        <a:pt x="1268667" y="875590"/>
                        <a:pt x="1268667" y="875590"/>
                        <a:pt x="1268667" y="875590"/>
                      </a:cubicBezTo>
                      <a:cubicBezTo>
                        <a:pt x="1268667" y="875590"/>
                        <a:pt x="1236457" y="743498"/>
                        <a:pt x="1300274" y="628723"/>
                      </a:cubicBezTo>
                      <a:lnTo>
                        <a:pt x="1307563" y="618378"/>
                      </a:lnTo>
                      <a:lnTo>
                        <a:pt x="1298642" y="596988"/>
                      </a:lnTo>
                      <a:lnTo>
                        <a:pt x="1292154" y="580800"/>
                      </a:lnTo>
                      <a:lnTo>
                        <a:pt x="1285141" y="579133"/>
                      </a:lnTo>
                      <a:cubicBezTo>
                        <a:pt x="1217808" y="547566"/>
                        <a:pt x="1022122" y="492850"/>
                        <a:pt x="1003184" y="372896"/>
                      </a:cubicBezTo>
                      <a:cubicBezTo>
                        <a:pt x="992533" y="305422"/>
                        <a:pt x="984544" y="180018"/>
                        <a:pt x="993448" y="53615"/>
                      </a:cubicBezTo>
                      <a:close/>
                    </a:path>
                  </a:pathLst>
                </a:custGeom>
                <a:solidFill>
                  <a:srgbClr val="FAED22"/>
                </a:solidFill>
                <a:ln w="3175" cap="flat">
                  <a:solidFill>
                    <a:schemeClr val="tx1"/>
                  </a:solidFill>
                  <a:prstDash val="solid"/>
                  <a:miter lim="800000"/>
                  <a:headEnd/>
                  <a:tailEnd/>
                </a:ln>
              </p:spPr>
              <p:txBody>
                <a:bodyPr vert="horz" wrap="square" lIns="89642" tIns="44821" rIns="89642" bIns="44821" numCol="1" anchor="t" anchorCtr="0" compatLnSpc="1">
                  <a:prstTxWarp prst="textNoShape">
                    <a:avLst/>
                  </a:prstTxWarp>
                  <a:noAutofit/>
                </a:bodyPr>
                <a:lstStyle/>
                <a:p>
                  <a:pPr defTabSz="914367"/>
                  <a:endParaRPr lang="en-IN" sz="1765">
                    <a:solidFill>
                      <a:srgbClr val="000000"/>
                    </a:solidFill>
                  </a:endParaRPr>
                </a:p>
              </p:txBody>
            </p:sp>
            <p:sp>
              <p:nvSpPr>
                <p:cNvPr id="14" name="Freeform 13"/>
                <p:cNvSpPr>
                  <a:spLocks/>
                </p:cNvSpPr>
                <p:nvPr/>
              </p:nvSpPr>
              <p:spPr bwMode="auto">
                <a:xfrm>
                  <a:off x="1058398" y="3354141"/>
                  <a:ext cx="533724" cy="414349"/>
                </a:xfrm>
                <a:custGeom>
                  <a:avLst/>
                  <a:gdLst>
                    <a:gd name="connsiteX0" fmla="*/ 3283994 w 3907177"/>
                    <a:gd name="connsiteY0" fmla="*/ 2199606 h 3033282"/>
                    <a:gd name="connsiteX1" fmla="*/ 3216771 w 3907177"/>
                    <a:gd name="connsiteY1" fmla="*/ 2237508 h 3033282"/>
                    <a:gd name="connsiteX2" fmla="*/ 3176070 w 3907177"/>
                    <a:gd name="connsiteY2" fmla="*/ 2287254 h 3033282"/>
                    <a:gd name="connsiteX3" fmla="*/ 3157902 w 3907177"/>
                    <a:gd name="connsiteY3" fmla="*/ 2304911 h 3033282"/>
                    <a:gd name="connsiteX4" fmla="*/ 3148728 w 3907177"/>
                    <a:gd name="connsiteY4" fmla="*/ 2311436 h 3033282"/>
                    <a:gd name="connsiteX5" fmla="*/ 3136944 w 3907177"/>
                    <a:gd name="connsiteY5" fmla="*/ 2319628 h 3033282"/>
                    <a:gd name="connsiteX6" fmla="*/ 3154439 w 3907177"/>
                    <a:gd name="connsiteY6" fmla="*/ 2308277 h 3033282"/>
                    <a:gd name="connsiteX7" fmla="*/ 3157902 w 3907177"/>
                    <a:gd name="connsiteY7" fmla="*/ 2304911 h 3033282"/>
                    <a:gd name="connsiteX8" fmla="*/ 3176070 w 3907177"/>
                    <a:gd name="connsiteY8" fmla="*/ 2291992 h 3033282"/>
                    <a:gd name="connsiteX9" fmla="*/ 3229375 w 3907177"/>
                    <a:gd name="connsiteY9" fmla="*/ 2250142 h 3033282"/>
                    <a:gd name="connsiteX10" fmla="*/ 3317605 w 3907177"/>
                    <a:gd name="connsiteY10" fmla="*/ 2231191 h 3033282"/>
                    <a:gd name="connsiteX11" fmla="*/ 3378755 w 3907177"/>
                    <a:gd name="connsiteY11" fmla="*/ 2245404 h 3033282"/>
                    <a:gd name="connsiteX12" fmla="*/ 3382808 w 3907177"/>
                    <a:gd name="connsiteY12" fmla="*/ 2247161 h 3033282"/>
                    <a:gd name="connsiteX13" fmla="*/ 3351550 w 3907177"/>
                    <a:gd name="connsiteY13" fmla="*/ 2248260 h 3033282"/>
                    <a:gd name="connsiteX14" fmla="*/ 3315694 w 3907177"/>
                    <a:gd name="connsiteY14" fmla="*/ 2268558 h 3033282"/>
                    <a:gd name="connsiteX15" fmla="*/ 3248262 w 3907177"/>
                    <a:gd name="connsiteY15" fmla="*/ 2369622 h 3033282"/>
                    <a:gd name="connsiteX16" fmla="*/ 3195581 w 3907177"/>
                    <a:gd name="connsiteY16" fmla="*/ 2443314 h 3033282"/>
                    <a:gd name="connsiteX17" fmla="*/ 3288300 w 3907177"/>
                    <a:gd name="connsiteY17" fmla="*/ 2346462 h 3033282"/>
                    <a:gd name="connsiteX18" fmla="*/ 3334660 w 3907177"/>
                    <a:gd name="connsiteY18" fmla="*/ 2295930 h 3033282"/>
                    <a:gd name="connsiteX19" fmla="*/ 3404199 w 3907177"/>
                    <a:gd name="connsiteY19" fmla="*/ 2281191 h 3033282"/>
                    <a:gd name="connsiteX20" fmla="*/ 3442129 w 3907177"/>
                    <a:gd name="connsiteY20" fmla="*/ 2291719 h 3033282"/>
                    <a:gd name="connsiteX21" fmla="*/ 3448451 w 3907177"/>
                    <a:gd name="connsiteY21" fmla="*/ 2258031 h 3033282"/>
                    <a:gd name="connsiteX22" fmla="*/ 3432746 w 3907177"/>
                    <a:gd name="connsiteY22" fmla="*/ 2253458 h 3033282"/>
                    <a:gd name="connsiteX23" fmla="*/ 3399309 w 3907177"/>
                    <a:gd name="connsiteY23" fmla="*/ 2247403 h 3033282"/>
                    <a:gd name="connsiteX24" fmla="*/ 3406885 w 3907177"/>
                    <a:gd name="connsiteY24" fmla="*/ 2246720 h 3033282"/>
                    <a:gd name="connsiteX25" fmla="*/ 3422640 w 3907177"/>
                    <a:gd name="connsiteY25" fmla="*/ 2231191 h 3033282"/>
                    <a:gd name="connsiteX26" fmla="*/ 3370122 w 3907177"/>
                    <a:gd name="connsiteY26" fmla="*/ 2208029 h 3033282"/>
                    <a:gd name="connsiteX27" fmla="*/ 3283994 w 3907177"/>
                    <a:gd name="connsiteY27" fmla="*/ 2199606 h 3033282"/>
                    <a:gd name="connsiteX28" fmla="*/ 3868985 w 3907177"/>
                    <a:gd name="connsiteY28" fmla="*/ 2136388 h 3033282"/>
                    <a:gd name="connsiteX29" fmla="*/ 3734396 w 3907177"/>
                    <a:gd name="connsiteY29" fmla="*/ 2199444 h 3033282"/>
                    <a:gd name="connsiteX30" fmla="*/ 3559852 w 3907177"/>
                    <a:gd name="connsiteY30" fmla="*/ 2182629 h 3033282"/>
                    <a:gd name="connsiteX31" fmla="*/ 3641867 w 3907177"/>
                    <a:gd name="connsiteY31" fmla="*/ 2241481 h 3033282"/>
                    <a:gd name="connsiteX32" fmla="*/ 3702852 w 3907177"/>
                    <a:gd name="connsiteY32" fmla="*/ 2239379 h 3033282"/>
                    <a:gd name="connsiteX33" fmla="*/ 3831132 w 3907177"/>
                    <a:gd name="connsiteY33" fmla="*/ 2178425 h 3033282"/>
                    <a:gd name="connsiteX34" fmla="*/ 3868985 w 3907177"/>
                    <a:gd name="connsiteY34" fmla="*/ 2136388 h 3033282"/>
                    <a:gd name="connsiteX35" fmla="*/ 3385344 w 3907177"/>
                    <a:gd name="connsiteY35" fmla="*/ 2089937 h 3033282"/>
                    <a:gd name="connsiteX36" fmla="*/ 3403807 w 3907177"/>
                    <a:gd name="connsiteY36" fmla="*/ 2092045 h 3033282"/>
                    <a:gd name="connsiteX37" fmla="*/ 3420687 w 3907177"/>
                    <a:gd name="connsiteY37" fmla="*/ 2119439 h 3033282"/>
                    <a:gd name="connsiteX38" fmla="*/ 3410137 w 3907177"/>
                    <a:gd name="connsiteY38" fmla="*/ 2151048 h 3033282"/>
                    <a:gd name="connsiteX39" fmla="*/ 3380596 w 3907177"/>
                    <a:gd name="connsiteY39" fmla="*/ 2144726 h 3033282"/>
                    <a:gd name="connsiteX40" fmla="*/ 3353166 w 3907177"/>
                    <a:gd name="connsiteY40" fmla="*/ 2146834 h 3033282"/>
                    <a:gd name="connsiteX41" fmla="*/ 3353166 w 3907177"/>
                    <a:gd name="connsiteY41" fmla="*/ 2113117 h 3033282"/>
                    <a:gd name="connsiteX42" fmla="*/ 3370046 w 3907177"/>
                    <a:gd name="connsiteY42" fmla="*/ 2094152 h 3033282"/>
                    <a:gd name="connsiteX43" fmla="*/ 3385344 w 3907177"/>
                    <a:gd name="connsiteY43" fmla="*/ 2089937 h 3033282"/>
                    <a:gd name="connsiteX44" fmla="*/ 2921466 w 3907177"/>
                    <a:gd name="connsiteY44" fmla="*/ 1940074 h 3033282"/>
                    <a:gd name="connsiteX45" fmla="*/ 2876044 w 3907177"/>
                    <a:gd name="connsiteY45" fmla="*/ 1945069 h 3033282"/>
                    <a:gd name="connsiteX46" fmla="*/ 2796228 w 3907177"/>
                    <a:gd name="connsiteY46" fmla="*/ 1980818 h 3033282"/>
                    <a:gd name="connsiteX47" fmla="*/ 2716411 w 3907177"/>
                    <a:gd name="connsiteY47" fmla="*/ 2018670 h 3033282"/>
                    <a:gd name="connsiteX48" fmla="*/ 2773123 w 3907177"/>
                    <a:gd name="connsiteY48" fmla="*/ 2014464 h 3033282"/>
                    <a:gd name="connsiteX49" fmla="*/ 2813031 w 3907177"/>
                    <a:gd name="connsiteY49" fmla="*/ 2008155 h 3033282"/>
                    <a:gd name="connsiteX50" fmla="*/ 2810931 w 3907177"/>
                    <a:gd name="connsiteY50" fmla="*/ 2075448 h 3033282"/>
                    <a:gd name="connsiteX51" fmla="*/ 2825634 w 3907177"/>
                    <a:gd name="connsiteY51" fmla="*/ 2117505 h 3033282"/>
                    <a:gd name="connsiteX52" fmla="*/ 2817232 w 3907177"/>
                    <a:gd name="connsiteY52" fmla="*/ 2123814 h 3033282"/>
                    <a:gd name="connsiteX53" fmla="*/ 2773123 w 3907177"/>
                    <a:gd name="connsiteY53" fmla="*/ 2157460 h 3033282"/>
                    <a:gd name="connsiteX54" fmla="*/ 2848738 w 3907177"/>
                    <a:gd name="connsiteY54" fmla="*/ 2125917 h 3033282"/>
                    <a:gd name="connsiteX55" fmla="*/ 2941157 w 3907177"/>
                    <a:gd name="connsiteY55" fmla="*/ 2104888 h 3033282"/>
                    <a:gd name="connsiteX56" fmla="*/ 3111292 w 3907177"/>
                    <a:gd name="connsiteY56" fmla="*/ 2106991 h 3033282"/>
                    <a:gd name="connsiteX57" fmla="*/ 3056681 w 3907177"/>
                    <a:gd name="connsiteY57" fmla="*/ 2085962 h 3033282"/>
                    <a:gd name="connsiteX58" fmla="*/ 3016773 w 3907177"/>
                    <a:gd name="connsiteY58" fmla="*/ 2081756 h 3033282"/>
                    <a:gd name="connsiteX59" fmla="*/ 3023074 w 3907177"/>
                    <a:gd name="connsiteY59" fmla="*/ 2027081 h 3033282"/>
                    <a:gd name="connsiteX60" fmla="*/ 2995769 w 3907177"/>
                    <a:gd name="connsiteY60" fmla="*/ 1970303 h 3033282"/>
                    <a:gd name="connsiteX61" fmla="*/ 3018873 w 3907177"/>
                    <a:gd name="connsiteY61" fmla="*/ 1966098 h 3033282"/>
                    <a:gd name="connsiteX62" fmla="*/ 3065083 w 3907177"/>
                    <a:gd name="connsiteY62" fmla="*/ 1957686 h 3033282"/>
                    <a:gd name="connsiteX63" fmla="*/ 2968463 w 3907177"/>
                    <a:gd name="connsiteY63" fmla="*/ 1942966 h 3033282"/>
                    <a:gd name="connsiteX64" fmla="*/ 2921466 w 3907177"/>
                    <a:gd name="connsiteY64" fmla="*/ 1940074 h 3033282"/>
                    <a:gd name="connsiteX65" fmla="*/ 2882143 w 3907177"/>
                    <a:gd name="connsiteY65" fmla="*/ 1689578 h 3033282"/>
                    <a:gd name="connsiteX66" fmla="*/ 2779009 w 3907177"/>
                    <a:gd name="connsiteY66" fmla="*/ 1700880 h 3033282"/>
                    <a:gd name="connsiteX67" fmla="*/ 2720075 w 3907177"/>
                    <a:gd name="connsiteY67" fmla="*/ 1810222 h 3033282"/>
                    <a:gd name="connsiteX68" fmla="*/ 2806371 w 3907177"/>
                    <a:gd name="connsiteY68" fmla="*/ 1730318 h 3033282"/>
                    <a:gd name="connsiteX69" fmla="*/ 2953705 w 3907177"/>
                    <a:gd name="connsiteY69" fmla="*/ 1692469 h 3033282"/>
                    <a:gd name="connsiteX70" fmla="*/ 2882143 w 3907177"/>
                    <a:gd name="connsiteY70" fmla="*/ 1689578 h 3033282"/>
                    <a:gd name="connsiteX71" fmla="*/ 2751741 w 3907177"/>
                    <a:gd name="connsiteY71" fmla="*/ 1152523 h 3033282"/>
                    <a:gd name="connsiteX72" fmla="*/ 2752273 w 3907177"/>
                    <a:gd name="connsiteY72" fmla="*/ 1154187 h 3033282"/>
                    <a:gd name="connsiteX73" fmla="*/ 2764036 w 3907177"/>
                    <a:gd name="connsiteY73" fmla="*/ 1192874 h 3033282"/>
                    <a:gd name="connsiteX74" fmla="*/ 2787833 w 3907177"/>
                    <a:gd name="connsiteY74" fmla="*/ 1274009 h 3033282"/>
                    <a:gd name="connsiteX75" fmla="*/ 2819472 w 3907177"/>
                    <a:gd name="connsiteY75" fmla="*/ 1283014 h 3033282"/>
                    <a:gd name="connsiteX76" fmla="*/ 2820261 w 3907177"/>
                    <a:gd name="connsiteY76" fmla="*/ 1283258 h 3033282"/>
                    <a:gd name="connsiteX77" fmla="*/ 2825890 w 3907177"/>
                    <a:gd name="connsiteY77" fmla="*/ 1283302 h 3033282"/>
                    <a:gd name="connsiteX78" fmla="*/ 2903747 w 3907177"/>
                    <a:gd name="connsiteY78" fmla="*/ 1291542 h 3033282"/>
                    <a:gd name="connsiteX79" fmla="*/ 2899550 w 3907177"/>
                    <a:gd name="connsiteY79" fmla="*/ 1288295 h 3033282"/>
                    <a:gd name="connsiteX80" fmla="*/ 2806596 w 3907177"/>
                    <a:gd name="connsiteY80" fmla="*/ 1216396 h 3033282"/>
                    <a:gd name="connsiteX81" fmla="*/ 2775061 w 3907177"/>
                    <a:gd name="connsiteY81" fmla="*/ 1179930 h 3033282"/>
                    <a:gd name="connsiteX82" fmla="*/ 1695768 w 3907177"/>
                    <a:gd name="connsiteY82" fmla="*/ 862876 h 3033282"/>
                    <a:gd name="connsiteX83" fmla="*/ 2078780 w 3907177"/>
                    <a:gd name="connsiteY83" fmla="*/ 919680 h 3033282"/>
                    <a:gd name="connsiteX84" fmla="*/ 2177689 w 3907177"/>
                    <a:gd name="connsiteY84" fmla="*/ 938615 h 3033282"/>
                    <a:gd name="connsiteX85" fmla="*/ 2274495 w 3907177"/>
                    <a:gd name="connsiteY85" fmla="*/ 997523 h 3033282"/>
                    <a:gd name="connsiteX86" fmla="*/ 2192421 w 3907177"/>
                    <a:gd name="connsiteY86" fmla="*/ 984900 h 3033282"/>
                    <a:gd name="connsiteX87" fmla="*/ 2082989 w 3907177"/>
                    <a:gd name="connsiteY87" fmla="*/ 1031185 h 3033282"/>
                    <a:gd name="connsiteX88" fmla="*/ 2013542 w 3907177"/>
                    <a:gd name="connsiteY88" fmla="*/ 1064846 h 3033282"/>
                    <a:gd name="connsiteX89" fmla="*/ 2177689 w 3907177"/>
                    <a:gd name="connsiteY89" fmla="*/ 1060639 h 3033282"/>
                    <a:gd name="connsiteX90" fmla="*/ 2320793 w 3907177"/>
                    <a:gd name="connsiteY90" fmla="*/ 1102716 h 3033282"/>
                    <a:gd name="connsiteX91" fmla="*/ 2402867 w 3907177"/>
                    <a:gd name="connsiteY91" fmla="*/ 1193182 h 3033282"/>
                    <a:gd name="connsiteX92" fmla="*/ 2477977 w 3907177"/>
                    <a:gd name="connsiteY92" fmla="*/ 1304520 h 3033282"/>
                    <a:gd name="connsiteX93" fmla="*/ 2495231 w 3907177"/>
                    <a:gd name="connsiteY93" fmla="*/ 1302276 h 3033282"/>
                    <a:gd name="connsiteX94" fmla="*/ 2479203 w 3907177"/>
                    <a:gd name="connsiteY94" fmla="*/ 1263722 h 3033282"/>
                    <a:gd name="connsiteX95" fmla="*/ 2352360 w 3907177"/>
                    <a:gd name="connsiteY95" fmla="*/ 974380 h 3033282"/>
                    <a:gd name="connsiteX96" fmla="*/ 2194525 w 3907177"/>
                    <a:gd name="connsiteY96" fmla="*/ 875499 h 3033282"/>
                    <a:gd name="connsiteX97" fmla="*/ 1695768 w 3907177"/>
                    <a:gd name="connsiteY97" fmla="*/ 862876 h 3033282"/>
                    <a:gd name="connsiteX98" fmla="*/ 2884074 w 3907177"/>
                    <a:gd name="connsiteY98" fmla="*/ 435929 h 3033282"/>
                    <a:gd name="connsiteX99" fmla="*/ 2987291 w 3907177"/>
                    <a:gd name="connsiteY99" fmla="*/ 631716 h 3033282"/>
                    <a:gd name="connsiteX100" fmla="*/ 3130531 w 3907177"/>
                    <a:gd name="connsiteY100" fmla="*/ 1008552 h 3033282"/>
                    <a:gd name="connsiteX101" fmla="*/ 3063124 w 3907177"/>
                    <a:gd name="connsiteY101" fmla="*/ 682241 h 3033282"/>
                    <a:gd name="connsiteX102" fmla="*/ 2970440 w 3907177"/>
                    <a:gd name="connsiteY102" fmla="*/ 520138 h 3033282"/>
                    <a:gd name="connsiteX103" fmla="*/ 2884074 w 3907177"/>
                    <a:gd name="connsiteY103" fmla="*/ 435929 h 3033282"/>
                    <a:gd name="connsiteX104" fmla="*/ 990408 w 3907177"/>
                    <a:gd name="connsiteY104" fmla="*/ 698 h 3033282"/>
                    <a:gd name="connsiteX105" fmla="*/ 1039550 w 3907177"/>
                    <a:gd name="connsiteY105" fmla="*/ 863 h 3033282"/>
                    <a:gd name="connsiteX106" fmla="*/ 1348803 w 3907177"/>
                    <a:gd name="connsiteY106" fmla="*/ 72387 h 3033282"/>
                    <a:gd name="connsiteX107" fmla="*/ 1737998 w 3907177"/>
                    <a:gd name="connsiteY107" fmla="*/ 232264 h 3033282"/>
                    <a:gd name="connsiteX108" fmla="*/ 2005176 w 3907177"/>
                    <a:gd name="connsiteY108" fmla="*/ 371104 h 3033282"/>
                    <a:gd name="connsiteX109" fmla="*/ 2203455 w 3907177"/>
                    <a:gd name="connsiteY109" fmla="*/ 477601 h 3033282"/>
                    <a:gd name="connsiteX110" fmla="*/ 2296994 w 3907177"/>
                    <a:gd name="connsiteY110" fmla="*/ 530121 h 3033282"/>
                    <a:gd name="connsiteX111" fmla="*/ 2323986 w 3907177"/>
                    <a:gd name="connsiteY111" fmla="*/ 546882 h 3033282"/>
                    <a:gd name="connsiteX112" fmla="*/ 2357160 w 3907177"/>
                    <a:gd name="connsiteY112" fmla="*/ 567482 h 3033282"/>
                    <a:gd name="connsiteX113" fmla="*/ 2404890 w 3907177"/>
                    <a:gd name="connsiteY113" fmla="*/ 598298 h 3033282"/>
                    <a:gd name="connsiteX114" fmla="*/ 2415440 w 3907177"/>
                    <a:gd name="connsiteY114" fmla="*/ 605928 h 3033282"/>
                    <a:gd name="connsiteX115" fmla="*/ 2362991 w 3907177"/>
                    <a:gd name="connsiteY115" fmla="*/ 493093 h 3033282"/>
                    <a:gd name="connsiteX116" fmla="*/ 2329266 w 3907177"/>
                    <a:gd name="connsiteY116" fmla="*/ 483333 h 3033282"/>
                    <a:gd name="connsiteX117" fmla="*/ 2307060 w 3907177"/>
                    <a:gd name="connsiteY117" fmla="*/ 476906 h 3033282"/>
                    <a:gd name="connsiteX118" fmla="*/ 2313198 w 3907177"/>
                    <a:gd name="connsiteY118" fmla="*/ 470584 h 3033282"/>
                    <a:gd name="connsiteX119" fmla="*/ 2460566 w 3907177"/>
                    <a:gd name="connsiteY119" fmla="*/ 333037 h 3033282"/>
                    <a:gd name="connsiteX120" fmla="*/ 2482676 w 3907177"/>
                    <a:gd name="connsiteY120" fmla="*/ 317005 h 3033282"/>
                    <a:gd name="connsiteX121" fmla="*/ 2522361 w 3907177"/>
                    <a:gd name="connsiteY121" fmla="*/ 296868 h 3033282"/>
                    <a:gd name="connsiteX122" fmla="*/ 2554579 w 3907177"/>
                    <a:gd name="connsiteY122" fmla="*/ 283748 h 3033282"/>
                    <a:gd name="connsiteX123" fmla="*/ 2694384 w 3907177"/>
                    <a:gd name="connsiteY123" fmla="*/ 254812 h 3033282"/>
                    <a:gd name="connsiteX124" fmla="*/ 2798186 w 3907177"/>
                    <a:gd name="connsiteY124" fmla="*/ 277829 h 3033282"/>
                    <a:gd name="connsiteX125" fmla="*/ 2857052 w 3907177"/>
                    <a:gd name="connsiteY125" fmla="*/ 260994 h 3033282"/>
                    <a:gd name="connsiteX126" fmla="*/ 2861191 w 3907177"/>
                    <a:gd name="connsiteY126" fmla="*/ 261705 h 3033282"/>
                    <a:gd name="connsiteX127" fmla="*/ 2866568 w 3907177"/>
                    <a:gd name="connsiteY127" fmla="*/ 262766 h 3033282"/>
                    <a:gd name="connsiteX128" fmla="*/ 2867847 w 3907177"/>
                    <a:gd name="connsiteY128" fmla="*/ 263215 h 3033282"/>
                    <a:gd name="connsiteX129" fmla="*/ 2874182 w 3907177"/>
                    <a:gd name="connsiteY129" fmla="*/ 265939 h 3033282"/>
                    <a:gd name="connsiteX130" fmla="*/ 2878772 w 3907177"/>
                    <a:gd name="connsiteY130" fmla="*/ 265783 h 3033282"/>
                    <a:gd name="connsiteX131" fmla="*/ 2879970 w 3907177"/>
                    <a:gd name="connsiteY131" fmla="*/ 265863 h 3033282"/>
                    <a:gd name="connsiteX132" fmla="*/ 2909084 w 3907177"/>
                    <a:gd name="connsiteY132" fmla="*/ 273357 h 3033282"/>
                    <a:gd name="connsiteX133" fmla="*/ 2989498 w 3907177"/>
                    <a:gd name="connsiteY133" fmla="*/ 315709 h 3033282"/>
                    <a:gd name="connsiteX134" fmla="*/ 3365815 w 3907177"/>
                    <a:gd name="connsiteY134" fmla="*/ 925987 h 3033282"/>
                    <a:gd name="connsiteX135" fmla="*/ 3233368 w 3907177"/>
                    <a:gd name="connsiteY135" fmla="*/ 1376331 h 3033282"/>
                    <a:gd name="connsiteX136" fmla="*/ 3239761 w 3907177"/>
                    <a:gd name="connsiteY136" fmla="*/ 1410216 h 3033282"/>
                    <a:gd name="connsiteX137" fmla="*/ 3243622 w 3907177"/>
                    <a:gd name="connsiteY137" fmla="*/ 1426604 h 3033282"/>
                    <a:gd name="connsiteX138" fmla="*/ 3302854 w 3907177"/>
                    <a:gd name="connsiteY138" fmla="*/ 1472111 h 3033282"/>
                    <a:gd name="connsiteX139" fmla="*/ 3442037 w 3907177"/>
                    <a:gd name="connsiteY139" fmla="*/ 1705090 h 3033282"/>
                    <a:gd name="connsiteX140" fmla="*/ 3433973 w 3907177"/>
                    <a:gd name="connsiteY140" fmla="*/ 1732860 h 3033282"/>
                    <a:gd name="connsiteX141" fmla="*/ 3404867 w 3907177"/>
                    <a:gd name="connsiteY141" fmla="*/ 1673697 h 3033282"/>
                    <a:gd name="connsiteX142" fmla="*/ 3388345 w 3907177"/>
                    <a:gd name="connsiteY142" fmla="*/ 1639131 h 3033282"/>
                    <a:gd name="connsiteX143" fmla="*/ 3377441 w 3907177"/>
                    <a:gd name="connsiteY143" fmla="*/ 1616053 h 3033282"/>
                    <a:gd name="connsiteX144" fmla="*/ 3359581 w 3907177"/>
                    <a:gd name="connsiteY144" fmla="*/ 1565598 h 3033282"/>
                    <a:gd name="connsiteX145" fmla="*/ 3361687 w 3907177"/>
                    <a:gd name="connsiteY145" fmla="*/ 1582431 h 3033282"/>
                    <a:gd name="connsiteX146" fmla="*/ 3374588 w 3907177"/>
                    <a:gd name="connsiteY146" fmla="*/ 1610015 h 3033282"/>
                    <a:gd name="connsiteX147" fmla="*/ 3377441 w 3907177"/>
                    <a:gd name="connsiteY147" fmla="*/ 1616053 h 3033282"/>
                    <a:gd name="connsiteX148" fmla="*/ 3442901 w 3907177"/>
                    <a:gd name="connsiteY148" fmla="*/ 1800978 h 3033282"/>
                    <a:gd name="connsiteX149" fmla="*/ 3440408 w 3907177"/>
                    <a:gd name="connsiteY149" fmla="*/ 1796829 h 3033282"/>
                    <a:gd name="connsiteX150" fmla="*/ 3433154 w 3907177"/>
                    <a:gd name="connsiteY150" fmla="*/ 1784752 h 3033282"/>
                    <a:gd name="connsiteX151" fmla="*/ 3397602 w 3907177"/>
                    <a:gd name="connsiteY151" fmla="*/ 1761774 h 3033282"/>
                    <a:gd name="connsiteX152" fmla="*/ 3349501 w 3907177"/>
                    <a:gd name="connsiteY152" fmla="*/ 1755507 h 3033282"/>
                    <a:gd name="connsiteX153" fmla="*/ 3395510 w 3907177"/>
                    <a:gd name="connsiteY153" fmla="*/ 1772218 h 3033282"/>
                    <a:gd name="connsiteX154" fmla="*/ 3439918 w 3907177"/>
                    <a:gd name="connsiteY154" fmla="*/ 1800713 h 3033282"/>
                    <a:gd name="connsiteX155" fmla="*/ 3444055 w 3907177"/>
                    <a:gd name="connsiteY155" fmla="*/ 1804238 h 3033282"/>
                    <a:gd name="connsiteX156" fmla="*/ 3555468 w 3907177"/>
                    <a:gd name="connsiteY156" fmla="*/ 2118980 h 3033282"/>
                    <a:gd name="connsiteX157" fmla="*/ 3553362 w 3907177"/>
                    <a:gd name="connsiteY157" fmla="*/ 2091890 h 3033282"/>
                    <a:gd name="connsiteX158" fmla="*/ 3553487 w 3907177"/>
                    <a:gd name="connsiteY158" fmla="*/ 2080908 h 3033282"/>
                    <a:gd name="connsiteX159" fmla="*/ 3554536 w 3907177"/>
                    <a:gd name="connsiteY159" fmla="*/ 2083695 h 3033282"/>
                    <a:gd name="connsiteX160" fmla="*/ 3570142 w 3907177"/>
                    <a:gd name="connsiteY160" fmla="*/ 2125146 h 3033282"/>
                    <a:gd name="connsiteX161" fmla="*/ 3570375 w 3907177"/>
                    <a:gd name="connsiteY161" fmla="*/ 2125765 h 3033282"/>
                    <a:gd name="connsiteX162" fmla="*/ 3570326 w 3907177"/>
                    <a:gd name="connsiteY162" fmla="*/ 2125774 h 3033282"/>
                    <a:gd name="connsiteX163" fmla="*/ 3524755 w 3907177"/>
                    <a:gd name="connsiteY163" fmla="*/ 2128437 h 3033282"/>
                    <a:gd name="connsiteX164" fmla="*/ 3520991 w 3907177"/>
                    <a:gd name="connsiteY164" fmla="*/ 2130652 h 3033282"/>
                    <a:gd name="connsiteX165" fmla="*/ 3519898 w 3907177"/>
                    <a:gd name="connsiteY165" fmla="*/ 2125754 h 3033282"/>
                    <a:gd name="connsiteX166" fmla="*/ 3513061 w 3907177"/>
                    <a:gd name="connsiteY166" fmla="*/ 2102599 h 3033282"/>
                    <a:gd name="connsiteX167" fmla="*/ 3485716 w 3907177"/>
                    <a:gd name="connsiteY167" fmla="*/ 2058392 h 3033282"/>
                    <a:gd name="connsiteX168" fmla="*/ 3422611 w 3907177"/>
                    <a:gd name="connsiteY168" fmla="*/ 2039446 h 3033282"/>
                    <a:gd name="connsiteX169" fmla="*/ 3384747 w 3907177"/>
                    <a:gd name="connsiteY169" fmla="*/ 2043657 h 3033282"/>
                    <a:gd name="connsiteX170" fmla="*/ 3334263 w 3907177"/>
                    <a:gd name="connsiteY170" fmla="*/ 2031026 h 3033282"/>
                    <a:gd name="connsiteX171" fmla="*/ 3378437 w 3907177"/>
                    <a:gd name="connsiteY171" fmla="*/ 2058392 h 3033282"/>
                    <a:gd name="connsiteX172" fmla="*/ 3357402 w 3907177"/>
                    <a:gd name="connsiteY172" fmla="*/ 2092073 h 3033282"/>
                    <a:gd name="connsiteX173" fmla="*/ 3351091 w 3907177"/>
                    <a:gd name="connsiteY173" fmla="*/ 2140490 h 3033282"/>
                    <a:gd name="connsiteX174" fmla="*/ 3317435 w 3907177"/>
                    <a:gd name="connsiteY174" fmla="*/ 2140490 h 3033282"/>
                    <a:gd name="connsiteX175" fmla="*/ 3359505 w 3907177"/>
                    <a:gd name="connsiteY175" fmla="*/ 2155225 h 3033282"/>
                    <a:gd name="connsiteX176" fmla="*/ 3416300 w 3907177"/>
                    <a:gd name="connsiteY176" fmla="*/ 2180486 h 3033282"/>
                    <a:gd name="connsiteX177" fmla="*/ 3468953 w 3907177"/>
                    <a:gd name="connsiteY177" fmla="*/ 2204760 h 3033282"/>
                    <a:gd name="connsiteX178" fmla="*/ 3471183 w 3907177"/>
                    <a:gd name="connsiteY178" fmla="*/ 2205864 h 3033282"/>
                    <a:gd name="connsiteX179" fmla="*/ 3465112 w 3907177"/>
                    <a:gd name="connsiteY179" fmla="*/ 2222558 h 3033282"/>
                    <a:gd name="connsiteX180" fmla="*/ 3404088 w 3907177"/>
                    <a:gd name="connsiteY180" fmla="*/ 2397188 h 3033282"/>
                    <a:gd name="connsiteX181" fmla="*/ 3303083 w 3907177"/>
                    <a:gd name="connsiteY181" fmla="*/ 2544467 h 3033282"/>
                    <a:gd name="connsiteX182" fmla="*/ 3395671 w 3907177"/>
                    <a:gd name="connsiteY182" fmla="*/ 2456100 h 3033282"/>
                    <a:gd name="connsiteX183" fmla="*/ 3450382 w 3907177"/>
                    <a:gd name="connsiteY183" fmla="*/ 2386668 h 3033282"/>
                    <a:gd name="connsiteX184" fmla="*/ 3526136 w 3907177"/>
                    <a:gd name="connsiteY184" fmla="*/ 2184686 h 3033282"/>
                    <a:gd name="connsiteX185" fmla="*/ 3618725 w 3907177"/>
                    <a:gd name="connsiteY185" fmla="*/ 2163646 h 3033282"/>
                    <a:gd name="connsiteX186" fmla="*/ 3751294 w 3907177"/>
                    <a:gd name="connsiteY186" fmla="*/ 2136294 h 3033282"/>
                    <a:gd name="connsiteX187" fmla="*/ 3799430 w 3907177"/>
                    <a:gd name="connsiteY187" fmla="*/ 2104735 h 3033282"/>
                    <a:gd name="connsiteX188" fmla="*/ 3810437 w 3907177"/>
                    <a:gd name="connsiteY188" fmla="*/ 2099831 h 3033282"/>
                    <a:gd name="connsiteX189" fmla="*/ 3824461 w 3907177"/>
                    <a:gd name="connsiteY189" fmla="*/ 2097367 h 3033282"/>
                    <a:gd name="connsiteX190" fmla="*/ 3829342 w 3907177"/>
                    <a:gd name="connsiteY190" fmla="*/ 2096510 h 3033282"/>
                    <a:gd name="connsiteX191" fmla="*/ 3845987 w 3907177"/>
                    <a:gd name="connsiteY191" fmla="*/ 2098423 h 3033282"/>
                    <a:gd name="connsiteX192" fmla="*/ 3904907 w 3907177"/>
                    <a:gd name="connsiteY192" fmla="*/ 2180478 h 3033282"/>
                    <a:gd name="connsiteX193" fmla="*/ 3885968 w 3907177"/>
                    <a:gd name="connsiteY193" fmla="*/ 2315133 h 3033282"/>
                    <a:gd name="connsiteX194" fmla="*/ 3884225 w 3907177"/>
                    <a:gd name="connsiteY194" fmla="*/ 2328571 h 3033282"/>
                    <a:gd name="connsiteX195" fmla="*/ 3881324 w 3907177"/>
                    <a:gd name="connsiteY195" fmla="*/ 2344937 h 3033282"/>
                    <a:gd name="connsiteX196" fmla="*/ 3878738 w 3907177"/>
                    <a:gd name="connsiteY196" fmla="*/ 2354578 h 3033282"/>
                    <a:gd name="connsiteX197" fmla="*/ 3857107 w 3907177"/>
                    <a:gd name="connsiteY197" fmla="*/ 2435219 h 3033282"/>
                    <a:gd name="connsiteX198" fmla="*/ 3839183 w 3907177"/>
                    <a:gd name="connsiteY198" fmla="*/ 2502042 h 3033282"/>
                    <a:gd name="connsiteX199" fmla="*/ 3806236 w 3907177"/>
                    <a:gd name="connsiteY199" fmla="*/ 2584501 h 3033282"/>
                    <a:gd name="connsiteX200" fmla="*/ 3612412 w 3907177"/>
                    <a:gd name="connsiteY200" fmla="*/ 2876897 h 3033282"/>
                    <a:gd name="connsiteX201" fmla="*/ 3004275 w 3907177"/>
                    <a:gd name="connsiteY201" fmla="*/ 2912665 h 3033282"/>
                    <a:gd name="connsiteX202" fmla="*/ 2812785 w 3907177"/>
                    <a:gd name="connsiteY202" fmla="*/ 2759074 h 3033282"/>
                    <a:gd name="connsiteX203" fmla="*/ 2726510 w 3907177"/>
                    <a:gd name="connsiteY203" fmla="*/ 2651771 h 3033282"/>
                    <a:gd name="connsiteX204" fmla="*/ 2722301 w 3907177"/>
                    <a:gd name="connsiteY204" fmla="*/ 2655979 h 3033282"/>
                    <a:gd name="connsiteX205" fmla="*/ 2686529 w 3907177"/>
                    <a:gd name="connsiteY205" fmla="*/ 2750658 h 3033282"/>
                    <a:gd name="connsiteX206" fmla="*/ 2646547 w 3907177"/>
                    <a:gd name="connsiteY206" fmla="*/ 2799050 h 3033282"/>
                    <a:gd name="connsiteX207" fmla="*/ 2593940 w 3907177"/>
                    <a:gd name="connsiteY207" fmla="*/ 2887417 h 3033282"/>
                    <a:gd name="connsiteX208" fmla="*/ 2606566 w 3907177"/>
                    <a:gd name="connsiteY208" fmla="*/ 2963160 h 3033282"/>
                    <a:gd name="connsiteX209" fmla="*/ 2724406 w 3907177"/>
                    <a:gd name="connsiteY209" fmla="*/ 3001032 h 3033282"/>
                    <a:gd name="connsiteX210" fmla="*/ 2614983 w 3907177"/>
                    <a:gd name="connsiteY210" fmla="*/ 2916873 h 3033282"/>
                    <a:gd name="connsiteX211" fmla="*/ 2636026 w 3907177"/>
                    <a:gd name="connsiteY211" fmla="*/ 2931601 h 3033282"/>
                    <a:gd name="connsiteX212" fmla="*/ 2741240 w 3907177"/>
                    <a:gd name="connsiteY212" fmla="*/ 2975784 h 3033282"/>
                    <a:gd name="connsiteX213" fmla="*/ 2823307 w 3907177"/>
                    <a:gd name="connsiteY213" fmla="*/ 2935809 h 3033282"/>
                    <a:gd name="connsiteX214" fmla="*/ 2869601 w 3907177"/>
                    <a:gd name="connsiteY214" fmla="*/ 2874793 h 3033282"/>
                    <a:gd name="connsiteX215" fmla="*/ 2909582 w 3907177"/>
                    <a:gd name="connsiteY215" fmla="*/ 2914769 h 3033282"/>
                    <a:gd name="connsiteX216" fmla="*/ 2804368 w 3907177"/>
                    <a:gd name="connsiteY216" fmla="*/ 3009448 h 3033282"/>
                    <a:gd name="connsiteX217" fmla="*/ 2631817 w 3907177"/>
                    <a:gd name="connsiteY217" fmla="*/ 3019968 h 3033282"/>
                    <a:gd name="connsiteX218" fmla="*/ 2592812 w 3907177"/>
                    <a:gd name="connsiteY218" fmla="*/ 2997729 h 3033282"/>
                    <a:gd name="connsiteX219" fmla="*/ 2571463 w 3907177"/>
                    <a:gd name="connsiteY219" fmla="*/ 2978979 h 3033282"/>
                    <a:gd name="connsiteX220" fmla="*/ 2569646 w 3907177"/>
                    <a:gd name="connsiteY220" fmla="*/ 2977384 h 3033282"/>
                    <a:gd name="connsiteX221" fmla="*/ 2550477 w 3907177"/>
                    <a:gd name="connsiteY221" fmla="*/ 2953365 h 3033282"/>
                    <a:gd name="connsiteX222" fmla="*/ 2543509 w 3907177"/>
                    <a:gd name="connsiteY222" fmla="*/ 2942341 h 3033282"/>
                    <a:gd name="connsiteX223" fmla="*/ 2527951 w 3907177"/>
                    <a:gd name="connsiteY223" fmla="*/ 2910199 h 3033282"/>
                    <a:gd name="connsiteX224" fmla="*/ 2522395 w 3907177"/>
                    <a:gd name="connsiteY224" fmla="*/ 2893729 h 3033282"/>
                    <a:gd name="connsiteX225" fmla="*/ 2457162 w 3907177"/>
                    <a:gd name="connsiteY225" fmla="*/ 2748554 h 3033282"/>
                    <a:gd name="connsiteX226" fmla="*/ 2362469 w 3907177"/>
                    <a:gd name="connsiteY226" fmla="*/ 2651771 h 3033282"/>
                    <a:gd name="connsiteX227" fmla="*/ 2340024 w 3907177"/>
                    <a:gd name="connsiteY227" fmla="*/ 2621933 h 3033282"/>
                    <a:gd name="connsiteX228" fmla="*/ 2338457 w 3907177"/>
                    <a:gd name="connsiteY228" fmla="*/ 2619477 h 3033282"/>
                    <a:gd name="connsiteX229" fmla="*/ 2304048 w 3907177"/>
                    <a:gd name="connsiteY229" fmla="*/ 2565541 h 3033282"/>
                    <a:gd name="connsiteX230" fmla="*/ 2335655 w 3907177"/>
                    <a:gd name="connsiteY230" fmla="*/ 2318674 h 3033282"/>
                    <a:gd name="connsiteX231" fmla="*/ 2366996 w 3907177"/>
                    <a:gd name="connsiteY231" fmla="*/ 2274192 h 3033282"/>
                    <a:gd name="connsiteX232" fmla="*/ 2347572 w 3907177"/>
                    <a:gd name="connsiteY232" fmla="*/ 2275513 h 3033282"/>
                    <a:gd name="connsiteX233" fmla="*/ 2320522 w 3907177"/>
                    <a:gd name="connsiteY233" fmla="*/ 2269084 h 3033282"/>
                    <a:gd name="connsiteX234" fmla="*/ 2038565 w 3907177"/>
                    <a:gd name="connsiteY234" fmla="*/ 2062847 h 3033282"/>
                    <a:gd name="connsiteX235" fmla="*/ 2043892 w 3907177"/>
                    <a:gd name="connsiteY235" fmla="*/ 1618938 h 3033282"/>
                    <a:gd name="connsiteX236" fmla="*/ 2058099 w 3907177"/>
                    <a:gd name="connsiteY236" fmla="*/ 1557525 h 3033282"/>
                    <a:gd name="connsiteX237" fmla="*/ 2055755 w 3907177"/>
                    <a:gd name="connsiteY237" fmla="*/ 1558228 h 3033282"/>
                    <a:gd name="connsiteX238" fmla="*/ 2050316 w 3907177"/>
                    <a:gd name="connsiteY238" fmla="*/ 1559430 h 3033282"/>
                    <a:gd name="connsiteX239" fmla="*/ 1525518 w 3907177"/>
                    <a:gd name="connsiteY239" fmla="*/ 1690090 h 3033282"/>
                    <a:gd name="connsiteX240" fmla="*/ 946985 w 3907177"/>
                    <a:gd name="connsiteY240" fmla="*/ 1875211 h 3033282"/>
                    <a:gd name="connsiteX241" fmla="*/ 559893 w 3907177"/>
                    <a:gd name="connsiteY241" fmla="*/ 1858382 h 3033282"/>
                    <a:gd name="connsiteX242" fmla="*/ 412630 w 3907177"/>
                    <a:gd name="connsiteY242" fmla="*/ 1498659 h 3033282"/>
                    <a:gd name="connsiteX243" fmla="*/ 46576 w 3907177"/>
                    <a:gd name="connsiteY243" fmla="*/ 1063204 h 3033282"/>
                    <a:gd name="connsiteX244" fmla="*/ 36057 w 3907177"/>
                    <a:gd name="connsiteY244" fmla="*/ 665615 h 3033282"/>
                    <a:gd name="connsiteX245" fmla="*/ 191735 w 3907177"/>
                    <a:gd name="connsiteY245" fmla="*/ 459457 h 3033282"/>
                    <a:gd name="connsiteX246" fmla="*/ 374762 w 3907177"/>
                    <a:gd name="connsiteY246" fmla="*/ 465768 h 3033282"/>
                    <a:gd name="connsiteX247" fmla="*/ 677704 w 3907177"/>
                    <a:gd name="connsiteY247" fmla="*/ 528878 h 3033282"/>
                    <a:gd name="connsiteX248" fmla="*/ 1090040 w 3907177"/>
                    <a:gd name="connsiteY248" fmla="*/ 713999 h 3033282"/>
                    <a:gd name="connsiteX249" fmla="*/ 736609 w 3907177"/>
                    <a:gd name="connsiteY249" fmla="*/ 514152 h 3033282"/>
                    <a:gd name="connsiteX250" fmla="*/ 503092 w 3907177"/>
                    <a:gd name="connsiteY250" fmla="*/ 423695 h 3033282"/>
                    <a:gd name="connsiteX251" fmla="*/ 700845 w 3907177"/>
                    <a:gd name="connsiteY251" fmla="*/ 246989 h 3033282"/>
                    <a:gd name="connsiteX252" fmla="*/ 867042 w 3907177"/>
                    <a:gd name="connsiteY252" fmla="*/ 47143 h 3033282"/>
                    <a:gd name="connsiteX253" fmla="*/ 990408 w 3907177"/>
                    <a:gd name="connsiteY253" fmla="*/ 698 h 3033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Lst>
                  <a:rect l="l" t="t" r="r" b="b"/>
                  <a:pathLst>
                    <a:path w="3907177" h="3033282">
                      <a:moveTo>
                        <a:pt x="3283994" y="2199606"/>
                      </a:moveTo>
                      <a:cubicBezTo>
                        <a:pt x="3260886" y="2199606"/>
                        <a:pt x="3239879" y="2208029"/>
                        <a:pt x="3216771" y="2237508"/>
                      </a:cubicBezTo>
                      <a:cubicBezTo>
                        <a:pt x="3206268" y="2252247"/>
                        <a:pt x="3191038" y="2271198"/>
                        <a:pt x="3176070" y="2287254"/>
                      </a:cubicBezTo>
                      <a:lnTo>
                        <a:pt x="3157902" y="2304911"/>
                      </a:lnTo>
                      <a:lnTo>
                        <a:pt x="3148728" y="2311436"/>
                      </a:lnTo>
                      <a:cubicBezTo>
                        <a:pt x="3141540" y="2316470"/>
                        <a:pt x="3136944" y="2319628"/>
                        <a:pt x="3136944" y="2319628"/>
                      </a:cubicBezTo>
                      <a:cubicBezTo>
                        <a:pt x="3141671" y="2318049"/>
                        <a:pt x="3147710" y="2313969"/>
                        <a:pt x="3154439" y="2308277"/>
                      </a:cubicBezTo>
                      <a:lnTo>
                        <a:pt x="3157902" y="2304911"/>
                      </a:lnTo>
                      <a:lnTo>
                        <a:pt x="3176070" y="2291992"/>
                      </a:lnTo>
                      <a:cubicBezTo>
                        <a:pt x="3196815" y="2276989"/>
                        <a:pt x="3219922" y="2259617"/>
                        <a:pt x="3229375" y="2250142"/>
                      </a:cubicBezTo>
                      <a:cubicBezTo>
                        <a:pt x="3248282" y="2231191"/>
                        <a:pt x="3283994" y="2231191"/>
                        <a:pt x="3317605" y="2231191"/>
                      </a:cubicBezTo>
                      <a:cubicBezTo>
                        <a:pt x="3341238" y="2231191"/>
                        <a:pt x="3367234" y="2240666"/>
                        <a:pt x="3378755" y="2245404"/>
                      </a:cubicBezTo>
                      <a:lnTo>
                        <a:pt x="3382808" y="2247161"/>
                      </a:lnTo>
                      <a:lnTo>
                        <a:pt x="3351550" y="2248260"/>
                      </a:lnTo>
                      <a:cubicBezTo>
                        <a:pt x="3337425" y="2251320"/>
                        <a:pt x="3324650" y="2257505"/>
                        <a:pt x="3315694" y="2268558"/>
                      </a:cubicBezTo>
                      <a:cubicBezTo>
                        <a:pt x="3281978" y="2310668"/>
                        <a:pt x="3267228" y="2335934"/>
                        <a:pt x="3248262" y="2369622"/>
                      </a:cubicBezTo>
                      <a:cubicBezTo>
                        <a:pt x="3229297" y="2403310"/>
                        <a:pt x="3195581" y="2443314"/>
                        <a:pt x="3195581" y="2443314"/>
                      </a:cubicBezTo>
                      <a:cubicBezTo>
                        <a:pt x="3195581" y="2443314"/>
                        <a:pt x="3273549" y="2363305"/>
                        <a:pt x="3288300" y="2346462"/>
                      </a:cubicBezTo>
                      <a:cubicBezTo>
                        <a:pt x="3303051" y="2327512"/>
                        <a:pt x="3309372" y="2312774"/>
                        <a:pt x="3334660" y="2295930"/>
                      </a:cubicBezTo>
                      <a:cubicBezTo>
                        <a:pt x="3357839" y="2279086"/>
                        <a:pt x="3381019" y="2279086"/>
                        <a:pt x="3404199" y="2281191"/>
                      </a:cubicBezTo>
                      <a:cubicBezTo>
                        <a:pt x="3427378" y="2283297"/>
                        <a:pt x="3442129" y="2291719"/>
                        <a:pt x="3442129" y="2291719"/>
                      </a:cubicBezTo>
                      <a:lnTo>
                        <a:pt x="3448451" y="2258031"/>
                      </a:lnTo>
                      <a:cubicBezTo>
                        <a:pt x="3448451" y="2258031"/>
                        <a:pt x="3442393" y="2255926"/>
                        <a:pt x="3432746" y="2253458"/>
                      </a:cubicBezTo>
                      <a:lnTo>
                        <a:pt x="3399309" y="2247403"/>
                      </a:lnTo>
                      <a:lnTo>
                        <a:pt x="3406885" y="2246720"/>
                      </a:lnTo>
                      <a:cubicBezTo>
                        <a:pt x="3417388" y="2244878"/>
                        <a:pt x="3426842" y="2240666"/>
                        <a:pt x="3422640" y="2231191"/>
                      </a:cubicBezTo>
                      <a:cubicBezTo>
                        <a:pt x="3412137" y="2214346"/>
                        <a:pt x="3391130" y="2216451"/>
                        <a:pt x="3370122" y="2208029"/>
                      </a:cubicBezTo>
                      <a:cubicBezTo>
                        <a:pt x="3349115" y="2201712"/>
                        <a:pt x="3309202" y="2199606"/>
                        <a:pt x="3283994" y="2199606"/>
                      </a:cubicBezTo>
                      <a:close/>
                      <a:moveTo>
                        <a:pt x="3868985" y="2136388"/>
                      </a:moveTo>
                      <a:cubicBezTo>
                        <a:pt x="3868985" y="2136388"/>
                        <a:pt x="3778558" y="2193138"/>
                        <a:pt x="3734396" y="2199444"/>
                      </a:cubicBezTo>
                      <a:cubicBezTo>
                        <a:pt x="3690235" y="2205750"/>
                        <a:pt x="3646073" y="2235176"/>
                        <a:pt x="3559852" y="2182629"/>
                      </a:cubicBezTo>
                      <a:cubicBezTo>
                        <a:pt x="3555646" y="2180527"/>
                        <a:pt x="3604014" y="2239379"/>
                        <a:pt x="3641867" y="2241481"/>
                      </a:cubicBezTo>
                      <a:cubicBezTo>
                        <a:pt x="3681823" y="2243583"/>
                        <a:pt x="3702852" y="2239379"/>
                        <a:pt x="3702852" y="2239379"/>
                      </a:cubicBezTo>
                      <a:cubicBezTo>
                        <a:pt x="3784867" y="2228870"/>
                        <a:pt x="3820617" y="2188935"/>
                        <a:pt x="3831132" y="2178425"/>
                      </a:cubicBezTo>
                      <a:cubicBezTo>
                        <a:pt x="3843750" y="2170018"/>
                        <a:pt x="3868985" y="2136388"/>
                        <a:pt x="3868985" y="2136388"/>
                      </a:cubicBezTo>
                      <a:close/>
                      <a:moveTo>
                        <a:pt x="3385344" y="2089937"/>
                      </a:moveTo>
                      <a:cubicBezTo>
                        <a:pt x="3391674" y="2089411"/>
                        <a:pt x="3398532" y="2089937"/>
                        <a:pt x="3403807" y="2092045"/>
                      </a:cubicBezTo>
                      <a:cubicBezTo>
                        <a:pt x="3412247" y="2096259"/>
                        <a:pt x="3418577" y="2104688"/>
                        <a:pt x="3420687" y="2119439"/>
                      </a:cubicBezTo>
                      <a:cubicBezTo>
                        <a:pt x="3422797" y="2132083"/>
                        <a:pt x="3410137" y="2151048"/>
                        <a:pt x="3410137" y="2151048"/>
                      </a:cubicBezTo>
                      <a:cubicBezTo>
                        <a:pt x="3410137" y="2151048"/>
                        <a:pt x="3389037" y="2144726"/>
                        <a:pt x="3380596" y="2144726"/>
                      </a:cubicBezTo>
                      <a:cubicBezTo>
                        <a:pt x="3374266" y="2142619"/>
                        <a:pt x="3353166" y="2146834"/>
                        <a:pt x="3353166" y="2146834"/>
                      </a:cubicBezTo>
                      <a:lnTo>
                        <a:pt x="3353166" y="2113117"/>
                      </a:lnTo>
                      <a:cubicBezTo>
                        <a:pt x="3353166" y="2113117"/>
                        <a:pt x="3365826" y="2096259"/>
                        <a:pt x="3370046" y="2094152"/>
                      </a:cubicBezTo>
                      <a:cubicBezTo>
                        <a:pt x="3373211" y="2092045"/>
                        <a:pt x="3379014" y="2090464"/>
                        <a:pt x="3385344" y="2089937"/>
                      </a:cubicBezTo>
                      <a:close/>
                      <a:moveTo>
                        <a:pt x="2921466" y="1940074"/>
                      </a:moveTo>
                      <a:cubicBezTo>
                        <a:pt x="2903875" y="1940863"/>
                        <a:pt x="2886546" y="1942966"/>
                        <a:pt x="2876044" y="1945069"/>
                      </a:cubicBezTo>
                      <a:cubicBezTo>
                        <a:pt x="2857140" y="1951377"/>
                        <a:pt x="2819332" y="1968200"/>
                        <a:pt x="2796228" y="1980818"/>
                      </a:cubicBezTo>
                      <a:cubicBezTo>
                        <a:pt x="2773123" y="1995538"/>
                        <a:pt x="2716411" y="2018670"/>
                        <a:pt x="2716411" y="2018670"/>
                      </a:cubicBezTo>
                      <a:cubicBezTo>
                        <a:pt x="2716411" y="2018670"/>
                        <a:pt x="2756319" y="2016567"/>
                        <a:pt x="2773123" y="2014464"/>
                      </a:cubicBezTo>
                      <a:cubicBezTo>
                        <a:pt x="2789926" y="2014464"/>
                        <a:pt x="2813031" y="2008155"/>
                        <a:pt x="2813031" y="2008155"/>
                      </a:cubicBezTo>
                      <a:cubicBezTo>
                        <a:pt x="2813031" y="2008155"/>
                        <a:pt x="2802529" y="2046007"/>
                        <a:pt x="2810931" y="2075448"/>
                      </a:cubicBezTo>
                      <a:cubicBezTo>
                        <a:pt x="2817232" y="2102785"/>
                        <a:pt x="2825634" y="2117505"/>
                        <a:pt x="2825634" y="2117505"/>
                      </a:cubicBezTo>
                      <a:cubicBezTo>
                        <a:pt x="2825634" y="2117505"/>
                        <a:pt x="2825634" y="2119608"/>
                        <a:pt x="2817232" y="2123814"/>
                      </a:cubicBezTo>
                      <a:cubicBezTo>
                        <a:pt x="2810931" y="2125917"/>
                        <a:pt x="2773123" y="2157460"/>
                        <a:pt x="2773123" y="2157460"/>
                      </a:cubicBezTo>
                      <a:cubicBezTo>
                        <a:pt x="2773123" y="2157460"/>
                        <a:pt x="2831935" y="2132226"/>
                        <a:pt x="2848738" y="2125917"/>
                      </a:cubicBezTo>
                      <a:cubicBezTo>
                        <a:pt x="2865542" y="2121711"/>
                        <a:pt x="2901249" y="2113300"/>
                        <a:pt x="2941157" y="2104888"/>
                      </a:cubicBezTo>
                      <a:cubicBezTo>
                        <a:pt x="2981066" y="2096476"/>
                        <a:pt x="3111292" y="2106991"/>
                        <a:pt x="3111292" y="2106991"/>
                      </a:cubicBezTo>
                      <a:cubicBezTo>
                        <a:pt x="3111292" y="2106991"/>
                        <a:pt x="3073484" y="2092271"/>
                        <a:pt x="3056681" y="2085962"/>
                      </a:cubicBezTo>
                      <a:cubicBezTo>
                        <a:pt x="3039878" y="2081756"/>
                        <a:pt x="3016773" y="2081756"/>
                        <a:pt x="3016773" y="2081756"/>
                      </a:cubicBezTo>
                      <a:cubicBezTo>
                        <a:pt x="3016773" y="2081756"/>
                        <a:pt x="3029375" y="2052316"/>
                        <a:pt x="3023074" y="2027081"/>
                      </a:cubicBezTo>
                      <a:cubicBezTo>
                        <a:pt x="3016773" y="1999744"/>
                        <a:pt x="2995769" y="1970303"/>
                        <a:pt x="2995769" y="1970303"/>
                      </a:cubicBezTo>
                      <a:cubicBezTo>
                        <a:pt x="2995769" y="1970303"/>
                        <a:pt x="3002070" y="1966098"/>
                        <a:pt x="3018873" y="1966098"/>
                      </a:cubicBezTo>
                      <a:cubicBezTo>
                        <a:pt x="3035677" y="1963995"/>
                        <a:pt x="3065083" y="1957686"/>
                        <a:pt x="3065083" y="1957686"/>
                      </a:cubicBezTo>
                      <a:cubicBezTo>
                        <a:pt x="3065083" y="1957686"/>
                        <a:pt x="2991568" y="1949274"/>
                        <a:pt x="2968463" y="1942966"/>
                      </a:cubicBezTo>
                      <a:cubicBezTo>
                        <a:pt x="2956910" y="1939811"/>
                        <a:pt x="2939057" y="1939286"/>
                        <a:pt x="2921466" y="1940074"/>
                      </a:cubicBezTo>
                      <a:close/>
                      <a:moveTo>
                        <a:pt x="2882143" y="1689578"/>
                      </a:moveTo>
                      <a:cubicBezTo>
                        <a:pt x="2843731" y="1689315"/>
                        <a:pt x="2800057" y="1691418"/>
                        <a:pt x="2779009" y="1700880"/>
                      </a:cubicBezTo>
                      <a:cubicBezTo>
                        <a:pt x="2736913" y="1717702"/>
                        <a:pt x="2720075" y="1810222"/>
                        <a:pt x="2720075" y="1810222"/>
                      </a:cubicBezTo>
                      <a:cubicBezTo>
                        <a:pt x="2720075" y="1810222"/>
                        <a:pt x="2760066" y="1759756"/>
                        <a:pt x="2806371" y="1730318"/>
                      </a:cubicBezTo>
                      <a:cubicBezTo>
                        <a:pt x="2852676" y="1698777"/>
                        <a:pt x="2953705" y="1692469"/>
                        <a:pt x="2953705" y="1692469"/>
                      </a:cubicBezTo>
                      <a:cubicBezTo>
                        <a:pt x="2953705" y="1692469"/>
                        <a:pt x="2920555" y="1689840"/>
                        <a:pt x="2882143" y="1689578"/>
                      </a:cubicBezTo>
                      <a:close/>
                      <a:moveTo>
                        <a:pt x="2751741" y="1152523"/>
                      </a:moveTo>
                      <a:lnTo>
                        <a:pt x="2752273" y="1154187"/>
                      </a:lnTo>
                      <a:lnTo>
                        <a:pt x="2764036" y="1192874"/>
                      </a:lnTo>
                      <a:lnTo>
                        <a:pt x="2787833" y="1274009"/>
                      </a:lnTo>
                      <a:lnTo>
                        <a:pt x="2819472" y="1283014"/>
                      </a:lnTo>
                      <a:lnTo>
                        <a:pt x="2820261" y="1283258"/>
                      </a:lnTo>
                      <a:lnTo>
                        <a:pt x="2825890" y="1283302"/>
                      </a:lnTo>
                      <a:lnTo>
                        <a:pt x="2903747" y="1291542"/>
                      </a:lnTo>
                      <a:lnTo>
                        <a:pt x="2899550" y="1288295"/>
                      </a:lnTo>
                      <a:cubicBezTo>
                        <a:pt x="2806596" y="1216396"/>
                        <a:pt x="2806596" y="1216396"/>
                        <a:pt x="2806596" y="1216396"/>
                      </a:cubicBezTo>
                      <a:cubicBezTo>
                        <a:pt x="2806596" y="1216396"/>
                        <a:pt x="2794376" y="1202454"/>
                        <a:pt x="2775061" y="1179930"/>
                      </a:cubicBezTo>
                      <a:close/>
                      <a:moveTo>
                        <a:pt x="1695768" y="862876"/>
                      </a:moveTo>
                      <a:cubicBezTo>
                        <a:pt x="2078780" y="919680"/>
                        <a:pt x="2078780" y="919680"/>
                        <a:pt x="2078780" y="919680"/>
                      </a:cubicBezTo>
                      <a:cubicBezTo>
                        <a:pt x="2078780" y="919680"/>
                        <a:pt x="2137705" y="923888"/>
                        <a:pt x="2177689" y="938615"/>
                      </a:cubicBezTo>
                      <a:cubicBezTo>
                        <a:pt x="2217674" y="951238"/>
                        <a:pt x="2274495" y="997523"/>
                        <a:pt x="2274495" y="997523"/>
                      </a:cubicBezTo>
                      <a:cubicBezTo>
                        <a:pt x="2274495" y="997523"/>
                        <a:pt x="2226092" y="984900"/>
                        <a:pt x="2192421" y="984900"/>
                      </a:cubicBezTo>
                      <a:cubicBezTo>
                        <a:pt x="2160854" y="987004"/>
                        <a:pt x="2101929" y="1026977"/>
                        <a:pt x="2082989" y="1031185"/>
                      </a:cubicBezTo>
                      <a:cubicBezTo>
                        <a:pt x="2061944" y="1035392"/>
                        <a:pt x="2013542" y="1064846"/>
                        <a:pt x="2013542" y="1064846"/>
                      </a:cubicBezTo>
                      <a:cubicBezTo>
                        <a:pt x="2013542" y="1064846"/>
                        <a:pt x="2118765" y="1039600"/>
                        <a:pt x="2177689" y="1060639"/>
                      </a:cubicBezTo>
                      <a:cubicBezTo>
                        <a:pt x="2234510" y="1081677"/>
                        <a:pt x="2276599" y="1062742"/>
                        <a:pt x="2320793" y="1102716"/>
                      </a:cubicBezTo>
                      <a:cubicBezTo>
                        <a:pt x="2362882" y="1142689"/>
                        <a:pt x="2402867" y="1193182"/>
                        <a:pt x="2402867" y="1193182"/>
                      </a:cubicBezTo>
                      <a:lnTo>
                        <a:pt x="2477977" y="1304520"/>
                      </a:lnTo>
                      <a:lnTo>
                        <a:pt x="2495231" y="1302276"/>
                      </a:lnTo>
                      <a:lnTo>
                        <a:pt x="2479203" y="1263722"/>
                      </a:lnTo>
                      <a:cubicBezTo>
                        <a:pt x="2435552" y="1159125"/>
                        <a:pt x="2373405" y="1012512"/>
                        <a:pt x="2352360" y="974380"/>
                      </a:cubicBezTo>
                      <a:cubicBezTo>
                        <a:pt x="2320793" y="913369"/>
                        <a:pt x="2238719" y="886019"/>
                        <a:pt x="2194525" y="875499"/>
                      </a:cubicBezTo>
                      <a:cubicBezTo>
                        <a:pt x="2150331" y="862876"/>
                        <a:pt x="1695768" y="862876"/>
                        <a:pt x="1695768" y="862876"/>
                      </a:cubicBezTo>
                      <a:close/>
                      <a:moveTo>
                        <a:pt x="2884074" y="435929"/>
                      </a:moveTo>
                      <a:cubicBezTo>
                        <a:pt x="2884074" y="435929"/>
                        <a:pt x="2919884" y="555927"/>
                        <a:pt x="2987291" y="631716"/>
                      </a:cubicBezTo>
                      <a:cubicBezTo>
                        <a:pt x="3054698" y="705399"/>
                        <a:pt x="3130531" y="1008552"/>
                        <a:pt x="3130531" y="1008552"/>
                      </a:cubicBezTo>
                      <a:cubicBezTo>
                        <a:pt x="3130531" y="1008552"/>
                        <a:pt x="3115786" y="812766"/>
                        <a:pt x="3063124" y="682241"/>
                      </a:cubicBezTo>
                      <a:cubicBezTo>
                        <a:pt x="3063124" y="682241"/>
                        <a:pt x="2993611" y="549612"/>
                        <a:pt x="2970440" y="520138"/>
                      </a:cubicBezTo>
                      <a:cubicBezTo>
                        <a:pt x="2945162" y="490665"/>
                        <a:pt x="2884074" y="435929"/>
                        <a:pt x="2884074" y="435929"/>
                      </a:cubicBezTo>
                      <a:close/>
                      <a:moveTo>
                        <a:pt x="990408" y="698"/>
                      </a:moveTo>
                      <a:cubicBezTo>
                        <a:pt x="1005101" y="-321"/>
                        <a:pt x="1021142" y="-189"/>
                        <a:pt x="1039550" y="863"/>
                      </a:cubicBezTo>
                      <a:cubicBezTo>
                        <a:pt x="1111078" y="5070"/>
                        <a:pt x="1258341" y="38728"/>
                        <a:pt x="1348803" y="72387"/>
                      </a:cubicBezTo>
                      <a:cubicBezTo>
                        <a:pt x="1439264" y="103941"/>
                        <a:pt x="1653848" y="181776"/>
                        <a:pt x="1737998" y="232264"/>
                      </a:cubicBezTo>
                      <a:cubicBezTo>
                        <a:pt x="1830564" y="284855"/>
                        <a:pt x="1914714" y="318513"/>
                        <a:pt x="2005176" y="371104"/>
                      </a:cubicBezTo>
                      <a:cubicBezTo>
                        <a:pt x="2051459" y="397400"/>
                        <a:pt x="2127194" y="436317"/>
                        <a:pt x="2203455" y="477601"/>
                      </a:cubicBezTo>
                      <a:lnTo>
                        <a:pt x="2296994" y="530121"/>
                      </a:lnTo>
                      <a:lnTo>
                        <a:pt x="2323986" y="546882"/>
                      </a:lnTo>
                      <a:lnTo>
                        <a:pt x="2357160" y="567482"/>
                      </a:lnTo>
                      <a:lnTo>
                        <a:pt x="2404890" y="598298"/>
                      </a:lnTo>
                      <a:lnTo>
                        <a:pt x="2415440" y="605928"/>
                      </a:lnTo>
                      <a:lnTo>
                        <a:pt x="2362991" y="493093"/>
                      </a:lnTo>
                      <a:cubicBezTo>
                        <a:pt x="2362991" y="493093"/>
                        <a:pt x="2362991" y="493093"/>
                        <a:pt x="2329266" y="483333"/>
                      </a:cubicBezTo>
                      <a:lnTo>
                        <a:pt x="2307060" y="476906"/>
                      </a:lnTo>
                      <a:lnTo>
                        <a:pt x="2313198" y="470584"/>
                      </a:lnTo>
                      <a:cubicBezTo>
                        <a:pt x="2335494" y="447752"/>
                        <a:pt x="2406858" y="375701"/>
                        <a:pt x="2460566" y="333037"/>
                      </a:cubicBezTo>
                      <a:lnTo>
                        <a:pt x="2482676" y="317005"/>
                      </a:lnTo>
                      <a:lnTo>
                        <a:pt x="2522361" y="296868"/>
                      </a:lnTo>
                      <a:lnTo>
                        <a:pt x="2554579" y="283748"/>
                      </a:lnTo>
                      <a:cubicBezTo>
                        <a:pt x="2588217" y="269017"/>
                        <a:pt x="2633417" y="251656"/>
                        <a:pt x="2694384" y="254812"/>
                      </a:cubicBezTo>
                      <a:cubicBezTo>
                        <a:pt x="2724868" y="256391"/>
                        <a:pt x="2759293" y="263098"/>
                        <a:pt x="2798186" y="277829"/>
                      </a:cubicBezTo>
                      <a:cubicBezTo>
                        <a:pt x="2951656" y="336753"/>
                        <a:pt x="2857052" y="260994"/>
                        <a:pt x="2857052" y="260994"/>
                      </a:cubicBezTo>
                      <a:cubicBezTo>
                        <a:pt x="2857052" y="260994"/>
                        <a:pt x="2858530" y="261224"/>
                        <a:pt x="2861191" y="261705"/>
                      </a:cubicBezTo>
                      <a:lnTo>
                        <a:pt x="2866568" y="262766"/>
                      </a:lnTo>
                      <a:lnTo>
                        <a:pt x="2867847" y="263215"/>
                      </a:lnTo>
                      <a:cubicBezTo>
                        <a:pt x="2872013" y="264887"/>
                        <a:pt x="2874182" y="265939"/>
                        <a:pt x="2874182" y="265939"/>
                      </a:cubicBezTo>
                      <a:cubicBezTo>
                        <a:pt x="2874182" y="265939"/>
                        <a:pt x="2875760" y="265775"/>
                        <a:pt x="2878772" y="265783"/>
                      </a:cubicBezTo>
                      <a:lnTo>
                        <a:pt x="2879970" y="265863"/>
                      </a:lnTo>
                      <a:lnTo>
                        <a:pt x="2909084" y="273357"/>
                      </a:lnTo>
                      <a:cubicBezTo>
                        <a:pt x="2937466" y="282038"/>
                        <a:pt x="2970577" y="295717"/>
                        <a:pt x="2989498" y="315709"/>
                      </a:cubicBezTo>
                      <a:cubicBezTo>
                        <a:pt x="3027340" y="357797"/>
                        <a:pt x="3391043" y="702920"/>
                        <a:pt x="3365815" y="925987"/>
                      </a:cubicBezTo>
                      <a:cubicBezTo>
                        <a:pt x="3351098" y="1060670"/>
                        <a:pt x="3227061" y="1315303"/>
                        <a:pt x="3233368" y="1376331"/>
                      </a:cubicBezTo>
                      <a:cubicBezTo>
                        <a:pt x="3234682" y="1385538"/>
                        <a:pt x="3236920" y="1397159"/>
                        <a:pt x="3239761" y="1410216"/>
                      </a:cubicBezTo>
                      <a:lnTo>
                        <a:pt x="3243622" y="1426604"/>
                      </a:lnTo>
                      <a:lnTo>
                        <a:pt x="3302854" y="1472111"/>
                      </a:lnTo>
                      <a:cubicBezTo>
                        <a:pt x="3370331" y="1532754"/>
                        <a:pt x="3422311" y="1609600"/>
                        <a:pt x="3442037" y="1705090"/>
                      </a:cubicBezTo>
                      <a:lnTo>
                        <a:pt x="3433973" y="1732860"/>
                      </a:lnTo>
                      <a:lnTo>
                        <a:pt x="3404867" y="1673697"/>
                      </a:lnTo>
                      <a:cubicBezTo>
                        <a:pt x="3399074" y="1661664"/>
                        <a:pt x="3393479" y="1649944"/>
                        <a:pt x="3388345" y="1639131"/>
                      </a:cubicBezTo>
                      <a:lnTo>
                        <a:pt x="3377441" y="1616053"/>
                      </a:lnTo>
                      <a:lnTo>
                        <a:pt x="3359581" y="1565598"/>
                      </a:lnTo>
                      <a:cubicBezTo>
                        <a:pt x="3359581" y="1565598"/>
                        <a:pt x="3359581" y="1565598"/>
                        <a:pt x="3361687" y="1582431"/>
                      </a:cubicBezTo>
                      <a:cubicBezTo>
                        <a:pt x="3361687" y="1582431"/>
                        <a:pt x="3366690" y="1593215"/>
                        <a:pt x="3374588" y="1610015"/>
                      </a:cubicBezTo>
                      <a:lnTo>
                        <a:pt x="3377441" y="1616053"/>
                      </a:lnTo>
                      <a:lnTo>
                        <a:pt x="3442901" y="1800978"/>
                      </a:lnTo>
                      <a:lnTo>
                        <a:pt x="3440408" y="1796829"/>
                      </a:lnTo>
                      <a:cubicBezTo>
                        <a:pt x="3438644" y="1793891"/>
                        <a:pt x="3436291" y="1789974"/>
                        <a:pt x="3433154" y="1784752"/>
                      </a:cubicBezTo>
                      <a:cubicBezTo>
                        <a:pt x="3433154" y="1784752"/>
                        <a:pt x="3414332" y="1768041"/>
                        <a:pt x="3397602" y="1761774"/>
                      </a:cubicBezTo>
                      <a:cubicBezTo>
                        <a:pt x="3380871" y="1753418"/>
                        <a:pt x="3349501" y="1755507"/>
                        <a:pt x="3349501" y="1755507"/>
                      </a:cubicBezTo>
                      <a:cubicBezTo>
                        <a:pt x="3349501" y="1755507"/>
                        <a:pt x="3380871" y="1768041"/>
                        <a:pt x="3395510" y="1772218"/>
                      </a:cubicBezTo>
                      <a:cubicBezTo>
                        <a:pt x="3406489" y="1773785"/>
                        <a:pt x="3429233" y="1791802"/>
                        <a:pt x="3439918" y="1800713"/>
                      </a:cubicBezTo>
                      <a:lnTo>
                        <a:pt x="3444055" y="1804238"/>
                      </a:lnTo>
                      <a:lnTo>
                        <a:pt x="3555468" y="2118980"/>
                      </a:lnTo>
                      <a:cubicBezTo>
                        <a:pt x="3555468" y="2118980"/>
                        <a:pt x="3553888" y="2108460"/>
                        <a:pt x="3553362" y="2091890"/>
                      </a:cubicBezTo>
                      <a:lnTo>
                        <a:pt x="3553487" y="2080908"/>
                      </a:lnTo>
                      <a:lnTo>
                        <a:pt x="3554536" y="2083695"/>
                      </a:lnTo>
                      <a:cubicBezTo>
                        <a:pt x="3566426" y="2115277"/>
                        <a:pt x="3569399" y="2123172"/>
                        <a:pt x="3570142" y="2125146"/>
                      </a:cubicBezTo>
                      <a:lnTo>
                        <a:pt x="3570375" y="2125765"/>
                      </a:lnTo>
                      <a:lnTo>
                        <a:pt x="3570326" y="2125774"/>
                      </a:lnTo>
                      <a:cubicBezTo>
                        <a:pt x="3545075" y="2130508"/>
                        <a:pt x="3536395" y="2124591"/>
                        <a:pt x="3524755" y="2128437"/>
                      </a:cubicBezTo>
                      <a:lnTo>
                        <a:pt x="3520991" y="2130652"/>
                      </a:lnTo>
                      <a:lnTo>
                        <a:pt x="3519898" y="2125754"/>
                      </a:lnTo>
                      <a:cubicBezTo>
                        <a:pt x="3517794" y="2116808"/>
                        <a:pt x="3515165" y="2106809"/>
                        <a:pt x="3513061" y="2102599"/>
                      </a:cubicBezTo>
                      <a:cubicBezTo>
                        <a:pt x="3510958" y="2096283"/>
                        <a:pt x="3498337" y="2064707"/>
                        <a:pt x="3485716" y="2058392"/>
                      </a:cubicBezTo>
                      <a:cubicBezTo>
                        <a:pt x="3475198" y="2052077"/>
                        <a:pt x="3435232" y="2037341"/>
                        <a:pt x="3422611" y="2039446"/>
                      </a:cubicBezTo>
                      <a:cubicBezTo>
                        <a:pt x="3409989" y="2039446"/>
                        <a:pt x="3397368" y="2045762"/>
                        <a:pt x="3384747" y="2043657"/>
                      </a:cubicBezTo>
                      <a:cubicBezTo>
                        <a:pt x="3372126" y="2041551"/>
                        <a:pt x="3334263" y="2031026"/>
                        <a:pt x="3334263" y="2031026"/>
                      </a:cubicBezTo>
                      <a:cubicBezTo>
                        <a:pt x="3378437" y="2058392"/>
                        <a:pt x="3378437" y="2058392"/>
                        <a:pt x="3378437" y="2058392"/>
                      </a:cubicBezTo>
                      <a:cubicBezTo>
                        <a:pt x="3378437" y="2058392"/>
                        <a:pt x="3359505" y="2079443"/>
                        <a:pt x="3357402" y="2092073"/>
                      </a:cubicBezTo>
                      <a:cubicBezTo>
                        <a:pt x="3348988" y="2111019"/>
                        <a:pt x="3351091" y="2140490"/>
                        <a:pt x="3351091" y="2140490"/>
                      </a:cubicBezTo>
                      <a:cubicBezTo>
                        <a:pt x="3317435" y="2140490"/>
                        <a:pt x="3317435" y="2140490"/>
                        <a:pt x="3317435" y="2140490"/>
                      </a:cubicBezTo>
                      <a:cubicBezTo>
                        <a:pt x="3317435" y="2140490"/>
                        <a:pt x="3348988" y="2148910"/>
                        <a:pt x="3359505" y="2155225"/>
                      </a:cubicBezTo>
                      <a:cubicBezTo>
                        <a:pt x="3370023" y="2161541"/>
                        <a:pt x="3395265" y="2172066"/>
                        <a:pt x="3416300" y="2180486"/>
                      </a:cubicBezTo>
                      <a:cubicBezTo>
                        <a:pt x="3432076" y="2186801"/>
                        <a:pt x="3457318" y="2199037"/>
                        <a:pt x="3468953" y="2204760"/>
                      </a:cubicBezTo>
                      <a:lnTo>
                        <a:pt x="3471183" y="2205864"/>
                      </a:lnTo>
                      <a:lnTo>
                        <a:pt x="3465112" y="2222558"/>
                      </a:lnTo>
                      <a:cubicBezTo>
                        <a:pt x="3458799" y="2247805"/>
                        <a:pt x="3418818" y="2359317"/>
                        <a:pt x="3404088" y="2397188"/>
                      </a:cubicBezTo>
                      <a:cubicBezTo>
                        <a:pt x="3389358" y="2435060"/>
                        <a:pt x="3303083" y="2544467"/>
                        <a:pt x="3303083" y="2544467"/>
                      </a:cubicBezTo>
                      <a:cubicBezTo>
                        <a:pt x="3303083" y="2544467"/>
                        <a:pt x="3383045" y="2468724"/>
                        <a:pt x="3395671" y="2456100"/>
                      </a:cubicBezTo>
                      <a:cubicBezTo>
                        <a:pt x="3410401" y="2443476"/>
                        <a:pt x="3429339" y="2411916"/>
                        <a:pt x="3450382" y="2386668"/>
                      </a:cubicBezTo>
                      <a:cubicBezTo>
                        <a:pt x="3469321" y="2363525"/>
                        <a:pt x="3515615" y="2209934"/>
                        <a:pt x="3526136" y="2184686"/>
                      </a:cubicBezTo>
                      <a:cubicBezTo>
                        <a:pt x="3538762" y="2157334"/>
                        <a:pt x="3574535" y="2159438"/>
                        <a:pt x="3618725" y="2163646"/>
                      </a:cubicBezTo>
                      <a:cubicBezTo>
                        <a:pt x="3665019" y="2167854"/>
                        <a:pt x="3707104" y="2155230"/>
                        <a:pt x="3751294" y="2136294"/>
                      </a:cubicBezTo>
                      <a:cubicBezTo>
                        <a:pt x="3772337" y="2126826"/>
                        <a:pt x="3786015" y="2113676"/>
                        <a:pt x="3799430" y="2104735"/>
                      </a:cubicBezTo>
                      <a:lnTo>
                        <a:pt x="3810437" y="2099831"/>
                      </a:lnTo>
                      <a:lnTo>
                        <a:pt x="3824461" y="2097367"/>
                      </a:lnTo>
                      <a:lnTo>
                        <a:pt x="3829342" y="2096510"/>
                      </a:lnTo>
                      <a:lnTo>
                        <a:pt x="3845987" y="2098423"/>
                      </a:lnTo>
                      <a:cubicBezTo>
                        <a:pt x="3885968" y="2111046"/>
                        <a:pt x="3894385" y="2134190"/>
                        <a:pt x="3904907" y="2180478"/>
                      </a:cubicBezTo>
                      <a:cubicBezTo>
                        <a:pt x="3915428" y="2226766"/>
                        <a:pt x="3885968" y="2315133"/>
                        <a:pt x="3885968" y="2315133"/>
                      </a:cubicBezTo>
                      <a:cubicBezTo>
                        <a:pt x="3885968" y="2315133"/>
                        <a:pt x="3885508" y="2319834"/>
                        <a:pt x="3884225" y="2328571"/>
                      </a:cubicBezTo>
                      <a:lnTo>
                        <a:pt x="3881324" y="2344937"/>
                      </a:lnTo>
                      <a:lnTo>
                        <a:pt x="3878738" y="2354578"/>
                      </a:lnTo>
                      <a:cubicBezTo>
                        <a:pt x="3870987" y="2383473"/>
                        <a:pt x="3863790" y="2410304"/>
                        <a:pt x="3857107" y="2435219"/>
                      </a:cubicBezTo>
                      <a:lnTo>
                        <a:pt x="3839183" y="2502042"/>
                      </a:lnTo>
                      <a:lnTo>
                        <a:pt x="3806236" y="2584501"/>
                      </a:lnTo>
                      <a:cubicBezTo>
                        <a:pt x="3765301" y="2675605"/>
                        <a:pt x="3703948" y="2779062"/>
                        <a:pt x="3612412" y="2876897"/>
                      </a:cubicBezTo>
                      <a:cubicBezTo>
                        <a:pt x="3370419" y="3137791"/>
                        <a:pt x="3046360" y="2935809"/>
                        <a:pt x="3004275" y="2912665"/>
                      </a:cubicBezTo>
                      <a:cubicBezTo>
                        <a:pt x="2962189" y="2889521"/>
                        <a:pt x="2852767" y="2792738"/>
                        <a:pt x="2812785" y="2759074"/>
                      </a:cubicBezTo>
                      <a:cubicBezTo>
                        <a:pt x="2770700" y="2725410"/>
                        <a:pt x="2726510" y="2651771"/>
                        <a:pt x="2726510" y="2651771"/>
                      </a:cubicBezTo>
                      <a:cubicBezTo>
                        <a:pt x="2726510" y="2651771"/>
                        <a:pt x="2724406" y="2649667"/>
                        <a:pt x="2722301" y="2655979"/>
                      </a:cubicBezTo>
                      <a:cubicBezTo>
                        <a:pt x="2720197" y="2662291"/>
                        <a:pt x="2699154" y="2727514"/>
                        <a:pt x="2686529" y="2750658"/>
                      </a:cubicBezTo>
                      <a:cubicBezTo>
                        <a:pt x="2676007" y="2771698"/>
                        <a:pt x="2661277" y="2782218"/>
                        <a:pt x="2646547" y="2799050"/>
                      </a:cubicBezTo>
                      <a:cubicBezTo>
                        <a:pt x="2633922" y="2817986"/>
                        <a:pt x="2612879" y="2845337"/>
                        <a:pt x="2593940" y="2887417"/>
                      </a:cubicBezTo>
                      <a:cubicBezTo>
                        <a:pt x="2575002" y="2929497"/>
                        <a:pt x="2606566" y="2963160"/>
                        <a:pt x="2606566" y="2963160"/>
                      </a:cubicBezTo>
                      <a:cubicBezTo>
                        <a:pt x="2627609" y="2988408"/>
                        <a:pt x="2697050" y="3005240"/>
                        <a:pt x="2724406" y="3001032"/>
                      </a:cubicBezTo>
                      <a:cubicBezTo>
                        <a:pt x="2654964" y="2986304"/>
                        <a:pt x="2614983" y="2916873"/>
                        <a:pt x="2614983" y="2916873"/>
                      </a:cubicBezTo>
                      <a:cubicBezTo>
                        <a:pt x="2614983" y="2916873"/>
                        <a:pt x="2614983" y="2916873"/>
                        <a:pt x="2636026" y="2931601"/>
                      </a:cubicBezTo>
                      <a:cubicBezTo>
                        <a:pt x="2654964" y="2946329"/>
                        <a:pt x="2688633" y="2969472"/>
                        <a:pt x="2741240" y="2975784"/>
                      </a:cubicBezTo>
                      <a:cubicBezTo>
                        <a:pt x="2793847" y="2982096"/>
                        <a:pt x="2823307" y="2935809"/>
                        <a:pt x="2823307" y="2935809"/>
                      </a:cubicBezTo>
                      <a:cubicBezTo>
                        <a:pt x="2823307" y="2935809"/>
                        <a:pt x="2823307" y="2935809"/>
                        <a:pt x="2869601" y="2874793"/>
                      </a:cubicBezTo>
                      <a:cubicBezTo>
                        <a:pt x="2869601" y="2874793"/>
                        <a:pt x="2869601" y="2874793"/>
                        <a:pt x="2909582" y="2914769"/>
                      </a:cubicBezTo>
                      <a:cubicBezTo>
                        <a:pt x="2909582" y="2914769"/>
                        <a:pt x="2838037" y="2988408"/>
                        <a:pt x="2804368" y="3009448"/>
                      </a:cubicBezTo>
                      <a:cubicBezTo>
                        <a:pt x="2770700" y="3030488"/>
                        <a:pt x="2715988" y="3045216"/>
                        <a:pt x="2631817" y="3019968"/>
                      </a:cubicBezTo>
                      <a:lnTo>
                        <a:pt x="2592812" y="2997729"/>
                      </a:lnTo>
                      <a:lnTo>
                        <a:pt x="2571463" y="2978979"/>
                      </a:lnTo>
                      <a:lnTo>
                        <a:pt x="2569646" y="2977384"/>
                      </a:lnTo>
                      <a:lnTo>
                        <a:pt x="2550477" y="2953365"/>
                      </a:lnTo>
                      <a:lnTo>
                        <a:pt x="2543509" y="2942341"/>
                      </a:lnTo>
                      <a:lnTo>
                        <a:pt x="2527951" y="2910199"/>
                      </a:lnTo>
                      <a:cubicBezTo>
                        <a:pt x="2524104" y="2900173"/>
                        <a:pt x="2522395" y="2893729"/>
                        <a:pt x="2522395" y="2893729"/>
                      </a:cubicBezTo>
                      <a:cubicBezTo>
                        <a:pt x="2522395" y="2893729"/>
                        <a:pt x="2522395" y="2893729"/>
                        <a:pt x="2457162" y="2748554"/>
                      </a:cubicBezTo>
                      <a:cubicBezTo>
                        <a:pt x="2457162" y="2748554"/>
                        <a:pt x="2396138" y="2689642"/>
                        <a:pt x="2362469" y="2651771"/>
                      </a:cubicBezTo>
                      <a:lnTo>
                        <a:pt x="2340024" y="2621933"/>
                      </a:lnTo>
                      <a:lnTo>
                        <a:pt x="2338457" y="2619477"/>
                      </a:lnTo>
                      <a:cubicBezTo>
                        <a:pt x="2304048" y="2565541"/>
                        <a:pt x="2304048" y="2565541"/>
                        <a:pt x="2304048" y="2565541"/>
                      </a:cubicBezTo>
                      <a:cubicBezTo>
                        <a:pt x="2304048" y="2565541"/>
                        <a:pt x="2271838" y="2433449"/>
                        <a:pt x="2335655" y="2318674"/>
                      </a:cubicBezTo>
                      <a:lnTo>
                        <a:pt x="2366996" y="2274192"/>
                      </a:lnTo>
                      <a:lnTo>
                        <a:pt x="2347572" y="2275513"/>
                      </a:lnTo>
                      <a:cubicBezTo>
                        <a:pt x="2338243" y="2274970"/>
                        <a:pt x="2329202" y="2273030"/>
                        <a:pt x="2320522" y="2269084"/>
                      </a:cubicBezTo>
                      <a:cubicBezTo>
                        <a:pt x="2253189" y="2237517"/>
                        <a:pt x="2057503" y="2182801"/>
                        <a:pt x="2038565" y="2062847"/>
                      </a:cubicBezTo>
                      <a:cubicBezTo>
                        <a:pt x="2024363" y="1972882"/>
                        <a:pt x="2014894" y="1779929"/>
                        <a:pt x="2043892" y="1618938"/>
                      </a:cubicBezTo>
                      <a:lnTo>
                        <a:pt x="2058099" y="1557525"/>
                      </a:lnTo>
                      <a:lnTo>
                        <a:pt x="2055755" y="1558228"/>
                      </a:lnTo>
                      <a:lnTo>
                        <a:pt x="2050316" y="1559430"/>
                      </a:lnTo>
                      <a:cubicBezTo>
                        <a:pt x="1969609" y="1577348"/>
                        <a:pt x="1639648" y="1651436"/>
                        <a:pt x="1525518" y="1690090"/>
                      </a:cubicBezTo>
                      <a:cubicBezTo>
                        <a:pt x="1395085" y="1734267"/>
                        <a:pt x="1087937" y="1875211"/>
                        <a:pt x="946985" y="1875211"/>
                      </a:cubicBezTo>
                      <a:cubicBezTo>
                        <a:pt x="751335" y="1873108"/>
                        <a:pt x="559893" y="1858382"/>
                        <a:pt x="559893" y="1858382"/>
                      </a:cubicBezTo>
                      <a:cubicBezTo>
                        <a:pt x="559893" y="1858382"/>
                        <a:pt x="488365" y="1593323"/>
                        <a:pt x="412630" y="1498659"/>
                      </a:cubicBezTo>
                      <a:cubicBezTo>
                        <a:pt x="334791" y="1403995"/>
                        <a:pt x="94962" y="1208355"/>
                        <a:pt x="46576" y="1063204"/>
                      </a:cubicBezTo>
                      <a:cubicBezTo>
                        <a:pt x="293" y="915949"/>
                        <a:pt x="-24952" y="798144"/>
                        <a:pt x="36057" y="665615"/>
                      </a:cubicBezTo>
                      <a:cubicBezTo>
                        <a:pt x="94962" y="535189"/>
                        <a:pt x="191735" y="459457"/>
                        <a:pt x="191735" y="459457"/>
                      </a:cubicBezTo>
                      <a:cubicBezTo>
                        <a:pt x="191735" y="459457"/>
                        <a:pt x="294819" y="455250"/>
                        <a:pt x="374762" y="465768"/>
                      </a:cubicBezTo>
                      <a:cubicBezTo>
                        <a:pt x="456809" y="476287"/>
                        <a:pt x="587242" y="499427"/>
                        <a:pt x="677704" y="528878"/>
                      </a:cubicBezTo>
                      <a:cubicBezTo>
                        <a:pt x="766061" y="558329"/>
                        <a:pt x="1090040" y="713999"/>
                        <a:pt x="1090040" y="713999"/>
                      </a:cubicBezTo>
                      <a:cubicBezTo>
                        <a:pt x="736609" y="514152"/>
                        <a:pt x="736609" y="514152"/>
                        <a:pt x="736609" y="514152"/>
                      </a:cubicBezTo>
                      <a:cubicBezTo>
                        <a:pt x="503092" y="423695"/>
                        <a:pt x="503092" y="423695"/>
                        <a:pt x="503092" y="423695"/>
                      </a:cubicBezTo>
                      <a:cubicBezTo>
                        <a:pt x="503092" y="423695"/>
                        <a:pt x="606176" y="362690"/>
                        <a:pt x="700845" y="246989"/>
                      </a:cubicBezTo>
                      <a:cubicBezTo>
                        <a:pt x="795514" y="131289"/>
                        <a:pt x="803929" y="89216"/>
                        <a:pt x="867042" y="47143"/>
                      </a:cubicBezTo>
                      <a:cubicBezTo>
                        <a:pt x="914377" y="17166"/>
                        <a:pt x="946327" y="3755"/>
                        <a:pt x="990408" y="698"/>
                      </a:cubicBezTo>
                      <a:close/>
                    </a:path>
                  </a:pathLst>
                </a:custGeom>
                <a:solidFill>
                  <a:srgbClr val="FAED22"/>
                </a:solidFill>
                <a:ln w="3175">
                  <a:solidFill>
                    <a:schemeClr val="tx1"/>
                  </a:solidFill>
                </a:ln>
              </p:spPr>
              <p:txBody>
                <a:bodyPr vert="horz" wrap="square" lIns="89642" tIns="44821" rIns="89642" bIns="44821" numCol="1" anchor="t" anchorCtr="0" compatLnSpc="1">
                  <a:prstTxWarp prst="textNoShape">
                    <a:avLst/>
                  </a:prstTxWarp>
                  <a:noAutofit/>
                </a:bodyPr>
                <a:lstStyle/>
                <a:p>
                  <a:pPr defTabSz="914367"/>
                  <a:endParaRPr lang="en-IN" sz="1765">
                    <a:solidFill>
                      <a:srgbClr val="000000"/>
                    </a:solidFill>
                  </a:endParaRPr>
                </a:p>
              </p:txBody>
            </p:sp>
          </p:grpSp>
          <p:sp>
            <p:nvSpPr>
              <p:cNvPr id="120" name="TextBox 119"/>
              <p:cNvSpPr txBox="1"/>
              <p:nvPr/>
            </p:nvSpPr>
            <p:spPr>
              <a:xfrm>
                <a:off x="9169506" y="1779045"/>
                <a:ext cx="914400" cy="417656"/>
              </a:xfrm>
              <a:prstGeom prst="rect">
                <a:avLst/>
              </a:prstGeom>
              <a:noFill/>
            </p:spPr>
            <p:txBody>
              <a:bodyPr wrap="none" lIns="182880" tIns="146304" rIns="182880" bIns="146304" rtlCol="0" anchor="ctr">
                <a:noAutofit/>
              </a:bodyPr>
              <a:lstStyle/>
              <a:p>
                <a:pPr algn="ctr">
                  <a:lnSpc>
                    <a:spcPct val="90000"/>
                  </a:lnSpc>
                  <a:spcAft>
                    <a:spcPts val="600"/>
                  </a:spcAft>
                </a:pPr>
                <a:r>
                  <a:rPr lang="en-US" sz="2400" dirty="0">
                    <a:solidFill>
                      <a:schemeClr val="tx1">
                        <a:lumMod val="65000"/>
                        <a:lumOff val="35000"/>
                      </a:schemeClr>
                    </a:solidFill>
                  </a:rPr>
                  <a:t>Hive</a:t>
                </a:r>
              </a:p>
            </p:txBody>
          </p:sp>
          <p:sp>
            <p:nvSpPr>
              <p:cNvPr id="33" name="Left-Right Arrow 32"/>
              <p:cNvSpPr/>
              <p:nvPr/>
            </p:nvSpPr>
            <p:spPr bwMode="auto">
              <a:xfrm rot="16200000">
                <a:off x="9332344" y="2655518"/>
                <a:ext cx="644990" cy="253602"/>
              </a:xfrm>
              <a:prstGeom prst="lef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grpSp>
        <p:sp>
          <p:nvSpPr>
            <p:cNvPr id="34" name="TextBox 33"/>
            <p:cNvSpPr txBox="1"/>
            <p:nvPr/>
          </p:nvSpPr>
          <p:spPr>
            <a:xfrm>
              <a:off x="9539183" y="2611885"/>
              <a:ext cx="914400" cy="366571"/>
            </a:xfrm>
            <a:prstGeom prst="rect">
              <a:avLst/>
            </a:prstGeom>
            <a:noFill/>
          </p:spPr>
          <p:txBody>
            <a:bodyPr wrap="none" lIns="182880" tIns="146304" rIns="182880" bIns="146304" rtlCol="0" anchor="ctr">
              <a:noAutofit/>
            </a:bodyPr>
            <a:lstStyle/>
            <a:p>
              <a:pPr algn="ctr">
                <a:lnSpc>
                  <a:spcPct val="90000"/>
                </a:lnSpc>
                <a:spcAft>
                  <a:spcPts val="600"/>
                </a:spcAft>
              </a:pPr>
              <a:r>
                <a:rPr lang="en-US" sz="1600" dirty="0" err="1">
                  <a:solidFill>
                    <a:schemeClr val="accent1"/>
                  </a:solidFill>
                </a:rPr>
                <a:t>HiveQL</a:t>
              </a:r>
              <a:endParaRPr lang="en-US" sz="1600" dirty="0">
                <a:solidFill>
                  <a:schemeClr val="accent1"/>
                </a:solidFill>
              </a:endParaRPr>
            </a:p>
          </p:txBody>
        </p:sp>
        <p:cxnSp>
          <p:nvCxnSpPr>
            <p:cNvPr id="39" name="Straight Arrow Connector 38"/>
            <p:cNvCxnSpPr/>
            <p:nvPr/>
          </p:nvCxnSpPr>
          <p:spPr>
            <a:xfrm flipH="1">
              <a:off x="7356049" y="4009670"/>
              <a:ext cx="662403" cy="734901"/>
            </a:xfrm>
            <a:prstGeom prst="straightConnector1">
              <a:avLst/>
            </a:prstGeom>
            <a:ln w="57150">
              <a:solidFill>
                <a:schemeClr val="accent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10923237" y="4022679"/>
              <a:ext cx="662403" cy="736747"/>
            </a:xfrm>
            <a:prstGeom prst="straightConnector1">
              <a:avLst/>
            </a:prstGeom>
            <a:ln w="57150">
              <a:solidFill>
                <a:schemeClr val="accent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6" name="Rectangle 5"/>
          <p:cNvSpPr/>
          <p:nvPr/>
        </p:nvSpPr>
        <p:spPr>
          <a:xfrm>
            <a:off x="512380" y="1168763"/>
            <a:ext cx="11295992" cy="553998"/>
          </a:xfrm>
          <a:prstGeom prst="rect">
            <a:avLst/>
          </a:prstGeom>
          <a:solidFill>
            <a:schemeClr val="accent3"/>
          </a:solidFill>
        </p:spPr>
        <p:txBody>
          <a:bodyPr wrap="square">
            <a:spAutoFit/>
          </a:bodyPr>
          <a:lstStyle/>
          <a:p>
            <a:pPr algn="ctr">
              <a:lnSpc>
                <a:spcPts val="3600"/>
              </a:lnSpc>
            </a:pPr>
            <a:r>
              <a:rPr lang="en-US" b="1" dirty="0">
                <a:solidFill>
                  <a:schemeClr val="bg1"/>
                </a:solidFill>
                <a:latin typeface="Segoe UI Semibold" panose="020B0702040204020203" pitchFamily="34" charset="0"/>
                <a:cs typeface="Segoe UI Semibold" panose="020B0702040204020203" pitchFamily="34" charset="0"/>
              </a:rPr>
              <a:t>A </a:t>
            </a:r>
            <a:r>
              <a:rPr lang="en-US" dirty="0">
                <a:solidFill>
                  <a:schemeClr val="bg1"/>
                </a:solidFill>
                <a:latin typeface="Segoe UI Semibold" panose="020B0702040204020203" pitchFamily="34" charset="0"/>
                <a:cs typeface="Segoe UI Semibold" panose="020B0702040204020203" pitchFamily="34" charset="0"/>
              </a:rPr>
              <a:t>‘Data Warehouse’ </a:t>
            </a:r>
            <a:r>
              <a:rPr lang="en-US" b="1" dirty="0">
                <a:solidFill>
                  <a:schemeClr val="bg1"/>
                </a:solidFill>
                <a:latin typeface="Segoe UI Semibold" panose="020B0702040204020203" pitchFamily="34" charset="0"/>
                <a:cs typeface="Segoe UI Semibold" panose="020B0702040204020203" pitchFamily="34" charset="0"/>
              </a:rPr>
              <a:t>built using Hadoop for querying and analyzing big data</a:t>
            </a:r>
          </a:p>
        </p:txBody>
      </p:sp>
    </p:spTree>
    <p:extLst>
      <p:ext uri="{BB962C8B-B14F-4D97-AF65-F5344CB8AC3E}">
        <p14:creationId xmlns:p14="http://schemas.microsoft.com/office/powerpoint/2010/main" val="3854549478"/>
      </p:ext>
    </p:extLst>
  </p:cSld>
  <p:clrMapOvr>
    <a:masterClrMapping/>
  </p:clrMapOvr>
  <p:transition spd="med">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IN" dirty="0"/>
              <a:t>Hive: Query Execution Components</a:t>
            </a:r>
          </a:p>
        </p:txBody>
      </p:sp>
      <p:sp>
        <p:nvSpPr>
          <p:cNvPr id="40" name="Donut 39"/>
          <p:cNvSpPr/>
          <p:nvPr/>
        </p:nvSpPr>
        <p:spPr bwMode="auto">
          <a:xfrm>
            <a:off x="4500630" y="3152464"/>
            <a:ext cx="3169193" cy="3169193"/>
          </a:xfrm>
          <a:prstGeom prst="donut">
            <a:avLst>
              <a:gd name="adj" fmla="val 4076"/>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IN" sz="1961" b="1" dirty="0">
              <a:solidFill>
                <a:srgbClr val="FFFFFF"/>
              </a:solidFill>
              <a:latin typeface="Segoe UI Light"/>
              <a:ea typeface="Segoe UI" pitchFamily="34" charset="0"/>
              <a:cs typeface="Segoe UI" pitchFamily="34" charset="0"/>
            </a:endParaRPr>
          </a:p>
        </p:txBody>
      </p:sp>
      <p:sp>
        <p:nvSpPr>
          <p:cNvPr id="54" name="Oval 53"/>
          <p:cNvSpPr/>
          <p:nvPr/>
        </p:nvSpPr>
        <p:spPr bwMode="auto">
          <a:xfrm rot="10800000" flipV="1">
            <a:off x="5336713" y="3990307"/>
            <a:ext cx="1497029" cy="1493508"/>
          </a:xfrm>
          <a:prstGeom prst="ellipse">
            <a:avLst/>
          </a:prstGeom>
          <a:solidFill>
            <a:schemeClr val="bg1">
              <a:lumMod val="95000"/>
            </a:schemeClr>
          </a:solidFill>
          <a:ln w="28575" cap="flat" cmpd="sng" algn="ctr">
            <a:noFill/>
            <a:prstDash val="solid"/>
            <a:round/>
            <a:headEnd type="none" w="med" len="med"/>
            <a:tailEnd type="triangle" w="med" len="med"/>
          </a:ln>
          <a:effectLst/>
        </p:spPr>
        <p:txBody>
          <a:bodyPr rot="0" spcFirstLastPara="0" vertOverflow="overflow" horzOverflow="overflow" vert="horz" wrap="square" lIns="89642" tIns="1254995" rIns="89642" bIns="44821" numCol="1" spcCol="0" rtlCol="0" fromWordArt="0" anchor="b" anchorCtr="0" forceAA="0" compatLnSpc="1">
            <a:prstTxWarp prst="textNoShape">
              <a:avLst/>
            </a:prstTxWarp>
            <a:noAutofit/>
          </a:bodyPr>
          <a:lstStyle/>
          <a:p>
            <a:pPr algn="ctr" defTabSz="914102" fontAlgn="base">
              <a:spcBef>
                <a:spcPct val="0"/>
              </a:spcBef>
              <a:spcAft>
                <a:spcPct val="0"/>
              </a:spcAft>
              <a:buClr>
                <a:srgbClr val="FF3300"/>
              </a:buClr>
            </a:pPr>
            <a:endParaRPr lang="en-US" sz="1961" dirty="0">
              <a:solidFill>
                <a:srgbClr val="505050"/>
              </a:solidFill>
              <a:latin typeface="Segoe UI Semibold" panose="020B0702040204020203" pitchFamily="34" charset="0"/>
              <a:ea typeface="Segoe UI" pitchFamily="34" charset="0"/>
              <a:cs typeface="Segoe UI Semibold" panose="020B0702040204020203" pitchFamily="34" charset="0"/>
            </a:endParaRPr>
          </a:p>
        </p:txBody>
      </p:sp>
      <p:sp>
        <p:nvSpPr>
          <p:cNvPr id="3" name="Slide Number Placeholder 2"/>
          <p:cNvSpPr>
            <a:spLocks noGrp="1"/>
          </p:cNvSpPr>
          <p:nvPr>
            <p:ph type="sldNum" sz="quarter" idx="11"/>
          </p:nvPr>
        </p:nvSpPr>
        <p:spPr/>
        <p:txBody>
          <a:bodyPr/>
          <a:lstStyle/>
          <a:p>
            <a:pPr>
              <a:defRPr/>
            </a:pPr>
            <a:fld id="{F8A0AC42-AA1D-4944-8D96-660DE70C7E1B}" type="slidenum">
              <a:rPr lang="en-IN"/>
              <a:pPr>
                <a:defRPr/>
              </a:pPr>
              <a:t>29</a:t>
            </a:fld>
            <a:endParaRPr lang="en-IN" dirty="0"/>
          </a:p>
        </p:txBody>
      </p:sp>
      <p:grpSp>
        <p:nvGrpSpPr>
          <p:cNvPr id="8" name="Group 7"/>
          <p:cNvGrpSpPr/>
          <p:nvPr/>
        </p:nvGrpSpPr>
        <p:grpSpPr>
          <a:xfrm>
            <a:off x="6751085" y="3400756"/>
            <a:ext cx="5022273" cy="2551482"/>
            <a:chOff x="6886458" y="3468451"/>
            <a:chExt cx="5122980" cy="2602645"/>
          </a:xfrm>
        </p:grpSpPr>
        <p:sp>
          <p:nvSpPr>
            <p:cNvPr id="133" name="Right Arrow 132"/>
            <p:cNvSpPr/>
            <p:nvPr/>
          </p:nvSpPr>
          <p:spPr bwMode="auto">
            <a:xfrm rot="1741071" flipH="1" flipV="1">
              <a:off x="6886458" y="5118527"/>
              <a:ext cx="274434" cy="239100"/>
            </a:xfrm>
            <a:prstGeom prst="rightArrow">
              <a:avLst>
                <a:gd name="adj1" fmla="val 63724"/>
                <a:gd name="adj2" fmla="val 44578"/>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IN" sz="1961" b="1" dirty="0">
                <a:solidFill>
                  <a:srgbClr val="FFFFFF"/>
                </a:solidFill>
                <a:latin typeface="Segoe UI Light"/>
                <a:ea typeface="Segoe UI" pitchFamily="34" charset="0"/>
                <a:cs typeface="Segoe UI" pitchFamily="34" charset="0"/>
              </a:endParaRPr>
            </a:p>
          </p:txBody>
        </p:sp>
        <p:sp>
          <p:nvSpPr>
            <p:cNvPr id="51" name="Rectangle 50"/>
            <p:cNvSpPr/>
            <p:nvPr/>
          </p:nvSpPr>
          <p:spPr bwMode="auto">
            <a:xfrm>
              <a:off x="8311386" y="3468451"/>
              <a:ext cx="2798202" cy="33855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91440" rtlCol="0" fromWordArt="0" anchor="t" anchorCtr="0" forceAA="0" compatLnSpc="1">
              <a:prstTxWarp prst="textNoShape">
                <a:avLst/>
              </a:prstTxWarp>
              <a:spAutoFit/>
            </a:bodyPr>
            <a:lstStyle/>
            <a:p>
              <a:pPr defTabSz="913770" fontAlgn="base">
                <a:spcAft>
                  <a:spcPts val="392"/>
                </a:spcAft>
              </a:pPr>
              <a:r>
                <a:rPr lang="en-IN" sz="1568" dirty="0">
                  <a:solidFill>
                    <a:srgbClr val="68217A"/>
                  </a:solidFill>
                  <a:latin typeface="Segoe UI Semibold" panose="020B0702040204020203" pitchFamily="34" charset="0"/>
                  <a:ea typeface="Segoe UI" pitchFamily="34" charset="0"/>
                  <a:cs typeface="Segoe UI Semibold" panose="020B0702040204020203" pitchFamily="34" charset="0"/>
                </a:rPr>
                <a:t>Hive parses and plans query</a:t>
              </a:r>
            </a:p>
          </p:txBody>
        </p:sp>
        <p:sp>
          <p:nvSpPr>
            <p:cNvPr id="75" name="Oval 74"/>
            <p:cNvSpPr/>
            <p:nvPr/>
          </p:nvSpPr>
          <p:spPr bwMode="auto">
            <a:xfrm>
              <a:off x="6972604" y="4963988"/>
              <a:ext cx="1107108" cy="1107108"/>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spcBef>
                  <a:spcPct val="0"/>
                </a:spcBef>
                <a:spcAft>
                  <a:spcPct val="0"/>
                </a:spcAft>
              </a:pPr>
              <a:r>
                <a:rPr lang="en-IN" sz="1176" dirty="0">
                  <a:solidFill>
                    <a:srgbClr val="FFFFFF"/>
                  </a:solidFill>
                  <a:latin typeface="Segoe UI Semibold" panose="020B0702040204020203" pitchFamily="34" charset="0"/>
                  <a:ea typeface="Segoe UI" pitchFamily="34" charset="0"/>
                  <a:cs typeface="Segoe UI Semibold" panose="020B0702040204020203" pitchFamily="34" charset="0"/>
                </a:rPr>
                <a:t>Hive</a:t>
              </a:r>
            </a:p>
          </p:txBody>
        </p:sp>
        <p:sp>
          <p:nvSpPr>
            <p:cNvPr id="106" name="Freeform 105"/>
            <p:cNvSpPr/>
            <p:nvPr/>
          </p:nvSpPr>
          <p:spPr bwMode="auto">
            <a:xfrm>
              <a:off x="7867650" y="3794761"/>
              <a:ext cx="4141788" cy="1297173"/>
            </a:xfrm>
            <a:custGeom>
              <a:avLst/>
              <a:gdLst>
                <a:gd name="connsiteX0" fmla="*/ 0 w 2085975"/>
                <a:gd name="connsiteY0" fmla="*/ 285750 h 285750"/>
                <a:gd name="connsiteX1" fmla="*/ 523875 w 2085975"/>
                <a:gd name="connsiteY1" fmla="*/ 0 h 285750"/>
                <a:gd name="connsiteX2" fmla="*/ 2085975 w 2085975"/>
                <a:gd name="connsiteY2" fmla="*/ 0 h 285750"/>
                <a:gd name="connsiteX0" fmla="*/ 0 w 2422525"/>
                <a:gd name="connsiteY0" fmla="*/ 285750 h 285750"/>
                <a:gd name="connsiteX1" fmla="*/ 523875 w 2422525"/>
                <a:gd name="connsiteY1" fmla="*/ 0 h 285750"/>
                <a:gd name="connsiteX2" fmla="*/ 2422525 w 2422525"/>
                <a:gd name="connsiteY2" fmla="*/ 0 h 285750"/>
                <a:gd name="connsiteX0" fmla="*/ 0 w 3379455"/>
                <a:gd name="connsiteY0" fmla="*/ 285750 h 285750"/>
                <a:gd name="connsiteX1" fmla="*/ 523875 w 3379455"/>
                <a:gd name="connsiteY1" fmla="*/ 0 h 285750"/>
                <a:gd name="connsiteX2" fmla="*/ 3379455 w 3379455"/>
                <a:gd name="connsiteY2" fmla="*/ 0 h 285750"/>
                <a:gd name="connsiteX0" fmla="*/ 0 w 4118595"/>
                <a:gd name="connsiteY0" fmla="*/ 285750 h 285750"/>
                <a:gd name="connsiteX1" fmla="*/ 523875 w 4118595"/>
                <a:gd name="connsiteY1" fmla="*/ 0 h 285750"/>
                <a:gd name="connsiteX2" fmla="*/ 4118595 w 4118595"/>
                <a:gd name="connsiteY2" fmla="*/ 0 h 285750"/>
              </a:gdLst>
              <a:ahLst/>
              <a:cxnLst>
                <a:cxn ang="0">
                  <a:pos x="connsiteX0" y="connsiteY0"/>
                </a:cxn>
                <a:cxn ang="0">
                  <a:pos x="connsiteX1" y="connsiteY1"/>
                </a:cxn>
                <a:cxn ang="0">
                  <a:pos x="connsiteX2" y="connsiteY2"/>
                </a:cxn>
              </a:cxnLst>
              <a:rect l="l" t="t" r="r" b="b"/>
              <a:pathLst>
                <a:path w="4118595" h="285750">
                  <a:moveTo>
                    <a:pt x="0" y="285750"/>
                  </a:moveTo>
                  <a:lnTo>
                    <a:pt x="523875" y="0"/>
                  </a:lnTo>
                  <a:lnTo>
                    <a:pt x="4118595" y="0"/>
                  </a:lnTo>
                </a:path>
              </a:pathLst>
            </a:custGeom>
            <a:noFill/>
            <a:ln>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IN" sz="1765">
                <a:solidFill>
                  <a:srgbClr val="FFFFFF"/>
                </a:solidFill>
              </a:endParaRPr>
            </a:p>
          </p:txBody>
        </p:sp>
        <p:grpSp>
          <p:nvGrpSpPr>
            <p:cNvPr id="93" name="Group 92"/>
            <p:cNvGrpSpPr/>
            <p:nvPr/>
          </p:nvGrpSpPr>
          <p:grpSpPr>
            <a:xfrm>
              <a:off x="7122992" y="5378448"/>
              <a:ext cx="615832" cy="627793"/>
              <a:chOff x="6501792" y="2600369"/>
              <a:chExt cx="700179" cy="713781"/>
            </a:xfrm>
          </p:grpSpPr>
          <p:sp>
            <p:nvSpPr>
              <p:cNvPr id="95" name="Freeform 94"/>
              <p:cNvSpPr>
                <a:spLocks/>
              </p:cNvSpPr>
              <p:nvPr/>
            </p:nvSpPr>
            <p:spPr bwMode="auto">
              <a:xfrm>
                <a:off x="6735259" y="2923476"/>
                <a:ext cx="381533" cy="390674"/>
              </a:xfrm>
              <a:custGeom>
                <a:avLst/>
                <a:gdLst>
                  <a:gd name="connsiteX0" fmla="*/ 1222186 w 2129049"/>
                  <a:gd name="connsiteY0" fmla="*/ 1839320 h 2180047"/>
                  <a:gd name="connsiteX1" fmla="*/ 1208400 w 2129049"/>
                  <a:gd name="connsiteY1" fmla="*/ 1841119 h 2180047"/>
                  <a:gd name="connsiteX2" fmla="*/ 1186099 w 2129049"/>
                  <a:gd name="connsiteY2" fmla="*/ 1843640 h 2180047"/>
                  <a:gd name="connsiteX3" fmla="*/ 1188379 w 2129049"/>
                  <a:gd name="connsiteY3" fmla="*/ 1844841 h 2180047"/>
                  <a:gd name="connsiteX4" fmla="*/ 1243194 w 2129049"/>
                  <a:gd name="connsiteY4" fmla="*/ 1939957 h 2180047"/>
                  <a:gd name="connsiteX5" fmla="*/ 1223702 w 2129049"/>
                  <a:gd name="connsiteY5" fmla="*/ 1853174 h 2180047"/>
                  <a:gd name="connsiteX6" fmla="*/ 1222569 w 2129049"/>
                  <a:gd name="connsiteY6" fmla="*/ 1839342 h 2180047"/>
                  <a:gd name="connsiteX7" fmla="*/ 441891 w 2129049"/>
                  <a:gd name="connsiteY7" fmla="*/ 1746105 h 2180047"/>
                  <a:gd name="connsiteX8" fmla="*/ 450977 w 2129049"/>
                  <a:gd name="connsiteY8" fmla="*/ 1757606 h 2180047"/>
                  <a:gd name="connsiteX9" fmla="*/ 707370 w 2129049"/>
                  <a:gd name="connsiteY9" fmla="*/ 1976776 h 2180047"/>
                  <a:gd name="connsiteX10" fmla="*/ 766453 w 2129049"/>
                  <a:gd name="connsiteY10" fmla="*/ 2010648 h 2180047"/>
                  <a:gd name="connsiteX11" fmla="*/ 831225 w 2129049"/>
                  <a:gd name="connsiteY11" fmla="*/ 2015356 h 2180047"/>
                  <a:gd name="connsiteX12" fmla="*/ 999836 w 2129049"/>
                  <a:gd name="connsiteY12" fmla="*/ 2014732 h 2180047"/>
                  <a:gd name="connsiteX13" fmla="*/ 1033552 w 2129049"/>
                  <a:gd name="connsiteY13" fmla="*/ 2011934 h 2180047"/>
                  <a:gd name="connsiteX14" fmla="*/ 1030508 w 2129049"/>
                  <a:gd name="connsiteY14" fmla="*/ 1991231 h 2180047"/>
                  <a:gd name="connsiteX15" fmla="*/ 1069280 w 2129049"/>
                  <a:gd name="connsiteY15" fmla="*/ 1869985 h 2180047"/>
                  <a:gd name="connsiteX16" fmla="*/ 1086998 w 2129049"/>
                  <a:gd name="connsiteY16" fmla="*/ 1852207 h 2180047"/>
                  <a:gd name="connsiteX17" fmla="*/ 1040249 w 2129049"/>
                  <a:gd name="connsiteY17" fmla="*/ 1855089 h 2180047"/>
                  <a:gd name="connsiteX18" fmla="*/ 700561 w 2129049"/>
                  <a:gd name="connsiteY18" fmla="*/ 1833012 h 2180047"/>
                  <a:gd name="connsiteX19" fmla="*/ 442094 w 2129049"/>
                  <a:gd name="connsiteY19" fmla="*/ 1746192 h 2180047"/>
                  <a:gd name="connsiteX20" fmla="*/ 1059954 w 2129049"/>
                  <a:gd name="connsiteY20" fmla="*/ 1504433 h 2180047"/>
                  <a:gd name="connsiteX21" fmla="*/ 1137935 w 2129049"/>
                  <a:gd name="connsiteY21" fmla="*/ 1553560 h 2180047"/>
                  <a:gd name="connsiteX22" fmla="*/ 1232714 w 2129049"/>
                  <a:gd name="connsiteY22" fmla="*/ 1597039 h 2180047"/>
                  <a:gd name="connsiteX23" fmla="*/ 1498003 w 2129049"/>
                  <a:gd name="connsiteY23" fmla="*/ 1620193 h 2180047"/>
                  <a:gd name="connsiteX24" fmla="*/ 1417995 w 2129049"/>
                  <a:gd name="connsiteY24" fmla="*/ 1660186 h 2180047"/>
                  <a:gd name="connsiteX25" fmla="*/ 1260085 w 2129049"/>
                  <a:gd name="connsiteY25" fmla="*/ 1660186 h 2180047"/>
                  <a:gd name="connsiteX26" fmla="*/ 1110597 w 2129049"/>
                  <a:gd name="connsiteY26" fmla="*/ 1640189 h 2180047"/>
                  <a:gd name="connsiteX27" fmla="*/ 1099046 w 2129049"/>
                  <a:gd name="connsiteY27" fmla="*/ 1638682 h 2180047"/>
                  <a:gd name="connsiteX28" fmla="*/ 251840 w 2129049"/>
                  <a:gd name="connsiteY28" fmla="*/ 316333 h 2180047"/>
                  <a:gd name="connsiteX29" fmla="*/ 246796 w 2129049"/>
                  <a:gd name="connsiteY29" fmla="*/ 329846 h 2180047"/>
                  <a:gd name="connsiteX30" fmla="*/ 161902 w 2129049"/>
                  <a:gd name="connsiteY30" fmla="*/ 686152 h 2180047"/>
                  <a:gd name="connsiteX31" fmla="*/ 163319 w 2129049"/>
                  <a:gd name="connsiteY31" fmla="*/ 765157 h 2180047"/>
                  <a:gd name="connsiteX32" fmla="*/ 168120 w 2129049"/>
                  <a:gd name="connsiteY32" fmla="*/ 772124 h 2180047"/>
                  <a:gd name="connsiteX33" fmla="*/ 462568 w 2129049"/>
                  <a:gd name="connsiteY33" fmla="*/ 1054574 h 2180047"/>
                  <a:gd name="connsiteX34" fmla="*/ 1083519 w 2129049"/>
                  <a:gd name="connsiteY34" fmla="*/ 1296666 h 2180047"/>
                  <a:gd name="connsiteX35" fmla="*/ 1112988 w 2129049"/>
                  <a:gd name="connsiteY35" fmla="*/ 1212460 h 2180047"/>
                  <a:gd name="connsiteX36" fmla="*/ 635171 w 2129049"/>
                  <a:gd name="connsiteY36" fmla="*/ 913528 h 2180047"/>
                  <a:gd name="connsiteX37" fmla="*/ 256327 w 2129049"/>
                  <a:gd name="connsiteY37" fmla="*/ 344726 h 2180047"/>
                  <a:gd name="connsiteX38" fmla="*/ 203697 w 2129049"/>
                  <a:gd name="connsiteY38" fmla="*/ 216555 h 2180047"/>
                  <a:gd name="connsiteX39" fmla="*/ 195507 w 2129049"/>
                  <a:gd name="connsiteY39" fmla="*/ 224152 h 2180047"/>
                  <a:gd name="connsiteX40" fmla="*/ 153435 w 2129049"/>
                  <a:gd name="connsiteY40" fmla="*/ 280530 h 2180047"/>
                  <a:gd name="connsiteX41" fmla="*/ 119142 w 2129049"/>
                  <a:gd name="connsiteY41" fmla="*/ 338248 h 2180047"/>
                  <a:gd name="connsiteX42" fmla="*/ 162420 w 2129049"/>
                  <a:gd name="connsiteY42" fmla="*/ 270250 h 2180047"/>
                  <a:gd name="connsiteX43" fmla="*/ 200473 w 2129049"/>
                  <a:gd name="connsiteY43" fmla="*/ 220227 h 2180047"/>
                  <a:gd name="connsiteX44" fmla="*/ 545326 w 2129049"/>
                  <a:gd name="connsiteY44" fmla="*/ 37476 h 2180047"/>
                  <a:gd name="connsiteX45" fmla="*/ 541800 w 2129049"/>
                  <a:gd name="connsiteY45" fmla="*/ 40991 h 2180047"/>
                  <a:gd name="connsiteX46" fmla="*/ 536701 w 2129049"/>
                  <a:gd name="connsiteY46" fmla="*/ 46149 h 2180047"/>
                  <a:gd name="connsiteX47" fmla="*/ 940947 w 2129049"/>
                  <a:gd name="connsiteY47" fmla="*/ 939893 h 2180047"/>
                  <a:gd name="connsiteX48" fmla="*/ 978333 w 2129049"/>
                  <a:gd name="connsiteY48" fmla="*/ 993267 h 2180047"/>
                  <a:gd name="connsiteX49" fmla="*/ 1095859 w 2129049"/>
                  <a:gd name="connsiteY49" fmla="*/ 1039243 h 2180047"/>
                  <a:gd name="connsiteX50" fmla="*/ 1131484 w 2129049"/>
                  <a:gd name="connsiteY50" fmla="*/ 1124187 h 2180047"/>
                  <a:gd name="connsiteX51" fmla="*/ 1146506 w 2129049"/>
                  <a:gd name="connsiteY51" fmla="*/ 1133109 h 2180047"/>
                  <a:gd name="connsiteX52" fmla="*/ 1148541 w 2129049"/>
                  <a:gd name="connsiteY52" fmla="*/ 1133748 h 2180047"/>
                  <a:gd name="connsiteX53" fmla="*/ 1141842 w 2129049"/>
                  <a:gd name="connsiteY53" fmla="*/ 1144915 h 2180047"/>
                  <a:gd name="connsiteX54" fmla="*/ 1141505 w 2129049"/>
                  <a:gd name="connsiteY54" fmla="*/ 1145660 h 2180047"/>
                  <a:gd name="connsiteX55" fmla="*/ 1187973 w 2129049"/>
                  <a:gd name="connsiteY55" fmla="*/ 1232630 h 2180047"/>
                  <a:gd name="connsiteX56" fmla="*/ 1289562 w 2129049"/>
                  <a:gd name="connsiteY56" fmla="*/ 1373921 h 2180047"/>
                  <a:gd name="connsiteX57" fmla="*/ 1531690 w 2129049"/>
                  <a:gd name="connsiteY57" fmla="*/ 1481270 h 2180047"/>
                  <a:gd name="connsiteX58" fmla="*/ 1426417 w 2129049"/>
                  <a:gd name="connsiteY58" fmla="*/ 1496004 h 2180047"/>
                  <a:gd name="connsiteX59" fmla="*/ 1194816 w 2129049"/>
                  <a:gd name="connsiteY59" fmla="*/ 1399179 h 2180047"/>
                  <a:gd name="connsiteX60" fmla="*/ 1145436 w 2129049"/>
                  <a:gd name="connsiteY60" fmla="*/ 1340670 h 2180047"/>
                  <a:gd name="connsiteX61" fmla="*/ 1091189 w 2129049"/>
                  <a:gd name="connsiteY61" fmla="*/ 1275923 h 2180047"/>
                  <a:gd name="connsiteX62" fmla="*/ 1064249 w 2129049"/>
                  <a:gd name="connsiteY62" fmla="*/ 1369079 h 2180047"/>
                  <a:gd name="connsiteX63" fmla="*/ 1046007 w 2129049"/>
                  <a:gd name="connsiteY63" fmla="*/ 1483657 h 2180047"/>
                  <a:gd name="connsiteX64" fmla="*/ 1046013 w 2129049"/>
                  <a:gd name="connsiteY64" fmla="*/ 1495461 h 2180047"/>
                  <a:gd name="connsiteX65" fmla="*/ 1012870 w 2129049"/>
                  <a:gd name="connsiteY65" fmla="*/ 1487283 h 2180047"/>
                  <a:gd name="connsiteX66" fmla="*/ 561761 w 2129049"/>
                  <a:gd name="connsiteY66" fmla="*/ 1355377 h 2180047"/>
                  <a:gd name="connsiteX67" fmla="*/ 245802 w 2129049"/>
                  <a:gd name="connsiteY67" fmla="*/ 1165644 h 2180047"/>
                  <a:gd name="connsiteX68" fmla="*/ 203985 w 2129049"/>
                  <a:gd name="connsiteY68" fmla="*/ 1132152 h 2180047"/>
                  <a:gd name="connsiteX69" fmla="*/ 234345 w 2129049"/>
                  <a:gd name="connsiteY69" fmla="*/ 1297625 h 2180047"/>
                  <a:gd name="connsiteX70" fmla="*/ 260418 w 2129049"/>
                  <a:gd name="connsiteY70" fmla="*/ 1401636 h 2180047"/>
                  <a:gd name="connsiteX71" fmla="*/ 276086 w 2129049"/>
                  <a:gd name="connsiteY71" fmla="*/ 1451374 h 2180047"/>
                  <a:gd name="connsiteX72" fmla="*/ 305709 w 2129049"/>
                  <a:gd name="connsiteY72" fmla="*/ 1466895 h 2180047"/>
                  <a:gd name="connsiteX73" fmla="*/ 561761 w 2129049"/>
                  <a:gd name="connsiteY73" fmla="*/ 1572001 h 2180047"/>
                  <a:gd name="connsiteX74" fmla="*/ 1106575 w 2129049"/>
                  <a:gd name="connsiteY74" fmla="*/ 1664539 h 2180047"/>
                  <a:gd name="connsiteX75" fmla="*/ 1106413 w 2129049"/>
                  <a:gd name="connsiteY75" fmla="*/ 1663981 h 2180047"/>
                  <a:gd name="connsiteX76" fmla="*/ 1109394 w 2129049"/>
                  <a:gd name="connsiteY76" fmla="*/ 1669032 h 2180047"/>
                  <a:gd name="connsiteX77" fmla="*/ 1145872 w 2129049"/>
                  <a:gd name="connsiteY77" fmla="*/ 1724864 h 2180047"/>
                  <a:gd name="connsiteX78" fmla="*/ 1151390 w 2129049"/>
                  <a:gd name="connsiteY78" fmla="*/ 1728726 h 2180047"/>
                  <a:gd name="connsiteX79" fmla="*/ 1244657 w 2129049"/>
                  <a:gd name="connsiteY79" fmla="*/ 1793994 h 2180047"/>
                  <a:gd name="connsiteX80" fmla="*/ 1255282 w 2129049"/>
                  <a:gd name="connsiteY80" fmla="*/ 1801430 h 2180047"/>
                  <a:gd name="connsiteX81" fmla="*/ 1259765 w 2129049"/>
                  <a:gd name="connsiteY81" fmla="*/ 1803273 h 2180047"/>
                  <a:gd name="connsiteX82" fmla="*/ 1262425 w 2129049"/>
                  <a:gd name="connsiteY82" fmla="*/ 1805592 h 2180047"/>
                  <a:gd name="connsiteX83" fmla="*/ 1274330 w 2129049"/>
                  <a:gd name="connsiteY83" fmla="*/ 1811179 h 2180047"/>
                  <a:gd name="connsiteX84" fmla="*/ 1470632 w 2129049"/>
                  <a:gd name="connsiteY84" fmla="*/ 1851731 h 2180047"/>
                  <a:gd name="connsiteX85" fmla="*/ 1337987 w 2129049"/>
                  <a:gd name="connsiteY85" fmla="*/ 1879094 h 2180047"/>
                  <a:gd name="connsiteX86" fmla="*/ 1331095 w 2129049"/>
                  <a:gd name="connsiteY86" fmla="*/ 1878426 h 2180047"/>
                  <a:gd name="connsiteX87" fmla="*/ 1337882 w 2129049"/>
                  <a:gd name="connsiteY87" fmla="*/ 1887387 h 2180047"/>
                  <a:gd name="connsiteX88" fmla="*/ 2129049 w 2129049"/>
                  <a:gd name="connsiteY88" fmla="*/ 1929443 h 2180047"/>
                  <a:gd name="connsiteX89" fmla="*/ 1413632 w 2129049"/>
                  <a:gd name="connsiteY89" fmla="*/ 2169166 h 2180047"/>
                  <a:gd name="connsiteX90" fmla="*/ 1301496 w 2129049"/>
                  <a:gd name="connsiteY90" fmla="*/ 2177335 h 2180047"/>
                  <a:gd name="connsiteX91" fmla="*/ 1281595 w 2129049"/>
                  <a:gd name="connsiteY91" fmla="*/ 2175656 h 2180047"/>
                  <a:gd name="connsiteX92" fmla="*/ 1272759 w 2129049"/>
                  <a:gd name="connsiteY92" fmla="*/ 2177928 h 2180047"/>
                  <a:gd name="connsiteX93" fmla="*/ 1063402 w 2129049"/>
                  <a:gd name="connsiteY93" fmla="*/ 2155016 h 2180047"/>
                  <a:gd name="connsiteX94" fmla="*/ 994039 w 2129049"/>
                  <a:gd name="connsiteY94" fmla="*/ 2133739 h 2180047"/>
                  <a:gd name="connsiteX95" fmla="*/ 954380 w 2129049"/>
                  <a:gd name="connsiteY95" fmla="*/ 2125140 h 2180047"/>
                  <a:gd name="connsiteX96" fmla="*/ 485181 w 2129049"/>
                  <a:gd name="connsiteY96" fmla="*/ 1869194 h 2180047"/>
                  <a:gd name="connsiteX97" fmla="*/ 424111 w 2129049"/>
                  <a:gd name="connsiteY97" fmla="*/ 1817746 h 2180047"/>
                  <a:gd name="connsiteX98" fmla="*/ 407264 w 2129049"/>
                  <a:gd name="connsiteY98" fmla="*/ 1804650 h 2180047"/>
                  <a:gd name="connsiteX99" fmla="*/ 400242 w 2129049"/>
                  <a:gd name="connsiteY99" fmla="*/ 1797638 h 2180047"/>
                  <a:gd name="connsiteX100" fmla="*/ 373060 w 2129049"/>
                  <a:gd name="connsiteY100" fmla="*/ 1774739 h 2180047"/>
                  <a:gd name="connsiteX101" fmla="*/ 178723 w 2129049"/>
                  <a:gd name="connsiteY101" fmla="*/ 1546546 h 2180047"/>
                  <a:gd name="connsiteX102" fmla="*/ 0 w 2129049"/>
                  <a:gd name="connsiteY102" fmla="*/ 780817 h 2180047"/>
                  <a:gd name="connsiteX103" fmla="*/ 75177 w 2129049"/>
                  <a:gd name="connsiteY103" fmla="*/ 424975 h 2180047"/>
                  <a:gd name="connsiteX104" fmla="*/ 118668 w 2129049"/>
                  <a:gd name="connsiteY104" fmla="*/ 339046 h 2180047"/>
                  <a:gd name="connsiteX105" fmla="*/ 116953 w 2129049"/>
                  <a:gd name="connsiteY105" fmla="*/ 341932 h 2180047"/>
                  <a:gd name="connsiteX106" fmla="*/ 93993 w 2129049"/>
                  <a:gd name="connsiteY106" fmla="*/ 385485 h 2180047"/>
                  <a:gd name="connsiteX107" fmla="*/ 93509 w 2129049"/>
                  <a:gd name="connsiteY107" fmla="*/ 386464 h 2180047"/>
                  <a:gd name="connsiteX108" fmla="*/ 95671 w 2129049"/>
                  <a:gd name="connsiteY108" fmla="*/ 380966 h 2180047"/>
                  <a:gd name="connsiteX109" fmla="*/ 182624 w 2129049"/>
                  <a:gd name="connsiteY109" fmla="*/ 235436 h 2180047"/>
                  <a:gd name="connsiteX110" fmla="*/ 478385 w 2129049"/>
                  <a:gd name="connsiteY110" fmla="*/ 56179 h 2180047"/>
                  <a:gd name="connsiteX111" fmla="*/ 999928 w 2129049"/>
                  <a:gd name="connsiteY111" fmla="*/ 0 h 2180047"/>
                  <a:gd name="connsiteX112" fmla="*/ 1676449 w 2129049"/>
                  <a:gd name="connsiteY112" fmla="*/ 525838 h 2180047"/>
                  <a:gd name="connsiteX113" fmla="*/ 1579666 w 2129049"/>
                  <a:gd name="connsiteY113" fmla="*/ 999319 h 2180047"/>
                  <a:gd name="connsiteX114" fmla="*/ 1467605 w 2129049"/>
                  <a:gd name="connsiteY114" fmla="*/ 1154947 h 2180047"/>
                  <a:gd name="connsiteX115" fmla="*/ 1464597 w 2129049"/>
                  <a:gd name="connsiteY115" fmla="*/ 1153889 h 2180047"/>
                  <a:gd name="connsiteX116" fmla="*/ 1452025 w 2129049"/>
                  <a:gd name="connsiteY116" fmla="*/ 1125910 h 2180047"/>
                  <a:gd name="connsiteX117" fmla="*/ 1421781 w 2129049"/>
                  <a:gd name="connsiteY117" fmla="*/ 1058603 h 2180047"/>
                  <a:gd name="connsiteX118" fmla="*/ 1327088 w 2129049"/>
                  <a:gd name="connsiteY118" fmla="*/ 961820 h 2180047"/>
                  <a:gd name="connsiteX119" fmla="*/ 1304643 w 2129049"/>
                  <a:gd name="connsiteY119" fmla="*/ 931982 h 2180047"/>
                  <a:gd name="connsiteX120" fmla="*/ 1303076 w 2129049"/>
                  <a:gd name="connsiteY120" fmla="*/ 929526 h 2180047"/>
                  <a:gd name="connsiteX121" fmla="*/ 1268667 w 2129049"/>
                  <a:gd name="connsiteY121" fmla="*/ 875590 h 2180047"/>
                  <a:gd name="connsiteX122" fmla="*/ 1300274 w 2129049"/>
                  <a:gd name="connsiteY122" fmla="*/ 628723 h 2180047"/>
                  <a:gd name="connsiteX123" fmla="*/ 1307563 w 2129049"/>
                  <a:gd name="connsiteY123" fmla="*/ 618378 h 2180047"/>
                  <a:gd name="connsiteX124" fmla="*/ 1298642 w 2129049"/>
                  <a:gd name="connsiteY124" fmla="*/ 596988 h 2180047"/>
                  <a:gd name="connsiteX125" fmla="*/ 1292154 w 2129049"/>
                  <a:gd name="connsiteY125" fmla="*/ 580800 h 2180047"/>
                  <a:gd name="connsiteX126" fmla="*/ 1285141 w 2129049"/>
                  <a:gd name="connsiteY126" fmla="*/ 579133 h 2180047"/>
                  <a:gd name="connsiteX127" fmla="*/ 1003184 w 2129049"/>
                  <a:gd name="connsiteY127" fmla="*/ 372896 h 2180047"/>
                  <a:gd name="connsiteX128" fmla="*/ 993448 w 2129049"/>
                  <a:gd name="connsiteY128" fmla="*/ 53615 h 2180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Lst>
                <a:rect l="l" t="t" r="r" b="b"/>
                <a:pathLst>
                  <a:path w="2129049" h="2180047">
                    <a:moveTo>
                      <a:pt x="1222186" y="1839320"/>
                    </a:moveTo>
                    <a:cubicBezTo>
                      <a:pt x="1222186" y="1839320"/>
                      <a:pt x="1217322" y="1840010"/>
                      <a:pt x="1208400" y="1841119"/>
                    </a:cubicBezTo>
                    <a:lnTo>
                      <a:pt x="1186099" y="1843640"/>
                    </a:lnTo>
                    <a:lnTo>
                      <a:pt x="1188379" y="1844841"/>
                    </a:lnTo>
                    <a:cubicBezTo>
                      <a:pt x="1208837" y="1862152"/>
                      <a:pt x="1227939" y="1892644"/>
                      <a:pt x="1243194" y="1939957"/>
                    </a:cubicBezTo>
                    <a:cubicBezTo>
                      <a:pt x="1232936" y="1903158"/>
                      <a:pt x="1226723" y="1874737"/>
                      <a:pt x="1223702" y="1853174"/>
                    </a:cubicBezTo>
                    <a:lnTo>
                      <a:pt x="1222569" y="1839342"/>
                    </a:lnTo>
                    <a:close/>
                    <a:moveTo>
                      <a:pt x="441891" y="1746105"/>
                    </a:moveTo>
                    <a:lnTo>
                      <a:pt x="450977" y="1757606"/>
                    </a:lnTo>
                    <a:cubicBezTo>
                      <a:pt x="523579" y="1840277"/>
                      <a:pt x="612111" y="1915885"/>
                      <a:pt x="707370" y="1976776"/>
                    </a:cubicBezTo>
                    <a:lnTo>
                      <a:pt x="766453" y="2010648"/>
                    </a:lnTo>
                    <a:lnTo>
                      <a:pt x="831225" y="2015356"/>
                    </a:lnTo>
                    <a:cubicBezTo>
                      <a:pt x="884464" y="2017808"/>
                      <a:pt x="942877" y="2017788"/>
                      <a:pt x="999836" y="2014732"/>
                    </a:cubicBezTo>
                    <a:lnTo>
                      <a:pt x="1033552" y="2011934"/>
                    </a:lnTo>
                    <a:lnTo>
                      <a:pt x="1030508" y="1991231"/>
                    </a:lnTo>
                    <a:cubicBezTo>
                      <a:pt x="1029673" y="1945751"/>
                      <a:pt x="1045399" y="1901238"/>
                      <a:pt x="1069280" y="1869985"/>
                    </a:cubicBezTo>
                    <a:lnTo>
                      <a:pt x="1086998" y="1852207"/>
                    </a:lnTo>
                    <a:lnTo>
                      <a:pt x="1040249" y="1855089"/>
                    </a:lnTo>
                    <a:cubicBezTo>
                      <a:pt x="936134" y="1859819"/>
                      <a:pt x="805728" y="1858242"/>
                      <a:pt x="700561" y="1833012"/>
                    </a:cubicBezTo>
                    <a:cubicBezTo>
                      <a:pt x="607620" y="1810016"/>
                      <a:pt x="515887" y="1776557"/>
                      <a:pt x="442094" y="1746192"/>
                    </a:cubicBezTo>
                    <a:close/>
                    <a:moveTo>
                      <a:pt x="1059954" y="1504433"/>
                    </a:moveTo>
                    <a:lnTo>
                      <a:pt x="1137935" y="1553560"/>
                    </a:lnTo>
                    <a:cubicBezTo>
                      <a:pt x="1171787" y="1572701"/>
                      <a:pt x="1204817" y="1588620"/>
                      <a:pt x="1232714" y="1597039"/>
                    </a:cubicBezTo>
                    <a:cubicBezTo>
                      <a:pt x="1361148" y="1634927"/>
                      <a:pt x="1457999" y="1643347"/>
                      <a:pt x="1498003" y="1620193"/>
                    </a:cubicBezTo>
                    <a:cubicBezTo>
                      <a:pt x="1498003" y="1620193"/>
                      <a:pt x="1462210" y="1649661"/>
                      <a:pt x="1417995" y="1660186"/>
                    </a:cubicBezTo>
                    <a:cubicBezTo>
                      <a:pt x="1373780" y="1668605"/>
                      <a:pt x="1319038" y="1668605"/>
                      <a:pt x="1260085" y="1660186"/>
                    </a:cubicBezTo>
                    <a:cubicBezTo>
                      <a:pt x="1230609" y="1655976"/>
                      <a:pt x="1166918" y="1647556"/>
                      <a:pt x="1110597" y="1640189"/>
                    </a:cubicBezTo>
                    <a:lnTo>
                      <a:pt x="1099046" y="1638682"/>
                    </a:lnTo>
                    <a:close/>
                    <a:moveTo>
                      <a:pt x="251840" y="316333"/>
                    </a:moveTo>
                    <a:lnTo>
                      <a:pt x="246796" y="329846"/>
                    </a:lnTo>
                    <a:cubicBezTo>
                      <a:pt x="205006" y="446862"/>
                      <a:pt x="162954" y="588333"/>
                      <a:pt x="161902" y="686152"/>
                    </a:cubicBezTo>
                    <a:lnTo>
                      <a:pt x="163319" y="765157"/>
                    </a:lnTo>
                    <a:lnTo>
                      <a:pt x="168120" y="772124"/>
                    </a:lnTo>
                    <a:cubicBezTo>
                      <a:pt x="237177" y="866056"/>
                      <a:pt x="334563" y="972605"/>
                      <a:pt x="462568" y="1054574"/>
                    </a:cubicBezTo>
                    <a:cubicBezTo>
                      <a:pt x="755152" y="1239827"/>
                      <a:pt x="1083519" y="1296666"/>
                      <a:pt x="1083519" y="1296666"/>
                    </a:cubicBezTo>
                    <a:cubicBezTo>
                      <a:pt x="1112988" y="1212460"/>
                      <a:pt x="1112988" y="1212460"/>
                      <a:pt x="1112988" y="1212460"/>
                    </a:cubicBezTo>
                    <a:cubicBezTo>
                      <a:pt x="1112988" y="1212460"/>
                      <a:pt x="1058260" y="1208250"/>
                      <a:pt x="635171" y="913528"/>
                    </a:cubicBezTo>
                    <a:cubicBezTo>
                      <a:pt x="372057" y="730643"/>
                      <a:pt x="286544" y="495129"/>
                      <a:pt x="256327" y="344726"/>
                    </a:cubicBezTo>
                    <a:close/>
                    <a:moveTo>
                      <a:pt x="203697" y="216555"/>
                    </a:moveTo>
                    <a:lnTo>
                      <a:pt x="195507" y="224152"/>
                    </a:lnTo>
                    <a:cubicBezTo>
                      <a:pt x="181433" y="239566"/>
                      <a:pt x="166968" y="259629"/>
                      <a:pt x="153435" y="280530"/>
                    </a:cubicBezTo>
                    <a:lnTo>
                      <a:pt x="119142" y="338248"/>
                    </a:lnTo>
                    <a:lnTo>
                      <a:pt x="162420" y="270250"/>
                    </a:lnTo>
                    <a:cubicBezTo>
                      <a:pt x="176342" y="250442"/>
                      <a:pt x="189335" y="233719"/>
                      <a:pt x="200473" y="220227"/>
                    </a:cubicBezTo>
                    <a:close/>
                    <a:moveTo>
                      <a:pt x="545326" y="37476"/>
                    </a:moveTo>
                    <a:lnTo>
                      <a:pt x="541800" y="40991"/>
                    </a:lnTo>
                    <a:cubicBezTo>
                      <a:pt x="538494" y="44318"/>
                      <a:pt x="536701" y="46149"/>
                      <a:pt x="536701" y="46149"/>
                    </a:cubicBezTo>
                    <a:cubicBezTo>
                      <a:pt x="536701" y="131636"/>
                      <a:pt x="760164" y="665826"/>
                      <a:pt x="940947" y="939893"/>
                    </a:cubicBezTo>
                    <a:lnTo>
                      <a:pt x="978333" y="993267"/>
                    </a:lnTo>
                    <a:lnTo>
                      <a:pt x="1095859" y="1039243"/>
                    </a:lnTo>
                    <a:lnTo>
                      <a:pt x="1131484" y="1124187"/>
                    </a:lnTo>
                    <a:lnTo>
                      <a:pt x="1146506" y="1133109"/>
                    </a:lnTo>
                    <a:lnTo>
                      <a:pt x="1148541" y="1133748"/>
                    </a:lnTo>
                    <a:lnTo>
                      <a:pt x="1141842" y="1144915"/>
                    </a:lnTo>
                    <a:lnTo>
                      <a:pt x="1141505" y="1145660"/>
                    </a:lnTo>
                    <a:lnTo>
                      <a:pt x="1187973" y="1232630"/>
                    </a:lnTo>
                    <a:cubicBezTo>
                      <a:pt x="1223766" y="1293409"/>
                      <a:pt x="1261138" y="1345505"/>
                      <a:pt x="1289562" y="1373921"/>
                    </a:cubicBezTo>
                    <a:cubicBezTo>
                      <a:pt x="1344304" y="1428648"/>
                      <a:pt x="1426417" y="1496004"/>
                      <a:pt x="1531690" y="1481270"/>
                    </a:cubicBezTo>
                    <a:cubicBezTo>
                      <a:pt x="1531690" y="1481270"/>
                      <a:pt x="1476948" y="1504424"/>
                      <a:pt x="1426417" y="1496004"/>
                    </a:cubicBezTo>
                    <a:cubicBezTo>
                      <a:pt x="1377991" y="1485480"/>
                      <a:pt x="1245347" y="1456011"/>
                      <a:pt x="1194816" y="1399179"/>
                    </a:cubicBezTo>
                    <a:cubicBezTo>
                      <a:pt x="1182709" y="1384971"/>
                      <a:pt x="1165076" y="1364054"/>
                      <a:pt x="1145436" y="1340670"/>
                    </a:cubicBezTo>
                    <a:lnTo>
                      <a:pt x="1091189" y="1275923"/>
                    </a:lnTo>
                    <a:lnTo>
                      <a:pt x="1064249" y="1369079"/>
                    </a:lnTo>
                    <a:cubicBezTo>
                      <a:pt x="1054868" y="1409695"/>
                      <a:pt x="1048279" y="1449238"/>
                      <a:pt x="1046007" y="1483657"/>
                    </a:cubicBezTo>
                    <a:lnTo>
                      <a:pt x="1046013" y="1495461"/>
                    </a:lnTo>
                    <a:lnTo>
                      <a:pt x="1012870" y="1487283"/>
                    </a:lnTo>
                    <a:cubicBezTo>
                      <a:pt x="926987" y="1465792"/>
                      <a:pt x="733725" y="1415316"/>
                      <a:pt x="561761" y="1355377"/>
                    </a:cubicBezTo>
                    <a:cubicBezTo>
                      <a:pt x="461449" y="1320412"/>
                      <a:pt x="345032" y="1242374"/>
                      <a:pt x="245802" y="1165644"/>
                    </a:cubicBezTo>
                    <a:lnTo>
                      <a:pt x="203985" y="1132152"/>
                    </a:lnTo>
                    <a:lnTo>
                      <a:pt x="234345" y="1297625"/>
                    </a:lnTo>
                    <a:cubicBezTo>
                      <a:pt x="242410" y="1333469"/>
                      <a:pt x="251108" y="1368352"/>
                      <a:pt x="260418" y="1401636"/>
                    </a:cubicBezTo>
                    <a:lnTo>
                      <a:pt x="276086" y="1451374"/>
                    </a:lnTo>
                    <a:lnTo>
                      <a:pt x="305709" y="1466895"/>
                    </a:lnTo>
                    <a:cubicBezTo>
                      <a:pt x="373741" y="1500727"/>
                      <a:pt x="458919" y="1537496"/>
                      <a:pt x="561761" y="1572001"/>
                    </a:cubicBezTo>
                    <a:cubicBezTo>
                      <a:pt x="875187" y="1675055"/>
                      <a:pt x="1106575" y="1664539"/>
                      <a:pt x="1106575" y="1664539"/>
                    </a:cubicBezTo>
                    <a:lnTo>
                      <a:pt x="1106413" y="1663981"/>
                    </a:lnTo>
                    <a:lnTo>
                      <a:pt x="1109394" y="1669032"/>
                    </a:lnTo>
                    <a:lnTo>
                      <a:pt x="1145872" y="1724864"/>
                    </a:lnTo>
                    <a:lnTo>
                      <a:pt x="1151390" y="1728726"/>
                    </a:lnTo>
                    <a:cubicBezTo>
                      <a:pt x="1204685" y="1766022"/>
                      <a:pt x="1231333" y="1784670"/>
                      <a:pt x="1244657" y="1793994"/>
                    </a:cubicBezTo>
                    <a:lnTo>
                      <a:pt x="1255282" y="1801430"/>
                    </a:lnTo>
                    <a:lnTo>
                      <a:pt x="1259765" y="1803273"/>
                    </a:lnTo>
                    <a:lnTo>
                      <a:pt x="1262425" y="1805592"/>
                    </a:lnTo>
                    <a:lnTo>
                      <a:pt x="1274330" y="1811179"/>
                    </a:lnTo>
                    <a:cubicBezTo>
                      <a:pt x="1306011" y="1825288"/>
                      <a:pt x="1380623" y="1853310"/>
                      <a:pt x="1470632" y="1851731"/>
                    </a:cubicBezTo>
                    <a:cubicBezTo>
                      <a:pt x="1470632" y="1851731"/>
                      <a:pt x="1375886" y="1881199"/>
                      <a:pt x="1337987" y="1879094"/>
                    </a:cubicBezTo>
                    <a:lnTo>
                      <a:pt x="1331095" y="1878426"/>
                    </a:lnTo>
                    <a:lnTo>
                      <a:pt x="1337882" y="1887387"/>
                    </a:lnTo>
                    <a:cubicBezTo>
                      <a:pt x="1419945" y="2013557"/>
                      <a:pt x="2129049" y="1929443"/>
                      <a:pt x="2129049" y="1929443"/>
                    </a:cubicBezTo>
                    <a:cubicBezTo>
                      <a:pt x="2129049" y="1929443"/>
                      <a:pt x="2129049" y="1929443"/>
                      <a:pt x="1413632" y="2169166"/>
                    </a:cubicBezTo>
                    <a:cubicBezTo>
                      <a:pt x="1372338" y="2174818"/>
                      <a:pt x="1335063" y="2177389"/>
                      <a:pt x="1301496" y="2177335"/>
                    </a:cubicBezTo>
                    <a:lnTo>
                      <a:pt x="1281595" y="2175656"/>
                    </a:lnTo>
                    <a:lnTo>
                      <a:pt x="1272759" y="2177928"/>
                    </a:lnTo>
                    <a:cubicBezTo>
                      <a:pt x="1225811" y="2184118"/>
                      <a:pt x="1152027" y="2176826"/>
                      <a:pt x="1063402" y="2155016"/>
                    </a:cubicBezTo>
                    <a:lnTo>
                      <a:pt x="994039" y="2133739"/>
                    </a:lnTo>
                    <a:lnTo>
                      <a:pt x="954380" y="2125140"/>
                    </a:lnTo>
                    <a:cubicBezTo>
                      <a:pt x="795130" y="2082053"/>
                      <a:pt x="625466" y="1978945"/>
                      <a:pt x="485181" y="1869194"/>
                    </a:cubicBezTo>
                    <a:lnTo>
                      <a:pt x="424111" y="1817746"/>
                    </a:lnTo>
                    <a:lnTo>
                      <a:pt x="407264" y="1804650"/>
                    </a:lnTo>
                    <a:lnTo>
                      <a:pt x="400242" y="1797638"/>
                    </a:lnTo>
                    <a:lnTo>
                      <a:pt x="373060" y="1774739"/>
                    </a:lnTo>
                    <a:cubicBezTo>
                      <a:pt x="269990" y="1681147"/>
                      <a:pt x="196858" y="1593878"/>
                      <a:pt x="178723" y="1546546"/>
                    </a:cubicBezTo>
                    <a:cubicBezTo>
                      <a:pt x="92516" y="1378254"/>
                      <a:pt x="0" y="1054291"/>
                      <a:pt x="0" y="780817"/>
                    </a:cubicBezTo>
                    <a:cubicBezTo>
                      <a:pt x="0" y="639609"/>
                      <a:pt x="33412" y="519701"/>
                      <a:pt x="75177" y="424975"/>
                    </a:cubicBezTo>
                    <a:lnTo>
                      <a:pt x="118668" y="339046"/>
                    </a:lnTo>
                    <a:lnTo>
                      <a:pt x="116953" y="341932"/>
                    </a:lnTo>
                    <a:cubicBezTo>
                      <a:pt x="106605" y="360695"/>
                      <a:pt x="98512" y="376484"/>
                      <a:pt x="93993" y="385485"/>
                    </a:cubicBezTo>
                    <a:lnTo>
                      <a:pt x="93509" y="386464"/>
                    </a:lnTo>
                    <a:lnTo>
                      <a:pt x="95671" y="380966"/>
                    </a:lnTo>
                    <a:cubicBezTo>
                      <a:pt x="123713" y="321057"/>
                      <a:pt x="154747" y="273315"/>
                      <a:pt x="182624" y="235436"/>
                    </a:cubicBezTo>
                    <a:cubicBezTo>
                      <a:pt x="241010" y="154155"/>
                      <a:pt x="355019" y="96548"/>
                      <a:pt x="478385" y="56179"/>
                    </a:cubicBezTo>
                    <a:close/>
                    <a:moveTo>
                      <a:pt x="999928" y="0"/>
                    </a:moveTo>
                    <a:lnTo>
                      <a:pt x="1676449" y="525838"/>
                    </a:lnTo>
                    <a:cubicBezTo>
                      <a:pt x="1676449" y="525838"/>
                      <a:pt x="1594394" y="780465"/>
                      <a:pt x="1579666" y="999319"/>
                    </a:cubicBezTo>
                    <a:cubicBezTo>
                      <a:pt x="1570461" y="1136103"/>
                      <a:pt x="1517697" y="1165202"/>
                      <a:pt x="1467605" y="1154947"/>
                    </a:cubicBezTo>
                    <a:lnTo>
                      <a:pt x="1464597" y="1153889"/>
                    </a:lnTo>
                    <a:lnTo>
                      <a:pt x="1452025" y="1125910"/>
                    </a:lnTo>
                    <a:cubicBezTo>
                      <a:pt x="1443951" y="1107940"/>
                      <a:pt x="1434013" y="1085824"/>
                      <a:pt x="1421781" y="1058603"/>
                    </a:cubicBezTo>
                    <a:cubicBezTo>
                      <a:pt x="1421781" y="1058603"/>
                      <a:pt x="1360757" y="999691"/>
                      <a:pt x="1327088" y="961820"/>
                    </a:cubicBezTo>
                    <a:lnTo>
                      <a:pt x="1304643" y="931982"/>
                    </a:lnTo>
                    <a:lnTo>
                      <a:pt x="1303076" y="929526"/>
                    </a:lnTo>
                    <a:cubicBezTo>
                      <a:pt x="1268667" y="875590"/>
                      <a:pt x="1268667" y="875590"/>
                      <a:pt x="1268667" y="875590"/>
                    </a:cubicBezTo>
                    <a:cubicBezTo>
                      <a:pt x="1268667" y="875590"/>
                      <a:pt x="1236457" y="743498"/>
                      <a:pt x="1300274" y="628723"/>
                    </a:cubicBezTo>
                    <a:lnTo>
                      <a:pt x="1307563" y="618378"/>
                    </a:lnTo>
                    <a:lnTo>
                      <a:pt x="1298642" y="596988"/>
                    </a:lnTo>
                    <a:lnTo>
                      <a:pt x="1292154" y="580800"/>
                    </a:lnTo>
                    <a:lnTo>
                      <a:pt x="1285141" y="579133"/>
                    </a:lnTo>
                    <a:cubicBezTo>
                      <a:pt x="1217808" y="547566"/>
                      <a:pt x="1022122" y="492850"/>
                      <a:pt x="1003184" y="372896"/>
                    </a:cubicBezTo>
                    <a:cubicBezTo>
                      <a:pt x="992533" y="305422"/>
                      <a:pt x="984544" y="180018"/>
                      <a:pt x="993448" y="53615"/>
                    </a:cubicBezTo>
                    <a:close/>
                  </a:path>
                </a:pathLst>
              </a:custGeom>
              <a:solidFill>
                <a:schemeClr val="bg1"/>
              </a:solidFill>
              <a:ln w="3175" cap="flat">
                <a:noFill/>
                <a:prstDash val="solid"/>
                <a:miter lim="800000"/>
                <a:headEnd/>
                <a:tailEnd/>
              </a:ln>
            </p:spPr>
            <p:txBody>
              <a:bodyPr vert="horz" wrap="square" lIns="89642" tIns="44821" rIns="89642" bIns="44821" numCol="1" anchor="t" anchorCtr="0" compatLnSpc="1">
                <a:prstTxWarp prst="textNoShape">
                  <a:avLst/>
                </a:prstTxWarp>
                <a:noAutofit/>
              </a:bodyPr>
              <a:lstStyle/>
              <a:p>
                <a:pPr defTabSz="914367"/>
                <a:endParaRPr lang="en-IN" sz="1765">
                  <a:solidFill>
                    <a:srgbClr val="505050"/>
                  </a:solidFill>
                </a:endParaRPr>
              </a:p>
            </p:txBody>
          </p:sp>
          <p:sp>
            <p:nvSpPr>
              <p:cNvPr id="96" name="Freeform 95"/>
              <p:cNvSpPr>
                <a:spLocks/>
              </p:cNvSpPr>
              <p:nvPr/>
            </p:nvSpPr>
            <p:spPr bwMode="auto">
              <a:xfrm>
                <a:off x="6501792" y="2600369"/>
                <a:ext cx="700179" cy="504376"/>
              </a:xfrm>
              <a:custGeom>
                <a:avLst/>
                <a:gdLst>
                  <a:gd name="connsiteX0" fmla="*/ 3283994 w 3907177"/>
                  <a:gd name="connsiteY0" fmla="*/ 2199606 h 3033282"/>
                  <a:gd name="connsiteX1" fmla="*/ 3216771 w 3907177"/>
                  <a:gd name="connsiteY1" fmla="*/ 2237508 h 3033282"/>
                  <a:gd name="connsiteX2" fmla="*/ 3176070 w 3907177"/>
                  <a:gd name="connsiteY2" fmla="*/ 2287254 h 3033282"/>
                  <a:gd name="connsiteX3" fmla="*/ 3157902 w 3907177"/>
                  <a:gd name="connsiteY3" fmla="*/ 2304911 h 3033282"/>
                  <a:gd name="connsiteX4" fmla="*/ 3148728 w 3907177"/>
                  <a:gd name="connsiteY4" fmla="*/ 2311436 h 3033282"/>
                  <a:gd name="connsiteX5" fmla="*/ 3136944 w 3907177"/>
                  <a:gd name="connsiteY5" fmla="*/ 2319628 h 3033282"/>
                  <a:gd name="connsiteX6" fmla="*/ 3154439 w 3907177"/>
                  <a:gd name="connsiteY6" fmla="*/ 2308277 h 3033282"/>
                  <a:gd name="connsiteX7" fmla="*/ 3157902 w 3907177"/>
                  <a:gd name="connsiteY7" fmla="*/ 2304911 h 3033282"/>
                  <a:gd name="connsiteX8" fmla="*/ 3176070 w 3907177"/>
                  <a:gd name="connsiteY8" fmla="*/ 2291992 h 3033282"/>
                  <a:gd name="connsiteX9" fmla="*/ 3229375 w 3907177"/>
                  <a:gd name="connsiteY9" fmla="*/ 2250142 h 3033282"/>
                  <a:gd name="connsiteX10" fmla="*/ 3317605 w 3907177"/>
                  <a:gd name="connsiteY10" fmla="*/ 2231191 h 3033282"/>
                  <a:gd name="connsiteX11" fmla="*/ 3378755 w 3907177"/>
                  <a:gd name="connsiteY11" fmla="*/ 2245404 h 3033282"/>
                  <a:gd name="connsiteX12" fmla="*/ 3382808 w 3907177"/>
                  <a:gd name="connsiteY12" fmla="*/ 2247161 h 3033282"/>
                  <a:gd name="connsiteX13" fmla="*/ 3351550 w 3907177"/>
                  <a:gd name="connsiteY13" fmla="*/ 2248260 h 3033282"/>
                  <a:gd name="connsiteX14" fmla="*/ 3315694 w 3907177"/>
                  <a:gd name="connsiteY14" fmla="*/ 2268558 h 3033282"/>
                  <a:gd name="connsiteX15" fmla="*/ 3248262 w 3907177"/>
                  <a:gd name="connsiteY15" fmla="*/ 2369622 h 3033282"/>
                  <a:gd name="connsiteX16" fmla="*/ 3195581 w 3907177"/>
                  <a:gd name="connsiteY16" fmla="*/ 2443314 h 3033282"/>
                  <a:gd name="connsiteX17" fmla="*/ 3288300 w 3907177"/>
                  <a:gd name="connsiteY17" fmla="*/ 2346462 h 3033282"/>
                  <a:gd name="connsiteX18" fmla="*/ 3334660 w 3907177"/>
                  <a:gd name="connsiteY18" fmla="*/ 2295930 h 3033282"/>
                  <a:gd name="connsiteX19" fmla="*/ 3404199 w 3907177"/>
                  <a:gd name="connsiteY19" fmla="*/ 2281191 h 3033282"/>
                  <a:gd name="connsiteX20" fmla="*/ 3442129 w 3907177"/>
                  <a:gd name="connsiteY20" fmla="*/ 2291719 h 3033282"/>
                  <a:gd name="connsiteX21" fmla="*/ 3448451 w 3907177"/>
                  <a:gd name="connsiteY21" fmla="*/ 2258031 h 3033282"/>
                  <a:gd name="connsiteX22" fmla="*/ 3432746 w 3907177"/>
                  <a:gd name="connsiteY22" fmla="*/ 2253458 h 3033282"/>
                  <a:gd name="connsiteX23" fmla="*/ 3399309 w 3907177"/>
                  <a:gd name="connsiteY23" fmla="*/ 2247403 h 3033282"/>
                  <a:gd name="connsiteX24" fmla="*/ 3406885 w 3907177"/>
                  <a:gd name="connsiteY24" fmla="*/ 2246720 h 3033282"/>
                  <a:gd name="connsiteX25" fmla="*/ 3422640 w 3907177"/>
                  <a:gd name="connsiteY25" fmla="*/ 2231191 h 3033282"/>
                  <a:gd name="connsiteX26" fmla="*/ 3370122 w 3907177"/>
                  <a:gd name="connsiteY26" fmla="*/ 2208029 h 3033282"/>
                  <a:gd name="connsiteX27" fmla="*/ 3283994 w 3907177"/>
                  <a:gd name="connsiteY27" fmla="*/ 2199606 h 3033282"/>
                  <a:gd name="connsiteX28" fmla="*/ 3868985 w 3907177"/>
                  <a:gd name="connsiteY28" fmla="*/ 2136388 h 3033282"/>
                  <a:gd name="connsiteX29" fmla="*/ 3734396 w 3907177"/>
                  <a:gd name="connsiteY29" fmla="*/ 2199444 h 3033282"/>
                  <a:gd name="connsiteX30" fmla="*/ 3559852 w 3907177"/>
                  <a:gd name="connsiteY30" fmla="*/ 2182629 h 3033282"/>
                  <a:gd name="connsiteX31" fmla="*/ 3641867 w 3907177"/>
                  <a:gd name="connsiteY31" fmla="*/ 2241481 h 3033282"/>
                  <a:gd name="connsiteX32" fmla="*/ 3702852 w 3907177"/>
                  <a:gd name="connsiteY32" fmla="*/ 2239379 h 3033282"/>
                  <a:gd name="connsiteX33" fmla="*/ 3831132 w 3907177"/>
                  <a:gd name="connsiteY33" fmla="*/ 2178425 h 3033282"/>
                  <a:gd name="connsiteX34" fmla="*/ 3868985 w 3907177"/>
                  <a:gd name="connsiteY34" fmla="*/ 2136388 h 3033282"/>
                  <a:gd name="connsiteX35" fmla="*/ 3385344 w 3907177"/>
                  <a:gd name="connsiteY35" fmla="*/ 2089937 h 3033282"/>
                  <a:gd name="connsiteX36" fmla="*/ 3403807 w 3907177"/>
                  <a:gd name="connsiteY36" fmla="*/ 2092045 h 3033282"/>
                  <a:gd name="connsiteX37" fmla="*/ 3420687 w 3907177"/>
                  <a:gd name="connsiteY37" fmla="*/ 2119439 h 3033282"/>
                  <a:gd name="connsiteX38" fmla="*/ 3410137 w 3907177"/>
                  <a:gd name="connsiteY38" fmla="*/ 2151048 h 3033282"/>
                  <a:gd name="connsiteX39" fmla="*/ 3380596 w 3907177"/>
                  <a:gd name="connsiteY39" fmla="*/ 2144726 h 3033282"/>
                  <a:gd name="connsiteX40" fmla="*/ 3353166 w 3907177"/>
                  <a:gd name="connsiteY40" fmla="*/ 2146834 h 3033282"/>
                  <a:gd name="connsiteX41" fmla="*/ 3353166 w 3907177"/>
                  <a:gd name="connsiteY41" fmla="*/ 2113117 h 3033282"/>
                  <a:gd name="connsiteX42" fmla="*/ 3370046 w 3907177"/>
                  <a:gd name="connsiteY42" fmla="*/ 2094152 h 3033282"/>
                  <a:gd name="connsiteX43" fmla="*/ 3385344 w 3907177"/>
                  <a:gd name="connsiteY43" fmla="*/ 2089937 h 3033282"/>
                  <a:gd name="connsiteX44" fmla="*/ 2921466 w 3907177"/>
                  <a:gd name="connsiteY44" fmla="*/ 1940074 h 3033282"/>
                  <a:gd name="connsiteX45" fmla="*/ 2876044 w 3907177"/>
                  <a:gd name="connsiteY45" fmla="*/ 1945069 h 3033282"/>
                  <a:gd name="connsiteX46" fmla="*/ 2796228 w 3907177"/>
                  <a:gd name="connsiteY46" fmla="*/ 1980818 h 3033282"/>
                  <a:gd name="connsiteX47" fmla="*/ 2716411 w 3907177"/>
                  <a:gd name="connsiteY47" fmla="*/ 2018670 h 3033282"/>
                  <a:gd name="connsiteX48" fmla="*/ 2773123 w 3907177"/>
                  <a:gd name="connsiteY48" fmla="*/ 2014464 h 3033282"/>
                  <a:gd name="connsiteX49" fmla="*/ 2813031 w 3907177"/>
                  <a:gd name="connsiteY49" fmla="*/ 2008155 h 3033282"/>
                  <a:gd name="connsiteX50" fmla="*/ 2810931 w 3907177"/>
                  <a:gd name="connsiteY50" fmla="*/ 2075448 h 3033282"/>
                  <a:gd name="connsiteX51" fmla="*/ 2825634 w 3907177"/>
                  <a:gd name="connsiteY51" fmla="*/ 2117505 h 3033282"/>
                  <a:gd name="connsiteX52" fmla="*/ 2817232 w 3907177"/>
                  <a:gd name="connsiteY52" fmla="*/ 2123814 h 3033282"/>
                  <a:gd name="connsiteX53" fmla="*/ 2773123 w 3907177"/>
                  <a:gd name="connsiteY53" fmla="*/ 2157460 h 3033282"/>
                  <a:gd name="connsiteX54" fmla="*/ 2848738 w 3907177"/>
                  <a:gd name="connsiteY54" fmla="*/ 2125917 h 3033282"/>
                  <a:gd name="connsiteX55" fmla="*/ 2941157 w 3907177"/>
                  <a:gd name="connsiteY55" fmla="*/ 2104888 h 3033282"/>
                  <a:gd name="connsiteX56" fmla="*/ 3111292 w 3907177"/>
                  <a:gd name="connsiteY56" fmla="*/ 2106991 h 3033282"/>
                  <a:gd name="connsiteX57" fmla="*/ 3056681 w 3907177"/>
                  <a:gd name="connsiteY57" fmla="*/ 2085962 h 3033282"/>
                  <a:gd name="connsiteX58" fmla="*/ 3016773 w 3907177"/>
                  <a:gd name="connsiteY58" fmla="*/ 2081756 h 3033282"/>
                  <a:gd name="connsiteX59" fmla="*/ 3023074 w 3907177"/>
                  <a:gd name="connsiteY59" fmla="*/ 2027081 h 3033282"/>
                  <a:gd name="connsiteX60" fmla="*/ 2995769 w 3907177"/>
                  <a:gd name="connsiteY60" fmla="*/ 1970303 h 3033282"/>
                  <a:gd name="connsiteX61" fmla="*/ 3018873 w 3907177"/>
                  <a:gd name="connsiteY61" fmla="*/ 1966098 h 3033282"/>
                  <a:gd name="connsiteX62" fmla="*/ 3065083 w 3907177"/>
                  <a:gd name="connsiteY62" fmla="*/ 1957686 h 3033282"/>
                  <a:gd name="connsiteX63" fmla="*/ 2968463 w 3907177"/>
                  <a:gd name="connsiteY63" fmla="*/ 1942966 h 3033282"/>
                  <a:gd name="connsiteX64" fmla="*/ 2921466 w 3907177"/>
                  <a:gd name="connsiteY64" fmla="*/ 1940074 h 3033282"/>
                  <a:gd name="connsiteX65" fmla="*/ 2882143 w 3907177"/>
                  <a:gd name="connsiteY65" fmla="*/ 1689578 h 3033282"/>
                  <a:gd name="connsiteX66" fmla="*/ 2779009 w 3907177"/>
                  <a:gd name="connsiteY66" fmla="*/ 1700880 h 3033282"/>
                  <a:gd name="connsiteX67" fmla="*/ 2720075 w 3907177"/>
                  <a:gd name="connsiteY67" fmla="*/ 1810222 h 3033282"/>
                  <a:gd name="connsiteX68" fmla="*/ 2806371 w 3907177"/>
                  <a:gd name="connsiteY68" fmla="*/ 1730318 h 3033282"/>
                  <a:gd name="connsiteX69" fmla="*/ 2953705 w 3907177"/>
                  <a:gd name="connsiteY69" fmla="*/ 1692469 h 3033282"/>
                  <a:gd name="connsiteX70" fmla="*/ 2882143 w 3907177"/>
                  <a:gd name="connsiteY70" fmla="*/ 1689578 h 3033282"/>
                  <a:gd name="connsiteX71" fmla="*/ 2751741 w 3907177"/>
                  <a:gd name="connsiteY71" fmla="*/ 1152523 h 3033282"/>
                  <a:gd name="connsiteX72" fmla="*/ 2752273 w 3907177"/>
                  <a:gd name="connsiteY72" fmla="*/ 1154187 h 3033282"/>
                  <a:gd name="connsiteX73" fmla="*/ 2764036 w 3907177"/>
                  <a:gd name="connsiteY73" fmla="*/ 1192874 h 3033282"/>
                  <a:gd name="connsiteX74" fmla="*/ 2787833 w 3907177"/>
                  <a:gd name="connsiteY74" fmla="*/ 1274009 h 3033282"/>
                  <a:gd name="connsiteX75" fmla="*/ 2819472 w 3907177"/>
                  <a:gd name="connsiteY75" fmla="*/ 1283014 h 3033282"/>
                  <a:gd name="connsiteX76" fmla="*/ 2820261 w 3907177"/>
                  <a:gd name="connsiteY76" fmla="*/ 1283258 h 3033282"/>
                  <a:gd name="connsiteX77" fmla="*/ 2825890 w 3907177"/>
                  <a:gd name="connsiteY77" fmla="*/ 1283302 h 3033282"/>
                  <a:gd name="connsiteX78" fmla="*/ 2903747 w 3907177"/>
                  <a:gd name="connsiteY78" fmla="*/ 1291542 h 3033282"/>
                  <a:gd name="connsiteX79" fmla="*/ 2899550 w 3907177"/>
                  <a:gd name="connsiteY79" fmla="*/ 1288295 h 3033282"/>
                  <a:gd name="connsiteX80" fmla="*/ 2806596 w 3907177"/>
                  <a:gd name="connsiteY80" fmla="*/ 1216396 h 3033282"/>
                  <a:gd name="connsiteX81" fmla="*/ 2775061 w 3907177"/>
                  <a:gd name="connsiteY81" fmla="*/ 1179930 h 3033282"/>
                  <a:gd name="connsiteX82" fmla="*/ 1695768 w 3907177"/>
                  <a:gd name="connsiteY82" fmla="*/ 862876 h 3033282"/>
                  <a:gd name="connsiteX83" fmla="*/ 2078780 w 3907177"/>
                  <a:gd name="connsiteY83" fmla="*/ 919680 h 3033282"/>
                  <a:gd name="connsiteX84" fmla="*/ 2177689 w 3907177"/>
                  <a:gd name="connsiteY84" fmla="*/ 938615 h 3033282"/>
                  <a:gd name="connsiteX85" fmla="*/ 2274495 w 3907177"/>
                  <a:gd name="connsiteY85" fmla="*/ 997523 h 3033282"/>
                  <a:gd name="connsiteX86" fmla="*/ 2192421 w 3907177"/>
                  <a:gd name="connsiteY86" fmla="*/ 984900 h 3033282"/>
                  <a:gd name="connsiteX87" fmla="*/ 2082989 w 3907177"/>
                  <a:gd name="connsiteY87" fmla="*/ 1031185 h 3033282"/>
                  <a:gd name="connsiteX88" fmla="*/ 2013542 w 3907177"/>
                  <a:gd name="connsiteY88" fmla="*/ 1064846 h 3033282"/>
                  <a:gd name="connsiteX89" fmla="*/ 2177689 w 3907177"/>
                  <a:gd name="connsiteY89" fmla="*/ 1060639 h 3033282"/>
                  <a:gd name="connsiteX90" fmla="*/ 2320793 w 3907177"/>
                  <a:gd name="connsiteY90" fmla="*/ 1102716 h 3033282"/>
                  <a:gd name="connsiteX91" fmla="*/ 2402867 w 3907177"/>
                  <a:gd name="connsiteY91" fmla="*/ 1193182 h 3033282"/>
                  <a:gd name="connsiteX92" fmla="*/ 2477977 w 3907177"/>
                  <a:gd name="connsiteY92" fmla="*/ 1304520 h 3033282"/>
                  <a:gd name="connsiteX93" fmla="*/ 2495231 w 3907177"/>
                  <a:gd name="connsiteY93" fmla="*/ 1302276 h 3033282"/>
                  <a:gd name="connsiteX94" fmla="*/ 2479203 w 3907177"/>
                  <a:gd name="connsiteY94" fmla="*/ 1263722 h 3033282"/>
                  <a:gd name="connsiteX95" fmla="*/ 2352360 w 3907177"/>
                  <a:gd name="connsiteY95" fmla="*/ 974380 h 3033282"/>
                  <a:gd name="connsiteX96" fmla="*/ 2194525 w 3907177"/>
                  <a:gd name="connsiteY96" fmla="*/ 875499 h 3033282"/>
                  <a:gd name="connsiteX97" fmla="*/ 1695768 w 3907177"/>
                  <a:gd name="connsiteY97" fmla="*/ 862876 h 3033282"/>
                  <a:gd name="connsiteX98" fmla="*/ 2884074 w 3907177"/>
                  <a:gd name="connsiteY98" fmla="*/ 435929 h 3033282"/>
                  <a:gd name="connsiteX99" fmla="*/ 2987291 w 3907177"/>
                  <a:gd name="connsiteY99" fmla="*/ 631716 h 3033282"/>
                  <a:gd name="connsiteX100" fmla="*/ 3130531 w 3907177"/>
                  <a:gd name="connsiteY100" fmla="*/ 1008552 h 3033282"/>
                  <a:gd name="connsiteX101" fmla="*/ 3063124 w 3907177"/>
                  <a:gd name="connsiteY101" fmla="*/ 682241 h 3033282"/>
                  <a:gd name="connsiteX102" fmla="*/ 2970440 w 3907177"/>
                  <a:gd name="connsiteY102" fmla="*/ 520138 h 3033282"/>
                  <a:gd name="connsiteX103" fmla="*/ 2884074 w 3907177"/>
                  <a:gd name="connsiteY103" fmla="*/ 435929 h 3033282"/>
                  <a:gd name="connsiteX104" fmla="*/ 990408 w 3907177"/>
                  <a:gd name="connsiteY104" fmla="*/ 698 h 3033282"/>
                  <a:gd name="connsiteX105" fmla="*/ 1039550 w 3907177"/>
                  <a:gd name="connsiteY105" fmla="*/ 863 h 3033282"/>
                  <a:gd name="connsiteX106" fmla="*/ 1348803 w 3907177"/>
                  <a:gd name="connsiteY106" fmla="*/ 72387 h 3033282"/>
                  <a:gd name="connsiteX107" fmla="*/ 1737998 w 3907177"/>
                  <a:gd name="connsiteY107" fmla="*/ 232264 h 3033282"/>
                  <a:gd name="connsiteX108" fmla="*/ 2005176 w 3907177"/>
                  <a:gd name="connsiteY108" fmla="*/ 371104 h 3033282"/>
                  <a:gd name="connsiteX109" fmla="*/ 2203455 w 3907177"/>
                  <a:gd name="connsiteY109" fmla="*/ 477601 h 3033282"/>
                  <a:gd name="connsiteX110" fmla="*/ 2296994 w 3907177"/>
                  <a:gd name="connsiteY110" fmla="*/ 530121 h 3033282"/>
                  <a:gd name="connsiteX111" fmla="*/ 2323986 w 3907177"/>
                  <a:gd name="connsiteY111" fmla="*/ 546882 h 3033282"/>
                  <a:gd name="connsiteX112" fmla="*/ 2357160 w 3907177"/>
                  <a:gd name="connsiteY112" fmla="*/ 567482 h 3033282"/>
                  <a:gd name="connsiteX113" fmla="*/ 2404890 w 3907177"/>
                  <a:gd name="connsiteY113" fmla="*/ 598298 h 3033282"/>
                  <a:gd name="connsiteX114" fmla="*/ 2415440 w 3907177"/>
                  <a:gd name="connsiteY114" fmla="*/ 605928 h 3033282"/>
                  <a:gd name="connsiteX115" fmla="*/ 2362991 w 3907177"/>
                  <a:gd name="connsiteY115" fmla="*/ 493093 h 3033282"/>
                  <a:gd name="connsiteX116" fmla="*/ 2329266 w 3907177"/>
                  <a:gd name="connsiteY116" fmla="*/ 483333 h 3033282"/>
                  <a:gd name="connsiteX117" fmla="*/ 2307060 w 3907177"/>
                  <a:gd name="connsiteY117" fmla="*/ 476906 h 3033282"/>
                  <a:gd name="connsiteX118" fmla="*/ 2313198 w 3907177"/>
                  <a:gd name="connsiteY118" fmla="*/ 470584 h 3033282"/>
                  <a:gd name="connsiteX119" fmla="*/ 2460566 w 3907177"/>
                  <a:gd name="connsiteY119" fmla="*/ 333037 h 3033282"/>
                  <a:gd name="connsiteX120" fmla="*/ 2482676 w 3907177"/>
                  <a:gd name="connsiteY120" fmla="*/ 317005 h 3033282"/>
                  <a:gd name="connsiteX121" fmla="*/ 2522361 w 3907177"/>
                  <a:gd name="connsiteY121" fmla="*/ 296868 h 3033282"/>
                  <a:gd name="connsiteX122" fmla="*/ 2554579 w 3907177"/>
                  <a:gd name="connsiteY122" fmla="*/ 283748 h 3033282"/>
                  <a:gd name="connsiteX123" fmla="*/ 2694384 w 3907177"/>
                  <a:gd name="connsiteY123" fmla="*/ 254812 h 3033282"/>
                  <a:gd name="connsiteX124" fmla="*/ 2798186 w 3907177"/>
                  <a:gd name="connsiteY124" fmla="*/ 277829 h 3033282"/>
                  <a:gd name="connsiteX125" fmla="*/ 2857052 w 3907177"/>
                  <a:gd name="connsiteY125" fmla="*/ 260994 h 3033282"/>
                  <a:gd name="connsiteX126" fmla="*/ 2861191 w 3907177"/>
                  <a:gd name="connsiteY126" fmla="*/ 261705 h 3033282"/>
                  <a:gd name="connsiteX127" fmla="*/ 2866568 w 3907177"/>
                  <a:gd name="connsiteY127" fmla="*/ 262766 h 3033282"/>
                  <a:gd name="connsiteX128" fmla="*/ 2867847 w 3907177"/>
                  <a:gd name="connsiteY128" fmla="*/ 263215 h 3033282"/>
                  <a:gd name="connsiteX129" fmla="*/ 2874182 w 3907177"/>
                  <a:gd name="connsiteY129" fmla="*/ 265939 h 3033282"/>
                  <a:gd name="connsiteX130" fmla="*/ 2878772 w 3907177"/>
                  <a:gd name="connsiteY130" fmla="*/ 265783 h 3033282"/>
                  <a:gd name="connsiteX131" fmla="*/ 2879970 w 3907177"/>
                  <a:gd name="connsiteY131" fmla="*/ 265863 h 3033282"/>
                  <a:gd name="connsiteX132" fmla="*/ 2909084 w 3907177"/>
                  <a:gd name="connsiteY132" fmla="*/ 273357 h 3033282"/>
                  <a:gd name="connsiteX133" fmla="*/ 2989498 w 3907177"/>
                  <a:gd name="connsiteY133" fmla="*/ 315709 h 3033282"/>
                  <a:gd name="connsiteX134" fmla="*/ 3365815 w 3907177"/>
                  <a:gd name="connsiteY134" fmla="*/ 925987 h 3033282"/>
                  <a:gd name="connsiteX135" fmla="*/ 3233368 w 3907177"/>
                  <a:gd name="connsiteY135" fmla="*/ 1376331 h 3033282"/>
                  <a:gd name="connsiteX136" fmla="*/ 3239761 w 3907177"/>
                  <a:gd name="connsiteY136" fmla="*/ 1410216 h 3033282"/>
                  <a:gd name="connsiteX137" fmla="*/ 3243622 w 3907177"/>
                  <a:gd name="connsiteY137" fmla="*/ 1426604 h 3033282"/>
                  <a:gd name="connsiteX138" fmla="*/ 3302854 w 3907177"/>
                  <a:gd name="connsiteY138" fmla="*/ 1472111 h 3033282"/>
                  <a:gd name="connsiteX139" fmla="*/ 3442037 w 3907177"/>
                  <a:gd name="connsiteY139" fmla="*/ 1705090 h 3033282"/>
                  <a:gd name="connsiteX140" fmla="*/ 3433973 w 3907177"/>
                  <a:gd name="connsiteY140" fmla="*/ 1732860 h 3033282"/>
                  <a:gd name="connsiteX141" fmla="*/ 3404867 w 3907177"/>
                  <a:gd name="connsiteY141" fmla="*/ 1673697 h 3033282"/>
                  <a:gd name="connsiteX142" fmla="*/ 3388345 w 3907177"/>
                  <a:gd name="connsiteY142" fmla="*/ 1639131 h 3033282"/>
                  <a:gd name="connsiteX143" fmla="*/ 3377441 w 3907177"/>
                  <a:gd name="connsiteY143" fmla="*/ 1616053 h 3033282"/>
                  <a:gd name="connsiteX144" fmla="*/ 3359581 w 3907177"/>
                  <a:gd name="connsiteY144" fmla="*/ 1565598 h 3033282"/>
                  <a:gd name="connsiteX145" fmla="*/ 3361687 w 3907177"/>
                  <a:gd name="connsiteY145" fmla="*/ 1582431 h 3033282"/>
                  <a:gd name="connsiteX146" fmla="*/ 3374588 w 3907177"/>
                  <a:gd name="connsiteY146" fmla="*/ 1610015 h 3033282"/>
                  <a:gd name="connsiteX147" fmla="*/ 3377441 w 3907177"/>
                  <a:gd name="connsiteY147" fmla="*/ 1616053 h 3033282"/>
                  <a:gd name="connsiteX148" fmla="*/ 3442901 w 3907177"/>
                  <a:gd name="connsiteY148" fmla="*/ 1800978 h 3033282"/>
                  <a:gd name="connsiteX149" fmla="*/ 3440408 w 3907177"/>
                  <a:gd name="connsiteY149" fmla="*/ 1796829 h 3033282"/>
                  <a:gd name="connsiteX150" fmla="*/ 3433154 w 3907177"/>
                  <a:gd name="connsiteY150" fmla="*/ 1784752 h 3033282"/>
                  <a:gd name="connsiteX151" fmla="*/ 3397602 w 3907177"/>
                  <a:gd name="connsiteY151" fmla="*/ 1761774 h 3033282"/>
                  <a:gd name="connsiteX152" fmla="*/ 3349501 w 3907177"/>
                  <a:gd name="connsiteY152" fmla="*/ 1755507 h 3033282"/>
                  <a:gd name="connsiteX153" fmla="*/ 3395510 w 3907177"/>
                  <a:gd name="connsiteY153" fmla="*/ 1772218 h 3033282"/>
                  <a:gd name="connsiteX154" fmla="*/ 3439918 w 3907177"/>
                  <a:gd name="connsiteY154" fmla="*/ 1800713 h 3033282"/>
                  <a:gd name="connsiteX155" fmla="*/ 3444055 w 3907177"/>
                  <a:gd name="connsiteY155" fmla="*/ 1804238 h 3033282"/>
                  <a:gd name="connsiteX156" fmla="*/ 3555468 w 3907177"/>
                  <a:gd name="connsiteY156" fmla="*/ 2118980 h 3033282"/>
                  <a:gd name="connsiteX157" fmla="*/ 3553362 w 3907177"/>
                  <a:gd name="connsiteY157" fmla="*/ 2091890 h 3033282"/>
                  <a:gd name="connsiteX158" fmla="*/ 3553487 w 3907177"/>
                  <a:gd name="connsiteY158" fmla="*/ 2080908 h 3033282"/>
                  <a:gd name="connsiteX159" fmla="*/ 3554536 w 3907177"/>
                  <a:gd name="connsiteY159" fmla="*/ 2083695 h 3033282"/>
                  <a:gd name="connsiteX160" fmla="*/ 3570142 w 3907177"/>
                  <a:gd name="connsiteY160" fmla="*/ 2125146 h 3033282"/>
                  <a:gd name="connsiteX161" fmla="*/ 3570375 w 3907177"/>
                  <a:gd name="connsiteY161" fmla="*/ 2125765 h 3033282"/>
                  <a:gd name="connsiteX162" fmla="*/ 3570326 w 3907177"/>
                  <a:gd name="connsiteY162" fmla="*/ 2125774 h 3033282"/>
                  <a:gd name="connsiteX163" fmla="*/ 3524755 w 3907177"/>
                  <a:gd name="connsiteY163" fmla="*/ 2128437 h 3033282"/>
                  <a:gd name="connsiteX164" fmla="*/ 3520991 w 3907177"/>
                  <a:gd name="connsiteY164" fmla="*/ 2130652 h 3033282"/>
                  <a:gd name="connsiteX165" fmla="*/ 3519898 w 3907177"/>
                  <a:gd name="connsiteY165" fmla="*/ 2125754 h 3033282"/>
                  <a:gd name="connsiteX166" fmla="*/ 3513061 w 3907177"/>
                  <a:gd name="connsiteY166" fmla="*/ 2102599 h 3033282"/>
                  <a:gd name="connsiteX167" fmla="*/ 3485716 w 3907177"/>
                  <a:gd name="connsiteY167" fmla="*/ 2058392 h 3033282"/>
                  <a:gd name="connsiteX168" fmla="*/ 3422611 w 3907177"/>
                  <a:gd name="connsiteY168" fmla="*/ 2039446 h 3033282"/>
                  <a:gd name="connsiteX169" fmla="*/ 3384747 w 3907177"/>
                  <a:gd name="connsiteY169" fmla="*/ 2043657 h 3033282"/>
                  <a:gd name="connsiteX170" fmla="*/ 3334263 w 3907177"/>
                  <a:gd name="connsiteY170" fmla="*/ 2031026 h 3033282"/>
                  <a:gd name="connsiteX171" fmla="*/ 3378437 w 3907177"/>
                  <a:gd name="connsiteY171" fmla="*/ 2058392 h 3033282"/>
                  <a:gd name="connsiteX172" fmla="*/ 3357402 w 3907177"/>
                  <a:gd name="connsiteY172" fmla="*/ 2092073 h 3033282"/>
                  <a:gd name="connsiteX173" fmla="*/ 3351091 w 3907177"/>
                  <a:gd name="connsiteY173" fmla="*/ 2140490 h 3033282"/>
                  <a:gd name="connsiteX174" fmla="*/ 3317435 w 3907177"/>
                  <a:gd name="connsiteY174" fmla="*/ 2140490 h 3033282"/>
                  <a:gd name="connsiteX175" fmla="*/ 3359505 w 3907177"/>
                  <a:gd name="connsiteY175" fmla="*/ 2155225 h 3033282"/>
                  <a:gd name="connsiteX176" fmla="*/ 3416300 w 3907177"/>
                  <a:gd name="connsiteY176" fmla="*/ 2180486 h 3033282"/>
                  <a:gd name="connsiteX177" fmla="*/ 3468953 w 3907177"/>
                  <a:gd name="connsiteY177" fmla="*/ 2204760 h 3033282"/>
                  <a:gd name="connsiteX178" fmla="*/ 3471183 w 3907177"/>
                  <a:gd name="connsiteY178" fmla="*/ 2205864 h 3033282"/>
                  <a:gd name="connsiteX179" fmla="*/ 3465112 w 3907177"/>
                  <a:gd name="connsiteY179" fmla="*/ 2222558 h 3033282"/>
                  <a:gd name="connsiteX180" fmla="*/ 3404088 w 3907177"/>
                  <a:gd name="connsiteY180" fmla="*/ 2397188 h 3033282"/>
                  <a:gd name="connsiteX181" fmla="*/ 3303083 w 3907177"/>
                  <a:gd name="connsiteY181" fmla="*/ 2544467 h 3033282"/>
                  <a:gd name="connsiteX182" fmla="*/ 3395671 w 3907177"/>
                  <a:gd name="connsiteY182" fmla="*/ 2456100 h 3033282"/>
                  <a:gd name="connsiteX183" fmla="*/ 3450382 w 3907177"/>
                  <a:gd name="connsiteY183" fmla="*/ 2386668 h 3033282"/>
                  <a:gd name="connsiteX184" fmla="*/ 3526136 w 3907177"/>
                  <a:gd name="connsiteY184" fmla="*/ 2184686 h 3033282"/>
                  <a:gd name="connsiteX185" fmla="*/ 3618725 w 3907177"/>
                  <a:gd name="connsiteY185" fmla="*/ 2163646 h 3033282"/>
                  <a:gd name="connsiteX186" fmla="*/ 3751294 w 3907177"/>
                  <a:gd name="connsiteY186" fmla="*/ 2136294 h 3033282"/>
                  <a:gd name="connsiteX187" fmla="*/ 3799430 w 3907177"/>
                  <a:gd name="connsiteY187" fmla="*/ 2104735 h 3033282"/>
                  <a:gd name="connsiteX188" fmla="*/ 3810437 w 3907177"/>
                  <a:gd name="connsiteY188" fmla="*/ 2099831 h 3033282"/>
                  <a:gd name="connsiteX189" fmla="*/ 3824461 w 3907177"/>
                  <a:gd name="connsiteY189" fmla="*/ 2097367 h 3033282"/>
                  <a:gd name="connsiteX190" fmla="*/ 3829342 w 3907177"/>
                  <a:gd name="connsiteY190" fmla="*/ 2096510 h 3033282"/>
                  <a:gd name="connsiteX191" fmla="*/ 3845987 w 3907177"/>
                  <a:gd name="connsiteY191" fmla="*/ 2098423 h 3033282"/>
                  <a:gd name="connsiteX192" fmla="*/ 3904907 w 3907177"/>
                  <a:gd name="connsiteY192" fmla="*/ 2180478 h 3033282"/>
                  <a:gd name="connsiteX193" fmla="*/ 3885968 w 3907177"/>
                  <a:gd name="connsiteY193" fmla="*/ 2315133 h 3033282"/>
                  <a:gd name="connsiteX194" fmla="*/ 3884225 w 3907177"/>
                  <a:gd name="connsiteY194" fmla="*/ 2328571 h 3033282"/>
                  <a:gd name="connsiteX195" fmla="*/ 3881324 w 3907177"/>
                  <a:gd name="connsiteY195" fmla="*/ 2344937 h 3033282"/>
                  <a:gd name="connsiteX196" fmla="*/ 3878738 w 3907177"/>
                  <a:gd name="connsiteY196" fmla="*/ 2354578 h 3033282"/>
                  <a:gd name="connsiteX197" fmla="*/ 3857107 w 3907177"/>
                  <a:gd name="connsiteY197" fmla="*/ 2435219 h 3033282"/>
                  <a:gd name="connsiteX198" fmla="*/ 3839183 w 3907177"/>
                  <a:gd name="connsiteY198" fmla="*/ 2502042 h 3033282"/>
                  <a:gd name="connsiteX199" fmla="*/ 3806236 w 3907177"/>
                  <a:gd name="connsiteY199" fmla="*/ 2584501 h 3033282"/>
                  <a:gd name="connsiteX200" fmla="*/ 3612412 w 3907177"/>
                  <a:gd name="connsiteY200" fmla="*/ 2876897 h 3033282"/>
                  <a:gd name="connsiteX201" fmla="*/ 3004275 w 3907177"/>
                  <a:gd name="connsiteY201" fmla="*/ 2912665 h 3033282"/>
                  <a:gd name="connsiteX202" fmla="*/ 2812785 w 3907177"/>
                  <a:gd name="connsiteY202" fmla="*/ 2759074 h 3033282"/>
                  <a:gd name="connsiteX203" fmla="*/ 2726510 w 3907177"/>
                  <a:gd name="connsiteY203" fmla="*/ 2651771 h 3033282"/>
                  <a:gd name="connsiteX204" fmla="*/ 2722301 w 3907177"/>
                  <a:gd name="connsiteY204" fmla="*/ 2655979 h 3033282"/>
                  <a:gd name="connsiteX205" fmla="*/ 2686529 w 3907177"/>
                  <a:gd name="connsiteY205" fmla="*/ 2750658 h 3033282"/>
                  <a:gd name="connsiteX206" fmla="*/ 2646547 w 3907177"/>
                  <a:gd name="connsiteY206" fmla="*/ 2799050 h 3033282"/>
                  <a:gd name="connsiteX207" fmla="*/ 2593940 w 3907177"/>
                  <a:gd name="connsiteY207" fmla="*/ 2887417 h 3033282"/>
                  <a:gd name="connsiteX208" fmla="*/ 2606566 w 3907177"/>
                  <a:gd name="connsiteY208" fmla="*/ 2963160 h 3033282"/>
                  <a:gd name="connsiteX209" fmla="*/ 2724406 w 3907177"/>
                  <a:gd name="connsiteY209" fmla="*/ 3001032 h 3033282"/>
                  <a:gd name="connsiteX210" fmla="*/ 2614983 w 3907177"/>
                  <a:gd name="connsiteY210" fmla="*/ 2916873 h 3033282"/>
                  <a:gd name="connsiteX211" fmla="*/ 2636026 w 3907177"/>
                  <a:gd name="connsiteY211" fmla="*/ 2931601 h 3033282"/>
                  <a:gd name="connsiteX212" fmla="*/ 2741240 w 3907177"/>
                  <a:gd name="connsiteY212" fmla="*/ 2975784 h 3033282"/>
                  <a:gd name="connsiteX213" fmla="*/ 2823307 w 3907177"/>
                  <a:gd name="connsiteY213" fmla="*/ 2935809 h 3033282"/>
                  <a:gd name="connsiteX214" fmla="*/ 2869601 w 3907177"/>
                  <a:gd name="connsiteY214" fmla="*/ 2874793 h 3033282"/>
                  <a:gd name="connsiteX215" fmla="*/ 2909582 w 3907177"/>
                  <a:gd name="connsiteY215" fmla="*/ 2914769 h 3033282"/>
                  <a:gd name="connsiteX216" fmla="*/ 2804368 w 3907177"/>
                  <a:gd name="connsiteY216" fmla="*/ 3009448 h 3033282"/>
                  <a:gd name="connsiteX217" fmla="*/ 2631817 w 3907177"/>
                  <a:gd name="connsiteY217" fmla="*/ 3019968 h 3033282"/>
                  <a:gd name="connsiteX218" fmla="*/ 2592812 w 3907177"/>
                  <a:gd name="connsiteY218" fmla="*/ 2997729 h 3033282"/>
                  <a:gd name="connsiteX219" fmla="*/ 2571463 w 3907177"/>
                  <a:gd name="connsiteY219" fmla="*/ 2978979 h 3033282"/>
                  <a:gd name="connsiteX220" fmla="*/ 2569646 w 3907177"/>
                  <a:gd name="connsiteY220" fmla="*/ 2977384 h 3033282"/>
                  <a:gd name="connsiteX221" fmla="*/ 2550477 w 3907177"/>
                  <a:gd name="connsiteY221" fmla="*/ 2953365 h 3033282"/>
                  <a:gd name="connsiteX222" fmla="*/ 2543509 w 3907177"/>
                  <a:gd name="connsiteY222" fmla="*/ 2942341 h 3033282"/>
                  <a:gd name="connsiteX223" fmla="*/ 2527951 w 3907177"/>
                  <a:gd name="connsiteY223" fmla="*/ 2910199 h 3033282"/>
                  <a:gd name="connsiteX224" fmla="*/ 2522395 w 3907177"/>
                  <a:gd name="connsiteY224" fmla="*/ 2893729 h 3033282"/>
                  <a:gd name="connsiteX225" fmla="*/ 2457162 w 3907177"/>
                  <a:gd name="connsiteY225" fmla="*/ 2748554 h 3033282"/>
                  <a:gd name="connsiteX226" fmla="*/ 2362469 w 3907177"/>
                  <a:gd name="connsiteY226" fmla="*/ 2651771 h 3033282"/>
                  <a:gd name="connsiteX227" fmla="*/ 2340024 w 3907177"/>
                  <a:gd name="connsiteY227" fmla="*/ 2621933 h 3033282"/>
                  <a:gd name="connsiteX228" fmla="*/ 2338457 w 3907177"/>
                  <a:gd name="connsiteY228" fmla="*/ 2619477 h 3033282"/>
                  <a:gd name="connsiteX229" fmla="*/ 2304048 w 3907177"/>
                  <a:gd name="connsiteY229" fmla="*/ 2565541 h 3033282"/>
                  <a:gd name="connsiteX230" fmla="*/ 2335655 w 3907177"/>
                  <a:gd name="connsiteY230" fmla="*/ 2318674 h 3033282"/>
                  <a:gd name="connsiteX231" fmla="*/ 2366996 w 3907177"/>
                  <a:gd name="connsiteY231" fmla="*/ 2274192 h 3033282"/>
                  <a:gd name="connsiteX232" fmla="*/ 2347572 w 3907177"/>
                  <a:gd name="connsiteY232" fmla="*/ 2275513 h 3033282"/>
                  <a:gd name="connsiteX233" fmla="*/ 2320522 w 3907177"/>
                  <a:gd name="connsiteY233" fmla="*/ 2269084 h 3033282"/>
                  <a:gd name="connsiteX234" fmla="*/ 2038565 w 3907177"/>
                  <a:gd name="connsiteY234" fmla="*/ 2062847 h 3033282"/>
                  <a:gd name="connsiteX235" fmla="*/ 2043892 w 3907177"/>
                  <a:gd name="connsiteY235" fmla="*/ 1618938 h 3033282"/>
                  <a:gd name="connsiteX236" fmla="*/ 2058099 w 3907177"/>
                  <a:gd name="connsiteY236" fmla="*/ 1557525 h 3033282"/>
                  <a:gd name="connsiteX237" fmla="*/ 2055755 w 3907177"/>
                  <a:gd name="connsiteY237" fmla="*/ 1558228 h 3033282"/>
                  <a:gd name="connsiteX238" fmla="*/ 2050316 w 3907177"/>
                  <a:gd name="connsiteY238" fmla="*/ 1559430 h 3033282"/>
                  <a:gd name="connsiteX239" fmla="*/ 1525518 w 3907177"/>
                  <a:gd name="connsiteY239" fmla="*/ 1690090 h 3033282"/>
                  <a:gd name="connsiteX240" fmla="*/ 946985 w 3907177"/>
                  <a:gd name="connsiteY240" fmla="*/ 1875211 h 3033282"/>
                  <a:gd name="connsiteX241" fmla="*/ 559893 w 3907177"/>
                  <a:gd name="connsiteY241" fmla="*/ 1858382 h 3033282"/>
                  <a:gd name="connsiteX242" fmla="*/ 412630 w 3907177"/>
                  <a:gd name="connsiteY242" fmla="*/ 1498659 h 3033282"/>
                  <a:gd name="connsiteX243" fmla="*/ 46576 w 3907177"/>
                  <a:gd name="connsiteY243" fmla="*/ 1063204 h 3033282"/>
                  <a:gd name="connsiteX244" fmla="*/ 36057 w 3907177"/>
                  <a:gd name="connsiteY244" fmla="*/ 665615 h 3033282"/>
                  <a:gd name="connsiteX245" fmla="*/ 191735 w 3907177"/>
                  <a:gd name="connsiteY245" fmla="*/ 459457 h 3033282"/>
                  <a:gd name="connsiteX246" fmla="*/ 374762 w 3907177"/>
                  <a:gd name="connsiteY246" fmla="*/ 465768 h 3033282"/>
                  <a:gd name="connsiteX247" fmla="*/ 677704 w 3907177"/>
                  <a:gd name="connsiteY247" fmla="*/ 528878 h 3033282"/>
                  <a:gd name="connsiteX248" fmla="*/ 1090040 w 3907177"/>
                  <a:gd name="connsiteY248" fmla="*/ 713999 h 3033282"/>
                  <a:gd name="connsiteX249" fmla="*/ 736609 w 3907177"/>
                  <a:gd name="connsiteY249" fmla="*/ 514152 h 3033282"/>
                  <a:gd name="connsiteX250" fmla="*/ 503092 w 3907177"/>
                  <a:gd name="connsiteY250" fmla="*/ 423695 h 3033282"/>
                  <a:gd name="connsiteX251" fmla="*/ 700845 w 3907177"/>
                  <a:gd name="connsiteY251" fmla="*/ 246989 h 3033282"/>
                  <a:gd name="connsiteX252" fmla="*/ 867042 w 3907177"/>
                  <a:gd name="connsiteY252" fmla="*/ 47143 h 3033282"/>
                  <a:gd name="connsiteX253" fmla="*/ 990408 w 3907177"/>
                  <a:gd name="connsiteY253" fmla="*/ 698 h 3033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Lst>
                <a:rect l="l" t="t" r="r" b="b"/>
                <a:pathLst>
                  <a:path w="3907177" h="3033282">
                    <a:moveTo>
                      <a:pt x="3283994" y="2199606"/>
                    </a:moveTo>
                    <a:cubicBezTo>
                      <a:pt x="3260886" y="2199606"/>
                      <a:pt x="3239879" y="2208029"/>
                      <a:pt x="3216771" y="2237508"/>
                    </a:cubicBezTo>
                    <a:cubicBezTo>
                      <a:pt x="3206268" y="2252247"/>
                      <a:pt x="3191038" y="2271198"/>
                      <a:pt x="3176070" y="2287254"/>
                    </a:cubicBezTo>
                    <a:lnTo>
                      <a:pt x="3157902" y="2304911"/>
                    </a:lnTo>
                    <a:lnTo>
                      <a:pt x="3148728" y="2311436"/>
                    </a:lnTo>
                    <a:cubicBezTo>
                      <a:pt x="3141540" y="2316470"/>
                      <a:pt x="3136944" y="2319628"/>
                      <a:pt x="3136944" y="2319628"/>
                    </a:cubicBezTo>
                    <a:cubicBezTo>
                      <a:pt x="3141671" y="2318049"/>
                      <a:pt x="3147710" y="2313969"/>
                      <a:pt x="3154439" y="2308277"/>
                    </a:cubicBezTo>
                    <a:lnTo>
                      <a:pt x="3157902" y="2304911"/>
                    </a:lnTo>
                    <a:lnTo>
                      <a:pt x="3176070" y="2291992"/>
                    </a:lnTo>
                    <a:cubicBezTo>
                      <a:pt x="3196815" y="2276989"/>
                      <a:pt x="3219922" y="2259617"/>
                      <a:pt x="3229375" y="2250142"/>
                    </a:cubicBezTo>
                    <a:cubicBezTo>
                      <a:pt x="3248282" y="2231191"/>
                      <a:pt x="3283994" y="2231191"/>
                      <a:pt x="3317605" y="2231191"/>
                    </a:cubicBezTo>
                    <a:cubicBezTo>
                      <a:pt x="3341238" y="2231191"/>
                      <a:pt x="3367234" y="2240666"/>
                      <a:pt x="3378755" y="2245404"/>
                    </a:cubicBezTo>
                    <a:lnTo>
                      <a:pt x="3382808" y="2247161"/>
                    </a:lnTo>
                    <a:lnTo>
                      <a:pt x="3351550" y="2248260"/>
                    </a:lnTo>
                    <a:cubicBezTo>
                      <a:pt x="3337425" y="2251320"/>
                      <a:pt x="3324650" y="2257505"/>
                      <a:pt x="3315694" y="2268558"/>
                    </a:cubicBezTo>
                    <a:cubicBezTo>
                      <a:pt x="3281978" y="2310668"/>
                      <a:pt x="3267228" y="2335934"/>
                      <a:pt x="3248262" y="2369622"/>
                    </a:cubicBezTo>
                    <a:cubicBezTo>
                      <a:pt x="3229297" y="2403310"/>
                      <a:pt x="3195581" y="2443314"/>
                      <a:pt x="3195581" y="2443314"/>
                    </a:cubicBezTo>
                    <a:cubicBezTo>
                      <a:pt x="3195581" y="2443314"/>
                      <a:pt x="3273549" y="2363305"/>
                      <a:pt x="3288300" y="2346462"/>
                    </a:cubicBezTo>
                    <a:cubicBezTo>
                      <a:pt x="3303051" y="2327512"/>
                      <a:pt x="3309372" y="2312774"/>
                      <a:pt x="3334660" y="2295930"/>
                    </a:cubicBezTo>
                    <a:cubicBezTo>
                      <a:pt x="3357839" y="2279086"/>
                      <a:pt x="3381019" y="2279086"/>
                      <a:pt x="3404199" y="2281191"/>
                    </a:cubicBezTo>
                    <a:cubicBezTo>
                      <a:pt x="3427378" y="2283297"/>
                      <a:pt x="3442129" y="2291719"/>
                      <a:pt x="3442129" y="2291719"/>
                    </a:cubicBezTo>
                    <a:lnTo>
                      <a:pt x="3448451" y="2258031"/>
                    </a:lnTo>
                    <a:cubicBezTo>
                      <a:pt x="3448451" y="2258031"/>
                      <a:pt x="3442393" y="2255926"/>
                      <a:pt x="3432746" y="2253458"/>
                    </a:cubicBezTo>
                    <a:lnTo>
                      <a:pt x="3399309" y="2247403"/>
                    </a:lnTo>
                    <a:lnTo>
                      <a:pt x="3406885" y="2246720"/>
                    </a:lnTo>
                    <a:cubicBezTo>
                      <a:pt x="3417388" y="2244878"/>
                      <a:pt x="3426842" y="2240666"/>
                      <a:pt x="3422640" y="2231191"/>
                    </a:cubicBezTo>
                    <a:cubicBezTo>
                      <a:pt x="3412137" y="2214346"/>
                      <a:pt x="3391130" y="2216451"/>
                      <a:pt x="3370122" y="2208029"/>
                    </a:cubicBezTo>
                    <a:cubicBezTo>
                      <a:pt x="3349115" y="2201712"/>
                      <a:pt x="3309202" y="2199606"/>
                      <a:pt x="3283994" y="2199606"/>
                    </a:cubicBezTo>
                    <a:close/>
                    <a:moveTo>
                      <a:pt x="3868985" y="2136388"/>
                    </a:moveTo>
                    <a:cubicBezTo>
                      <a:pt x="3868985" y="2136388"/>
                      <a:pt x="3778558" y="2193138"/>
                      <a:pt x="3734396" y="2199444"/>
                    </a:cubicBezTo>
                    <a:cubicBezTo>
                      <a:pt x="3690235" y="2205750"/>
                      <a:pt x="3646073" y="2235176"/>
                      <a:pt x="3559852" y="2182629"/>
                    </a:cubicBezTo>
                    <a:cubicBezTo>
                      <a:pt x="3555646" y="2180527"/>
                      <a:pt x="3604014" y="2239379"/>
                      <a:pt x="3641867" y="2241481"/>
                    </a:cubicBezTo>
                    <a:cubicBezTo>
                      <a:pt x="3681823" y="2243583"/>
                      <a:pt x="3702852" y="2239379"/>
                      <a:pt x="3702852" y="2239379"/>
                    </a:cubicBezTo>
                    <a:cubicBezTo>
                      <a:pt x="3784867" y="2228870"/>
                      <a:pt x="3820617" y="2188935"/>
                      <a:pt x="3831132" y="2178425"/>
                    </a:cubicBezTo>
                    <a:cubicBezTo>
                      <a:pt x="3843750" y="2170018"/>
                      <a:pt x="3868985" y="2136388"/>
                      <a:pt x="3868985" y="2136388"/>
                    </a:cubicBezTo>
                    <a:close/>
                    <a:moveTo>
                      <a:pt x="3385344" y="2089937"/>
                    </a:moveTo>
                    <a:cubicBezTo>
                      <a:pt x="3391674" y="2089411"/>
                      <a:pt x="3398532" y="2089937"/>
                      <a:pt x="3403807" y="2092045"/>
                    </a:cubicBezTo>
                    <a:cubicBezTo>
                      <a:pt x="3412247" y="2096259"/>
                      <a:pt x="3418577" y="2104688"/>
                      <a:pt x="3420687" y="2119439"/>
                    </a:cubicBezTo>
                    <a:cubicBezTo>
                      <a:pt x="3422797" y="2132083"/>
                      <a:pt x="3410137" y="2151048"/>
                      <a:pt x="3410137" y="2151048"/>
                    </a:cubicBezTo>
                    <a:cubicBezTo>
                      <a:pt x="3410137" y="2151048"/>
                      <a:pt x="3389037" y="2144726"/>
                      <a:pt x="3380596" y="2144726"/>
                    </a:cubicBezTo>
                    <a:cubicBezTo>
                      <a:pt x="3374266" y="2142619"/>
                      <a:pt x="3353166" y="2146834"/>
                      <a:pt x="3353166" y="2146834"/>
                    </a:cubicBezTo>
                    <a:lnTo>
                      <a:pt x="3353166" y="2113117"/>
                    </a:lnTo>
                    <a:cubicBezTo>
                      <a:pt x="3353166" y="2113117"/>
                      <a:pt x="3365826" y="2096259"/>
                      <a:pt x="3370046" y="2094152"/>
                    </a:cubicBezTo>
                    <a:cubicBezTo>
                      <a:pt x="3373211" y="2092045"/>
                      <a:pt x="3379014" y="2090464"/>
                      <a:pt x="3385344" y="2089937"/>
                    </a:cubicBezTo>
                    <a:close/>
                    <a:moveTo>
                      <a:pt x="2921466" y="1940074"/>
                    </a:moveTo>
                    <a:cubicBezTo>
                      <a:pt x="2903875" y="1940863"/>
                      <a:pt x="2886546" y="1942966"/>
                      <a:pt x="2876044" y="1945069"/>
                    </a:cubicBezTo>
                    <a:cubicBezTo>
                      <a:pt x="2857140" y="1951377"/>
                      <a:pt x="2819332" y="1968200"/>
                      <a:pt x="2796228" y="1980818"/>
                    </a:cubicBezTo>
                    <a:cubicBezTo>
                      <a:pt x="2773123" y="1995538"/>
                      <a:pt x="2716411" y="2018670"/>
                      <a:pt x="2716411" y="2018670"/>
                    </a:cubicBezTo>
                    <a:cubicBezTo>
                      <a:pt x="2716411" y="2018670"/>
                      <a:pt x="2756319" y="2016567"/>
                      <a:pt x="2773123" y="2014464"/>
                    </a:cubicBezTo>
                    <a:cubicBezTo>
                      <a:pt x="2789926" y="2014464"/>
                      <a:pt x="2813031" y="2008155"/>
                      <a:pt x="2813031" y="2008155"/>
                    </a:cubicBezTo>
                    <a:cubicBezTo>
                      <a:pt x="2813031" y="2008155"/>
                      <a:pt x="2802529" y="2046007"/>
                      <a:pt x="2810931" y="2075448"/>
                    </a:cubicBezTo>
                    <a:cubicBezTo>
                      <a:pt x="2817232" y="2102785"/>
                      <a:pt x="2825634" y="2117505"/>
                      <a:pt x="2825634" y="2117505"/>
                    </a:cubicBezTo>
                    <a:cubicBezTo>
                      <a:pt x="2825634" y="2117505"/>
                      <a:pt x="2825634" y="2119608"/>
                      <a:pt x="2817232" y="2123814"/>
                    </a:cubicBezTo>
                    <a:cubicBezTo>
                      <a:pt x="2810931" y="2125917"/>
                      <a:pt x="2773123" y="2157460"/>
                      <a:pt x="2773123" y="2157460"/>
                    </a:cubicBezTo>
                    <a:cubicBezTo>
                      <a:pt x="2773123" y="2157460"/>
                      <a:pt x="2831935" y="2132226"/>
                      <a:pt x="2848738" y="2125917"/>
                    </a:cubicBezTo>
                    <a:cubicBezTo>
                      <a:pt x="2865542" y="2121711"/>
                      <a:pt x="2901249" y="2113300"/>
                      <a:pt x="2941157" y="2104888"/>
                    </a:cubicBezTo>
                    <a:cubicBezTo>
                      <a:pt x="2981066" y="2096476"/>
                      <a:pt x="3111292" y="2106991"/>
                      <a:pt x="3111292" y="2106991"/>
                    </a:cubicBezTo>
                    <a:cubicBezTo>
                      <a:pt x="3111292" y="2106991"/>
                      <a:pt x="3073484" y="2092271"/>
                      <a:pt x="3056681" y="2085962"/>
                    </a:cubicBezTo>
                    <a:cubicBezTo>
                      <a:pt x="3039878" y="2081756"/>
                      <a:pt x="3016773" y="2081756"/>
                      <a:pt x="3016773" y="2081756"/>
                    </a:cubicBezTo>
                    <a:cubicBezTo>
                      <a:pt x="3016773" y="2081756"/>
                      <a:pt x="3029375" y="2052316"/>
                      <a:pt x="3023074" y="2027081"/>
                    </a:cubicBezTo>
                    <a:cubicBezTo>
                      <a:pt x="3016773" y="1999744"/>
                      <a:pt x="2995769" y="1970303"/>
                      <a:pt x="2995769" y="1970303"/>
                    </a:cubicBezTo>
                    <a:cubicBezTo>
                      <a:pt x="2995769" y="1970303"/>
                      <a:pt x="3002070" y="1966098"/>
                      <a:pt x="3018873" y="1966098"/>
                    </a:cubicBezTo>
                    <a:cubicBezTo>
                      <a:pt x="3035677" y="1963995"/>
                      <a:pt x="3065083" y="1957686"/>
                      <a:pt x="3065083" y="1957686"/>
                    </a:cubicBezTo>
                    <a:cubicBezTo>
                      <a:pt x="3065083" y="1957686"/>
                      <a:pt x="2991568" y="1949274"/>
                      <a:pt x="2968463" y="1942966"/>
                    </a:cubicBezTo>
                    <a:cubicBezTo>
                      <a:pt x="2956910" y="1939811"/>
                      <a:pt x="2939057" y="1939286"/>
                      <a:pt x="2921466" y="1940074"/>
                    </a:cubicBezTo>
                    <a:close/>
                    <a:moveTo>
                      <a:pt x="2882143" y="1689578"/>
                    </a:moveTo>
                    <a:cubicBezTo>
                      <a:pt x="2843731" y="1689315"/>
                      <a:pt x="2800057" y="1691418"/>
                      <a:pt x="2779009" y="1700880"/>
                    </a:cubicBezTo>
                    <a:cubicBezTo>
                      <a:pt x="2736913" y="1717702"/>
                      <a:pt x="2720075" y="1810222"/>
                      <a:pt x="2720075" y="1810222"/>
                    </a:cubicBezTo>
                    <a:cubicBezTo>
                      <a:pt x="2720075" y="1810222"/>
                      <a:pt x="2760066" y="1759756"/>
                      <a:pt x="2806371" y="1730318"/>
                    </a:cubicBezTo>
                    <a:cubicBezTo>
                      <a:pt x="2852676" y="1698777"/>
                      <a:pt x="2953705" y="1692469"/>
                      <a:pt x="2953705" y="1692469"/>
                    </a:cubicBezTo>
                    <a:cubicBezTo>
                      <a:pt x="2953705" y="1692469"/>
                      <a:pt x="2920555" y="1689840"/>
                      <a:pt x="2882143" y="1689578"/>
                    </a:cubicBezTo>
                    <a:close/>
                    <a:moveTo>
                      <a:pt x="2751741" y="1152523"/>
                    </a:moveTo>
                    <a:lnTo>
                      <a:pt x="2752273" y="1154187"/>
                    </a:lnTo>
                    <a:lnTo>
                      <a:pt x="2764036" y="1192874"/>
                    </a:lnTo>
                    <a:lnTo>
                      <a:pt x="2787833" y="1274009"/>
                    </a:lnTo>
                    <a:lnTo>
                      <a:pt x="2819472" y="1283014"/>
                    </a:lnTo>
                    <a:lnTo>
                      <a:pt x="2820261" y="1283258"/>
                    </a:lnTo>
                    <a:lnTo>
                      <a:pt x="2825890" y="1283302"/>
                    </a:lnTo>
                    <a:lnTo>
                      <a:pt x="2903747" y="1291542"/>
                    </a:lnTo>
                    <a:lnTo>
                      <a:pt x="2899550" y="1288295"/>
                    </a:lnTo>
                    <a:cubicBezTo>
                      <a:pt x="2806596" y="1216396"/>
                      <a:pt x="2806596" y="1216396"/>
                      <a:pt x="2806596" y="1216396"/>
                    </a:cubicBezTo>
                    <a:cubicBezTo>
                      <a:pt x="2806596" y="1216396"/>
                      <a:pt x="2794376" y="1202454"/>
                      <a:pt x="2775061" y="1179930"/>
                    </a:cubicBezTo>
                    <a:close/>
                    <a:moveTo>
                      <a:pt x="1695768" y="862876"/>
                    </a:moveTo>
                    <a:cubicBezTo>
                      <a:pt x="2078780" y="919680"/>
                      <a:pt x="2078780" y="919680"/>
                      <a:pt x="2078780" y="919680"/>
                    </a:cubicBezTo>
                    <a:cubicBezTo>
                      <a:pt x="2078780" y="919680"/>
                      <a:pt x="2137705" y="923888"/>
                      <a:pt x="2177689" y="938615"/>
                    </a:cubicBezTo>
                    <a:cubicBezTo>
                      <a:pt x="2217674" y="951238"/>
                      <a:pt x="2274495" y="997523"/>
                      <a:pt x="2274495" y="997523"/>
                    </a:cubicBezTo>
                    <a:cubicBezTo>
                      <a:pt x="2274495" y="997523"/>
                      <a:pt x="2226092" y="984900"/>
                      <a:pt x="2192421" y="984900"/>
                    </a:cubicBezTo>
                    <a:cubicBezTo>
                      <a:pt x="2160854" y="987004"/>
                      <a:pt x="2101929" y="1026977"/>
                      <a:pt x="2082989" y="1031185"/>
                    </a:cubicBezTo>
                    <a:cubicBezTo>
                      <a:pt x="2061944" y="1035392"/>
                      <a:pt x="2013542" y="1064846"/>
                      <a:pt x="2013542" y="1064846"/>
                    </a:cubicBezTo>
                    <a:cubicBezTo>
                      <a:pt x="2013542" y="1064846"/>
                      <a:pt x="2118765" y="1039600"/>
                      <a:pt x="2177689" y="1060639"/>
                    </a:cubicBezTo>
                    <a:cubicBezTo>
                      <a:pt x="2234510" y="1081677"/>
                      <a:pt x="2276599" y="1062742"/>
                      <a:pt x="2320793" y="1102716"/>
                    </a:cubicBezTo>
                    <a:cubicBezTo>
                      <a:pt x="2362882" y="1142689"/>
                      <a:pt x="2402867" y="1193182"/>
                      <a:pt x="2402867" y="1193182"/>
                    </a:cubicBezTo>
                    <a:lnTo>
                      <a:pt x="2477977" y="1304520"/>
                    </a:lnTo>
                    <a:lnTo>
                      <a:pt x="2495231" y="1302276"/>
                    </a:lnTo>
                    <a:lnTo>
                      <a:pt x="2479203" y="1263722"/>
                    </a:lnTo>
                    <a:cubicBezTo>
                      <a:pt x="2435552" y="1159125"/>
                      <a:pt x="2373405" y="1012512"/>
                      <a:pt x="2352360" y="974380"/>
                    </a:cubicBezTo>
                    <a:cubicBezTo>
                      <a:pt x="2320793" y="913369"/>
                      <a:pt x="2238719" y="886019"/>
                      <a:pt x="2194525" y="875499"/>
                    </a:cubicBezTo>
                    <a:cubicBezTo>
                      <a:pt x="2150331" y="862876"/>
                      <a:pt x="1695768" y="862876"/>
                      <a:pt x="1695768" y="862876"/>
                    </a:cubicBezTo>
                    <a:close/>
                    <a:moveTo>
                      <a:pt x="2884074" y="435929"/>
                    </a:moveTo>
                    <a:cubicBezTo>
                      <a:pt x="2884074" y="435929"/>
                      <a:pt x="2919884" y="555927"/>
                      <a:pt x="2987291" y="631716"/>
                    </a:cubicBezTo>
                    <a:cubicBezTo>
                      <a:pt x="3054698" y="705399"/>
                      <a:pt x="3130531" y="1008552"/>
                      <a:pt x="3130531" y="1008552"/>
                    </a:cubicBezTo>
                    <a:cubicBezTo>
                      <a:pt x="3130531" y="1008552"/>
                      <a:pt x="3115786" y="812766"/>
                      <a:pt x="3063124" y="682241"/>
                    </a:cubicBezTo>
                    <a:cubicBezTo>
                      <a:pt x="3063124" y="682241"/>
                      <a:pt x="2993611" y="549612"/>
                      <a:pt x="2970440" y="520138"/>
                    </a:cubicBezTo>
                    <a:cubicBezTo>
                      <a:pt x="2945162" y="490665"/>
                      <a:pt x="2884074" y="435929"/>
                      <a:pt x="2884074" y="435929"/>
                    </a:cubicBezTo>
                    <a:close/>
                    <a:moveTo>
                      <a:pt x="990408" y="698"/>
                    </a:moveTo>
                    <a:cubicBezTo>
                      <a:pt x="1005101" y="-321"/>
                      <a:pt x="1021142" y="-189"/>
                      <a:pt x="1039550" y="863"/>
                    </a:cubicBezTo>
                    <a:cubicBezTo>
                      <a:pt x="1111078" y="5070"/>
                      <a:pt x="1258341" y="38728"/>
                      <a:pt x="1348803" y="72387"/>
                    </a:cubicBezTo>
                    <a:cubicBezTo>
                      <a:pt x="1439264" y="103941"/>
                      <a:pt x="1653848" y="181776"/>
                      <a:pt x="1737998" y="232264"/>
                    </a:cubicBezTo>
                    <a:cubicBezTo>
                      <a:pt x="1830564" y="284855"/>
                      <a:pt x="1914714" y="318513"/>
                      <a:pt x="2005176" y="371104"/>
                    </a:cubicBezTo>
                    <a:cubicBezTo>
                      <a:pt x="2051459" y="397400"/>
                      <a:pt x="2127194" y="436317"/>
                      <a:pt x="2203455" y="477601"/>
                    </a:cubicBezTo>
                    <a:lnTo>
                      <a:pt x="2296994" y="530121"/>
                    </a:lnTo>
                    <a:lnTo>
                      <a:pt x="2323986" y="546882"/>
                    </a:lnTo>
                    <a:lnTo>
                      <a:pt x="2357160" y="567482"/>
                    </a:lnTo>
                    <a:lnTo>
                      <a:pt x="2404890" y="598298"/>
                    </a:lnTo>
                    <a:lnTo>
                      <a:pt x="2415440" y="605928"/>
                    </a:lnTo>
                    <a:lnTo>
                      <a:pt x="2362991" y="493093"/>
                    </a:lnTo>
                    <a:cubicBezTo>
                      <a:pt x="2362991" y="493093"/>
                      <a:pt x="2362991" y="493093"/>
                      <a:pt x="2329266" y="483333"/>
                    </a:cubicBezTo>
                    <a:lnTo>
                      <a:pt x="2307060" y="476906"/>
                    </a:lnTo>
                    <a:lnTo>
                      <a:pt x="2313198" y="470584"/>
                    </a:lnTo>
                    <a:cubicBezTo>
                      <a:pt x="2335494" y="447752"/>
                      <a:pt x="2406858" y="375701"/>
                      <a:pt x="2460566" y="333037"/>
                    </a:cubicBezTo>
                    <a:lnTo>
                      <a:pt x="2482676" y="317005"/>
                    </a:lnTo>
                    <a:lnTo>
                      <a:pt x="2522361" y="296868"/>
                    </a:lnTo>
                    <a:lnTo>
                      <a:pt x="2554579" y="283748"/>
                    </a:lnTo>
                    <a:cubicBezTo>
                      <a:pt x="2588217" y="269017"/>
                      <a:pt x="2633417" y="251656"/>
                      <a:pt x="2694384" y="254812"/>
                    </a:cubicBezTo>
                    <a:cubicBezTo>
                      <a:pt x="2724868" y="256391"/>
                      <a:pt x="2759293" y="263098"/>
                      <a:pt x="2798186" y="277829"/>
                    </a:cubicBezTo>
                    <a:cubicBezTo>
                      <a:pt x="2951656" y="336753"/>
                      <a:pt x="2857052" y="260994"/>
                      <a:pt x="2857052" y="260994"/>
                    </a:cubicBezTo>
                    <a:cubicBezTo>
                      <a:pt x="2857052" y="260994"/>
                      <a:pt x="2858530" y="261224"/>
                      <a:pt x="2861191" y="261705"/>
                    </a:cubicBezTo>
                    <a:lnTo>
                      <a:pt x="2866568" y="262766"/>
                    </a:lnTo>
                    <a:lnTo>
                      <a:pt x="2867847" y="263215"/>
                    </a:lnTo>
                    <a:cubicBezTo>
                      <a:pt x="2872013" y="264887"/>
                      <a:pt x="2874182" y="265939"/>
                      <a:pt x="2874182" y="265939"/>
                    </a:cubicBezTo>
                    <a:cubicBezTo>
                      <a:pt x="2874182" y="265939"/>
                      <a:pt x="2875760" y="265775"/>
                      <a:pt x="2878772" y="265783"/>
                    </a:cubicBezTo>
                    <a:lnTo>
                      <a:pt x="2879970" y="265863"/>
                    </a:lnTo>
                    <a:lnTo>
                      <a:pt x="2909084" y="273357"/>
                    </a:lnTo>
                    <a:cubicBezTo>
                      <a:pt x="2937466" y="282038"/>
                      <a:pt x="2970577" y="295717"/>
                      <a:pt x="2989498" y="315709"/>
                    </a:cubicBezTo>
                    <a:cubicBezTo>
                      <a:pt x="3027340" y="357797"/>
                      <a:pt x="3391043" y="702920"/>
                      <a:pt x="3365815" y="925987"/>
                    </a:cubicBezTo>
                    <a:cubicBezTo>
                      <a:pt x="3351098" y="1060670"/>
                      <a:pt x="3227061" y="1315303"/>
                      <a:pt x="3233368" y="1376331"/>
                    </a:cubicBezTo>
                    <a:cubicBezTo>
                      <a:pt x="3234682" y="1385538"/>
                      <a:pt x="3236920" y="1397159"/>
                      <a:pt x="3239761" y="1410216"/>
                    </a:cubicBezTo>
                    <a:lnTo>
                      <a:pt x="3243622" y="1426604"/>
                    </a:lnTo>
                    <a:lnTo>
                      <a:pt x="3302854" y="1472111"/>
                    </a:lnTo>
                    <a:cubicBezTo>
                      <a:pt x="3370331" y="1532754"/>
                      <a:pt x="3422311" y="1609600"/>
                      <a:pt x="3442037" y="1705090"/>
                    </a:cubicBezTo>
                    <a:lnTo>
                      <a:pt x="3433973" y="1732860"/>
                    </a:lnTo>
                    <a:lnTo>
                      <a:pt x="3404867" y="1673697"/>
                    </a:lnTo>
                    <a:cubicBezTo>
                      <a:pt x="3399074" y="1661664"/>
                      <a:pt x="3393479" y="1649944"/>
                      <a:pt x="3388345" y="1639131"/>
                    </a:cubicBezTo>
                    <a:lnTo>
                      <a:pt x="3377441" y="1616053"/>
                    </a:lnTo>
                    <a:lnTo>
                      <a:pt x="3359581" y="1565598"/>
                    </a:lnTo>
                    <a:cubicBezTo>
                      <a:pt x="3359581" y="1565598"/>
                      <a:pt x="3359581" y="1565598"/>
                      <a:pt x="3361687" y="1582431"/>
                    </a:cubicBezTo>
                    <a:cubicBezTo>
                      <a:pt x="3361687" y="1582431"/>
                      <a:pt x="3366690" y="1593215"/>
                      <a:pt x="3374588" y="1610015"/>
                    </a:cubicBezTo>
                    <a:lnTo>
                      <a:pt x="3377441" y="1616053"/>
                    </a:lnTo>
                    <a:lnTo>
                      <a:pt x="3442901" y="1800978"/>
                    </a:lnTo>
                    <a:lnTo>
                      <a:pt x="3440408" y="1796829"/>
                    </a:lnTo>
                    <a:cubicBezTo>
                      <a:pt x="3438644" y="1793891"/>
                      <a:pt x="3436291" y="1789974"/>
                      <a:pt x="3433154" y="1784752"/>
                    </a:cubicBezTo>
                    <a:cubicBezTo>
                      <a:pt x="3433154" y="1784752"/>
                      <a:pt x="3414332" y="1768041"/>
                      <a:pt x="3397602" y="1761774"/>
                    </a:cubicBezTo>
                    <a:cubicBezTo>
                      <a:pt x="3380871" y="1753418"/>
                      <a:pt x="3349501" y="1755507"/>
                      <a:pt x="3349501" y="1755507"/>
                    </a:cubicBezTo>
                    <a:cubicBezTo>
                      <a:pt x="3349501" y="1755507"/>
                      <a:pt x="3380871" y="1768041"/>
                      <a:pt x="3395510" y="1772218"/>
                    </a:cubicBezTo>
                    <a:cubicBezTo>
                      <a:pt x="3406489" y="1773785"/>
                      <a:pt x="3429233" y="1791802"/>
                      <a:pt x="3439918" y="1800713"/>
                    </a:cubicBezTo>
                    <a:lnTo>
                      <a:pt x="3444055" y="1804238"/>
                    </a:lnTo>
                    <a:lnTo>
                      <a:pt x="3555468" y="2118980"/>
                    </a:lnTo>
                    <a:cubicBezTo>
                      <a:pt x="3555468" y="2118980"/>
                      <a:pt x="3553888" y="2108460"/>
                      <a:pt x="3553362" y="2091890"/>
                    </a:cubicBezTo>
                    <a:lnTo>
                      <a:pt x="3553487" y="2080908"/>
                    </a:lnTo>
                    <a:lnTo>
                      <a:pt x="3554536" y="2083695"/>
                    </a:lnTo>
                    <a:cubicBezTo>
                      <a:pt x="3566426" y="2115277"/>
                      <a:pt x="3569399" y="2123172"/>
                      <a:pt x="3570142" y="2125146"/>
                    </a:cubicBezTo>
                    <a:lnTo>
                      <a:pt x="3570375" y="2125765"/>
                    </a:lnTo>
                    <a:lnTo>
                      <a:pt x="3570326" y="2125774"/>
                    </a:lnTo>
                    <a:cubicBezTo>
                      <a:pt x="3545075" y="2130508"/>
                      <a:pt x="3536395" y="2124591"/>
                      <a:pt x="3524755" y="2128437"/>
                    </a:cubicBezTo>
                    <a:lnTo>
                      <a:pt x="3520991" y="2130652"/>
                    </a:lnTo>
                    <a:lnTo>
                      <a:pt x="3519898" y="2125754"/>
                    </a:lnTo>
                    <a:cubicBezTo>
                      <a:pt x="3517794" y="2116808"/>
                      <a:pt x="3515165" y="2106809"/>
                      <a:pt x="3513061" y="2102599"/>
                    </a:cubicBezTo>
                    <a:cubicBezTo>
                      <a:pt x="3510958" y="2096283"/>
                      <a:pt x="3498337" y="2064707"/>
                      <a:pt x="3485716" y="2058392"/>
                    </a:cubicBezTo>
                    <a:cubicBezTo>
                      <a:pt x="3475198" y="2052077"/>
                      <a:pt x="3435232" y="2037341"/>
                      <a:pt x="3422611" y="2039446"/>
                    </a:cubicBezTo>
                    <a:cubicBezTo>
                      <a:pt x="3409989" y="2039446"/>
                      <a:pt x="3397368" y="2045762"/>
                      <a:pt x="3384747" y="2043657"/>
                    </a:cubicBezTo>
                    <a:cubicBezTo>
                      <a:pt x="3372126" y="2041551"/>
                      <a:pt x="3334263" y="2031026"/>
                      <a:pt x="3334263" y="2031026"/>
                    </a:cubicBezTo>
                    <a:cubicBezTo>
                      <a:pt x="3378437" y="2058392"/>
                      <a:pt x="3378437" y="2058392"/>
                      <a:pt x="3378437" y="2058392"/>
                    </a:cubicBezTo>
                    <a:cubicBezTo>
                      <a:pt x="3378437" y="2058392"/>
                      <a:pt x="3359505" y="2079443"/>
                      <a:pt x="3357402" y="2092073"/>
                    </a:cubicBezTo>
                    <a:cubicBezTo>
                      <a:pt x="3348988" y="2111019"/>
                      <a:pt x="3351091" y="2140490"/>
                      <a:pt x="3351091" y="2140490"/>
                    </a:cubicBezTo>
                    <a:cubicBezTo>
                      <a:pt x="3317435" y="2140490"/>
                      <a:pt x="3317435" y="2140490"/>
                      <a:pt x="3317435" y="2140490"/>
                    </a:cubicBezTo>
                    <a:cubicBezTo>
                      <a:pt x="3317435" y="2140490"/>
                      <a:pt x="3348988" y="2148910"/>
                      <a:pt x="3359505" y="2155225"/>
                    </a:cubicBezTo>
                    <a:cubicBezTo>
                      <a:pt x="3370023" y="2161541"/>
                      <a:pt x="3395265" y="2172066"/>
                      <a:pt x="3416300" y="2180486"/>
                    </a:cubicBezTo>
                    <a:cubicBezTo>
                      <a:pt x="3432076" y="2186801"/>
                      <a:pt x="3457318" y="2199037"/>
                      <a:pt x="3468953" y="2204760"/>
                    </a:cubicBezTo>
                    <a:lnTo>
                      <a:pt x="3471183" y="2205864"/>
                    </a:lnTo>
                    <a:lnTo>
                      <a:pt x="3465112" y="2222558"/>
                    </a:lnTo>
                    <a:cubicBezTo>
                      <a:pt x="3458799" y="2247805"/>
                      <a:pt x="3418818" y="2359317"/>
                      <a:pt x="3404088" y="2397188"/>
                    </a:cubicBezTo>
                    <a:cubicBezTo>
                      <a:pt x="3389358" y="2435060"/>
                      <a:pt x="3303083" y="2544467"/>
                      <a:pt x="3303083" y="2544467"/>
                    </a:cubicBezTo>
                    <a:cubicBezTo>
                      <a:pt x="3303083" y="2544467"/>
                      <a:pt x="3383045" y="2468724"/>
                      <a:pt x="3395671" y="2456100"/>
                    </a:cubicBezTo>
                    <a:cubicBezTo>
                      <a:pt x="3410401" y="2443476"/>
                      <a:pt x="3429339" y="2411916"/>
                      <a:pt x="3450382" y="2386668"/>
                    </a:cubicBezTo>
                    <a:cubicBezTo>
                      <a:pt x="3469321" y="2363525"/>
                      <a:pt x="3515615" y="2209934"/>
                      <a:pt x="3526136" y="2184686"/>
                    </a:cubicBezTo>
                    <a:cubicBezTo>
                      <a:pt x="3538762" y="2157334"/>
                      <a:pt x="3574535" y="2159438"/>
                      <a:pt x="3618725" y="2163646"/>
                    </a:cubicBezTo>
                    <a:cubicBezTo>
                      <a:pt x="3665019" y="2167854"/>
                      <a:pt x="3707104" y="2155230"/>
                      <a:pt x="3751294" y="2136294"/>
                    </a:cubicBezTo>
                    <a:cubicBezTo>
                      <a:pt x="3772337" y="2126826"/>
                      <a:pt x="3786015" y="2113676"/>
                      <a:pt x="3799430" y="2104735"/>
                    </a:cubicBezTo>
                    <a:lnTo>
                      <a:pt x="3810437" y="2099831"/>
                    </a:lnTo>
                    <a:lnTo>
                      <a:pt x="3824461" y="2097367"/>
                    </a:lnTo>
                    <a:lnTo>
                      <a:pt x="3829342" y="2096510"/>
                    </a:lnTo>
                    <a:lnTo>
                      <a:pt x="3845987" y="2098423"/>
                    </a:lnTo>
                    <a:cubicBezTo>
                      <a:pt x="3885968" y="2111046"/>
                      <a:pt x="3894385" y="2134190"/>
                      <a:pt x="3904907" y="2180478"/>
                    </a:cubicBezTo>
                    <a:cubicBezTo>
                      <a:pt x="3915428" y="2226766"/>
                      <a:pt x="3885968" y="2315133"/>
                      <a:pt x="3885968" y="2315133"/>
                    </a:cubicBezTo>
                    <a:cubicBezTo>
                      <a:pt x="3885968" y="2315133"/>
                      <a:pt x="3885508" y="2319834"/>
                      <a:pt x="3884225" y="2328571"/>
                    </a:cubicBezTo>
                    <a:lnTo>
                      <a:pt x="3881324" y="2344937"/>
                    </a:lnTo>
                    <a:lnTo>
                      <a:pt x="3878738" y="2354578"/>
                    </a:lnTo>
                    <a:cubicBezTo>
                      <a:pt x="3870987" y="2383473"/>
                      <a:pt x="3863790" y="2410304"/>
                      <a:pt x="3857107" y="2435219"/>
                    </a:cubicBezTo>
                    <a:lnTo>
                      <a:pt x="3839183" y="2502042"/>
                    </a:lnTo>
                    <a:lnTo>
                      <a:pt x="3806236" y="2584501"/>
                    </a:lnTo>
                    <a:cubicBezTo>
                      <a:pt x="3765301" y="2675605"/>
                      <a:pt x="3703948" y="2779062"/>
                      <a:pt x="3612412" y="2876897"/>
                    </a:cubicBezTo>
                    <a:cubicBezTo>
                      <a:pt x="3370419" y="3137791"/>
                      <a:pt x="3046360" y="2935809"/>
                      <a:pt x="3004275" y="2912665"/>
                    </a:cubicBezTo>
                    <a:cubicBezTo>
                      <a:pt x="2962189" y="2889521"/>
                      <a:pt x="2852767" y="2792738"/>
                      <a:pt x="2812785" y="2759074"/>
                    </a:cubicBezTo>
                    <a:cubicBezTo>
                      <a:pt x="2770700" y="2725410"/>
                      <a:pt x="2726510" y="2651771"/>
                      <a:pt x="2726510" y="2651771"/>
                    </a:cubicBezTo>
                    <a:cubicBezTo>
                      <a:pt x="2726510" y="2651771"/>
                      <a:pt x="2724406" y="2649667"/>
                      <a:pt x="2722301" y="2655979"/>
                    </a:cubicBezTo>
                    <a:cubicBezTo>
                      <a:pt x="2720197" y="2662291"/>
                      <a:pt x="2699154" y="2727514"/>
                      <a:pt x="2686529" y="2750658"/>
                    </a:cubicBezTo>
                    <a:cubicBezTo>
                      <a:pt x="2676007" y="2771698"/>
                      <a:pt x="2661277" y="2782218"/>
                      <a:pt x="2646547" y="2799050"/>
                    </a:cubicBezTo>
                    <a:cubicBezTo>
                      <a:pt x="2633922" y="2817986"/>
                      <a:pt x="2612879" y="2845337"/>
                      <a:pt x="2593940" y="2887417"/>
                    </a:cubicBezTo>
                    <a:cubicBezTo>
                      <a:pt x="2575002" y="2929497"/>
                      <a:pt x="2606566" y="2963160"/>
                      <a:pt x="2606566" y="2963160"/>
                    </a:cubicBezTo>
                    <a:cubicBezTo>
                      <a:pt x="2627609" y="2988408"/>
                      <a:pt x="2697050" y="3005240"/>
                      <a:pt x="2724406" y="3001032"/>
                    </a:cubicBezTo>
                    <a:cubicBezTo>
                      <a:pt x="2654964" y="2986304"/>
                      <a:pt x="2614983" y="2916873"/>
                      <a:pt x="2614983" y="2916873"/>
                    </a:cubicBezTo>
                    <a:cubicBezTo>
                      <a:pt x="2614983" y="2916873"/>
                      <a:pt x="2614983" y="2916873"/>
                      <a:pt x="2636026" y="2931601"/>
                    </a:cubicBezTo>
                    <a:cubicBezTo>
                      <a:pt x="2654964" y="2946329"/>
                      <a:pt x="2688633" y="2969472"/>
                      <a:pt x="2741240" y="2975784"/>
                    </a:cubicBezTo>
                    <a:cubicBezTo>
                      <a:pt x="2793847" y="2982096"/>
                      <a:pt x="2823307" y="2935809"/>
                      <a:pt x="2823307" y="2935809"/>
                    </a:cubicBezTo>
                    <a:cubicBezTo>
                      <a:pt x="2823307" y="2935809"/>
                      <a:pt x="2823307" y="2935809"/>
                      <a:pt x="2869601" y="2874793"/>
                    </a:cubicBezTo>
                    <a:cubicBezTo>
                      <a:pt x="2869601" y="2874793"/>
                      <a:pt x="2869601" y="2874793"/>
                      <a:pt x="2909582" y="2914769"/>
                    </a:cubicBezTo>
                    <a:cubicBezTo>
                      <a:pt x="2909582" y="2914769"/>
                      <a:pt x="2838037" y="2988408"/>
                      <a:pt x="2804368" y="3009448"/>
                    </a:cubicBezTo>
                    <a:cubicBezTo>
                      <a:pt x="2770700" y="3030488"/>
                      <a:pt x="2715988" y="3045216"/>
                      <a:pt x="2631817" y="3019968"/>
                    </a:cubicBezTo>
                    <a:lnTo>
                      <a:pt x="2592812" y="2997729"/>
                    </a:lnTo>
                    <a:lnTo>
                      <a:pt x="2571463" y="2978979"/>
                    </a:lnTo>
                    <a:lnTo>
                      <a:pt x="2569646" y="2977384"/>
                    </a:lnTo>
                    <a:lnTo>
                      <a:pt x="2550477" y="2953365"/>
                    </a:lnTo>
                    <a:lnTo>
                      <a:pt x="2543509" y="2942341"/>
                    </a:lnTo>
                    <a:lnTo>
                      <a:pt x="2527951" y="2910199"/>
                    </a:lnTo>
                    <a:cubicBezTo>
                      <a:pt x="2524104" y="2900173"/>
                      <a:pt x="2522395" y="2893729"/>
                      <a:pt x="2522395" y="2893729"/>
                    </a:cubicBezTo>
                    <a:cubicBezTo>
                      <a:pt x="2522395" y="2893729"/>
                      <a:pt x="2522395" y="2893729"/>
                      <a:pt x="2457162" y="2748554"/>
                    </a:cubicBezTo>
                    <a:cubicBezTo>
                      <a:pt x="2457162" y="2748554"/>
                      <a:pt x="2396138" y="2689642"/>
                      <a:pt x="2362469" y="2651771"/>
                    </a:cubicBezTo>
                    <a:lnTo>
                      <a:pt x="2340024" y="2621933"/>
                    </a:lnTo>
                    <a:lnTo>
                      <a:pt x="2338457" y="2619477"/>
                    </a:lnTo>
                    <a:cubicBezTo>
                      <a:pt x="2304048" y="2565541"/>
                      <a:pt x="2304048" y="2565541"/>
                      <a:pt x="2304048" y="2565541"/>
                    </a:cubicBezTo>
                    <a:cubicBezTo>
                      <a:pt x="2304048" y="2565541"/>
                      <a:pt x="2271838" y="2433449"/>
                      <a:pt x="2335655" y="2318674"/>
                    </a:cubicBezTo>
                    <a:lnTo>
                      <a:pt x="2366996" y="2274192"/>
                    </a:lnTo>
                    <a:lnTo>
                      <a:pt x="2347572" y="2275513"/>
                    </a:lnTo>
                    <a:cubicBezTo>
                      <a:pt x="2338243" y="2274970"/>
                      <a:pt x="2329202" y="2273030"/>
                      <a:pt x="2320522" y="2269084"/>
                    </a:cubicBezTo>
                    <a:cubicBezTo>
                      <a:pt x="2253189" y="2237517"/>
                      <a:pt x="2057503" y="2182801"/>
                      <a:pt x="2038565" y="2062847"/>
                    </a:cubicBezTo>
                    <a:cubicBezTo>
                      <a:pt x="2024363" y="1972882"/>
                      <a:pt x="2014894" y="1779929"/>
                      <a:pt x="2043892" y="1618938"/>
                    </a:cubicBezTo>
                    <a:lnTo>
                      <a:pt x="2058099" y="1557525"/>
                    </a:lnTo>
                    <a:lnTo>
                      <a:pt x="2055755" y="1558228"/>
                    </a:lnTo>
                    <a:lnTo>
                      <a:pt x="2050316" y="1559430"/>
                    </a:lnTo>
                    <a:cubicBezTo>
                      <a:pt x="1969609" y="1577348"/>
                      <a:pt x="1639648" y="1651436"/>
                      <a:pt x="1525518" y="1690090"/>
                    </a:cubicBezTo>
                    <a:cubicBezTo>
                      <a:pt x="1395085" y="1734267"/>
                      <a:pt x="1087937" y="1875211"/>
                      <a:pt x="946985" y="1875211"/>
                    </a:cubicBezTo>
                    <a:cubicBezTo>
                      <a:pt x="751335" y="1873108"/>
                      <a:pt x="559893" y="1858382"/>
                      <a:pt x="559893" y="1858382"/>
                    </a:cubicBezTo>
                    <a:cubicBezTo>
                      <a:pt x="559893" y="1858382"/>
                      <a:pt x="488365" y="1593323"/>
                      <a:pt x="412630" y="1498659"/>
                    </a:cubicBezTo>
                    <a:cubicBezTo>
                      <a:pt x="334791" y="1403995"/>
                      <a:pt x="94962" y="1208355"/>
                      <a:pt x="46576" y="1063204"/>
                    </a:cubicBezTo>
                    <a:cubicBezTo>
                      <a:pt x="293" y="915949"/>
                      <a:pt x="-24952" y="798144"/>
                      <a:pt x="36057" y="665615"/>
                    </a:cubicBezTo>
                    <a:cubicBezTo>
                      <a:pt x="94962" y="535189"/>
                      <a:pt x="191735" y="459457"/>
                      <a:pt x="191735" y="459457"/>
                    </a:cubicBezTo>
                    <a:cubicBezTo>
                      <a:pt x="191735" y="459457"/>
                      <a:pt x="294819" y="455250"/>
                      <a:pt x="374762" y="465768"/>
                    </a:cubicBezTo>
                    <a:cubicBezTo>
                      <a:pt x="456809" y="476287"/>
                      <a:pt x="587242" y="499427"/>
                      <a:pt x="677704" y="528878"/>
                    </a:cubicBezTo>
                    <a:cubicBezTo>
                      <a:pt x="766061" y="558329"/>
                      <a:pt x="1090040" y="713999"/>
                      <a:pt x="1090040" y="713999"/>
                    </a:cubicBezTo>
                    <a:cubicBezTo>
                      <a:pt x="736609" y="514152"/>
                      <a:pt x="736609" y="514152"/>
                      <a:pt x="736609" y="514152"/>
                    </a:cubicBezTo>
                    <a:cubicBezTo>
                      <a:pt x="503092" y="423695"/>
                      <a:pt x="503092" y="423695"/>
                      <a:pt x="503092" y="423695"/>
                    </a:cubicBezTo>
                    <a:cubicBezTo>
                      <a:pt x="503092" y="423695"/>
                      <a:pt x="606176" y="362690"/>
                      <a:pt x="700845" y="246989"/>
                    </a:cubicBezTo>
                    <a:cubicBezTo>
                      <a:pt x="795514" y="131289"/>
                      <a:pt x="803929" y="89216"/>
                      <a:pt x="867042" y="47143"/>
                    </a:cubicBezTo>
                    <a:cubicBezTo>
                      <a:pt x="914377" y="17166"/>
                      <a:pt x="946327" y="3755"/>
                      <a:pt x="990408" y="698"/>
                    </a:cubicBezTo>
                    <a:close/>
                  </a:path>
                </a:pathLst>
              </a:custGeom>
              <a:solidFill>
                <a:schemeClr val="bg1"/>
              </a:solidFill>
              <a:ln w="3175">
                <a:noFill/>
              </a:ln>
            </p:spPr>
            <p:txBody>
              <a:bodyPr vert="horz" wrap="square" lIns="89642" tIns="44821" rIns="89642" bIns="44821" numCol="1" anchor="t" anchorCtr="0" compatLnSpc="1">
                <a:prstTxWarp prst="textNoShape">
                  <a:avLst/>
                </a:prstTxWarp>
                <a:noAutofit/>
              </a:bodyPr>
              <a:lstStyle/>
              <a:p>
                <a:pPr defTabSz="914367"/>
                <a:endParaRPr lang="en-IN" sz="1765">
                  <a:solidFill>
                    <a:srgbClr val="505050"/>
                  </a:solidFill>
                </a:endParaRPr>
              </a:p>
            </p:txBody>
          </p:sp>
        </p:grpSp>
        <p:sp>
          <p:nvSpPr>
            <p:cNvPr id="113" name="Rectangle 112"/>
            <p:cNvSpPr/>
            <p:nvPr/>
          </p:nvSpPr>
          <p:spPr bwMode="auto">
            <a:xfrm>
              <a:off x="8567298" y="4513359"/>
              <a:ext cx="1139460" cy="369745"/>
            </a:xfrm>
            <a:prstGeom prst="rect">
              <a:avLst/>
            </a:prstGeom>
            <a:solidFill>
              <a:schemeClr val="accent3"/>
            </a:solidFill>
            <a:ln w="25400" cap="flat" cmpd="sng" algn="ctr">
              <a:noFill/>
              <a:prstDash val="solid"/>
              <a:headEnd type="none" w="med" len="med"/>
              <a:tailEnd type="none" w="med" len="med"/>
            </a:ln>
            <a:effectLst/>
          </p:spPr>
          <p:txBody>
            <a:bodyPr rot="0" spcFirstLastPara="0" vertOverflow="overflow" horzOverflow="overflow" vert="horz" wrap="square" lIns="48725" tIns="44821" rIns="48725" bIns="40947" numCol="1" spcCol="0" rtlCol="0" fromWordArt="0" anchor="ctr" anchorCtr="0" forceAA="0" compatLnSpc="1">
              <a:prstTxWarp prst="textNoShape">
                <a:avLst/>
              </a:prstTxWarp>
              <a:noAutofit/>
            </a:bodyPr>
            <a:lstStyle/>
            <a:p>
              <a:pPr algn="ctr" defTabSz="590820" fontAlgn="base">
                <a:spcBef>
                  <a:spcPct val="0"/>
                </a:spcBef>
                <a:spcAft>
                  <a:spcPct val="0"/>
                </a:spcAft>
                <a:defRPr/>
              </a:pPr>
              <a:r>
                <a:rPr lang="en-US" sz="1372" kern="0" dirty="0">
                  <a:solidFill>
                    <a:srgbClr val="FFFFFF"/>
                  </a:solidFill>
                  <a:ea typeface="Segoe UI" pitchFamily="34" charset="0"/>
                  <a:cs typeface="Segoe UI" pitchFamily="34" charset="0"/>
                </a:rPr>
                <a:t>HiveServer2</a:t>
              </a:r>
            </a:p>
          </p:txBody>
        </p:sp>
        <p:sp>
          <p:nvSpPr>
            <p:cNvPr id="114" name="Flowchart: Magnetic Disk 113"/>
            <p:cNvSpPr/>
            <p:nvPr/>
          </p:nvSpPr>
          <p:spPr bwMode="auto">
            <a:xfrm>
              <a:off x="9137520" y="4959304"/>
              <a:ext cx="1252728" cy="722684"/>
            </a:xfrm>
            <a:prstGeom prst="flowChartMagneticDisk">
              <a:avLst/>
            </a:prstGeom>
            <a:solidFill>
              <a:schemeClr val="accent3"/>
            </a:solidFill>
            <a:ln w="19050" cap="flat" cmpd="sng" algn="ctr">
              <a:solidFill>
                <a:schemeClr val="bg1"/>
              </a:solidFill>
              <a:prstDash val="solid"/>
              <a:headEnd type="none" w="med" len="med"/>
              <a:tailEnd type="none" w="med" len="med"/>
            </a:ln>
            <a:effectLst/>
          </p:spPr>
          <p:txBody>
            <a:bodyPr rot="0" spcFirstLastPara="0" vertOverflow="overflow" horzOverflow="overflow" vert="horz" wrap="square" lIns="48725" tIns="89642" rIns="48725" bIns="40947" numCol="1" spcCol="0" rtlCol="0" fromWordArt="0" anchor="ctr" anchorCtr="0" forceAA="0" compatLnSpc="1">
              <a:prstTxWarp prst="textNoShape">
                <a:avLst/>
              </a:prstTxWarp>
              <a:noAutofit/>
            </a:bodyPr>
            <a:lstStyle/>
            <a:p>
              <a:pPr algn="ctr" defTabSz="590820" fontAlgn="base">
                <a:spcBef>
                  <a:spcPct val="0"/>
                </a:spcBef>
                <a:spcAft>
                  <a:spcPct val="0"/>
                </a:spcAft>
                <a:defRPr/>
              </a:pPr>
              <a:r>
                <a:rPr lang="en-US" sz="1372" kern="0" dirty="0" err="1">
                  <a:solidFill>
                    <a:srgbClr val="FFFFFF"/>
                  </a:solidFill>
                  <a:ea typeface="Segoe UI" pitchFamily="34" charset="0"/>
                  <a:cs typeface="Segoe UI" pitchFamily="34" charset="0"/>
                </a:rPr>
                <a:t>Metastore</a:t>
              </a:r>
              <a:r>
                <a:rPr lang="en-US" sz="1372" kern="0" dirty="0">
                  <a:solidFill>
                    <a:srgbClr val="FFFFFF"/>
                  </a:solidFill>
                  <a:ea typeface="Segoe UI" pitchFamily="34" charset="0"/>
                  <a:cs typeface="Segoe UI" pitchFamily="34" charset="0"/>
                </a:rPr>
                <a:t> DB</a:t>
              </a:r>
            </a:p>
          </p:txBody>
        </p:sp>
        <p:sp>
          <p:nvSpPr>
            <p:cNvPr id="115" name="Rectangle 114"/>
            <p:cNvSpPr/>
            <p:nvPr/>
          </p:nvSpPr>
          <p:spPr bwMode="auto">
            <a:xfrm>
              <a:off x="10694400" y="4076869"/>
              <a:ext cx="1139460" cy="369745"/>
            </a:xfrm>
            <a:prstGeom prst="rect">
              <a:avLst/>
            </a:prstGeom>
            <a:solidFill>
              <a:schemeClr val="accent3"/>
            </a:solidFill>
            <a:ln w="25400" cap="flat" cmpd="sng" algn="ctr">
              <a:noFill/>
              <a:prstDash val="solid"/>
              <a:headEnd type="none" w="med" len="med"/>
              <a:tailEnd type="none" w="med" len="med"/>
            </a:ln>
            <a:effectLst/>
          </p:spPr>
          <p:txBody>
            <a:bodyPr rot="0" spcFirstLastPara="0" vertOverflow="overflow" horzOverflow="overflow" vert="horz" wrap="square" lIns="48725" tIns="44821" rIns="48725" bIns="40947" numCol="1" spcCol="0" rtlCol="0" fromWordArt="0" anchor="ctr" anchorCtr="0" forceAA="0" compatLnSpc="1">
              <a:prstTxWarp prst="textNoShape">
                <a:avLst/>
              </a:prstTxWarp>
              <a:noAutofit/>
            </a:bodyPr>
            <a:lstStyle/>
            <a:p>
              <a:pPr algn="ctr" defTabSz="590820" fontAlgn="base">
                <a:spcBef>
                  <a:spcPct val="0"/>
                </a:spcBef>
                <a:spcAft>
                  <a:spcPct val="0"/>
                </a:spcAft>
                <a:defRPr/>
              </a:pPr>
              <a:r>
                <a:rPr lang="en-US" sz="1372" kern="0" dirty="0">
                  <a:solidFill>
                    <a:srgbClr val="FFFFFF"/>
                  </a:solidFill>
                  <a:ea typeface="Segoe UI" pitchFamily="34" charset="0"/>
                  <a:cs typeface="Segoe UI" pitchFamily="34" charset="0"/>
                </a:rPr>
                <a:t>Compiler</a:t>
              </a:r>
            </a:p>
          </p:txBody>
        </p:sp>
        <p:sp>
          <p:nvSpPr>
            <p:cNvPr id="116" name="Rectangle 115"/>
            <p:cNvSpPr/>
            <p:nvPr/>
          </p:nvSpPr>
          <p:spPr bwMode="auto">
            <a:xfrm>
              <a:off x="10694400" y="4513359"/>
              <a:ext cx="1139460" cy="369745"/>
            </a:xfrm>
            <a:prstGeom prst="rect">
              <a:avLst/>
            </a:prstGeom>
            <a:solidFill>
              <a:schemeClr val="accent3"/>
            </a:solidFill>
            <a:ln w="25400" cap="flat" cmpd="sng" algn="ctr">
              <a:noFill/>
              <a:prstDash val="solid"/>
              <a:headEnd type="none" w="med" len="med"/>
              <a:tailEnd type="none" w="med" len="med"/>
            </a:ln>
            <a:effectLst/>
          </p:spPr>
          <p:txBody>
            <a:bodyPr rot="0" spcFirstLastPara="0" vertOverflow="overflow" horzOverflow="overflow" vert="horz" wrap="square" lIns="48725" tIns="44821" rIns="48725" bIns="40947" numCol="1" spcCol="0" rtlCol="0" fromWordArt="0" anchor="ctr" anchorCtr="0" forceAA="0" compatLnSpc="1">
              <a:prstTxWarp prst="textNoShape">
                <a:avLst/>
              </a:prstTxWarp>
              <a:noAutofit/>
            </a:bodyPr>
            <a:lstStyle/>
            <a:p>
              <a:pPr algn="ctr" defTabSz="590820" fontAlgn="base">
                <a:spcBef>
                  <a:spcPct val="0"/>
                </a:spcBef>
                <a:spcAft>
                  <a:spcPct val="0"/>
                </a:spcAft>
                <a:defRPr/>
              </a:pPr>
              <a:r>
                <a:rPr lang="en-US" sz="1372" kern="0" dirty="0">
                  <a:solidFill>
                    <a:srgbClr val="FFFFFF"/>
                  </a:solidFill>
                  <a:ea typeface="Segoe UI" pitchFamily="34" charset="0"/>
                  <a:cs typeface="Segoe UI" pitchFamily="34" charset="0"/>
                </a:rPr>
                <a:t>Optimizer</a:t>
              </a:r>
            </a:p>
          </p:txBody>
        </p:sp>
        <p:sp>
          <p:nvSpPr>
            <p:cNvPr id="117" name="Rectangle 116"/>
            <p:cNvSpPr/>
            <p:nvPr/>
          </p:nvSpPr>
          <p:spPr bwMode="auto">
            <a:xfrm>
              <a:off x="10694400" y="4949849"/>
              <a:ext cx="1139460" cy="369745"/>
            </a:xfrm>
            <a:prstGeom prst="rect">
              <a:avLst/>
            </a:prstGeom>
            <a:solidFill>
              <a:schemeClr val="accent3"/>
            </a:solidFill>
            <a:ln w="25400" cap="flat" cmpd="sng" algn="ctr">
              <a:noFill/>
              <a:prstDash val="solid"/>
              <a:headEnd type="none" w="med" len="med"/>
              <a:tailEnd type="none" w="med" len="med"/>
            </a:ln>
            <a:effectLst/>
          </p:spPr>
          <p:txBody>
            <a:bodyPr rot="0" spcFirstLastPara="0" vertOverflow="overflow" horzOverflow="overflow" vert="horz" wrap="square" lIns="48725" tIns="44821" rIns="48725" bIns="40947" numCol="1" spcCol="0" rtlCol="0" fromWordArt="0" anchor="ctr" anchorCtr="0" forceAA="0" compatLnSpc="1">
              <a:prstTxWarp prst="textNoShape">
                <a:avLst/>
              </a:prstTxWarp>
              <a:noAutofit/>
            </a:bodyPr>
            <a:lstStyle/>
            <a:p>
              <a:pPr algn="ctr" defTabSz="590820" fontAlgn="base">
                <a:spcBef>
                  <a:spcPct val="0"/>
                </a:spcBef>
                <a:spcAft>
                  <a:spcPct val="0"/>
                </a:spcAft>
                <a:defRPr/>
              </a:pPr>
              <a:r>
                <a:rPr lang="en-US" sz="1372" kern="0" dirty="0">
                  <a:solidFill>
                    <a:srgbClr val="FFFFFF"/>
                  </a:solidFill>
                  <a:ea typeface="Segoe UI" pitchFamily="34" charset="0"/>
                  <a:cs typeface="Segoe UI" pitchFamily="34" charset="0"/>
                </a:rPr>
                <a:t>Executor</a:t>
              </a:r>
            </a:p>
          </p:txBody>
        </p:sp>
        <p:sp>
          <p:nvSpPr>
            <p:cNvPr id="118" name="Rectangle 117"/>
            <p:cNvSpPr/>
            <p:nvPr/>
          </p:nvSpPr>
          <p:spPr bwMode="auto">
            <a:xfrm>
              <a:off x="9821010" y="4513359"/>
              <a:ext cx="759138" cy="369745"/>
            </a:xfrm>
            <a:prstGeom prst="rect">
              <a:avLst/>
            </a:prstGeom>
            <a:solidFill>
              <a:schemeClr val="accent3"/>
            </a:solidFill>
            <a:ln w="25400" cap="flat" cmpd="sng" algn="ctr">
              <a:noFill/>
              <a:prstDash val="solid"/>
              <a:headEnd type="none" w="med" len="med"/>
              <a:tailEnd type="none" w="med" len="med"/>
            </a:ln>
            <a:effectLst/>
          </p:spPr>
          <p:txBody>
            <a:bodyPr rot="0" spcFirstLastPara="0" vertOverflow="overflow" horzOverflow="overflow" vert="horz" wrap="square" lIns="48725" tIns="44821" rIns="48725" bIns="40947" numCol="1" spcCol="0" rtlCol="0" fromWordArt="0" anchor="ctr" anchorCtr="0" forceAA="0" compatLnSpc="1">
              <a:prstTxWarp prst="textNoShape">
                <a:avLst/>
              </a:prstTxWarp>
              <a:noAutofit/>
            </a:bodyPr>
            <a:lstStyle/>
            <a:p>
              <a:pPr algn="ctr" defTabSz="590820" fontAlgn="base">
                <a:spcBef>
                  <a:spcPct val="0"/>
                </a:spcBef>
                <a:spcAft>
                  <a:spcPct val="0"/>
                </a:spcAft>
                <a:defRPr/>
              </a:pPr>
              <a:r>
                <a:rPr lang="en-US" sz="1372" kern="0" dirty="0">
                  <a:solidFill>
                    <a:srgbClr val="FFFFFF"/>
                  </a:solidFill>
                  <a:ea typeface="Segoe UI" pitchFamily="34" charset="0"/>
                  <a:cs typeface="Segoe UI" pitchFamily="34" charset="0"/>
                </a:rPr>
                <a:t>Hive</a:t>
              </a:r>
            </a:p>
          </p:txBody>
        </p:sp>
        <p:sp>
          <p:nvSpPr>
            <p:cNvPr id="134" name="Oval 133"/>
            <p:cNvSpPr/>
            <p:nvPr/>
          </p:nvSpPr>
          <p:spPr bwMode="auto">
            <a:xfrm>
              <a:off x="7325714" y="4702041"/>
              <a:ext cx="400888" cy="400886"/>
            </a:xfrm>
            <a:prstGeom prst="ellipse">
              <a:avLst/>
            </a:prstGeom>
            <a:solidFill>
              <a:schemeClr val="accent4"/>
            </a:solidFill>
            <a:ln w="19050">
              <a:solidFill>
                <a:schemeClr val="bg1"/>
              </a:solidFill>
              <a:headEnd type="none" w="med" len="med"/>
              <a:tailEnd type="none" w="med" len="med"/>
            </a:ln>
            <a:effectLst>
              <a:outerShdw dist="25400" dir="8100000" algn="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spcBef>
                  <a:spcPct val="0"/>
                </a:spcBef>
                <a:spcAft>
                  <a:spcPct val="0"/>
                </a:spcAft>
              </a:pPr>
              <a:r>
                <a:rPr lang="en-IN" sz="1765" dirty="0">
                  <a:solidFill>
                    <a:srgbClr val="FFFFFF"/>
                  </a:solidFill>
                  <a:latin typeface="Segoe UI Semibold" panose="020B0702040204020203" pitchFamily="34" charset="0"/>
                  <a:ea typeface="Segoe UI" pitchFamily="34" charset="0"/>
                  <a:cs typeface="Segoe UI Semibold" panose="020B0702040204020203" pitchFamily="34" charset="0"/>
                </a:rPr>
                <a:t>2</a:t>
              </a:r>
            </a:p>
          </p:txBody>
        </p:sp>
      </p:grpSp>
      <p:grpSp>
        <p:nvGrpSpPr>
          <p:cNvPr id="9" name="Group 8"/>
          <p:cNvGrpSpPr/>
          <p:nvPr/>
        </p:nvGrpSpPr>
        <p:grpSpPr>
          <a:xfrm>
            <a:off x="378987" y="3159375"/>
            <a:ext cx="5104922" cy="2792863"/>
            <a:chOff x="386586" y="3222230"/>
            <a:chExt cx="5207286" cy="2848866"/>
          </a:xfrm>
        </p:grpSpPr>
        <p:sp>
          <p:nvSpPr>
            <p:cNvPr id="102" name="Right Arrow 101"/>
            <p:cNvSpPr/>
            <p:nvPr/>
          </p:nvSpPr>
          <p:spPr bwMode="auto">
            <a:xfrm rot="19858929" flipV="1">
              <a:off x="5319438" y="5225685"/>
              <a:ext cx="274434" cy="239100"/>
            </a:xfrm>
            <a:prstGeom prst="rightArrow">
              <a:avLst>
                <a:gd name="adj1" fmla="val 63724"/>
                <a:gd name="adj2" fmla="val 44578"/>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IN" sz="1961" b="1" dirty="0">
                <a:solidFill>
                  <a:srgbClr val="FFFFFF"/>
                </a:solidFill>
                <a:latin typeface="Segoe UI Light"/>
                <a:ea typeface="Segoe UI" pitchFamily="34" charset="0"/>
                <a:cs typeface="Segoe UI" pitchFamily="34" charset="0"/>
              </a:endParaRPr>
            </a:p>
          </p:txBody>
        </p:sp>
        <p:sp>
          <p:nvSpPr>
            <p:cNvPr id="74" name="Oval 73"/>
            <p:cNvSpPr/>
            <p:nvPr/>
          </p:nvSpPr>
          <p:spPr bwMode="auto">
            <a:xfrm>
              <a:off x="4337444" y="4963988"/>
              <a:ext cx="1107108" cy="1107108"/>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spcBef>
                  <a:spcPct val="0"/>
                </a:spcBef>
                <a:spcAft>
                  <a:spcPct val="0"/>
                </a:spcAft>
              </a:pPr>
              <a:r>
                <a:rPr lang="en-IN" sz="1176" dirty="0">
                  <a:solidFill>
                    <a:srgbClr val="FFFFFF"/>
                  </a:solidFill>
                  <a:latin typeface="Segoe UI Semibold" panose="020B0702040204020203" pitchFamily="34" charset="0"/>
                  <a:ea typeface="Segoe UI" pitchFamily="34" charset="0"/>
                  <a:cs typeface="Segoe UI Semibold" panose="020B0702040204020203" pitchFamily="34" charset="0"/>
                </a:rPr>
                <a:t>Hadoop</a:t>
              </a:r>
            </a:p>
          </p:txBody>
        </p:sp>
        <p:sp>
          <p:nvSpPr>
            <p:cNvPr id="85" name="Freeform 84"/>
            <p:cNvSpPr/>
            <p:nvPr/>
          </p:nvSpPr>
          <p:spPr bwMode="auto">
            <a:xfrm>
              <a:off x="4403213" y="5453063"/>
              <a:ext cx="409294" cy="427037"/>
            </a:xfrm>
            <a:custGeom>
              <a:avLst/>
              <a:gdLst>
                <a:gd name="connsiteX0" fmla="*/ 1773551 w 1852158"/>
                <a:gd name="connsiteY0" fmla="*/ 1419995 h 1932447"/>
                <a:gd name="connsiteX1" fmla="*/ 1827386 w 1852158"/>
                <a:gd name="connsiteY1" fmla="*/ 1419995 h 1932447"/>
                <a:gd name="connsiteX2" fmla="*/ 1852158 w 1852158"/>
                <a:gd name="connsiteY2" fmla="*/ 1444767 h 1932447"/>
                <a:gd name="connsiteX3" fmla="*/ 1852158 w 1852158"/>
                <a:gd name="connsiteY3" fmla="*/ 1907675 h 1932447"/>
                <a:gd name="connsiteX4" fmla="*/ 1827386 w 1852158"/>
                <a:gd name="connsiteY4" fmla="*/ 1932447 h 1932447"/>
                <a:gd name="connsiteX5" fmla="*/ 1365955 w 1852158"/>
                <a:gd name="connsiteY5" fmla="*/ 1932447 h 1932447"/>
                <a:gd name="connsiteX6" fmla="*/ 1341183 w 1852158"/>
                <a:gd name="connsiteY6" fmla="*/ 1907675 h 1932447"/>
                <a:gd name="connsiteX7" fmla="*/ 1341183 w 1852158"/>
                <a:gd name="connsiteY7" fmla="*/ 1850151 h 1932447"/>
                <a:gd name="connsiteX8" fmla="*/ 1773551 w 1852158"/>
                <a:gd name="connsiteY8" fmla="*/ 1850151 h 1932447"/>
                <a:gd name="connsiteX9" fmla="*/ 1184478 w 1852158"/>
                <a:gd name="connsiteY9" fmla="*/ 1369373 h 1932447"/>
                <a:gd name="connsiteX10" fmla="*/ 1509930 w 1852158"/>
                <a:gd name="connsiteY10" fmla="*/ 1369373 h 1932447"/>
                <a:gd name="connsiteX11" fmla="*/ 1509930 w 1852158"/>
                <a:gd name="connsiteY11" fmla="*/ 1425431 h 1932447"/>
                <a:gd name="connsiteX12" fmla="*/ 1184478 w 1852158"/>
                <a:gd name="connsiteY12" fmla="*/ 1425431 h 1932447"/>
                <a:gd name="connsiteX13" fmla="*/ 1159075 w 1852158"/>
                <a:gd name="connsiteY13" fmla="*/ 1313257 h 1932447"/>
                <a:gd name="connsiteX14" fmla="*/ 1153434 w 1852158"/>
                <a:gd name="connsiteY14" fmla="*/ 1318898 h 1932447"/>
                <a:gd name="connsiteX15" fmla="*/ 1153434 w 1852158"/>
                <a:gd name="connsiteY15" fmla="*/ 1626684 h 1932447"/>
                <a:gd name="connsiteX16" fmla="*/ 1159075 w 1852158"/>
                <a:gd name="connsiteY16" fmla="*/ 1632325 h 1932447"/>
                <a:gd name="connsiteX17" fmla="*/ 1536758 w 1852158"/>
                <a:gd name="connsiteY17" fmla="*/ 1632325 h 1932447"/>
                <a:gd name="connsiteX18" fmla="*/ 1542399 w 1852158"/>
                <a:gd name="connsiteY18" fmla="*/ 1626684 h 1932447"/>
                <a:gd name="connsiteX19" fmla="*/ 1542399 w 1852158"/>
                <a:gd name="connsiteY19" fmla="*/ 1318898 h 1932447"/>
                <a:gd name="connsiteX20" fmla="*/ 1536758 w 1852158"/>
                <a:gd name="connsiteY20" fmla="*/ 1313257 h 1932447"/>
                <a:gd name="connsiteX21" fmla="*/ 1648624 w 1852158"/>
                <a:gd name="connsiteY21" fmla="*/ 1295785 h 1932447"/>
                <a:gd name="connsiteX22" fmla="*/ 1702459 w 1852158"/>
                <a:gd name="connsiteY22" fmla="*/ 1295785 h 1932447"/>
                <a:gd name="connsiteX23" fmla="*/ 1727231 w 1852158"/>
                <a:gd name="connsiteY23" fmla="*/ 1320557 h 1932447"/>
                <a:gd name="connsiteX24" fmla="*/ 1727231 w 1852158"/>
                <a:gd name="connsiteY24" fmla="*/ 1783465 h 1932447"/>
                <a:gd name="connsiteX25" fmla="*/ 1702459 w 1852158"/>
                <a:gd name="connsiteY25" fmla="*/ 1808237 h 1932447"/>
                <a:gd name="connsiteX26" fmla="*/ 1241028 w 1852158"/>
                <a:gd name="connsiteY26" fmla="*/ 1808237 h 1932447"/>
                <a:gd name="connsiteX27" fmla="*/ 1216256 w 1852158"/>
                <a:gd name="connsiteY27" fmla="*/ 1783465 h 1932447"/>
                <a:gd name="connsiteX28" fmla="*/ 1216256 w 1852158"/>
                <a:gd name="connsiteY28" fmla="*/ 1725941 h 1932447"/>
                <a:gd name="connsiteX29" fmla="*/ 1648624 w 1852158"/>
                <a:gd name="connsiteY29" fmla="*/ 1725941 h 1932447"/>
                <a:gd name="connsiteX30" fmla="*/ 1117611 w 1852158"/>
                <a:gd name="connsiteY30" fmla="*/ 1183745 h 1932447"/>
                <a:gd name="connsiteX31" fmla="*/ 1579042 w 1852158"/>
                <a:gd name="connsiteY31" fmla="*/ 1183745 h 1932447"/>
                <a:gd name="connsiteX32" fmla="*/ 1603814 w 1852158"/>
                <a:gd name="connsiteY32" fmla="*/ 1208517 h 1932447"/>
                <a:gd name="connsiteX33" fmla="*/ 1603814 w 1852158"/>
                <a:gd name="connsiteY33" fmla="*/ 1671425 h 1932447"/>
                <a:gd name="connsiteX34" fmla="*/ 1579042 w 1852158"/>
                <a:gd name="connsiteY34" fmla="*/ 1696197 h 1932447"/>
                <a:gd name="connsiteX35" fmla="*/ 1117611 w 1852158"/>
                <a:gd name="connsiteY35" fmla="*/ 1696197 h 1932447"/>
                <a:gd name="connsiteX36" fmla="*/ 1092839 w 1852158"/>
                <a:gd name="connsiteY36" fmla="*/ 1671425 h 1932447"/>
                <a:gd name="connsiteX37" fmla="*/ 1092839 w 1852158"/>
                <a:gd name="connsiteY37" fmla="*/ 1208517 h 1932447"/>
                <a:gd name="connsiteX38" fmla="*/ 1117611 w 1852158"/>
                <a:gd name="connsiteY38" fmla="*/ 1183745 h 1932447"/>
                <a:gd name="connsiteX39" fmla="*/ 174465 w 1852158"/>
                <a:gd name="connsiteY39" fmla="*/ 685937 h 1932447"/>
                <a:gd name="connsiteX40" fmla="*/ 814545 w 1852158"/>
                <a:gd name="connsiteY40" fmla="*/ 685937 h 1932447"/>
                <a:gd name="connsiteX41" fmla="*/ 814545 w 1852158"/>
                <a:gd name="connsiteY41" fmla="*/ 804139 h 1932447"/>
                <a:gd name="connsiteX42" fmla="*/ 174465 w 1852158"/>
                <a:gd name="connsiteY42" fmla="*/ 804139 h 1932447"/>
                <a:gd name="connsiteX43" fmla="*/ 1025365 w 1852158"/>
                <a:gd name="connsiteY43" fmla="*/ 576562 h 1932447"/>
                <a:gd name="connsiteX44" fmla="*/ 1146816 w 1852158"/>
                <a:gd name="connsiteY44" fmla="*/ 576562 h 1932447"/>
                <a:gd name="connsiteX45" fmla="*/ 1407774 w 1852158"/>
                <a:gd name="connsiteY45" fmla="*/ 837520 h 1932447"/>
                <a:gd name="connsiteX46" fmla="*/ 1407774 w 1852158"/>
                <a:gd name="connsiteY46" fmla="*/ 990643 h 1932447"/>
                <a:gd name="connsiteX47" fmla="*/ 1472499 w 1852158"/>
                <a:gd name="connsiteY47" fmla="*/ 990643 h 1932447"/>
                <a:gd name="connsiteX48" fmla="*/ 1348198 w 1852158"/>
                <a:gd name="connsiteY48" fmla="*/ 1138171 h 1932447"/>
                <a:gd name="connsiteX49" fmla="*/ 1223897 w 1852158"/>
                <a:gd name="connsiteY49" fmla="*/ 990643 h 1932447"/>
                <a:gd name="connsiteX50" fmla="*/ 1287941 w 1852158"/>
                <a:gd name="connsiteY50" fmla="*/ 990643 h 1932447"/>
                <a:gd name="connsiteX51" fmla="*/ 1287941 w 1852158"/>
                <a:gd name="connsiteY51" fmla="*/ 837520 h 1932447"/>
                <a:gd name="connsiteX52" fmla="*/ 1146816 w 1852158"/>
                <a:gd name="connsiteY52" fmla="*/ 696395 h 1932447"/>
                <a:gd name="connsiteX53" fmla="*/ 1025365 w 1852158"/>
                <a:gd name="connsiteY53" fmla="*/ 696395 h 1932447"/>
                <a:gd name="connsiteX54" fmla="*/ 1020774 w 1852158"/>
                <a:gd name="connsiteY54" fmla="*/ 697322 h 1932447"/>
                <a:gd name="connsiteX55" fmla="*/ 1020774 w 1852158"/>
                <a:gd name="connsiteY55" fmla="*/ 577025 h 1932447"/>
                <a:gd name="connsiteX56" fmla="*/ 174465 w 1852158"/>
                <a:gd name="connsiteY56" fmla="*/ 499612 h 1932447"/>
                <a:gd name="connsiteX57" fmla="*/ 814545 w 1852158"/>
                <a:gd name="connsiteY57" fmla="*/ 499612 h 1932447"/>
                <a:gd name="connsiteX58" fmla="*/ 814545 w 1852158"/>
                <a:gd name="connsiteY58" fmla="*/ 617814 h 1932447"/>
                <a:gd name="connsiteX59" fmla="*/ 174465 w 1852158"/>
                <a:gd name="connsiteY59" fmla="*/ 617814 h 1932447"/>
                <a:gd name="connsiteX60" fmla="*/ 174465 w 1852158"/>
                <a:gd name="connsiteY60" fmla="*/ 313287 h 1932447"/>
                <a:gd name="connsiteX61" fmla="*/ 814545 w 1852158"/>
                <a:gd name="connsiteY61" fmla="*/ 313287 h 1932447"/>
                <a:gd name="connsiteX62" fmla="*/ 814545 w 1852158"/>
                <a:gd name="connsiteY62" fmla="*/ 431489 h 1932447"/>
                <a:gd name="connsiteX63" fmla="*/ 174465 w 1852158"/>
                <a:gd name="connsiteY63" fmla="*/ 431489 h 1932447"/>
                <a:gd name="connsiteX64" fmla="*/ 128409 w 1852158"/>
                <a:gd name="connsiteY64" fmla="*/ 251078 h 1932447"/>
                <a:gd name="connsiteX65" fmla="*/ 117473 w 1852158"/>
                <a:gd name="connsiteY65" fmla="*/ 262014 h 1932447"/>
                <a:gd name="connsiteX66" fmla="*/ 117473 w 1852158"/>
                <a:gd name="connsiteY66" fmla="*/ 858703 h 1932447"/>
                <a:gd name="connsiteX67" fmla="*/ 128409 w 1852158"/>
                <a:gd name="connsiteY67" fmla="*/ 869639 h 1932447"/>
                <a:gd name="connsiteX68" fmla="*/ 860601 w 1852158"/>
                <a:gd name="connsiteY68" fmla="*/ 869639 h 1932447"/>
                <a:gd name="connsiteX69" fmla="*/ 871537 w 1852158"/>
                <a:gd name="connsiteY69" fmla="*/ 858703 h 1932447"/>
                <a:gd name="connsiteX70" fmla="*/ 871537 w 1852158"/>
                <a:gd name="connsiteY70" fmla="*/ 262014 h 1932447"/>
                <a:gd name="connsiteX71" fmla="*/ 860601 w 1852158"/>
                <a:gd name="connsiteY71" fmla="*/ 251078 h 1932447"/>
                <a:gd name="connsiteX72" fmla="*/ 48024 w 1852158"/>
                <a:gd name="connsiteY72" fmla="*/ 0 h 1932447"/>
                <a:gd name="connsiteX73" fmla="*/ 942576 w 1852158"/>
                <a:gd name="connsiteY73" fmla="*/ 0 h 1932447"/>
                <a:gd name="connsiteX74" fmla="*/ 990600 w 1852158"/>
                <a:gd name="connsiteY74" fmla="*/ 48024 h 1932447"/>
                <a:gd name="connsiteX75" fmla="*/ 990600 w 1852158"/>
                <a:gd name="connsiteY75" fmla="*/ 945440 h 1932447"/>
                <a:gd name="connsiteX76" fmla="*/ 942576 w 1852158"/>
                <a:gd name="connsiteY76" fmla="*/ 993464 h 1932447"/>
                <a:gd name="connsiteX77" fmla="*/ 48024 w 1852158"/>
                <a:gd name="connsiteY77" fmla="*/ 993464 h 1932447"/>
                <a:gd name="connsiteX78" fmla="*/ 0 w 1852158"/>
                <a:gd name="connsiteY78" fmla="*/ 945440 h 1932447"/>
                <a:gd name="connsiteX79" fmla="*/ 0 w 1852158"/>
                <a:gd name="connsiteY79" fmla="*/ 48024 h 1932447"/>
                <a:gd name="connsiteX80" fmla="*/ 48024 w 1852158"/>
                <a:gd name="connsiteY80" fmla="*/ 0 h 1932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1852158" h="1932447">
                  <a:moveTo>
                    <a:pt x="1773551" y="1419995"/>
                  </a:moveTo>
                  <a:lnTo>
                    <a:pt x="1827386" y="1419995"/>
                  </a:lnTo>
                  <a:cubicBezTo>
                    <a:pt x="1841067" y="1419995"/>
                    <a:pt x="1852158" y="1431086"/>
                    <a:pt x="1852158" y="1444767"/>
                  </a:cubicBezTo>
                  <a:lnTo>
                    <a:pt x="1852158" y="1907675"/>
                  </a:lnTo>
                  <a:cubicBezTo>
                    <a:pt x="1852158" y="1921357"/>
                    <a:pt x="1841067" y="1932447"/>
                    <a:pt x="1827386" y="1932447"/>
                  </a:cubicBezTo>
                  <a:lnTo>
                    <a:pt x="1365955" y="1932447"/>
                  </a:lnTo>
                  <a:cubicBezTo>
                    <a:pt x="1352274" y="1932447"/>
                    <a:pt x="1341183" y="1921357"/>
                    <a:pt x="1341183" y="1907675"/>
                  </a:cubicBezTo>
                  <a:lnTo>
                    <a:pt x="1341183" y="1850151"/>
                  </a:lnTo>
                  <a:lnTo>
                    <a:pt x="1773551" y="1850151"/>
                  </a:lnTo>
                  <a:close/>
                  <a:moveTo>
                    <a:pt x="1184478" y="1369373"/>
                  </a:moveTo>
                  <a:lnTo>
                    <a:pt x="1509930" y="1369373"/>
                  </a:lnTo>
                  <a:lnTo>
                    <a:pt x="1509930" y="1425431"/>
                  </a:lnTo>
                  <a:lnTo>
                    <a:pt x="1184478" y="1425431"/>
                  </a:lnTo>
                  <a:close/>
                  <a:moveTo>
                    <a:pt x="1159075" y="1313257"/>
                  </a:moveTo>
                  <a:cubicBezTo>
                    <a:pt x="1155960" y="1313257"/>
                    <a:pt x="1153434" y="1315782"/>
                    <a:pt x="1153434" y="1318898"/>
                  </a:cubicBezTo>
                  <a:lnTo>
                    <a:pt x="1153434" y="1626684"/>
                  </a:lnTo>
                  <a:cubicBezTo>
                    <a:pt x="1153434" y="1629800"/>
                    <a:pt x="1155960" y="1632325"/>
                    <a:pt x="1159075" y="1632325"/>
                  </a:cubicBezTo>
                  <a:lnTo>
                    <a:pt x="1536758" y="1632325"/>
                  </a:lnTo>
                  <a:cubicBezTo>
                    <a:pt x="1539873" y="1632325"/>
                    <a:pt x="1542399" y="1629800"/>
                    <a:pt x="1542399" y="1626684"/>
                  </a:cubicBezTo>
                  <a:lnTo>
                    <a:pt x="1542399" y="1318898"/>
                  </a:lnTo>
                  <a:cubicBezTo>
                    <a:pt x="1542399" y="1315782"/>
                    <a:pt x="1539873" y="1313257"/>
                    <a:pt x="1536758" y="1313257"/>
                  </a:cubicBezTo>
                  <a:close/>
                  <a:moveTo>
                    <a:pt x="1648624" y="1295785"/>
                  </a:moveTo>
                  <a:lnTo>
                    <a:pt x="1702459" y="1295785"/>
                  </a:lnTo>
                  <a:cubicBezTo>
                    <a:pt x="1716140" y="1295785"/>
                    <a:pt x="1727231" y="1306876"/>
                    <a:pt x="1727231" y="1320557"/>
                  </a:cubicBezTo>
                  <a:lnTo>
                    <a:pt x="1727231" y="1783465"/>
                  </a:lnTo>
                  <a:cubicBezTo>
                    <a:pt x="1727231" y="1797147"/>
                    <a:pt x="1716140" y="1808237"/>
                    <a:pt x="1702459" y="1808237"/>
                  </a:cubicBezTo>
                  <a:lnTo>
                    <a:pt x="1241028" y="1808237"/>
                  </a:lnTo>
                  <a:cubicBezTo>
                    <a:pt x="1227347" y="1808237"/>
                    <a:pt x="1216256" y="1797147"/>
                    <a:pt x="1216256" y="1783465"/>
                  </a:cubicBezTo>
                  <a:lnTo>
                    <a:pt x="1216256" y="1725941"/>
                  </a:lnTo>
                  <a:lnTo>
                    <a:pt x="1648624" y="1725941"/>
                  </a:lnTo>
                  <a:close/>
                  <a:moveTo>
                    <a:pt x="1117611" y="1183745"/>
                  </a:moveTo>
                  <a:lnTo>
                    <a:pt x="1579042" y="1183745"/>
                  </a:lnTo>
                  <a:cubicBezTo>
                    <a:pt x="1592723" y="1183745"/>
                    <a:pt x="1603814" y="1194835"/>
                    <a:pt x="1603814" y="1208517"/>
                  </a:cubicBezTo>
                  <a:lnTo>
                    <a:pt x="1603814" y="1671425"/>
                  </a:lnTo>
                  <a:cubicBezTo>
                    <a:pt x="1603814" y="1685107"/>
                    <a:pt x="1592723" y="1696197"/>
                    <a:pt x="1579042" y="1696197"/>
                  </a:cubicBezTo>
                  <a:lnTo>
                    <a:pt x="1117611" y="1696197"/>
                  </a:lnTo>
                  <a:cubicBezTo>
                    <a:pt x="1103930" y="1696197"/>
                    <a:pt x="1092839" y="1685107"/>
                    <a:pt x="1092839" y="1671425"/>
                  </a:cubicBezTo>
                  <a:lnTo>
                    <a:pt x="1092839" y="1208517"/>
                  </a:lnTo>
                  <a:cubicBezTo>
                    <a:pt x="1092839" y="1194835"/>
                    <a:pt x="1103930" y="1183745"/>
                    <a:pt x="1117611" y="1183745"/>
                  </a:cubicBezTo>
                  <a:close/>
                  <a:moveTo>
                    <a:pt x="174465" y="685937"/>
                  </a:moveTo>
                  <a:lnTo>
                    <a:pt x="814545" y="685937"/>
                  </a:lnTo>
                  <a:lnTo>
                    <a:pt x="814545" y="804139"/>
                  </a:lnTo>
                  <a:lnTo>
                    <a:pt x="174465" y="804139"/>
                  </a:lnTo>
                  <a:close/>
                  <a:moveTo>
                    <a:pt x="1025365" y="576562"/>
                  </a:moveTo>
                  <a:lnTo>
                    <a:pt x="1146816" y="576562"/>
                  </a:lnTo>
                  <a:cubicBezTo>
                    <a:pt x="1290939" y="576562"/>
                    <a:pt x="1407774" y="693397"/>
                    <a:pt x="1407774" y="837520"/>
                  </a:cubicBezTo>
                  <a:lnTo>
                    <a:pt x="1407774" y="990643"/>
                  </a:lnTo>
                  <a:lnTo>
                    <a:pt x="1472499" y="990643"/>
                  </a:lnTo>
                  <a:lnTo>
                    <a:pt x="1348198" y="1138171"/>
                  </a:lnTo>
                  <a:lnTo>
                    <a:pt x="1223897" y="990643"/>
                  </a:lnTo>
                  <a:lnTo>
                    <a:pt x="1287941" y="990643"/>
                  </a:lnTo>
                  <a:lnTo>
                    <a:pt x="1287941" y="837520"/>
                  </a:lnTo>
                  <a:cubicBezTo>
                    <a:pt x="1287941" y="759579"/>
                    <a:pt x="1224757" y="696395"/>
                    <a:pt x="1146816" y="696395"/>
                  </a:cubicBezTo>
                  <a:lnTo>
                    <a:pt x="1025365" y="696395"/>
                  </a:lnTo>
                  <a:lnTo>
                    <a:pt x="1020774" y="697322"/>
                  </a:lnTo>
                  <a:lnTo>
                    <a:pt x="1020774" y="577025"/>
                  </a:lnTo>
                  <a:close/>
                  <a:moveTo>
                    <a:pt x="174465" y="499612"/>
                  </a:moveTo>
                  <a:lnTo>
                    <a:pt x="814545" y="499612"/>
                  </a:lnTo>
                  <a:lnTo>
                    <a:pt x="814545" y="617814"/>
                  </a:lnTo>
                  <a:lnTo>
                    <a:pt x="174465" y="617814"/>
                  </a:lnTo>
                  <a:close/>
                  <a:moveTo>
                    <a:pt x="174465" y="313287"/>
                  </a:moveTo>
                  <a:lnTo>
                    <a:pt x="814545" y="313287"/>
                  </a:lnTo>
                  <a:lnTo>
                    <a:pt x="814545" y="431489"/>
                  </a:lnTo>
                  <a:lnTo>
                    <a:pt x="174465" y="431489"/>
                  </a:lnTo>
                  <a:close/>
                  <a:moveTo>
                    <a:pt x="128409" y="251078"/>
                  </a:moveTo>
                  <a:cubicBezTo>
                    <a:pt x="122369" y="251078"/>
                    <a:pt x="117473" y="255974"/>
                    <a:pt x="117473" y="262014"/>
                  </a:cubicBezTo>
                  <a:lnTo>
                    <a:pt x="117473" y="858703"/>
                  </a:lnTo>
                  <a:cubicBezTo>
                    <a:pt x="117473" y="864743"/>
                    <a:pt x="122369" y="869639"/>
                    <a:pt x="128409" y="869639"/>
                  </a:cubicBezTo>
                  <a:lnTo>
                    <a:pt x="860601" y="869639"/>
                  </a:lnTo>
                  <a:cubicBezTo>
                    <a:pt x="866641" y="869639"/>
                    <a:pt x="871537" y="864743"/>
                    <a:pt x="871537" y="858703"/>
                  </a:cubicBezTo>
                  <a:lnTo>
                    <a:pt x="871537" y="262014"/>
                  </a:lnTo>
                  <a:cubicBezTo>
                    <a:pt x="871537" y="255974"/>
                    <a:pt x="866641" y="251078"/>
                    <a:pt x="860601" y="251078"/>
                  </a:cubicBezTo>
                  <a:close/>
                  <a:moveTo>
                    <a:pt x="48024" y="0"/>
                  </a:moveTo>
                  <a:lnTo>
                    <a:pt x="942576" y="0"/>
                  </a:lnTo>
                  <a:cubicBezTo>
                    <a:pt x="969099" y="0"/>
                    <a:pt x="990600" y="21501"/>
                    <a:pt x="990600" y="48024"/>
                  </a:cubicBezTo>
                  <a:lnTo>
                    <a:pt x="990600" y="945440"/>
                  </a:lnTo>
                  <a:cubicBezTo>
                    <a:pt x="990600" y="971963"/>
                    <a:pt x="969099" y="993464"/>
                    <a:pt x="942576" y="993464"/>
                  </a:cubicBezTo>
                  <a:lnTo>
                    <a:pt x="48024" y="993464"/>
                  </a:lnTo>
                  <a:cubicBezTo>
                    <a:pt x="21501" y="993464"/>
                    <a:pt x="0" y="971963"/>
                    <a:pt x="0" y="945440"/>
                  </a:cubicBezTo>
                  <a:lnTo>
                    <a:pt x="0" y="48024"/>
                  </a:lnTo>
                  <a:cubicBezTo>
                    <a:pt x="0" y="21501"/>
                    <a:pt x="21501" y="0"/>
                    <a:pt x="4802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dirty="0">
                <a:solidFill>
                  <a:srgbClr val="FFFFFF"/>
                </a:solidFill>
                <a:latin typeface="Segoe UI Light"/>
                <a:ea typeface="Segoe UI" pitchFamily="34" charset="0"/>
                <a:cs typeface="Segoe UI" pitchFamily="34" charset="0"/>
              </a:endParaRPr>
            </a:p>
          </p:txBody>
        </p:sp>
        <p:sp>
          <p:nvSpPr>
            <p:cNvPr id="86" name="Freeform 85"/>
            <p:cNvSpPr>
              <a:spLocks/>
            </p:cNvSpPr>
            <p:nvPr/>
          </p:nvSpPr>
          <p:spPr bwMode="auto">
            <a:xfrm>
              <a:off x="4843462" y="5461055"/>
              <a:ext cx="552452" cy="419045"/>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4367"/>
              <a:endParaRPr lang="en-IN" sz="1961">
                <a:solidFill>
                  <a:srgbClr val="000000"/>
                </a:solidFill>
              </a:endParaRPr>
            </a:p>
          </p:txBody>
        </p:sp>
        <p:sp>
          <p:nvSpPr>
            <p:cNvPr id="135" name="Oval 134"/>
            <p:cNvSpPr/>
            <p:nvPr/>
          </p:nvSpPr>
          <p:spPr bwMode="auto">
            <a:xfrm>
              <a:off x="4690554" y="4702041"/>
              <a:ext cx="400888" cy="400886"/>
            </a:xfrm>
            <a:prstGeom prst="ellipse">
              <a:avLst/>
            </a:prstGeom>
            <a:solidFill>
              <a:schemeClr val="accent4"/>
            </a:solidFill>
            <a:ln w="19050">
              <a:solidFill>
                <a:schemeClr val="bg1"/>
              </a:solidFill>
              <a:headEnd type="none" w="med" len="med"/>
              <a:tailEnd type="none" w="med" len="med"/>
            </a:ln>
            <a:effectLst>
              <a:outerShdw dist="25400" dir="8100000" algn="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spcBef>
                  <a:spcPct val="0"/>
                </a:spcBef>
                <a:spcAft>
                  <a:spcPct val="0"/>
                </a:spcAft>
              </a:pPr>
              <a:r>
                <a:rPr lang="en-IN" sz="1765" dirty="0">
                  <a:solidFill>
                    <a:srgbClr val="FFFFFF"/>
                  </a:solidFill>
                  <a:latin typeface="Segoe UI Semibold" panose="020B0702040204020203" pitchFamily="34" charset="0"/>
                  <a:ea typeface="Segoe UI" pitchFamily="34" charset="0"/>
                  <a:cs typeface="Segoe UI Semibold" panose="020B0702040204020203" pitchFamily="34" charset="0"/>
                </a:rPr>
                <a:t>3</a:t>
              </a:r>
            </a:p>
          </p:txBody>
        </p:sp>
        <p:sp>
          <p:nvSpPr>
            <p:cNvPr id="140" name="Freeform 139"/>
            <p:cNvSpPr/>
            <p:nvPr/>
          </p:nvSpPr>
          <p:spPr bwMode="auto">
            <a:xfrm flipH="1">
              <a:off x="472440" y="3794761"/>
              <a:ext cx="4051205" cy="1298235"/>
            </a:xfrm>
            <a:custGeom>
              <a:avLst/>
              <a:gdLst>
                <a:gd name="connsiteX0" fmla="*/ 0 w 2085975"/>
                <a:gd name="connsiteY0" fmla="*/ 285750 h 285750"/>
                <a:gd name="connsiteX1" fmla="*/ 523875 w 2085975"/>
                <a:gd name="connsiteY1" fmla="*/ 0 h 285750"/>
                <a:gd name="connsiteX2" fmla="*/ 2085975 w 2085975"/>
                <a:gd name="connsiteY2" fmla="*/ 0 h 285750"/>
                <a:gd name="connsiteX0" fmla="*/ 0 w 2422525"/>
                <a:gd name="connsiteY0" fmla="*/ 285750 h 285750"/>
                <a:gd name="connsiteX1" fmla="*/ 523875 w 2422525"/>
                <a:gd name="connsiteY1" fmla="*/ 0 h 285750"/>
                <a:gd name="connsiteX2" fmla="*/ 2422525 w 2422525"/>
                <a:gd name="connsiteY2" fmla="*/ 0 h 285750"/>
                <a:gd name="connsiteX0" fmla="*/ 0 w 3379455"/>
                <a:gd name="connsiteY0" fmla="*/ 285750 h 285750"/>
                <a:gd name="connsiteX1" fmla="*/ 523875 w 3379455"/>
                <a:gd name="connsiteY1" fmla="*/ 0 h 285750"/>
                <a:gd name="connsiteX2" fmla="*/ 3379455 w 3379455"/>
                <a:gd name="connsiteY2" fmla="*/ 0 h 285750"/>
                <a:gd name="connsiteX0" fmla="*/ 0 w 4118595"/>
                <a:gd name="connsiteY0" fmla="*/ 285750 h 285750"/>
                <a:gd name="connsiteX1" fmla="*/ 523875 w 4118595"/>
                <a:gd name="connsiteY1" fmla="*/ 0 h 285750"/>
                <a:gd name="connsiteX2" fmla="*/ 4118595 w 4118595"/>
                <a:gd name="connsiteY2" fmla="*/ 0 h 285750"/>
                <a:gd name="connsiteX0" fmla="*/ 0 w 4118595"/>
                <a:gd name="connsiteY0" fmla="*/ 285984 h 285984"/>
                <a:gd name="connsiteX1" fmla="*/ 523875 w 4118595"/>
                <a:gd name="connsiteY1" fmla="*/ 234 h 285984"/>
                <a:gd name="connsiteX2" fmla="*/ 4028519 w 4118595"/>
                <a:gd name="connsiteY2" fmla="*/ 0 h 285984"/>
                <a:gd name="connsiteX3" fmla="*/ 4118595 w 4118595"/>
                <a:gd name="connsiteY3" fmla="*/ 234 h 285984"/>
                <a:gd name="connsiteX0" fmla="*/ 0 w 4028519"/>
                <a:gd name="connsiteY0" fmla="*/ 285984 h 285984"/>
                <a:gd name="connsiteX1" fmla="*/ 523875 w 4028519"/>
                <a:gd name="connsiteY1" fmla="*/ 234 h 285984"/>
                <a:gd name="connsiteX2" fmla="*/ 4028519 w 4028519"/>
                <a:gd name="connsiteY2" fmla="*/ 0 h 285984"/>
              </a:gdLst>
              <a:ahLst/>
              <a:cxnLst>
                <a:cxn ang="0">
                  <a:pos x="connsiteX0" y="connsiteY0"/>
                </a:cxn>
                <a:cxn ang="0">
                  <a:pos x="connsiteX1" y="connsiteY1"/>
                </a:cxn>
                <a:cxn ang="0">
                  <a:pos x="connsiteX2" y="connsiteY2"/>
                </a:cxn>
              </a:cxnLst>
              <a:rect l="l" t="t" r="r" b="b"/>
              <a:pathLst>
                <a:path w="4028519" h="285984">
                  <a:moveTo>
                    <a:pt x="0" y="285984"/>
                  </a:moveTo>
                  <a:lnTo>
                    <a:pt x="523875" y="234"/>
                  </a:lnTo>
                  <a:lnTo>
                    <a:pt x="4028519" y="0"/>
                  </a:lnTo>
                </a:path>
              </a:pathLst>
            </a:custGeom>
            <a:no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IN" sz="1765">
                <a:solidFill>
                  <a:srgbClr val="FFFFFF"/>
                </a:solidFill>
              </a:endParaRPr>
            </a:p>
          </p:txBody>
        </p:sp>
        <p:sp>
          <p:nvSpPr>
            <p:cNvPr id="141" name="Rectangle 140"/>
            <p:cNvSpPr/>
            <p:nvPr/>
          </p:nvSpPr>
          <p:spPr bwMode="auto">
            <a:xfrm>
              <a:off x="386586" y="3222230"/>
              <a:ext cx="3561646" cy="58477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91440" rtlCol="0" fromWordArt="0" anchor="t" anchorCtr="0" forceAA="0" compatLnSpc="1">
              <a:prstTxWarp prst="textNoShape">
                <a:avLst/>
              </a:prstTxWarp>
              <a:spAutoFit/>
            </a:bodyPr>
            <a:lstStyle/>
            <a:p>
              <a:pPr defTabSz="913770" fontAlgn="base">
                <a:spcAft>
                  <a:spcPts val="392"/>
                </a:spcAft>
              </a:pPr>
              <a:r>
                <a:rPr lang="en-IN" sz="1568" dirty="0">
                  <a:solidFill>
                    <a:srgbClr val="008272"/>
                  </a:solidFill>
                  <a:latin typeface="Segoe UI Semibold" panose="020B0702040204020203" pitchFamily="34" charset="0"/>
                  <a:ea typeface="Segoe UI" pitchFamily="34" charset="0"/>
                  <a:cs typeface="Segoe UI Semibold" panose="020B0702040204020203" pitchFamily="34" charset="0"/>
                </a:rPr>
                <a:t>Query converted to </a:t>
              </a:r>
              <a:r>
                <a:rPr lang="en-IN" sz="1568" dirty="0" err="1">
                  <a:solidFill>
                    <a:srgbClr val="008272"/>
                  </a:solidFill>
                  <a:latin typeface="Segoe UI Semibold" panose="020B0702040204020203" pitchFamily="34" charset="0"/>
                  <a:ea typeface="Segoe UI" pitchFamily="34" charset="0"/>
                  <a:cs typeface="Segoe UI Semibold" panose="020B0702040204020203" pitchFamily="34" charset="0"/>
                </a:rPr>
                <a:t>Tez</a:t>
              </a:r>
              <a:r>
                <a:rPr lang="en-IN" sz="1568" dirty="0">
                  <a:solidFill>
                    <a:srgbClr val="008272"/>
                  </a:solidFill>
                  <a:latin typeface="Segoe UI Semibold" panose="020B0702040204020203" pitchFamily="34" charset="0"/>
                  <a:ea typeface="Segoe UI" pitchFamily="34" charset="0"/>
                  <a:cs typeface="Segoe UI Semibold" panose="020B0702040204020203" pitchFamily="34" charset="0"/>
                </a:rPr>
                <a:t> and executed on Hadoop</a:t>
              </a:r>
            </a:p>
          </p:txBody>
        </p:sp>
        <p:sp>
          <p:nvSpPr>
            <p:cNvPr id="145" name="Rectangle 144"/>
            <p:cNvSpPr/>
            <p:nvPr/>
          </p:nvSpPr>
          <p:spPr bwMode="auto">
            <a:xfrm>
              <a:off x="623300" y="4076869"/>
              <a:ext cx="1139460" cy="369745"/>
            </a:xfrm>
            <a:prstGeom prst="rect">
              <a:avLst/>
            </a:prstGeom>
            <a:solidFill>
              <a:schemeClr val="accent2"/>
            </a:solidFill>
            <a:ln w="25400" cap="flat" cmpd="sng" algn="ctr">
              <a:noFill/>
              <a:prstDash val="solid"/>
              <a:headEnd type="none" w="med" len="med"/>
              <a:tailEnd type="none" w="med" len="med"/>
            </a:ln>
            <a:effectLst/>
          </p:spPr>
          <p:txBody>
            <a:bodyPr rot="0" spcFirstLastPara="0" vertOverflow="overflow" horzOverflow="overflow" vert="horz" wrap="square" lIns="48725" tIns="44821" rIns="48725" bIns="40947" numCol="1" spcCol="0" rtlCol="0" fromWordArt="0" anchor="ctr" anchorCtr="0" forceAA="0" compatLnSpc="1">
              <a:prstTxWarp prst="textNoShape">
                <a:avLst/>
              </a:prstTxWarp>
              <a:noAutofit/>
            </a:bodyPr>
            <a:lstStyle/>
            <a:p>
              <a:pPr algn="ctr" defTabSz="590820" fontAlgn="base">
                <a:spcBef>
                  <a:spcPct val="0"/>
                </a:spcBef>
                <a:spcAft>
                  <a:spcPct val="0"/>
                </a:spcAft>
                <a:defRPr/>
              </a:pPr>
              <a:r>
                <a:rPr lang="en-US" sz="1372" kern="0" dirty="0">
                  <a:solidFill>
                    <a:srgbClr val="FFFFFF"/>
                  </a:solidFill>
                  <a:ea typeface="Segoe UI" pitchFamily="34" charset="0"/>
                  <a:cs typeface="Segoe UI" pitchFamily="34" charset="0"/>
                </a:rPr>
                <a:t>YARN job</a:t>
              </a:r>
            </a:p>
          </p:txBody>
        </p:sp>
        <p:sp>
          <p:nvSpPr>
            <p:cNvPr id="147" name="Flowchart: Magnetic Disk 146"/>
            <p:cNvSpPr/>
            <p:nvPr/>
          </p:nvSpPr>
          <p:spPr bwMode="auto">
            <a:xfrm>
              <a:off x="2252228" y="5143698"/>
              <a:ext cx="1252971" cy="722684"/>
            </a:xfrm>
            <a:prstGeom prst="flowChartMagneticDisk">
              <a:avLst/>
            </a:prstGeom>
            <a:solidFill>
              <a:schemeClr val="accent2"/>
            </a:solidFill>
            <a:ln w="19050" cap="flat" cmpd="sng" algn="ctr">
              <a:solidFill>
                <a:schemeClr val="bg1"/>
              </a:solidFill>
              <a:prstDash val="solid"/>
              <a:headEnd type="none" w="med" len="med"/>
              <a:tailEnd type="none" w="med" len="med"/>
            </a:ln>
            <a:effectLst/>
          </p:spPr>
          <p:txBody>
            <a:bodyPr rot="0" spcFirstLastPara="0" vertOverflow="overflow" horzOverflow="overflow" vert="horz" wrap="square" lIns="48725" tIns="89642" rIns="48725" bIns="40947" numCol="1" spcCol="0" rtlCol="0" fromWordArt="0" anchor="ctr" anchorCtr="0" forceAA="0" compatLnSpc="1">
              <a:prstTxWarp prst="textNoShape">
                <a:avLst/>
              </a:prstTxWarp>
              <a:noAutofit/>
            </a:bodyPr>
            <a:lstStyle/>
            <a:p>
              <a:pPr algn="ctr" defTabSz="590820" fontAlgn="base">
                <a:spcBef>
                  <a:spcPct val="0"/>
                </a:spcBef>
                <a:spcAft>
                  <a:spcPct val="0"/>
                </a:spcAft>
                <a:defRPr/>
              </a:pPr>
              <a:endParaRPr lang="en-US" sz="1372" kern="0" dirty="0">
                <a:solidFill>
                  <a:srgbClr val="FFFFFF"/>
                </a:solidFill>
                <a:ea typeface="Segoe UI" pitchFamily="34" charset="0"/>
                <a:cs typeface="Segoe UI" pitchFamily="34" charset="0"/>
              </a:endParaRPr>
            </a:p>
          </p:txBody>
        </p:sp>
        <p:sp>
          <p:nvSpPr>
            <p:cNvPr id="148" name="Flowchart: Magnetic Disk 147"/>
            <p:cNvSpPr/>
            <p:nvPr/>
          </p:nvSpPr>
          <p:spPr bwMode="auto">
            <a:xfrm>
              <a:off x="1707628" y="5033852"/>
              <a:ext cx="1252971" cy="722684"/>
            </a:xfrm>
            <a:prstGeom prst="flowChartMagneticDisk">
              <a:avLst/>
            </a:prstGeom>
            <a:solidFill>
              <a:schemeClr val="accent2"/>
            </a:solidFill>
            <a:ln w="19050" cap="flat" cmpd="sng" algn="ctr">
              <a:solidFill>
                <a:schemeClr val="bg1"/>
              </a:solidFill>
              <a:prstDash val="solid"/>
              <a:headEnd type="none" w="med" len="med"/>
              <a:tailEnd type="none" w="med" len="med"/>
            </a:ln>
            <a:effectLst/>
          </p:spPr>
          <p:txBody>
            <a:bodyPr rot="0" spcFirstLastPara="0" vertOverflow="overflow" horzOverflow="overflow" vert="horz" wrap="square" lIns="48725" tIns="89642" rIns="48725" bIns="40947" numCol="1" spcCol="0" rtlCol="0" fromWordArt="0" anchor="ctr" anchorCtr="0" forceAA="0" compatLnSpc="1">
              <a:prstTxWarp prst="textNoShape">
                <a:avLst/>
              </a:prstTxWarp>
              <a:noAutofit/>
            </a:bodyPr>
            <a:lstStyle/>
            <a:p>
              <a:pPr algn="ctr" defTabSz="590820" fontAlgn="base">
                <a:spcBef>
                  <a:spcPct val="0"/>
                </a:spcBef>
                <a:spcAft>
                  <a:spcPct val="0"/>
                </a:spcAft>
                <a:defRPr/>
              </a:pPr>
              <a:endParaRPr lang="en-US" sz="1372" kern="0" dirty="0">
                <a:solidFill>
                  <a:srgbClr val="FFFFFF"/>
                </a:solidFill>
                <a:ea typeface="Segoe UI" pitchFamily="34" charset="0"/>
                <a:cs typeface="Segoe UI" pitchFamily="34" charset="0"/>
              </a:endParaRPr>
            </a:p>
          </p:txBody>
        </p:sp>
        <p:sp>
          <p:nvSpPr>
            <p:cNvPr id="149" name="Flowchart: Magnetic Disk 148"/>
            <p:cNvSpPr/>
            <p:nvPr/>
          </p:nvSpPr>
          <p:spPr bwMode="auto">
            <a:xfrm>
              <a:off x="1163027" y="4924007"/>
              <a:ext cx="1252971" cy="722684"/>
            </a:xfrm>
            <a:prstGeom prst="flowChartMagneticDisk">
              <a:avLst/>
            </a:prstGeom>
            <a:solidFill>
              <a:schemeClr val="accent2"/>
            </a:solidFill>
            <a:ln w="19050" cap="flat" cmpd="sng" algn="ctr">
              <a:solidFill>
                <a:schemeClr val="bg1"/>
              </a:solidFill>
              <a:prstDash val="solid"/>
              <a:headEnd type="none" w="med" len="med"/>
              <a:tailEnd type="none" w="med" len="med"/>
            </a:ln>
            <a:effectLst/>
          </p:spPr>
          <p:txBody>
            <a:bodyPr rot="0" spcFirstLastPara="0" vertOverflow="overflow" horzOverflow="overflow" vert="horz" wrap="square" lIns="48725" tIns="89642" rIns="48725" bIns="40947" numCol="1" spcCol="0" rtlCol="0" fromWordArt="0" anchor="ctr" anchorCtr="0" forceAA="0" compatLnSpc="1">
              <a:prstTxWarp prst="textNoShape">
                <a:avLst/>
              </a:prstTxWarp>
              <a:noAutofit/>
            </a:bodyPr>
            <a:lstStyle/>
            <a:p>
              <a:pPr algn="ctr" defTabSz="590820" fontAlgn="base">
                <a:spcBef>
                  <a:spcPct val="0"/>
                </a:spcBef>
                <a:spcAft>
                  <a:spcPct val="0"/>
                </a:spcAft>
                <a:defRPr/>
              </a:pPr>
              <a:endParaRPr lang="en-US" sz="1372" kern="0" dirty="0">
                <a:solidFill>
                  <a:srgbClr val="FFFFFF"/>
                </a:solidFill>
                <a:ea typeface="Segoe UI" pitchFamily="34" charset="0"/>
                <a:cs typeface="Segoe UI" pitchFamily="34" charset="0"/>
              </a:endParaRPr>
            </a:p>
          </p:txBody>
        </p:sp>
        <p:sp>
          <p:nvSpPr>
            <p:cNvPr id="146" name="Flowchart: Magnetic Disk 145"/>
            <p:cNvSpPr/>
            <p:nvPr/>
          </p:nvSpPr>
          <p:spPr bwMode="auto">
            <a:xfrm>
              <a:off x="618426" y="4814162"/>
              <a:ext cx="1252971" cy="722684"/>
            </a:xfrm>
            <a:prstGeom prst="flowChartMagneticDisk">
              <a:avLst/>
            </a:prstGeom>
            <a:solidFill>
              <a:schemeClr val="accent2"/>
            </a:solidFill>
            <a:ln w="19050" cap="flat" cmpd="sng" algn="ctr">
              <a:solidFill>
                <a:schemeClr val="bg1"/>
              </a:solidFill>
              <a:prstDash val="solid"/>
              <a:headEnd type="none" w="med" len="med"/>
              <a:tailEnd type="none" w="med" len="med"/>
            </a:ln>
            <a:effectLst/>
          </p:spPr>
          <p:txBody>
            <a:bodyPr rot="0" spcFirstLastPara="0" vertOverflow="overflow" horzOverflow="overflow" vert="horz" wrap="square" lIns="48725" tIns="89642" rIns="48725" bIns="40947" numCol="1" spcCol="0" rtlCol="0" fromWordArt="0" anchor="ctr" anchorCtr="0" forceAA="0" compatLnSpc="1">
              <a:prstTxWarp prst="textNoShape">
                <a:avLst/>
              </a:prstTxWarp>
              <a:noAutofit/>
            </a:bodyPr>
            <a:lstStyle/>
            <a:p>
              <a:pPr algn="ctr" defTabSz="590820" fontAlgn="base">
                <a:spcBef>
                  <a:spcPct val="0"/>
                </a:spcBef>
                <a:spcAft>
                  <a:spcPct val="0"/>
                </a:spcAft>
                <a:defRPr/>
              </a:pPr>
              <a:r>
                <a:rPr lang="en-US" sz="1372" kern="0" dirty="0" err="1">
                  <a:solidFill>
                    <a:srgbClr val="FFFFFF"/>
                  </a:solidFill>
                  <a:ea typeface="Segoe UI" pitchFamily="34" charset="0"/>
                  <a:cs typeface="Segoe UI" pitchFamily="34" charset="0"/>
                </a:rPr>
                <a:t>NodeManager</a:t>
              </a:r>
              <a:endParaRPr lang="en-US" sz="1372" kern="0" dirty="0">
                <a:solidFill>
                  <a:srgbClr val="FFFFFF"/>
                </a:solidFill>
                <a:ea typeface="Segoe UI" pitchFamily="34" charset="0"/>
                <a:cs typeface="Segoe UI" pitchFamily="34" charset="0"/>
              </a:endParaRPr>
            </a:p>
          </p:txBody>
        </p:sp>
      </p:grpSp>
      <p:grpSp>
        <p:nvGrpSpPr>
          <p:cNvPr id="5" name="Group 4"/>
          <p:cNvGrpSpPr/>
          <p:nvPr/>
        </p:nvGrpSpPr>
        <p:grpSpPr>
          <a:xfrm>
            <a:off x="5073515" y="1178324"/>
            <a:ext cx="3373004" cy="2809900"/>
            <a:chOff x="5175249" y="1201455"/>
            <a:chExt cx="3440640" cy="2866244"/>
          </a:xfrm>
        </p:grpSpPr>
        <p:sp>
          <p:nvSpPr>
            <p:cNvPr id="53" name="Rectangle 52"/>
            <p:cNvSpPr/>
            <p:nvPr/>
          </p:nvSpPr>
          <p:spPr bwMode="auto">
            <a:xfrm>
              <a:off x="5175249" y="1201455"/>
              <a:ext cx="2936229" cy="3088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91440" rtlCol="0" fromWordArt="0" anchor="t" anchorCtr="0" forceAA="0" compatLnSpc="1">
              <a:prstTxWarp prst="textNoShape">
                <a:avLst/>
              </a:prstTxWarp>
              <a:noAutofit/>
            </a:bodyPr>
            <a:lstStyle/>
            <a:p>
              <a:pPr marL="52912" defTabSz="913770" fontAlgn="base">
                <a:spcBef>
                  <a:spcPts val="392"/>
                </a:spcBef>
                <a:spcAft>
                  <a:spcPts val="392"/>
                </a:spcAft>
              </a:pPr>
              <a:r>
                <a:rPr lang="en-IN" sz="1568" dirty="0">
                  <a:solidFill>
                    <a:srgbClr val="0072C6"/>
                  </a:solidFill>
                  <a:latin typeface="Segoe UI Semibold" panose="020B0702040204020203" pitchFamily="34" charset="0"/>
                  <a:ea typeface="Segoe UI" pitchFamily="34" charset="0"/>
                  <a:cs typeface="Segoe UI Semibold" panose="020B0702040204020203" pitchFamily="34" charset="0"/>
                </a:rPr>
                <a:t>User issues SQL query</a:t>
              </a:r>
            </a:p>
          </p:txBody>
        </p:sp>
        <p:sp>
          <p:nvSpPr>
            <p:cNvPr id="71" name="Oval 70"/>
            <p:cNvSpPr/>
            <p:nvPr/>
          </p:nvSpPr>
          <p:spPr bwMode="auto">
            <a:xfrm>
              <a:off x="5655024" y="2814776"/>
              <a:ext cx="1107108" cy="1107108"/>
            </a:xfrm>
            <a:prstGeom prst="ellipse">
              <a:avLst/>
            </a:prstGeom>
            <a:solidFill>
              <a:schemeClr val="accent1"/>
            </a:solidFill>
            <a:ln w="9525" cap="flat" cmpd="sng" algn="ctr">
              <a:noFill/>
              <a:prstDash val="solid"/>
              <a:round/>
              <a:headEnd type="none" w="med" len="med"/>
              <a:tailEnd type="triangle" w="med" len="med"/>
            </a:ln>
            <a:effectLst/>
          </p:spPr>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eaLnBrk="0" fontAlgn="base" hangingPunct="0">
                <a:spcBef>
                  <a:spcPct val="50000"/>
                </a:spcBef>
                <a:spcAft>
                  <a:spcPct val="0"/>
                </a:spcAft>
                <a:buClr>
                  <a:srgbClr val="FF3300"/>
                </a:buClr>
              </a:pPr>
              <a:r>
                <a:rPr lang="en-US" sz="1176" dirty="0">
                  <a:solidFill>
                    <a:srgbClr val="FFFFFF"/>
                  </a:solidFill>
                  <a:latin typeface="Segoe UI Semibold" panose="020B0702040204020203" pitchFamily="34" charset="0"/>
                  <a:cs typeface="Segoe UI Semibold" panose="020B0702040204020203" pitchFamily="34" charset="0"/>
                </a:rPr>
                <a:t>Hive SQL</a:t>
              </a:r>
            </a:p>
          </p:txBody>
        </p:sp>
        <p:sp>
          <p:nvSpPr>
            <p:cNvPr id="99" name="Right Arrow 98"/>
            <p:cNvSpPr/>
            <p:nvPr/>
          </p:nvSpPr>
          <p:spPr bwMode="auto">
            <a:xfrm rot="5400000">
              <a:off x="6071361" y="3810932"/>
              <a:ext cx="274434" cy="239100"/>
            </a:xfrm>
            <a:prstGeom prst="rightArrow">
              <a:avLst>
                <a:gd name="adj1" fmla="val 63724"/>
                <a:gd name="adj2" fmla="val 44578"/>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IN" sz="1961" b="1" dirty="0">
                <a:solidFill>
                  <a:srgbClr val="FFFFFF"/>
                </a:solidFill>
                <a:latin typeface="Segoe UI Light"/>
                <a:ea typeface="Segoe UI" pitchFamily="34" charset="0"/>
                <a:cs typeface="Segoe UI" pitchFamily="34" charset="0"/>
              </a:endParaRPr>
            </a:p>
          </p:txBody>
        </p:sp>
        <p:sp>
          <p:nvSpPr>
            <p:cNvPr id="111" name="Freeform 110"/>
            <p:cNvSpPr/>
            <p:nvPr/>
          </p:nvSpPr>
          <p:spPr bwMode="auto">
            <a:xfrm>
              <a:off x="5314312" y="1549972"/>
              <a:ext cx="3301577" cy="1402782"/>
            </a:xfrm>
            <a:custGeom>
              <a:avLst/>
              <a:gdLst>
                <a:gd name="connsiteX0" fmla="*/ 0 w 1724025"/>
                <a:gd name="connsiteY0" fmla="*/ 257175 h 257175"/>
                <a:gd name="connsiteX1" fmla="*/ 0 w 1724025"/>
                <a:gd name="connsiteY1" fmla="*/ 0 h 257175"/>
                <a:gd name="connsiteX2" fmla="*/ 1724025 w 1724025"/>
                <a:gd name="connsiteY2" fmla="*/ 0 h 257175"/>
                <a:gd name="connsiteX0" fmla="*/ 1673328 w 3397353"/>
                <a:gd name="connsiteY0" fmla="*/ 257175 h 257175"/>
                <a:gd name="connsiteX1" fmla="*/ 0 w 3397353"/>
                <a:gd name="connsiteY1" fmla="*/ 2008 h 257175"/>
                <a:gd name="connsiteX2" fmla="*/ 3397353 w 3397353"/>
                <a:gd name="connsiteY2" fmla="*/ 0 h 257175"/>
                <a:gd name="connsiteX0" fmla="*/ 1673328 w 3397353"/>
                <a:gd name="connsiteY0" fmla="*/ 257175 h 266718"/>
                <a:gd name="connsiteX1" fmla="*/ 1302858 w 3397353"/>
                <a:gd name="connsiteY1" fmla="*/ 266672 h 266718"/>
                <a:gd name="connsiteX2" fmla="*/ 0 w 3397353"/>
                <a:gd name="connsiteY2" fmla="*/ 2008 h 266718"/>
                <a:gd name="connsiteX3" fmla="*/ 3397353 w 3397353"/>
                <a:gd name="connsiteY3" fmla="*/ 0 h 266718"/>
                <a:gd name="connsiteX0" fmla="*/ 1302858 w 3397353"/>
                <a:gd name="connsiteY0" fmla="*/ 266672 h 266672"/>
                <a:gd name="connsiteX1" fmla="*/ 0 w 3397353"/>
                <a:gd name="connsiteY1" fmla="*/ 2008 h 266672"/>
                <a:gd name="connsiteX2" fmla="*/ 3397353 w 3397353"/>
                <a:gd name="connsiteY2" fmla="*/ 0 h 266672"/>
                <a:gd name="connsiteX0" fmla="*/ 1329703 w 3397353"/>
                <a:gd name="connsiteY0" fmla="*/ 268680 h 268680"/>
                <a:gd name="connsiteX1" fmla="*/ 0 w 3397353"/>
                <a:gd name="connsiteY1" fmla="*/ 2008 h 268680"/>
                <a:gd name="connsiteX2" fmla="*/ 3397353 w 3397353"/>
                <a:gd name="connsiteY2" fmla="*/ 0 h 268680"/>
                <a:gd name="connsiteX0" fmla="*/ 909134 w 2976784"/>
                <a:gd name="connsiteY0" fmla="*/ 268680 h 268680"/>
                <a:gd name="connsiteX1" fmla="*/ 0 w 2976784"/>
                <a:gd name="connsiteY1" fmla="*/ 2008 h 268680"/>
                <a:gd name="connsiteX2" fmla="*/ 2976784 w 2976784"/>
                <a:gd name="connsiteY2" fmla="*/ 0 h 268680"/>
                <a:gd name="connsiteX0" fmla="*/ 595944 w 2663594"/>
                <a:gd name="connsiteY0" fmla="*/ 268680 h 268680"/>
                <a:gd name="connsiteX1" fmla="*/ 0 w 2663594"/>
                <a:gd name="connsiteY1" fmla="*/ 4016 h 268680"/>
                <a:gd name="connsiteX2" fmla="*/ 2663594 w 2663594"/>
                <a:gd name="connsiteY2" fmla="*/ 0 h 268680"/>
                <a:gd name="connsiteX0" fmla="*/ 542254 w 2609904"/>
                <a:gd name="connsiteY0" fmla="*/ 268680 h 268680"/>
                <a:gd name="connsiteX1" fmla="*/ 0 w 2609904"/>
                <a:gd name="connsiteY1" fmla="*/ 2008 h 268680"/>
                <a:gd name="connsiteX2" fmla="*/ 2609904 w 2609904"/>
                <a:gd name="connsiteY2" fmla="*/ 0 h 268680"/>
                <a:gd name="connsiteX0" fmla="*/ 497513 w 2565163"/>
                <a:gd name="connsiteY0" fmla="*/ 268680 h 268680"/>
                <a:gd name="connsiteX1" fmla="*/ 0 w 2565163"/>
                <a:gd name="connsiteY1" fmla="*/ 2008 h 268680"/>
                <a:gd name="connsiteX2" fmla="*/ 2565163 w 2565163"/>
                <a:gd name="connsiteY2" fmla="*/ 0 h 268680"/>
                <a:gd name="connsiteX0" fmla="*/ 497513 w 2592008"/>
                <a:gd name="connsiteY0" fmla="*/ 268680 h 268680"/>
                <a:gd name="connsiteX1" fmla="*/ 0 w 2592008"/>
                <a:gd name="connsiteY1" fmla="*/ 2008 h 268680"/>
                <a:gd name="connsiteX2" fmla="*/ 2592008 w 2592008"/>
                <a:gd name="connsiteY2" fmla="*/ 0 h 268680"/>
                <a:gd name="connsiteX0" fmla="*/ 497513 w 2592008"/>
                <a:gd name="connsiteY0" fmla="*/ 268680 h 268680"/>
                <a:gd name="connsiteX1" fmla="*/ 0 w 2592008"/>
                <a:gd name="connsiteY1" fmla="*/ 2008 h 268680"/>
                <a:gd name="connsiteX2" fmla="*/ 2592008 w 2592008"/>
                <a:gd name="connsiteY2" fmla="*/ 0 h 268680"/>
                <a:gd name="connsiteX0" fmla="*/ 497513 w 2592008"/>
                <a:gd name="connsiteY0" fmla="*/ 268680 h 268680"/>
                <a:gd name="connsiteX1" fmla="*/ 0 w 2592008"/>
                <a:gd name="connsiteY1" fmla="*/ 2008 h 268680"/>
                <a:gd name="connsiteX2" fmla="*/ 2592008 w 2592008"/>
                <a:gd name="connsiteY2" fmla="*/ 0 h 268680"/>
                <a:gd name="connsiteX0" fmla="*/ 497513 w 2600956"/>
                <a:gd name="connsiteY0" fmla="*/ 266672 h 266672"/>
                <a:gd name="connsiteX1" fmla="*/ 0 w 2600956"/>
                <a:gd name="connsiteY1" fmla="*/ 0 h 266672"/>
                <a:gd name="connsiteX2" fmla="*/ 2600956 w 2600956"/>
                <a:gd name="connsiteY2" fmla="*/ 0 h 266672"/>
              </a:gdLst>
              <a:ahLst/>
              <a:cxnLst>
                <a:cxn ang="0">
                  <a:pos x="connsiteX0" y="connsiteY0"/>
                </a:cxn>
                <a:cxn ang="0">
                  <a:pos x="connsiteX1" y="connsiteY1"/>
                </a:cxn>
                <a:cxn ang="0">
                  <a:pos x="connsiteX2" y="connsiteY2"/>
                </a:cxn>
              </a:cxnLst>
              <a:rect l="l" t="t" r="r" b="b"/>
              <a:pathLst>
                <a:path w="2600956" h="266672">
                  <a:moveTo>
                    <a:pt x="497513" y="266672"/>
                  </a:moveTo>
                  <a:lnTo>
                    <a:pt x="0" y="0"/>
                  </a:lnTo>
                  <a:lnTo>
                    <a:pt x="2600956" y="0"/>
                  </a:lnTo>
                </a:path>
              </a:pathLst>
            </a:cu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IN" sz="1765">
                <a:solidFill>
                  <a:srgbClr val="FFFFFF"/>
                </a:solidFill>
              </a:endParaRPr>
            </a:p>
          </p:txBody>
        </p:sp>
        <p:grpSp>
          <p:nvGrpSpPr>
            <p:cNvPr id="103" name="Group 102"/>
            <p:cNvGrpSpPr>
              <a:grpSpLocks noChangeAspect="1"/>
            </p:cNvGrpSpPr>
            <p:nvPr/>
          </p:nvGrpSpPr>
          <p:grpSpPr>
            <a:xfrm>
              <a:off x="6024525" y="3344054"/>
              <a:ext cx="376275" cy="488632"/>
              <a:chOff x="377825" y="1184276"/>
              <a:chExt cx="1020763" cy="1325563"/>
            </a:xfrm>
            <a:solidFill>
              <a:schemeClr val="bg1"/>
            </a:solidFill>
          </p:grpSpPr>
          <p:sp>
            <p:nvSpPr>
              <p:cNvPr id="104" name="Oval 103"/>
              <p:cNvSpPr>
                <a:spLocks noChangeArrowheads="1"/>
              </p:cNvSpPr>
              <p:nvPr/>
            </p:nvSpPr>
            <p:spPr bwMode="auto">
              <a:xfrm>
                <a:off x="395288" y="1184276"/>
                <a:ext cx="985838"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896386">
                  <a:defRPr/>
                </a:pPr>
                <a:endParaRPr lang="en-US" sz="1765" kern="0">
                  <a:solidFill>
                    <a:srgbClr val="FFFFFF"/>
                  </a:solidFill>
                </a:endParaRPr>
              </a:p>
            </p:txBody>
          </p:sp>
          <p:sp>
            <p:nvSpPr>
              <p:cNvPr id="105" name="Freeform 104"/>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896386">
                  <a:defRPr/>
                </a:pPr>
                <a:endParaRPr lang="en-US" sz="1765" kern="0">
                  <a:solidFill>
                    <a:srgbClr val="FFFFFF"/>
                  </a:solidFill>
                </a:endParaRPr>
              </a:p>
            </p:txBody>
          </p:sp>
        </p:grpSp>
        <p:sp>
          <p:nvSpPr>
            <p:cNvPr id="121" name="Rectangle 120"/>
            <p:cNvSpPr/>
            <p:nvPr/>
          </p:nvSpPr>
          <p:spPr bwMode="auto">
            <a:xfrm>
              <a:off x="7038267" y="1619376"/>
              <a:ext cx="1577622" cy="365760"/>
            </a:xfrm>
            <a:prstGeom prst="rect">
              <a:avLst/>
            </a:prstGeom>
            <a:solidFill>
              <a:schemeClr val="accent1"/>
            </a:solidFill>
            <a:ln w="25400" cap="flat" cmpd="sng" algn="ctr">
              <a:noFill/>
              <a:prstDash val="solid"/>
              <a:headEnd type="none" w="med" len="med"/>
              <a:tailEnd type="none" w="med" len="med"/>
            </a:ln>
            <a:effectLst/>
          </p:spPr>
          <p:txBody>
            <a:bodyPr rot="0" spcFirstLastPara="0" vertOverflow="overflow" horzOverflow="overflow" vert="horz" wrap="square" lIns="48725" tIns="44821" rIns="48725" bIns="40947" numCol="1" spcCol="0" rtlCol="0" fromWordArt="0" anchor="ctr" anchorCtr="0" forceAA="0" compatLnSpc="1">
              <a:prstTxWarp prst="textNoShape">
                <a:avLst/>
              </a:prstTxWarp>
              <a:noAutofit/>
            </a:bodyPr>
            <a:lstStyle/>
            <a:p>
              <a:pPr algn="ctr" defTabSz="590820" fontAlgn="base">
                <a:spcBef>
                  <a:spcPct val="0"/>
                </a:spcBef>
                <a:spcAft>
                  <a:spcPct val="0"/>
                </a:spcAft>
                <a:defRPr/>
              </a:pPr>
              <a:r>
                <a:rPr lang="en-US" sz="1372" kern="0" dirty="0">
                  <a:solidFill>
                    <a:srgbClr val="FFFFFF"/>
                  </a:solidFill>
                  <a:ea typeface="Segoe UI" pitchFamily="34" charset="0"/>
                  <a:cs typeface="Segoe UI" pitchFamily="34" charset="0"/>
                </a:rPr>
                <a:t>CLI</a:t>
              </a:r>
            </a:p>
          </p:txBody>
        </p:sp>
        <p:sp>
          <p:nvSpPr>
            <p:cNvPr id="122" name="Rectangle 121"/>
            <p:cNvSpPr/>
            <p:nvPr/>
          </p:nvSpPr>
          <p:spPr bwMode="auto">
            <a:xfrm>
              <a:off x="7038267" y="2037980"/>
              <a:ext cx="1577622" cy="365760"/>
            </a:xfrm>
            <a:prstGeom prst="rect">
              <a:avLst/>
            </a:prstGeom>
            <a:solidFill>
              <a:schemeClr val="accent1"/>
            </a:solidFill>
            <a:ln w="25400" cap="flat" cmpd="sng" algn="ctr">
              <a:noFill/>
              <a:prstDash val="solid"/>
              <a:headEnd type="none" w="med" len="med"/>
              <a:tailEnd type="none" w="med" len="med"/>
            </a:ln>
            <a:effectLst/>
          </p:spPr>
          <p:txBody>
            <a:bodyPr rot="0" spcFirstLastPara="0" vertOverflow="overflow" horzOverflow="overflow" vert="horz" wrap="square" lIns="48725" tIns="44821" rIns="48725" bIns="40947" numCol="1" spcCol="0" rtlCol="0" fromWordArt="0" anchor="ctr" anchorCtr="0" forceAA="0" compatLnSpc="1">
              <a:prstTxWarp prst="textNoShape">
                <a:avLst/>
              </a:prstTxWarp>
              <a:noAutofit/>
            </a:bodyPr>
            <a:lstStyle/>
            <a:p>
              <a:pPr algn="ctr" defTabSz="590820" fontAlgn="base">
                <a:spcBef>
                  <a:spcPct val="0"/>
                </a:spcBef>
                <a:spcAft>
                  <a:spcPct val="0"/>
                </a:spcAft>
                <a:defRPr/>
              </a:pPr>
              <a:r>
                <a:rPr lang="en-US" sz="1372" kern="0" dirty="0">
                  <a:solidFill>
                    <a:srgbClr val="FFFFFF"/>
                  </a:solidFill>
                  <a:ea typeface="Segoe UI" pitchFamily="34" charset="0"/>
                  <a:cs typeface="Segoe UI" pitchFamily="34" charset="0"/>
                </a:rPr>
                <a:t>JDBC/ODBC</a:t>
              </a:r>
            </a:p>
          </p:txBody>
        </p:sp>
        <p:sp>
          <p:nvSpPr>
            <p:cNvPr id="123" name="Rectangle 122"/>
            <p:cNvSpPr/>
            <p:nvPr/>
          </p:nvSpPr>
          <p:spPr bwMode="auto">
            <a:xfrm>
              <a:off x="7038267" y="2456584"/>
              <a:ext cx="1577622" cy="365760"/>
            </a:xfrm>
            <a:prstGeom prst="rect">
              <a:avLst/>
            </a:prstGeom>
            <a:solidFill>
              <a:schemeClr val="accent1"/>
            </a:solidFill>
            <a:ln w="25400" cap="flat" cmpd="sng" algn="ctr">
              <a:noFill/>
              <a:prstDash val="solid"/>
              <a:headEnd type="none" w="med" len="med"/>
              <a:tailEnd type="none" w="med" len="med"/>
            </a:ln>
            <a:effectLst/>
          </p:spPr>
          <p:txBody>
            <a:bodyPr rot="0" spcFirstLastPara="0" vertOverflow="overflow" horzOverflow="overflow" vert="horz" wrap="square" lIns="48725" tIns="44821" rIns="48725" bIns="40947" numCol="1" spcCol="0" rtlCol="0" fromWordArt="0" anchor="ctr" anchorCtr="0" forceAA="0" compatLnSpc="1">
              <a:prstTxWarp prst="textNoShape">
                <a:avLst/>
              </a:prstTxWarp>
              <a:noAutofit/>
            </a:bodyPr>
            <a:lstStyle/>
            <a:p>
              <a:pPr algn="ctr" defTabSz="590820" fontAlgn="base">
                <a:spcBef>
                  <a:spcPct val="0"/>
                </a:spcBef>
                <a:spcAft>
                  <a:spcPct val="0"/>
                </a:spcAft>
                <a:defRPr/>
              </a:pPr>
              <a:r>
                <a:rPr lang="en-US" sz="1372" kern="0" dirty="0">
                  <a:solidFill>
                    <a:srgbClr val="FFFFFF"/>
                  </a:solidFill>
                  <a:ea typeface="Segoe UI" pitchFamily="34" charset="0"/>
                  <a:cs typeface="Segoe UI" pitchFamily="34" charset="0"/>
                </a:rPr>
                <a:t>Web UI</a:t>
              </a:r>
            </a:p>
          </p:txBody>
        </p:sp>
        <p:sp>
          <p:nvSpPr>
            <p:cNvPr id="90" name="Oval 89"/>
            <p:cNvSpPr/>
            <p:nvPr/>
          </p:nvSpPr>
          <p:spPr bwMode="auto">
            <a:xfrm>
              <a:off x="6008134" y="2532999"/>
              <a:ext cx="400888" cy="400886"/>
            </a:xfrm>
            <a:prstGeom prst="ellipse">
              <a:avLst/>
            </a:prstGeom>
            <a:solidFill>
              <a:schemeClr val="accent4"/>
            </a:solidFill>
            <a:ln w="19050">
              <a:solidFill>
                <a:schemeClr val="bg1"/>
              </a:solidFill>
              <a:headEnd type="none" w="med" len="med"/>
              <a:tailEnd type="none" w="med" len="med"/>
            </a:ln>
            <a:effectLst>
              <a:outerShdw dist="25400" dir="8100000" algn="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spcBef>
                  <a:spcPct val="0"/>
                </a:spcBef>
                <a:spcAft>
                  <a:spcPct val="0"/>
                </a:spcAft>
              </a:pPr>
              <a:r>
                <a:rPr lang="en-IN" sz="1765" dirty="0">
                  <a:solidFill>
                    <a:srgbClr val="FFFFFF"/>
                  </a:solidFill>
                  <a:latin typeface="Segoe UI Semibold" panose="020B0702040204020203" pitchFamily="34" charset="0"/>
                  <a:ea typeface="Segoe UI" pitchFamily="34" charset="0"/>
                  <a:cs typeface="Segoe UI Semibold" panose="020B0702040204020203" pitchFamily="34" charset="0"/>
                </a:rPr>
                <a:t>1</a:t>
              </a:r>
            </a:p>
          </p:txBody>
        </p:sp>
        <p:sp>
          <p:nvSpPr>
            <p:cNvPr id="48" name="Oval 33"/>
            <p:cNvSpPr/>
            <p:nvPr/>
          </p:nvSpPr>
          <p:spPr>
            <a:xfrm>
              <a:off x="5808264" y="1840113"/>
              <a:ext cx="554362" cy="625454"/>
            </a:xfrm>
            <a:custGeom>
              <a:avLst/>
              <a:gdLst/>
              <a:ahLst/>
              <a:cxnLst/>
              <a:rect l="l" t="t" r="r" b="b"/>
              <a:pathLst>
                <a:path w="1026318" h="1157934">
                  <a:moveTo>
                    <a:pt x="194160" y="936867"/>
                  </a:moveTo>
                  <a:cubicBezTo>
                    <a:pt x="105995" y="954369"/>
                    <a:pt x="51197" y="980335"/>
                    <a:pt x="51197" y="1009105"/>
                  </a:cubicBezTo>
                  <a:cubicBezTo>
                    <a:pt x="51197" y="1064998"/>
                    <a:pt x="258025" y="1110309"/>
                    <a:pt x="513160" y="1110309"/>
                  </a:cubicBezTo>
                  <a:cubicBezTo>
                    <a:pt x="768295" y="1110309"/>
                    <a:pt x="975123" y="1064998"/>
                    <a:pt x="975123" y="1009105"/>
                  </a:cubicBezTo>
                  <a:cubicBezTo>
                    <a:pt x="975123" y="982678"/>
                    <a:pt x="928883" y="958616"/>
                    <a:pt x="853090" y="940920"/>
                  </a:cubicBezTo>
                  <a:lnTo>
                    <a:pt x="853090" y="1043113"/>
                  </a:lnTo>
                  <a:lnTo>
                    <a:pt x="194160" y="1043113"/>
                  </a:lnTo>
                  <a:close/>
                  <a:moveTo>
                    <a:pt x="445181" y="541071"/>
                  </a:moveTo>
                  <a:lnTo>
                    <a:pt x="602069" y="541071"/>
                  </a:lnTo>
                  <a:cubicBezTo>
                    <a:pt x="740704" y="541071"/>
                    <a:pt x="853090" y="653457"/>
                    <a:pt x="853090" y="792092"/>
                  </a:cubicBezTo>
                  <a:lnTo>
                    <a:pt x="853090" y="940584"/>
                  </a:lnTo>
                  <a:cubicBezTo>
                    <a:pt x="959441" y="962222"/>
                    <a:pt x="1026318" y="995668"/>
                    <a:pt x="1026318" y="1032918"/>
                  </a:cubicBezTo>
                  <a:cubicBezTo>
                    <a:pt x="1026318" y="1101962"/>
                    <a:pt x="796569" y="1157934"/>
                    <a:pt x="513159" y="1157934"/>
                  </a:cubicBezTo>
                  <a:cubicBezTo>
                    <a:pt x="229749" y="1157934"/>
                    <a:pt x="0" y="1101962"/>
                    <a:pt x="0" y="1032918"/>
                  </a:cubicBezTo>
                  <a:cubicBezTo>
                    <a:pt x="0" y="993278"/>
                    <a:pt x="75733" y="957946"/>
                    <a:pt x="194160" y="936624"/>
                  </a:cubicBezTo>
                  <a:lnTo>
                    <a:pt x="194160" y="792092"/>
                  </a:lnTo>
                  <a:cubicBezTo>
                    <a:pt x="194160" y="653457"/>
                    <a:pt x="306546" y="541071"/>
                    <a:pt x="445181" y="541071"/>
                  </a:cubicBezTo>
                  <a:close/>
                  <a:moveTo>
                    <a:pt x="523627" y="0"/>
                  </a:moveTo>
                  <a:cubicBezTo>
                    <a:pt x="660063" y="0"/>
                    <a:pt x="770666" y="110603"/>
                    <a:pt x="770666" y="247039"/>
                  </a:cubicBezTo>
                  <a:cubicBezTo>
                    <a:pt x="770666" y="383475"/>
                    <a:pt x="660063" y="494078"/>
                    <a:pt x="523627" y="494078"/>
                  </a:cubicBezTo>
                  <a:cubicBezTo>
                    <a:pt x="387191" y="494078"/>
                    <a:pt x="276588" y="383475"/>
                    <a:pt x="276588" y="247039"/>
                  </a:cubicBezTo>
                  <a:cubicBezTo>
                    <a:pt x="276588" y="110603"/>
                    <a:pt x="387191" y="0"/>
                    <a:pt x="523627"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765">
                <a:solidFill>
                  <a:srgbClr val="FFFFFF"/>
                </a:solidFill>
              </a:endParaRPr>
            </a:p>
          </p:txBody>
        </p:sp>
        <p:cxnSp>
          <p:nvCxnSpPr>
            <p:cNvPr id="49" name="Straight Connector 48"/>
            <p:cNvCxnSpPr/>
            <p:nvPr/>
          </p:nvCxnSpPr>
          <p:spPr>
            <a:xfrm flipV="1">
              <a:off x="6311272" y="2223364"/>
              <a:ext cx="618926" cy="1"/>
            </a:xfrm>
            <a:prstGeom prst="line">
              <a:avLst/>
            </a:prstGeom>
            <a:ln>
              <a:solidFill>
                <a:schemeClr val="bg1">
                  <a:lumMod val="50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grpSp>
      <p:sp>
        <p:nvSpPr>
          <p:cNvPr id="4" name="Right Triangle 3"/>
          <p:cNvSpPr/>
          <p:nvPr/>
        </p:nvSpPr>
        <p:spPr bwMode="auto">
          <a:xfrm rot="16420140">
            <a:off x="7085999" y="3664134"/>
            <a:ext cx="319636" cy="319636"/>
          </a:xfrm>
          <a:prstGeom prst="rtTriangl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52" name="Right Triangle 51"/>
          <p:cNvSpPr/>
          <p:nvPr/>
        </p:nvSpPr>
        <p:spPr bwMode="auto">
          <a:xfrm rot="2625078">
            <a:off x="6005406" y="6074111"/>
            <a:ext cx="365206" cy="365206"/>
          </a:xfrm>
          <a:prstGeom prst="rtTriangl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55" name="Right Triangle 54"/>
          <p:cNvSpPr/>
          <p:nvPr/>
        </p:nvSpPr>
        <p:spPr bwMode="auto">
          <a:xfrm rot="10800000">
            <a:off x="4568903" y="3726234"/>
            <a:ext cx="386126" cy="386126"/>
          </a:xfrm>
          <a:prstGeom prst="rtTriangl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Tree>
    <p:extLst>
      <p:ext uri="{BB962C8B-B14F-4D97-AF65-F5344CB8AC3E}">
        <p14:creationId xmlns:p14="http://schemas.microsoft.com/office/powerpoint/2010/main" val="2508161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1" y="487"/>
            <a:ext cx="5220356" cy="6857027"/>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endParaRPr lang="en-US" sz="5294" dirty="0">
              <a:solidFill>
                <a:schemeClr val="bg1"/>
              </a:solidFill>
              <a:latin typeface="+mj-lt"/>
              <a:ea typeface="Segoe UI" pitchFamily="34" charset="0"/>
              <a:cs typeface="Segoe UI" pitchFamily="34" charset="0"/>
            </a:endParaRPr>
          </a:p>
          <a:p>
            <a:pPr defTabSz="914102" fontAlgn="base">
              <a:lnSpc>
                <a:spcPct val="90000"/>
              </a:lnSpc>
              <a:spcBef>
                <a:spcPct val="0"/>
              </a:spcBef>
              <a:spcAft>
                <a:spcPct val="0"/>
              </a:spcAft>
            </a:pPr>
            <a:endParaRPr lang="en-US" sz="5294" dirty="0">
              <a:solidFill>
                <a:schemeClr val="bg1"/>
              </a:solidFill>
              <a:latin typeface="+mj-lt"/>
              <a:ea typeface="Segoe UI" pitchFamily="34" charset="0"/>
              <a:cs typeface="Segoe UI" pitchFamily="34" charset="0"/>
            </a:endParaRPr>
          </a:p>
        </p:txBody>
      </p:sp>
      <p:sp>
        <p:nvSpPr>
          <p:cNvPr id="4" name="TextBox 3"/>
          <p:cNvSpPr txBox="1"/>
          <p:nvPr/>
        </p:nvSpPr>
        <p:spPr>
          <a:xfrm>
            <a:off x="5220356" y="1283300"/>
            <a:ext cx="6553002" cy="2554182"/>
          </a:xfrm>
          <a:prstGeom prst="rect">
            <a:avLst/>
          </a:prstGeom>
          <a:noFill/>
        </p:spPr>
        <p:txBody>
          <a:bodyPr wrap="square" lIns="268927" tIns="143428" rIns="179285" bIns="143428" rtlCol="0">
            <a:noAutofit/>
          </a:bodyPr>
          <a:lstStyle/>
          <a:p>
            <a:pPr marL="52912" lvl="1" defTabSz="913770" fontAlgn="base">
              <a:spcBef>
                <a:spcPts val="1176"/>
              </a:spcBef>
              <a:buClr>
                <a:schemeClr val="accent3">
                  <a:lumMod val="50000"/>
                </a:schemeClr>
              </a:buClr>
            </a:pPr>
            <a:r>
              <a:rPr lang="en-US" sz="3137" dirty="0">
                <a:ln>
                  <a:solidFill>
                    <a:srgbClr val="FFFFFF">
                      <a:alpha val="0"/>
                    </a:srgbClr>
                  </a:solidFill>
                </a:ln>
                <a:solidFill>
                  <a:schemeClr val="accent3"/>
                </a:solidFill>
                <a:latin typeface="+mj-lt"/>
                <a:ea typeface="Segoe UI" pitchFamily="34" charset="0"/>
                <a:cs typeface="Segoe UI" pitchFamily="34" charset="0"/>
              </a:rPr>
              <a:t>Agenda</a:t>
            </a:r>
          </a:p>
          <a:p>
            <a:pPr marL="558686" lvl="1" indent="-448193" defTabSz="913770" fontAlgn="base">
              <a:buClr>
                <a:schemeClr val="accent3">
                  <a:lumMod val="50000"/>
                </a:schemeClr>
              </a:buClr>
              <a:buBlip>
                <a:blip r:embed="rId2"/>
              </a:buBlip>
            </a:pPr>
            <a:r>
              <a:rPr lang="en-US" sz="2353" dirty="0">
                <a:ln>
                  <a:solidFill>
                    <a:srgbClr val="FFFFFF">
                      <a:alpha val="0"/>
                    </a:srgbClr>
                  </a:solidFill>
                </a:ln>
                <a:solidFill>
                  <a:schemeClr val="tx2"/>
                </a:solidFill>
                <a:ea typeface="Segoe UI" pitchFamily="34" charset="0"/>
                <a:cs typeface="Segoe UI" pitchFamily="34" charset="0"/>
              </a:rPr>
              <a:t>Overview</a:t>
            </a:r>
          </a:p>
          <a:p>
            <a:pPr marL="558686" lvl="1" indent="-448193" defTabSz="913770" fontAlgn="base">
              <a:buClr>
                <a:schemeClr val="accent3">
                  <a:lumMod val="50000"/>
                </a:schemeClr>
              </a:buClr>
              <a:buBlip>
                <a:blip r:embed="rId2"/>
              </a:buBlip>
            </a:pPr>
            <a:r>
              <a:rPr lang="en-US" sz="2353" dirty="0">
                <a:ln>
                  <a:solidFill>
                    <a:srgbClr val="FFFFFF">
                      <a:alpha val="0"/>
                    </a:srgbClr>
                  </a:solidFill>
                </a:ln>
                <a:solidFill>
                  <a:schemeClr val="tx2"/>
                </a:solidFill>
                <a:ea typeface="Segoe UI" pitchFamily="34" charset="0"/>
                <a:cs typeface="Segoe UI" pitchFamily="34" charset="0"/>
              </a:rPr>
              <a:t>MapReduce</a:t>
            </a:r>
          </a:p>
          <a:p>
            <a:pPr marL="558686" lvl="1" indent="-448193" defTabSz="913770" fontAlgn="base">
              <a:buClr>
                <a:schemeClr val="accent3">
                  <a:lumMod val="50000"/>
                </a:schemeClr>
              </a:buClr>
              <a:buBlip>
                <a:blip r:embed="rId2"/>
              </a:buBlip>
            </a:pPr>
            <a:r>
              <a:rPr lang="en-US" sz="2353" dirty="0" err="1">
                <a:ln>
                  <a:solidFill>
                    <a:srgbClr val="FFFFFF">
                      <a:alpha val="0"/>
                    </a:srgbClr>
                  </a:solidFill>
                </a:ln>
                <a:solidFill>
                  <a:schemeClr val="tx2"/>
                </a:solidFill>
                <a:ea typeface="Segoe UI" pitchFamily="34" charset="0"/>
                <a:cs typeface="Segoe UI" pitchFamily="34" charset="0"/>
              </a:rPr>
              <a:t>Tez</a:t>
            </a:r>
            <a:endParaRPr lang="en-US" sz="2353" dirty="0">
              <a:ln>
                <a:solidFill>
                  <a:srgbClr val="FFFFFF">
                    <a:alpha val="0"/>
                  </a:srgbClr>
                </a:solidFill>
              </a:ln>
              <a:solidFill>
                <a:schemeClr val="tx2"/>
              </a:solidFill>
              <a:ea typeface="Segoe UI" pitchFamily="34" charset="0"/>
              <a:cs typeface="Segoe UI" pitchFamily="34" charset="0"/>
            </a:endParaRPr>
          </a:p>
          <a:p>
            <a:pPr marL="558686" lvl="1" indent="-448193" defTabSz="913770" fontAlgn="base">
              <a:buClr>
                <a:schemeClr val="accent3">
                  <a:lumMod val="50000"/>
                </a:schemeClr>
              </a:buClr>
              <a:buBlip>
                <a:blip r:embed="rId2"/>
              </a:buBlip>
            </a:pPr>
            <a:r>
              <a:rPr lang="en-US" sz="2353" dirty="0">
                <a:ln>
                  <a:solidFill>
                    <a:srgbClr val="FFFFFF">
                      <a:alpha val="0"/>
                    </a:srgbClr>
                  </a:solidFill>
                </a:ln>
                <a:solidFill>
                  <a:schemeClr val="tx2"/>
                </a:solidFill>
                <a:ea typeface="Segoe UI" pitchFamily="34" charset="0"/>
                <a:cs typeface="Segoe UI" pitchFamily="34" charset="0"/>
              </a:rPr>
              <a:t>YARN</a:t>
            </a:r>
          </a:p>
          <a:p>
            <a:pPr marL="558686" lvl="1" indent="-448193" defTabSz="913770" fontAlgn="base">
              <a:buClr>
                <a:schemeClr val="accent3">
                  <a:lumMod val="50000"/>
                </a:schemeClr>
              </a:buClr>
              <a:buBlip>
                <a:blip r:embed="rId2"/>
              </a:buBlip>
            </a:pPr>
            <a:r>
              <a:rPr lang="en-US" sz="2353" dirty="0">
                <a:ln>
                  <a:solidFill>
                    <a:srgbClr val="FFFFFF">
                      <a:alpha val="0"/>
                    </a:srgbClr>
                  </a:solidFill>
                </a:ln>
                <a:solidFill>
                  <a:schemeClr val="tx2"/>
                </a:solidFill>
                <a:ea typeface="Segoe UI" pitchFamily="34" charset="0"/>
                <a:cs typeface="Segoe UI" pitchFamily="34" charset="0"/>
              </a:rPr>
              <a:t>HDFS</a:t>
            </a:r>
          </a:p>
          <a:p>
            <a:pPr marL="558686" lvl="1" indent="-448193" defTabSz="913770" fontAlgn="base">
              <a:buClr>
                <a:schemeClr val="accent3">
                  <a:lumMod val="50000"/>
                </a:schemeClr>
              </a:buClr>
              <a:buBlip>
                <a:blip r:embed="rId2"/>
              </a:buBlip>
            </a:pPr>
            <a:endParaRPr lang="en-US" sz="2353" dirty="0">
              <a:ln>
                <a:solidFill>
                  <a:srgbClr val="FFFFFF">
                    <a:alpha val="0"/>
                  </a:srgbClr>
                </a:solidFill>
              </a:ln>
              <a:solidFill>
                <a:schemeClr val="tx2"/>
              </a:solidFill>
              <a:ea typeface="Segoe UI" pitchFamily="34" charset="0"/>
              <a:cs typeface="Segoe UI" pitchFamily="34" charset="0"/>
            </a:endParaRPr>
          </a:p>
        </p:txBody>
      </p:sp>
      <p:sp>
        <p:nvSpPr>
          <p:cNvPr id="5" name="Rectangle 4"/>
          <p:cNvSpPr/>
          <p:nvPr/>
        </p:nvSpPr>
        <p:spPr bwMode="auto">
          <a:xfrm>
            <a:off x="1" y="6319659"/>
            <a:ext cx="5220356" cy="537855"/>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endParaRPr lang="en-US" sz="2353" kern="0" dirty="0">
              <a:ln>
                <a:solidFill>
                  <a:srgbClr val="FFFFFF">
                    <a:alpha val="0"/>
                  </a:srgbClr>
                </a:solidFill>
              </a:ln>
              <a:solidFill>
                <a:srgbClr val="FFFFFF"/>
              </a:solidFill>
              <a:latin typeface="Segoe UI Semibold" panose="020B0702040204020203" pitchFamily="34" charset="0"/>
              <a:ea typeface="MS PGothic" charset="0"/>
              <a:cs typeface="Segoe UI Semibold" panose="020B0702040204020203" pitchFamily="34" charset="0"/>
            </a:endParaRPr>
          </a:p>
        </p:txBody>
      </p:sp>
      <p:sp>
        <p:nvSpPr>
          <p:cNvPr id="6" name="Freeform 5"/>
          <p:cNvSpPr>
            <a:spLocks/>
          </p:cNvSpPr>
          <p:nvPr/>
        </p:nvSpPr>
        <p:spPr bwMode="auto">
          <a:xfrm flipH="1">
            <a:off x="2619107" y="4183803"/>
            <a:ext cx="2601249" cy="2135857"/>
          </a:xfrm>
          <a:custGeom>
            <a:avLst/>
            <a:gdLst>
              <a:gd name="connsiteX0" fmla="*/ 603413 w 1090712"/>
              <a:gd name="connsiteY0" fmla="*/ 721327 h 895572"/>
              <a:gd name="connsiteX1" fmla="*/ 578466 w 1090712"/>
              <a:gd name="connsiteY1" fmla="*/ 770746 h 895572"/>
              <a:gd name="connsiteX2" fmla="*/ 553519 w 1090712"/>
              <a:gd name="connsiteY2" fmla="*/ 818264 h 895572"/>
              <a:gd name="connsiteX3" fmla="*/ 528334 w 1090712"/>
              <a:gd name="connsiteY3" fmla="*/ 865069 h 895572"/>
              <a:gd name="connsiteX4" fmla="*/ 511825 w 1090712"/>
              <a:gd name="connsiteY4" fmla="*/ 895572 h 895572"/>
              <a:gd name="connsiteX5" fmla="*/ 624528 w 1090712"/>
              <a:gd name="connsiteY5" fmla="*/ 895572 h 895572"/>
              <a:gd name="connsiteX6" fmla="*/ 624796 w 1090712"/>
              <a:gd name="connsiteY6" fmla="*/ 894768 h 895572"/>
              <a:gd name="connsiteX7" fmla="*/ 625271 w 1090712"/>
              <a:gd name="connsiteY7" fmla="*/ 891679 h 895572"/>
              <a:gd name="connsiteX8" fmla="*/ 625747 w 1090712"/>
              <a:gd name="connsiteY8" fmla="*/ 889066 h 895572"/>
              <a:gd name="connsiteX9" fmla="*/ 625747 w 1090712"/>
              <a:gd name="connsiteY9" fmla="*/ 860555 h 895572"/>
              <a:gd name="connsiteX10" fmla="*/ 624796 w 1090712"/>
              <a:gd name="connsiteY10" fmla="*/ 833945 h 895572"/>
              <a:gd name="connsiteX11" fmla="*/ 624321 w 1090712"/>
              <a:gd name="connsiteY11" fmla="*/ 820877 h 895572"/>
              <a:gd name="connsiteX12" fmla="*/ 623608 w 1090712"/>
              <a:gd name="connsiteY12" fmla="*/ 808047 h 895572"/>
              <a:gd name="connsiteX13" fmla="*/ 621708 w 1090712"/>
              <a:gd name="connsiteY13" fmla="*/ 795218 h 895572"/>
              <a:gd name="connsiteX14" fmla="*/ 620044 w 1090712"/>
              <a:gd name="connsiteY14" fmla="*/ 782625 h 895572"/>
              <a:gd name="connsiteX15" fmla="*/ 616005 w 1090712"/>
              <a:gd name="connsiteY15" fmla="*/ 766707 h 895572"/>
              <a:gd name="connsiteX16" fmla="*/ 611966 w 1090712"/>
              <a:gd name="connsiteY16" fmla="*/ 751976 h 895572"/>
              <a:gd name="connsiteX17" fmla="*/ 607452 w 1090712"/>
              <a:gd name="connsiteY17" fmla="*/ 737245 h 895572"/>
              <a:gd name="connsiteX18" fmla="*/ 698212 w 1090712"/>
              <a:gd name="connsiteY18" fmla="*/ 530778 h 895572"/>
              <a:gd name="connsiteX19" fmla="*/ 693460 w 1090712"/>
              <a:gd name="connsiteY19" fmla="*/ 534818 h 895572"/>
              <a:gd name="connsiteX20" fmla="*/ 688471 w 1090712"/>
              <a:gd name="connsiteY20" fmla="*/ 538857 h 895572"/>
              <a:gd name="connsiteX21" fmla="*/ 678254 w 1090712"/>
              <a:gd name="connsiteY21" fmla="*/ 546935 h 895572"/>
              <a:gd name="connsiteX22" fmla="*/ 669226 w 1090712"/>
              <a:gd name="connsiteY22" fmla="*/ 553587 h 895572"/>
              <a:gd name="connsiteX23" fmla="*/ 663048 w 1090712"/>
              <a:gd name="connsiteY23" fmla="*/ 558814 h 895572"/>
              <a:gd name="connsiteX24" fmla="*/ 663048 w 1090712"/>
              <a:gd name="connsiteY24" fmla="*/ 556676 h 895572"/>
              <a:gd name="connsiteX25" fmla="*/ 663523 w 1090712"/>
              <a:gd name="connsiteY25" fmla="*/ 554538 h 895572"/>
              <a:gd name="connsiteX26" fmla="*/ 665424 w 1090712"/>
              <a:gd name="connsiteY26" fmla="*/ 550498 h 895572"/>
              <a:gd name="connsiteX27" fmla="*/ 668038 w 1090712"/>
              <a:gd name="connsiteY27" fmla="*/ 546459 h 895572"/>
              <a:gd name="connsiteX28" fmla="*/ 671602 w 1090712"/>
              <a:gd name="connsiteY28" fmla="*/ 542420 h 895572"/>
              <a:gd name="connsiteX29" fmla="*/ 676829 w 1090712"/>
              <a:gd name="connsiteY29" fmla="*/ 538857 h 895572"/>
              <a:gd name="connsiteX30" fmla="*/ 682768 w 1090712"/>
              <a:gd name="connsiteY30" fmla="*/ 535768 h 895572"/>
              <a:gd name="connsiteX31" fmla="*/ 689896 w 1090712"/>
              <a:gd name="connsiteY31" fmla="*/ 533154 h 895572"/>
              <a:gd name="connsiteX32" fmla="*/ 654257 w 1090712"/>
              <a:gd name="connsiteY32" fmla="*/ 302216 h 895572"/>
              <a:gd name="connsiteX33" fmla="*/ 651882 w 1090712"/>
              <a:gd name="connsiteY33" fmla="*/ 302691 h 895572"/>
              <a:gd name="connsiteX34" fmla="*/ 649268 w 1090712"/>
              <a:gd name="connsiteY34" fmla="*/ 303166 h 895572"/>
              <a:gd name="connsiteX35" fmla="*/ 647130 w 1090712"/>
              <a:gd name="connsiteY35" fmla="*/ 304354 h 895572"/>
              <a:gd name="connsiteX36" fmla="*/ 644516 w 1090712"/>
              <a:gd name="connsiteY36" fmla="*/ 306255 h 895572"/>
              <a:gd name="connsiteX37" fmla="*/ 642140 w 1090712"/>
              <a:gd name="connsiteY37" fmla="*/ 307918 h 895572"/>
              <a:gd name="connsiteX38" fmla="*/ 640002 w 1090712"/>
              <a:gd name="connsiteY38" fmla="*/ 310294 h 895572"/>
              <a:gd name="connsiteX39" fmla="*/ 638101 w 1090712"/>
              <a:gd name="connsiteY39" fmla="*/ 312432 h 895572"/>
              <a:gd name="connsiteX40" fmla="*/ 636913 w 1090712"/>
              <a:gd name="connsiteY40" fmla="*/ 314571 h 895572"/>
              <a:gd name="connsiteX41" fmla="*/ 635963 w 1090712"/>
              <a:gd name="connsiteY41" fmla="*/ 316946 h 895572"/>
              <a:gd name="connsiteX42" fmla="*/ 635963 w 1090712"/>
              <a:gd name="connsiteY42" fmla="*/ 319085 h 895572"/>
              <a:gd name="connsiteX43" fmla="*/ 636913 w 1090712"/>
              <a:gd name="connsiteY43" fmla="*/ 321223 h 895572"/>
              <a:gd name="connsiteX44" fmla="*/ 637626 w 1090712"/>
              <a:gd name="connsiteY44" fmla="*/ 324074 h 895572"/>
              <a:gd name="connsiteX45" fmla="*/ 639527 w 1090712"/>
              <a:gd name="connsiteY45" fmla="*/ 326688 h 895572"/>
              <a:gd name="connsiteX46" fmla="*/ 643091 w 1090712"/>
              <a:gd name="connsiteY46" fmla="*/ 331677 h 895572"/>
              <a:gd name="connsiteX47" fmla="*/ 647130 w 1090712"/>
              <a:gd name="connsiteY47" fmla="*/ 335954 h 895572"/>
              <a:gd name="connsiteX48" fmla="*/ 655920 w 1090712"/>
              <a:gd name="connsiteY48" fmla="*/ 330727 h 895572"/>
              <a:gd name="connsiteX49" fmla="*/ 663999 w 1090712"/>
              <a:gd name="connsiteY49" fmla="*/ 324787 h 895572"/>
              <a:gd name="connsiteX50" fmla="*/ 679917 w 1090712"/>
              <a:gd name="connsiteY50" fmla="*/ 313383 h 895572"/>
              <a:gd name="connsiteX51" fmla="*/ 676354 w 1090712"/>
              <a:gd name="connsiteY51" fmla="*/ 311007 h 895572"/>
              <a:gd name="connsiteX52" fmla="*/ 672790 w 1090712"/>
              <a:gd name="connsiteY52" fmla="*/ 308393 h 895572"/>
              <a:gd name="connsiteX53" fmla="*/ 668988 w 1090712"/>
              <a:gd name="connsiteY53" fmla="*/ 306730 h 895572"/>
              <a:gd name="connsiteX54" fmla="*/ 664949 w 1090712"/>
              <a:gd name="connsiteY54" fmla="*/ 304829 h 895572"/>
              <a:gd name="connsiteX55" fmla="*/ 660910 w 1090712"/>
              <a:gd name="connsiteY55" fmla="*/ 303641 h 895572"/>
              <a:gd name="connsiteX56" fmla="*/ 657346 w 1090712"/>
              <a:gd name="connsiteY56" fmla="*/ 302691 h 895572"/>
              <a:gd name="connsiteX57" fmla="*/ 696549 w 1090712"/>
              <a:gd name="connsiteY57" fmla="*/ 252322 h 895572"/>
              <a:gd name="connsiteX58" fmla="*/ 696786 w 1090712"/>
              <a:gd name="connsiteY58" fmla="*/ 259925 h 895572"/>
              <a:gd name="connsiteX59" fmla="*/ 698212 w 1090712"/>
              <a:gd name="connsiteY59" fmla="*/ 266102 h 895572"/>
              <a:gd name="connsiteX60" fmla="*/ 700113 w 1090712"/>
              <a:gd name="connsiteY60" fmla="*/ 272042 h 895572"/>
              <a:gd name="connsiteX61" fmla="*/ 701776 w 1090712"/>
              <a:gd name="connsiteY61" fmla="*/ 276794 h 895572"/>
              <a:gd name="connsiteX62" fmla="*/ 704389 w 1090712"/>
              <a:gd name="connsiteY62" fmla="*/ 280833 h 895572"/>
              <a:gd name="connsiteX63" fmla="*/ 707240 w 1090712"/>
              <a:gd name="connsiteY63" fmla="*/ 284397 h 895572"/>
              <a:gd name="connsiteX64" fmla="*/ 710329 w 1090712"/>
              <a:gd name="connsiteY64" fmla="*/ 287010 h 895572"/>
              <a:gd name="connsiteX65" fmla="*/ 713418 w 1090712"/>
              <a:gd name="connsiteY65" fmla="*/ 289624 h 895572"/>
              <a:gd name="connsiteX66" fmla="*/ 716506 w 1090712"/>
              <a:gd name="connsiteY66" fmla="*/ 291524 h 895572"/>
              <a:gd name="connsiteX67" fmla="*/ 719595 w 1090712"/>
              <a:gd name="connsiteY67" fmla="*/ 293187 h 895572"/>
              <a:gd name="connsiteX68" fmla="*/ 725772 w 1090712"/>
              <a:gd name="connsiteY68" fmla="*/ 295088 h 895572"/>
              <a:gd name="connsiteX69" fmla="*/ 731237 w 1090712"/>
              <a:gd name="connsiteY69" fmla="*/ 296514 h 895572"/>
              <a:gd name="connsiteX70" fmla="*/ 734801 w 1090712"/>
              <a:gd name="connsiteY70" fmla="*/ 296751 h 895572"/>
              <a:gd name="connsiteX71" fmla="*/ 722209 w 1090712"/>
              <a:gd name="connsiteY71" fmla="*/ 303879 h 895572"/>
              <a:gd name="connsiteX72" fmla="*/ 710804 w 1090712"/>
              <a:gd name="connsiteY72" fmla="*/ 311007 h 895572"/>
              <a:gd name="connsiteX73" fmla="*/ 688471 w 1090712"/>
              <a:gd name="connsiteY73" fmla="*/ 324787 h 895572"/>
              <a:gd name="connsiteX74" fmla="*/ 667563 w 1090712"/>
              <a:gd name="connsiteY74" fmla="*/ 339043 h 895572"/>
              <a:gd name="connsiteX75" fmla="*/ 646179 w 1090712"/>
              <a:gd name="connsiteY75" fmla="*/ 352823 h 895572"/>
              <a:gd name="connsiteX76" fmla="*/ 620044 w 1090712"/>
              <a:gd name="connsiteY76" fmla="*/ 313383 h 895572"/>
              <a:gd name="connsiteX77" fmla="*/ 617668 w 1090712"/>
              <a:gd name="connsiteY77" fmla="*/ 312432 h 895572"/>
              <a:gd name="connsiteX78" fmla="*/ 615055 w 1090712"/>
              <a:gd name="connsiteY78" fmla="*/ 312432 h 895572"/>
              <a:gd name="connsiteX79" fmla="*/ 612441 w 1090712"/>
              <a:gd name="connsiteY79" fmla="*/ 313383 h 895572"/>
              <a:gd name="connsiteX80" fmla="*/ 609353 w 1090712"/>
              <a:gd name="connsiteY80" fmla="*/ 314095 h 895572"/>
              <a:gd name="connsiteX81" fmla="*/ 602938 w 1090712"/>
              <a:gd name="connsiteY81" fmla="*/ 316946 h 895572"/>
              <a:gd name="connsiteX82" fmla="*/ 599849 w 1090712"/>
              <a:gd name="connsiteY82" fmla="*/ 317659 h 895572"/>
              <a:gd name="connsiteX83" fmla="*/ 596760 w 1090712"/>
              <a:gd name="connsiteY83" fmla="*/ 318610 h 895572"/>
              <a:gd name="connsiteX84" fmla="*/ 607927 w 1090712"/>
              <a:gd name="connsiteY84" fmla="*/ 307205 h 895572"/>
              <a:gd name="connsiteX85" fmla="*/ 618619 w 1090712"/>
              <a:gd name="connsiteY85" fmla="*/ 295088 h 895572"/>
              <a:gd name="connsiteX86" fmla="*/ 623846 w 1090712"/>
              <a:gd name="connsiteY86" fmla="*/ 289386 h 895572"/>
              <a:gd name="connsiteX87" fmla="*/ 629786 w 1090712"/>
              <a:gd name="connsiteY87" fmla="*/ 283921 h 895572"/>
              <a:gd name="connsiteX88" fmla="*/ 635963 w 1090712"/>
              <a:gd name="connsiteY88" fmla="*/ 278694 h 895572"/>
              <a:gd name="connsiteX89" fmla="*/ 642140 w 1090712"/>
              <a:gd name="connsiteY89" fmla="*/ 273705 h 895572"/>
              <a:gd name="connsiteX90" fmla="*/ 648793 w 1090712"/>
              <a:gd name="connsiteY90" fmla="*/ 269191 h 895572"/>
              <a:gd name="connsiteX91" fmla="*/ 655446 w 1090712"/>
              <a:gd name="connsiteY91" fmla="*/ 265627 h 895572"/>
              <a:gd name="connsiteX92" fmla="*/ 662098 w 1090712"/>
              <a:gd name="connsiteY92" fmla="*/ 263013 h 895572"/>
              <a:gd name="connsiteX93" fmla="*/ 668988 w 1090712"/>
              <a:gd name="connsiteY93" fmla="*/ 260400 h 895572"/>
              <a:gd name="connsiteX94" fmla="*/ 682768 w 1090712"/>
              <a:gd name="connsiteY94" fmla="*/ 256361 h 895572"/>
              <a:gd name="connsiteX95" fmla="*/ 1030602 w 1090712"/>
              <a:gd name="connsiteY95" fmla="*/ 200289 h 895572"/>
              <a:gd name="connsiteX96" fmla="*/ 1027513 w 1090712"/>
              <a:gd name="connsiteY96" fmla="*/ 207892 h 895572"/>
              <a:gd name="connsiteX97" fmla="*/ 1023949 w 1090712"/>
              <a:gd name="connsiteY97" fmla="*/ 214545 h 895572"/>
              <a:gd name="connsiteX98" fmla="*/ 1019910 w 1090712"/>
              <a:gd name="connsiteY98" fmla="*/ 221197 h 895572"/>
              <a:gd name="connsiteX99" fmla="*/ 1015396 w 1090712"/>
              <a:gd name="connsiteY99" fmla="*/ 226899 h 895572"/>
              <a:gd name="connsiteX100" fmla="*/ 1011119 w 1090712"/>
              <a:gd name="connsiteY100" fmla="*/ 232839 h 895572"/>
              <a:gd name="connsiteX101" fmla="*/ 1006130 w 1090712"/>
              <a:gd name="connsiteY101" fmla="*/ 237591 h 895572"/>
              <a:gd name="connsiteX102" fmla="*/ 1001140 w 1090712"/>
              <a:gd name="connsiteY102" fmla="*/ 242105 h 895572"/>
              <a:gd name="connsiteX103" fmla="*/ 996388 w 1090712"/>
              <a:gd name="connsiteY103" fmla="*/ 246144 h 895572"/>
              <a:gd name="connsiteX104" fmla="*/ 990924 w 1090712"/>
              <a:gd name="connsiteY104" fmla="*/ 249708 h 895572"/>
              <a:gd name="connsiteX105" fmla="*/ 985697 w 1090712"/>
              <a:gd name="connsiteY105" fmla="*/ 252797 h 895572"/>
              <a:gd name="connsiteX106" fmla="*/ 980232 w 1090712"/>
              <a:gd name="connsiteY106" fmla="*/ 254935 h 895572"/>
              <a:gd name="connsiteX107" fmla="*/ 975005 w 1090712"/>
              <a:gd name="connsiteY107" fmla="*/ 256836 h 895572"/>
              <a:gd name="connsiteX108" fmla="*/ 969541 w 1090712"/>
              <a:gd name="connsiteY108" fmla="*/ 258262 h 895572"/>
              <a:gd name="connsiteX109" fmla="*/ 963839 w 1090712"/>
              <a:gd name="connsiteY109" fmla="*/ 258499 h 895572"/>
              <a:gd name="connsiteX110" fmla="*/ 958612 w 1090712"/>
              <a:gd name="connsiteY110" fmla="*/ 258499 h 895572"/>
              <a:gd name="connsiteX111" fmla="*/ 953622 w 1090712"/>
              <a:gd name="connsiteY111" fmla="*/ 257786 h 895572"/>
              <a:gd name="connsiteX112" fmla="*/ 970966 w 1090712"/>
              <a:gd name="connsiteY112" fmla="*/ 244006 h 895572"/>
              <a:gd name="connsiteX113" fmla="*/ 990211 w 1090712"/>
              <a:gd name="connsiteY113" fmla="*/ 229275 h 895572"/>
              <a:gd name="connsiteX114" fmla="*/ 1010169 w 1090712"/>
              <a:gd name="connsiteY114" fmla="*/ 214069 h 895572"/>
              <a:gd name="connsiteX115" fmla="*/ 1020385 w 1090712"/>
              <a:gd name="connsiteY115" fmla="*/ 206942 h 895572"/>
              <a:gd name="connsiteX116" fmla="*/ 389581 w 1090712"/>
              <a:gd name="connsiteY116" fmla="*/ 176768 h 895572"/>
              <a:gd name="connsiteX117" fmla="*/ 397422 w 1090712"/>
              <a:gd name="connsiteY117" fmla="*/ 177243 h 895572"/>
              <a:gd name="connsiteX118" fmla="*/ 414766 w 1090712"/>
              <a:gd name="connsiteY118" fmla="*/ 178906 h 895572"/>
              <a:gd name="connsiteX119" fmla="*/ 405500 w 1090712"/>
              <a:gd name="connsiteY119" fmla="*/ 179856 h 895572"/>
              <a:gd name="connsiteX120" fmla="*/ 396946 w 1090712"/>
              <a:gd name="connsiteY120" fmla="*/ 181995 h 895572"/>
              <a:gd name="connsiteX121" fmla="*/ 389581 w 1090712"/>
              <a:gd name="connsiteY121" fmla="*/ 184371 h 895572"/>
              <a:gd name="connsiteX122" fmla="*/ 381978 w 1090712"/>
              <a:gd name="connsiteY122" fmla="*/ 186984 h 895572"/>
              <a:gd name="connsiteX123" fmla="*/ 375326 w 1090712"/>
              <a:gd name="connsiteY123" fmla="*/ 190548 h 895572"/>
              <a:gd name="connsiteX124" fmla="*/ 368911 w 1090712"/>
              <a:gd name="connsiteY124" fmla="*/ 194112 h 895572"/>
              <a:gd name="connsiteX125" fmla="*/ 363208 w 1090712"/>
              <a:gd name="connsiteY125" fmla="*/ 198626 h 895572"/>
              <a:gd name="connsiteX126" fmla="*/ 357981 w 1090712"/>
              <a:gd name="connsiteY126" fmla="*/ 202903 h 895572"/>
              <a:gd name="connsiteX127" fmla="*/ 352517 w 1090712"/>
              <a:gd name="connsiteY127" fmla="*/ 208367 h 895572"/>
              <a:gd name="connsiteX128" fmla="*/ 348003 w 1090712"/>
              <a:gd name="connsiteY128" fmla="*/ 214070 h 895572"/>
              <a:gd name="connsiteX129" fmla="*/ 343726 w 1090712"/>
              <a:gd name="connsiteY129" fmla="*/ 220247 h 895572"/>
              <a:gd name="connsiteX130" fmla="*/ 339687 w 1090712"/>
              <a:gd name="connsiteY130" fmla="*/ 226662 h 895572"/>
              <a:gd name="connsiteX131" fmla="*/ 335648 w 1090712"/>
              <a:gd name="connsiteY131" fmla="*/ 233790 h 895572"/>
              <a:gd name="connsiteX132" fmla="*/ 332559 w 1090712"/>
              <a:gd name="connsiteY132" fmla="*/ 240917 h 895572"/>
              <a:gd name="connsiteX133" fmla="*/ 328995 w 1090712"/>
              <a:gd name="connsiteY133" fmla="*/ 248758 h 895572"/>
              <a:gd name="connsiteX134" fmla="*/ 325907 w 1090712"/>
              <a:gd name="connsiteY134" fmla="*/ 256836 h 895572"/>
              <a:gd name="connsiteX135" fmla="*/ 325432 w 1090712"/>
              <a:gd name="connsiteY135" fmla="*/ 252797 h 895572"/>
              <a:gd name="connsiteX136" fmla="*/ 324956 w 1090712"/>
              <a:gd name="connsiteY136" fmla="*/ 248283 h 895572"/>
              <a:gd name="connsiteX137" fmla="*/ 323056 w 1090712"/>
              <a:gd name="connsiteY137" fmla="*/ 239492 h 895572"/>
              <a:gd name="connsiteX138" fmla="*/ 320917 w 1090712"/>
              <a:gd name="connsiteY138" fmla="*/ 229275 h 895572"/>
              <a:gd name="connsiteX139" fmla="*/ 320442 w 1090712"/>
              <a:gd name="connsiteY139" fmla="*/ 223811 h 895572"/>
              <a:gd name="connsiteX140" fmla="*/ 319967 w 1090712"/>
              <a:gd name="connsiteY140" fmla="*/ 217633 h 895572"/>
              <a:gd name="connsiteX141" fmla="*/ 314740 w 1090712"/>
              <a:gd name="connsiteY141" fmla="*/ 217633 h 895572"/>
              <a:gd name="connsiteX142" fmla="*/ 302148 w 1090712"/>
              <a:gd name="connsiteY142" fmla="*/ 243056 h 895572"/>
              <a:gd name="connsiteX143" fmla="*/ 289793 w 1090712"/>
              <a:gd name="connsiteY143" fmla="*/ 267528 h 895572"/>
              <a:gd name="connsiteX144" fmla="*/ 277438 w 1090712"/>
              <a:gd name="connsiteY144" fmla="*/ 291049 h 895572"/>
              <a:gd name="connsiteX145" fmla="*/ 264371 w 1090712"/>
              <a:gd name="connsiteY145" fmla="*/ 312907 h 895572"/>
              <a:gd name="connsiteX146" fmla="*/ 267459 w 1090712"/>
              <a:gd name="connsiteY146" fmla="*/ 295088 h 895572"/>
              <a:gd name="connsiteX147" fmla="*/ 271023 w 1090712"/>
              <a:gd name="connsiteY147" fmla="*/ 279170 h 895572"/>
              <a:gd name="connsiteX148" fmla="*/ 274587 w 1090712"/>
              <a:gd name="connsiteY148" fmla="*/ 263964 h 895572"/>
              <a:gd name="connsiteX149" fmla="*/ 279101 w 1090712"/>
              <a:gd name="connsiteY149" fmla="*/ 250183 h 895572"/>
              <a:gd name="connsiteX150" fmla="*/ 284091 w 1090712"/>
              <a:gd name="connsiteY150" fmla="*/ 238066 h 895572"/>
              <a:gd name="connsiteX151" fmla="*/ 289318 w 1090712"/>
              <a:gd name="connsiteY151" fmla="*/ 226900 h 895572"/>
              <a:gd name="connsiteX152" fmla="*/ 292406 w 1090712"/>
              <a:gd name="connsiteY152" fmla="*/ 221673 h 895572"/>
              <a:gd name="connsiteX153" fmla="*/ 295495 w 1090712"/>
              <a:gd name="connsiteY153" fmla="*/ 217158 h 895572"/>
              <a:gd name="connsiteX154" fmla="*/ 298584 w 1090712"/>
              <a:gd name="connsiteY154" fmla="*/ 212406 h 895572"/>
              <a:gd name="connsiteX155" fmla="*/ 302148 w 1090712"/>
              <a:gd name="connsiteY155" fmla="*/ 208367 h 895572"/>
              <a:gd name="connsiteX156" fmla="*/ 305711 w 1090712"/>
              <a:gd name="connsiteY156" fmla="*/ 204328 h 895572"/>
              <a:gd name="connsiteX157" fmla="*/ 309275 w 1090712"/>
              <a:gd name="connsiteY157" fmla="*/ 200765 h 895572"/>
              <a:gd name="connsiteX158" fmla="*/ 313314 w 1090712"/>
              <a:gd name="connsiteY158" fmla="*/ 197201 h 895572"/>
              <a:gd name="connsiteX159" fmla="*/ 317354 w 1090712"/>
              <a:gd name="connsiteY159" fmla="*/ 194112 h 895572"/>
              <a:gd name="connsiteX160" fmla="*/ 321868 w 1090712"/>
              <a:gd name="connsiteY160" fmla="*/ 191498 h 895572"/>
              <a:gd name="connsiteX161" fmla="*/ 326382 w 1090712"/>
              <a:gd name="connsiteY161" fmla="*/ 188647 h 895572"/>
              <a:gd name="connsiteX162" fmla="*/ 330659 w 1090712"/>
              <a:gd name="connsiteY162" fmla="*/ 186509 h 895572"/>
              <a:gd name="connsiteX163" fmla="*/ 335648 w 1090712"/>
              <a:gd name="connsiteY163" fmla="*/ 184371 h 895572"/>
              <a:gd name="connsiteX164" fmla="*/ 340637 w 1090712"/>
              <a:gd name="connsiteY164" fmla="*/ 182470 h 895572"/>
              <a:gd name="connsiteX165" fmla="*/ 345864 w 1090712"/>
              <a:gd name="connsiteY165" fmla="*/ 181282 h 895572"/>
              <a:gd name="connsiteX166" fmla="*/ 351091 w 1090712"/>
              <a:gd name="connsiteY166" fmla="*/ 179856 h 895572"/>
              <a:gd name="connsiteX167" fmla="*/ 357031 w 1090712"/>
              <a:gd name="connsiteY167" fmla="*/ 178431 h 895572"/>
              <a:gd name="connsiteX168" fmla="*/ 368911 w 1090712"/>
              <a:gd name="connsiteY168" fmla="*/ 177243 h 895572"/>
              <a:gd name="connsiteX169" fmla="*/ 381978 w 1090712"/>
              <a:gd name="connsiteY169" fmla="*/ 176768 h 895572"/>
              <a:gd name="connsiteX170" fmla="*/ 609353 w 1090712"/>
              <a:gd name="connsiteY170" fmla="*/ 174629 h 895572"/>
              <a:gd name="connsiteX171" fmla="*/ 602463 w 1090712"/>
              <a:gd name="connsiteY171" fmla="*/ 180807 h 895572"/>
              <a:gd name="connsiteX172" fmla="*/ 596285 w 1090712"/>
              <a:gd name="connsiteY172" fmla="*/ 187459 h 895572"/>
              <a:gd name="connsiteX173" fmla="*/ 583931 w 1090712"/>
              <a:gd name="connsiteY173" fmla="*/ 201715 h 895572"/>
              <a:gd name="connsiteX174" fmla="*/ 571101 w 1090712"/>
              <a:gd name="connsiteY174" fmla="*/ 215495 h 895572"/>
              <a:gd name="connsiteX175" fmla="*/ 564686 w 1090712"/>
              <a:gd name="connsiteY175" fmla="*/ 222148 h 895572"/>
              <a:gd name="connsiteX176" fmla="*/ 558508 w 1090712"/>
              <a:gd name="connsiteY176" fmla="*/ 228325 h 895572"/>
              <a:gd name="connsiteX177" fmla="*/ 557558 w 1090712"/>
              <a:gd name="connsiteY177" fmla="*/ 223335 h 895572"/>
              <a:gd name="connsiteX178" fmla="*/ 557083 w 1090712"/>
              <a:gd name="connsiteY178" fmla="*/ 219059 h 895572"/>
              <a:gd name="connsiteX179" fmla="*/ 557083 w 1090712"/>
              <a:gd name="connsiteY179" fmla="*/ 215020 h 895572"/>
              <a:gd name="connsiteX180" fmla="*/ 557558 w 1090712"/>
              <a:gd name="connsiteY180" fmla="*/ 210981 h 895572"/>
              <a:gd name="connsiteX181" fmla="*/ 558508 w 1090712"/>
              <a:gd name="connsiteY181" fmla="*/ 207417 h 895572"/>
              <a:gd name="connsiteX182" fmla="*/ 560409 w 1090712"/>
              <a:gd name="connsiteY182" fmla="*/ 203853 h 895572"/>
              <a:gd name="connsiteX183" fmla="*/ 562072 w 1090712"/>
              <a:gd name="connsiteY183" fmla="*/ 200764 h 895572"/>
              <a:gd name="connsiteX184" fmla="*/ 564686 w 1090712"/>
              <a:gd name="connsiteY184" fmla="*/ 197676 h 895572"/>
              <a:gd name="connsiteX185" fmla="*/ 567774 w 1090712"/>
              <a:gd name="connsiteY185" fmla="*/ 194587 h 895572"/>
              <a:gd name="connsiteX186" fmla="*/ 571813 w 1090712"/>
              <a:gd name="connsiteY186" fmla="*/ 191973 h 895572"/>
              <a:gd name="connsiteX187" fmla="*/ 576328 w 1090712"/>
              <a:gd name="connsiteY187" fmla="*/ 188647 h 895572"/>
              <a:gd name="connsiteX188" fmla="*/ 581317 w 1090712"/>
              <a:gd name="connsiteY188" fmla="*/ 186034 h 895572"/>
              <a:gd name="connsiteX189" fmla="*/ 587019 w 1090712"/>
              <a:gd name="connsiteY189" fmla="*/ 183420 h 895572"/>
              <a:gd name="connsiteX190" fmla="*/ 593672 w 1090712"/>
              <a:gd name="connsiteY190" fmla="*/ 180332 h 895572"/>
              <a:gd name="connsiteX191" fmla="*/ 586544 w 1090712"/>
              <a:gd name="connsiteY191" fmla="*/ 0 h 895572"/>
              <a:gd name="connsiteX192" fmla="*/ 570150 w 1090712"/>
              <a:gd name="connsiteY192" fmla="*/ 2851 h 895572"/>
              <a:gd name="connsiteX193" fmla="*/ 553519 w 1090712"/>
              <a:gd name="connsiteY193" fmla="*/ 5940 h 895572"/>
              <a:gd name="connsiteX194" fmla="*/ 536650 w 1090712"/>
              <a:gd name="connsiteY194" fmla="*/ 10454 h 895572"/>
              <a:gd name="connsiteX195" fmla="*/ 520256 w 1090712"/>
              <a:gd name="connsiteY195" fmla="*/ 14731 h 895572"/>
              <a:gd name="connsiteX196" fmla="*/ 486993 w 1090712"/>
              <a:gd name="connsiteY196" fmla="*/ 24472 h 895572"/>
              <a:gd name="connsiteX197" fmla="*/ 469887 w 1090712"/>
              <a:gd name="connsiteY197" fmla="*/ 28986 h 895572"/>
              <a:gd name="connsiteX198" fmla="*/ 453493 w 1090712"/>
              <a:gd name="connsiteY198" fmla="*/ 33500 h 895572"/>
              <a:gd name="connsiteX199" fmla="*/ 438762 w 1090712"/>
              <a:gd name="connsiteY199" fmla="*/ 40153 h 895572"/>
              <a:gd name="connsiteX200" fmla="*/ 424507 w 1090712"/>
              <a:gd name="connsiteY200" fmla="*/ 47281 h 895572"/>
              <a:gd name="connsiteX201" fmla="*/ 417379 w 1090712"/>
              <a:gd name="connsiteY201" fmla="*/ 51320 h 895572"/>
              <a:gd name="connsiteX202" fmla="*/ 410727 w 1090712"/>
              <a:gd name="connsiteY202" fmla="*/ 55834 h 895572"/>
              <a:gd name="connsiteX203" fmla="*/ 403599 w 1090712"/>
              <a:gd name="connsiteY203" fmla="*/ 60111 h 895572"/>
              <a:gd name="connsiteX204" fmla="*/ 397422 w 1090712"/>
              <a:gd name="connsiteY204" fmla="*/ 65100 h 895572"/>
              <a:gd name="connsiteX205" fmla="*/ 390769 w 1090712"/>
              <a:gd name="connsiteY205" fmla="*/ 69852 h 895572"/>
              <a:gd name="connsiteX206" fmla="*/ 384592 w 1090712"/>
              <a:gd name="connsiteY206" fmla="*/ 75792 h 895572"/>
              <a:gd name="connsiteX207" fmla="*/ 378889 w 1090712"/>
              <a:gd name="connsiteY207" fmla="*/ 81494 h 895572"/>
              <a:gd name="connsiteX208" fmla="*/ 372950 w 1090712"/>
              <a:gd name="connsiteY208" fmla="*/ 87671 h 895572"/>
              <a:gd name="connsiteX209" fmla="*/ 367723 w 1090712"/>
              <a:gd name="connsiteY209" fmla="*/ 94324 h 895572"/>
              <a:gd name="connsiteX210" fmla="*/ 362733 w 1090712"/>
              <a:gd name="connsiteY210" fmla="*/ 101452 h 895572"/>
              <a:gd name="connsiteX211" fmla="*/ 357981 w 1090712"/>
              <a:gd name="connsiteY211" fmla="*/ 109055 h 895572"/>
              <a:gd name="connsiteX212" fmla="*/ 353467 w 1090712"/>
              <a:gd name="connsiteY212" fmla="*/ 117608 h 895572"/>
              <a:gd name="connsiteX213" fmla="*/ 409064 w 1090712"/>
              <a:gd name="connsiteY213" fmla="*/ 117608 h 895572"/>
              <a:gd name="connsiteX214" fmla="*/ 406925 w 1090712"/>
              <a:gd name="connsiteY214" fmla="*/ 119271 h 895572"/>
              <a:gd name="connsiteX215" fmla="*/ 404074 w 1090712"/>
              <a:gd name="connsiteY215" fmla="*/ 121647 h 895572"/>
              <a:gd name="connsiteX216" fmla="*/ 400510 w 1090712"/>
              <a:gd name="connsiteY216" fmla="*/ 123310 h 895572"/>
              <a:gd name="connsiteX217" fmla="*/ 397422 w 1090712"/>
              <a:gd name="connsiteY217" fmla="*/ 125211 h 895572"/>
              <a:gd name="connsiteX218" fmla="*/ 393383 w 1090712"/>
              <a:gd name="connsiteY218" fmla="*/ 126399 h 895572"/>
              <a:gd name="connsiteX219" fmla="*/ 389581 w 1090712"/>
              <a:gd name="connsiteY219" fmla="*/ 127824 h 895572"/>
              <a:gd name="connsiteX220" fmla="*/ 385542 w 1090712"/>
              <a:gd name="connsiteY220" fmla="*/ 128299 h 895572"/>
              <a:gd name="connsiteX221" fmla="*/ 381503 w 1090712"/>
              <a:gd name="connsiteY221" fmla="*/ 128774 h 895572"/>
              <a:gd name="connsiteX222" fmla="*/ 375326 w 1090712"/>
              <a:gd name="connsiteY222" fmla="*/ 130438 h 895572"/>
              <a:gd name="connsiteX223" fmla="*/ 368435 w 1090712"/>
              <a:gd name="connsiteY223" fmla="*/ 131863 h 895572"/>
              <a:gd name="connsiteX224" fmla="*/ 361783 w 1090712"/>
              <a:gd name="connsiteY224" fmla="*/ 133051 h 895572"/>
              <a:gd name="connsiteX225" fmla="*/ 355606 w 1090712"/>
              <a:gd name="connsiteY225" fmla="*/ 134001 h 895572"/>
              <a:gd name="connsiteX226" fmla="*/ 342300 w 1090712"/>
              <a:gd name="connsiteY226" fmla="*/ 135427 h 895572"/>
              <a:gd name="connsiteX227" fmla="*/ 329471 w 1090712"/>
              <a:gd name="connsiteY227" fmla="*/ 137090 h 895572"/>
              <a:gd name="connsiteX228" fmla="*/ 322818 w 1090712"/>
              <a:gd name="connsiteY228" fmla="*/ 138040 h 895572"/>
              <a:gd name="connsiteX229" fmla="*/ 316403 w 1090712"/>
              <a:gd name="connsiteY229" fmla="*/ 139704 h 895572"/>
              <a:gd name="connsiteX230" fmla="*/ 310226 w 1090712"/>
              <a:gd name="connsiteY230" fmla="*/ 141604 h 895572"/>
              <a:gd name="connsiteX231" fmla="*/ 304048 w 1090712"/>
              <a:gd name="connsiteY231" fmla="*/ 144218 h 895572"/>
              <a:gd name="connsiteX232" fmla="*/ 298346 w 1090712"/>
              <a:gd name="connsiteY232" fmla="*/ 147307 h 895572"/>
              <a:gd name="connsiteX233" fmla="*/ 292406 w 1090712"/>
              <a:gd name="connsiteY233" fmla="*/ 151346 h 895572"/>
              <a:gd name="connsiteX234" fmla="*/ 286704 w 1090712"/>
              <a:gd name="connsiteY234" fmla="*/ 156335 h 895572"/>
              <a:gd name="connsiteX235" fmla="*/ 281240 w 1090712"/>
              <a:gd name="connsiteY235" fmla="*/ 162037 h 895572"/>
              <a:gd name="connsiteX236" fmla="*/ 262232 w 1090712"/>
              <a:gd name="connsiteY236" fmla="*/ 182945 h 895572"/>
              <a:gd name="connsiteX237" fmla="*/ 242987 w 1090712"/>
              <a:gd name="connsiteY237" fmla="*/ 203378 h 895572"/>
              <a:gd name="connsiteX238" fmla="*/ 203547 w 1090712"/>
              <a:gd name="connsiteY238" fmla="*/ 244006 h 895572"/>
              <a:gd name="connsiteX239" fmla="*/ 183827 w 1090712"/>
              <a:gd name="connsiteY239" fmla="*/ 264439 h 895572"/>
              <a:gd name="connsiteX240" fmla="*/ 164345 w 1090712"/>
              <a:gd name="connsiteY240" fmla="*/ 285822 h 895572"/>
              <a:gd name="connsiteX241" fmla="*/ 144862 w 1090712"/>
              <a:gd name="connsiteY241" fmla="*/ 307443 h 895572"/>
              <a:gd name="connsiteX242" fmla="*/ 126093 w 1090712"/>
              <a:gd name="connsiteY242" fmla="*/ 329777 h 895572"/>
              <a:gd name="connsiteX243" fmla="*/ 122054 w 1090712"/>
              <a:gd name="connsiteY243" fmla="*/ 335004 h 895572"/>
              <a:gd name="connsiteX244" fmla="*/ 118015 w 1090712"/>
              <a:gd name="connsiteY244" fmla="*/ 340468 h 895572"/>
              <a:gd name="connsiteX245" fmla="*/ 110887 w 1090712"/>
              <a:gd name="connsiteY245" fmla="*/ 352110 h 895572"/>
              <a:gd name="connsiteX246" fmla="*/ 104709 w 1090712"/>
              <a:gd name="connsiteY246" fmla="*/ 363514 h 895572"/>
              <a:gd name="connsiteX247" fmla="*/ 99007 w 1090712"/>
              <a:gd name="connsiteY247" fmla="*/ 375156 h 895572"/>
              <a:gd name="connsiteX248" fmla="*/ 87840 w 1090712"/>
              <a:gd name="connsiteY248" fmla="*/ 400103 h 895572"/>
              <a:gd name="connsiteX249" fmla="*/ 82138 w 1090712"/>
              <a:gd name="connsiteY249" fmla="*/ 412458 h 895572"/>
              <a:gd name="connsiteX250" fmla="*/ 75723 w 1090712"/>
              <a:gd name="connsiteY250" fmla="*/ 425050 h 895572"/>
              <a:gd name="connsiteX251" fmla="*/ 75723 w 1090712"/>
              <a:gd name="connsiteY251" fmla="*/ 429802 h 895572"/>
              <a:gd name="connsiteX252" fmla="*/ 76674 w 1090712"/>
              <a:gd name="connsiteY252" fmla="*/ 436217 h 895572"/>
              <a:gd name="connsiteX253" fmla="*/ 77149 w 1090712"/>
              <a:gd name="connsiteY253" fmla="*/ 439306 h 895572"/>
              <a:gd name="connsiteX254" fmla="*/ 78574 w 1090712"/>
              <a:gd name="connsiteY254" fmla="*/ 442395 h 895572"/>
              <a:gd name="connsiteX255" fmla="*/ 79762 w 1090712"/>
              <a:gd name="connsiteY255" fmla="*/ 445008 h 895572"/>
              <a:gd name="connsiteX256" fmla="*/ 81663 w 1090712"/>
              <a:gd name="connsiteY256" fmla="*/ 447147 h 895572"/>
              <a:gd name="connsiteX257" fmla="*/ 94018 w 1090712"/>
              <a:gd name="connsiteY257" fmla="*/ 468055 h 895572"/>
              <a:gd name="connsiteX258" fmla="*/ 106848 w 1090712"/>
              <a:gd name="connsiteY258" fmla="*/ 488963 h 895572"/>
              <a:gd name="connsiteX259" fmla="*/ 113975 w 1090712"/>
              <a:gd name="connsiteY259" fmla="*/ 499654 h 895572"/>
              <a:gd name="connsiteX260" fmla="*/ 121103 w 1090712"/>
              <a:gd name="connsiteY260" fmla="*/ 510346 h 895572"/>
              <a:gd name="connsiteX261" fmla="*/ 128706 w 1090712"/>
              <a:gd name="connsiteY261" fmla="*/ 520562 h 895572"/>
              <a:gd name="connsiteX262" fmla="*/ 137259 w 1090712"/>
              <a:gd name="connsiteY262" fmla="*/ 531254 h 895572"/>
              <a:gd name="connsiteX263" fmla="*/ 149614 w 1090712"/>
              <a:gd name="connsiteY263" fmla="*/ 514385 h 895572"/>
              <a:gd name="connsiteX264" fmla="*/ 162206 w 1090712"/>
              <a:gd name="connsiteY264" fmla="*/ 498466 h 895572"/>
              <a:gd name="connsiteX265" fmla="*/ 174561 w 1090712"/>
              <a:gd name="connsiteY265" fmla="*/ 483260 h 895572"/>
              <a:gd name="connsiteX266" fmla="*/ 180739 w 1090712"/>
              <a:gd name="connsiteY266" fmla="*/ 476133 h 895572"/>
              <a:gd name="connsiteX267" fmla="*/ 186916 w 1090712"/>
              <a:gd name="connsiteY267" fmla="*/ 469480 h 895572"/>
              <a:gd name="connsiteX268" fmla="*/ 182639 w 1090712"/>
              <a:gd name="connsiteY268" fmla="*/ 482310 h 895572"/>
              <a:gd name="connsiteX269" fmla="*/ 178125 w 1090712"/>
              <a:gd name="connsiteY269" fmla="*/ 495615 h 895572"/>
              <a:gd name="connsiteX270" fmla="*/ 172423 w 1090712"/>
              <a:gd name="connsiteY270" fmla="*/ 509871 h 895572"/>
              <a:gd name="connsiteX271" fmla="*/ 164820 w 1090712"/>
              <a:gd name="connsiteY271" fmla="*/ 525552 h 895572"/>
              <a:gd name="connsiteX272" fmla="*/ 156267 w 1090712"/>
              <a:gd name="connsiteY272" fmla="*/ 538381 h 895572"/>
              <a:gd name="connsiteX273" fmla="*/ 152703 w 1090712"/>
              <a:gd name="connsiteY273" fmla="*/ 544559 h 895572"/>
              <a:gd name="connsiteX274" fmla="*/ 148664 w 1090712"/>
              <a:gd name="connsiteY274" fmla="*/ 551449 h 895572"/>
              <a:gd name="connsiteX275" fmla="*/ 145100 w 1090712"/>
              <a:gd name="connsiteY275" fmla="*/ 558339 h 895572"/>
              <a:gd name="connsiteX276" fmla="*/ 142011 w 1090712"/>
              <a:gd name="connsiteY276" fmla="*/ 565467 h 895572"/>
              <a:gd name="connsiteX277" fmla="*/ 139398 w 1090712"/>
              <a:gd name="connsiteY277" fmla="*/ 573070 h 895572"/>
              <a:gd name="connsiteX278" fmla="*/ 137259 w 1090712"/>
              <a:gd name="connsiteY278" fmla="*/ 581623 h 895572"/>
              <a:gd name="connsiteX279" fmla="*/ 136309 w 1090712"/>
              <a:gd name="connsiteY279" fmla="*/ 583761 h 895572"/>
              <a:gd name="connsiteX280" fmla="*/ 135359 w 1090712"/>
              <a:gd name="connsiteY280" fmla="*/ 586137 h 895572"/>
              <a:gd name="connsiteX281" fmla="*/ 134883 w 1090712"/>
              <a:gd name="connsiteY281" fmla="*/ 590889 h 895572"/>
              <a:gd name="connsiteX282" fmla="*/ 134883 w 1090712"/>
              <a:gd name="connsiteY282" fmla="*/ 595879 h 895572"/>
              <a:gd name="connsiteX283" fmla="*/ 135359 w 1090712"/>
              <a:gd name="connsiteY283" fmla="*/ 601106 h 895572"/>
              <a:gd name="connsiteX284" fmla="*/ 136784 w 1090712"/>
              <a:gd name="connsiteY284" fmla="*/ 606095 h 895572"/>
              <a:gd name="connsiteX285" fmla="*/ 138447 w 1090712"/>
              <a:gd name="connsiteY285" fmla="*/ 611322 h 895572"/>
              <a:gd name="connsiteX286" fmla="*/ 140348 w 1090712"/>
              <a:gd name="connsiteY286" fmla="*/ 616311 h 895572"/>
              <a:gd name="connsiteX287" fmla="*/ 142486 w 1090712"/>
              <a:gd name="connsiteY287" fmla="*/ 620826 h 895572"/>
              <a:gd name="connsiteX288" fmla="*/ 148664 w 1090712"/>
              <a:gd name="connsiteY288" fmla="*/ 629616 h 895572"/>
              <a:gd name="connsiteX289" fmla="*/ 155554 w 1090712"/>
              <a:gd name="connsiteY289" fmla="*/ 637219 h 895572"/>
              <a:gd name="connsiteX290" fmla="*/ 162444 w 1090712"/>
              <a:gd name="connsiteY290" fmla="*/ 643872 h 895572"/>
              <a:gd name="connsiteX291" fmla="*/ 169572 w 1090712"/>
              <a:gd name="connsiteY291" fmla="*/ 649099 h 895572"/>
              <a:gd name="connsiteX292" fmla="*/ 177175 w 1090712"/>
              <a:gd name="connsiteY292" fmla="*/ 653613 h 895572"/>
              <a:gd name="connsiteX293" fmla="*/ 184778 w 1090712"/>
              <a:gd name="connsiteY293" fmla="*/ 657177 h 895572"/>
              <a:gd name="connsiteX294" fmla="*/ 192856 w 1090712"/>
              <a:gd name="connsiteY294" fmla="*/ 659553 h 895572"/>
              <a:gd name="connsiteX295" fmla="*/ 200934 w 1090712"/>
              <a:gd name="connsiteY295" fmla="*/ 661216 h 895572"/>
              <a:gd name="connsiteX296" fmla="*/ 209250 w 1090712"/>
              <a:gd name="connsiteY296" fmla="*/ 661691 h 895572"/>
              <a:gd name="connsiteX297" fmla="*/ 218278 w 1090712"/>
              <a:gd name="connsiteY297" fmla="*/ 661691 h 895572"/>
              <a:gd name="connsiteX298" fmla="*/ 227069 w 1090712"/>
              <a:gd name="connsiteY298" fmla="*/ 660266 h 895572"/>
              <a:gd name="connsiteX299" fmla="*/ 236335 w 1090712"/>
              <a:gd name="connsiteY299" fmla="*/ 658603 h 895572"/>
              <a:gd name="connsiteX300" fmla="*/ 245838 w 1090712"/>
              <a:gd name="connsiteY300" fmla="*/ 655514 h 895572"/>
              <a:gd name="connsiteX301" fmla="*/ 255580 w 1090712"/>
              <a:gd name="connsiteY301" fmla="*/ 652425 h 895572"/>
              <a:gd name="connsiteX302" fmla="*/ 265321 w 1090712"/>
              <a:gd name="connsiteY302" fmla="*/ 647911 h 895572"/>
              <a:gd name="connsiteX303" fmla="*/ 276013 w 1090712"/>
              <a:gd name="connsiteY303" fmla="*/ 642922 h 895572"/>
              <a:gd name="connsiteX304" fmla="*/ 288367 w 1090712"/>
              <a:gd name="connsiteY304" fmla="*/ 635081 h 895572"/>
              <a:gd name="connsiteX305" fmla="*/ 301910 w 1090712"/>
              <a:gd name="connsiteY305" fmla="*/ 627478 h 895572"/>
              <a:gd name="connsiteX306" fmla="*/ 315215 w 1090712"/>
              <a:gd name="connsiteY306" fmla="*/ 620350 h 895572"/>
              <a:gd name="connsiteX307" fmla="*/ 329471 w 1090712"/>
              <a:gd name="connsiteY307" fmla="*/ 613698 h 895572"/>
              <a:gd name="connsiteX308" fmla="*/ 343726 w 1090712"/>
              <a:gd name="connsiteY308" fmla="*/ 607283 h 895572"/>
              <a:gd name="connsiteX309" fmla="*/ 357981 w 1090712"/>
              <a:gd name="connsiteY309" fmla="*/ 602056 h 895572"/>
              <a:gd name="connsiteX310" fmla="*/ 371999 w 1090712"/>
              <a:gd name="connsiteY310" fmla="*/ 597066 h 895572"/>
              <a:gd name="connsiteX311" fmla="*/ 386730 w 1090712"/>
              <a:gd name="connsiteY311" fmla="*/ 592790 h 895572"/>
              <a:gd name="connsiteX312" fmla="*/ 394808 w 1090712"/>
              <a:gd name="connsiteY312" fmla="*/ 590414 h 895572"/>
              <a:gd name="connsiteX313" fmla="*/ 402411 w 1090712"/>
              <a:gd name="connsiteY313" fmla="*/ 587325 h 895572"/>
              <a:gd name="connsiteX314" fmla="*/ 409064 w 1090712"/>
              <a:gd name="connsiteY314" fmla="*/ 583761 h 895572"/>
              <a:gd name="connsiteX315" fmla="*/ 411677 w 1090712"/>
              <a:gd name="connsiteY315" fmla="*/ 581623 h 895572"/>
              <a:gd name="connsiteX316" fmla="*/ 414766 w 1090712"/>
              <a:gd name="connsiteY316" fmla="*/ 579247 h 895572"/>
              <a:gd name="connsiteX317" fmla="*/ 417142 w 1090712"/>
              <a:gd name="connsiteY317" fmla="*/ 577109 h 895572"/>
              <a:gd name="connsiteX318" fmla="*/ 419280 w 1090712"/>
              <a:gd name="connsiteY318" fmla="*/ 574495 h 895572"/>
              <a:gd name="connsiteX319" fmla="*/ 420943 w 1090712"/>
              <a:gd name="connsiteY319" fmla="*/ 571407 h 895572"/>
              <a:gd name="connsiteX320" fmla="*/ 422844 w 1090712"/>
              <a:gd name="connsiteY320" fmla="*/ 568318 h 895572"/>
              <a:gd name="connsiteX321" fmla="*/ 424269 w 1090712"/>
              <a:gd name="connsiteY321" fmla="*/ 565229 h 895572"/>
              <a:gd name="connsiteX322" fmla="*/ 424982 w 1090712"/>
              <a:gd name="connsiteY322" fmla="*/ 561665 h 895572"/>
              <a:gd name="connsiteX323" fmla="*/ 425457 w 1090712"/>
              <a:gd name="connsiteY323" fmla="*/ 557626 h 895572"/>
              <a:gd name="connsiteX324" fmla="*/ 425932 w 1090712"/>
              <a:gd name="connsiteY324" fmla="*/ 553587 h 895572"/>
              <a:gd name="connsiteX325" fmla="*/ 425932 w 1090712"/>
              <a:gd name="connsiteY325" fmla="*/ 413884 h 895572"/>
              <a:gd name="connsiteX326" fmla="*/ 425932 w 1090712"/>
              <a:gd name="connsiteY326" fmla="*/ 285347 h 895572"/>
              <a:gd name="connsiteX327" fmla="*/ 429496 w 1090712"/>
              <a:gd name="connsiteY327" fmla="*/ 300078 h 895572"/>
              <a:gd name="connsiteX328" fmla="*/ 433060 w 1090712"/>
              <a:gd name="connsiteY328" fmla="*/ 314096 h 895572"/>
              <a:gd name="connsiteX329" fmla="*/ 436149 w 1090712"/>
              <a:gd name="connsiteY329" fmla="*/ 328826 h 895572"/>
              <a:gd name="connsiteX330" fmla="*/ 438762 w 1090712"/>
              <a:gd name="connsiteY330" fmla="*/ 343082 h 895572"/>
              <a:gd name="connsiteX331" fmla="*/ 443752 w 1090712"/>
              <a:gd name="connsiteY331" fmla="*/ 370642 h 895572"/>
              <a:gd name="connsiteX332" fmla="*/ 447791 w 1090712"/>
              <a:gd name="connsiteY332" fmla="*/ 397015 h 895572"/>
              <a:gd name="connsiteX333" fmla="*/ 451830 w 1090712"/>
              <a:gd name="connsiteY333" fmla="*/ 421962 h 895572"/>
              <a:gd name="connsiteX334" fmla="*/ 454919 w 1090712"/>
              <a:gd name="connsiteY334" fmla="*/ 446434 h 895572"/>
              <a:gd name="connsiteX335" fmla="*/ 456106 w 1090712"/>
              <a:gd name="connsiteY335" fmla="*/ 458313 h 895572"/>
              <a:gd name="connsiteX336" fmla="*/ 457057 w 1090712"/>
              <a:gd name="connsiteY336" fmla="*/ 470430 h 895572"/>
              <a:gd name="connsiteX337" fmla="*/ 457532 w 1090712"/>
              <a:gd name="connsiteY337" fmla="*/ 482310 h 895572"/>
              <a:gd name="connsiteX338" fmla="*/ 457532 w 1090712"/>
              <a:gd name="connsiteY338" fmla="*/ 493952 h 895572"/>
              <a:gd name="connsiteX339" fmla="*/ 457532 w 1090712"/>
              <a:gd name="connsiteY339" fmla="*/ 506069 h 895572"/>
              <a:gd name="connsiteX340" fmla="*/ 456582 w 1090712"/>
              <a:gd name="connsiteY340" fmla="*/ 517473 h 895572"/>
              <a:gd name="connsiteX341" fmla="*/ 455869 w 1090712"/>
              <a:gd name="connsiteY341" fmla="*/ 529116 h 895572"/>
              <a:gd name="connsiteX342" fmla="*/ 453968 w 1090712"/>
              <a:gd name="connsiteY342" fmla="*/ 540757 h 895572"/>
              <a:gd name="connsiteX343" fmla="*/ 452305 w 1090712"/>
              <a:gd name="connsiteY343" fmla="*/ 552162 h 895572"/>
              <a:gd name="connsiteX344" fmla="*/ 449454 w 1090712"/>
              <a:gd name="connsiteY344" fmla="*/ 563804 h 895572"/>
              <a:gd name="connsiteX345" fmla="*/ 446365 w 1090712"/>
              <a:gd name="connsiteY345" fmla="*/ 575446 h 895572"/>
              <a:gd name="connsiteX346" fmla="*/ 442326 w 1090712"/>
              <a:gd name="connsiteY346" fmla="*/ 586850 h 895572"/>
              <a:gd name="connsiteX347" fmla="*/ 440188 w 1090712"/>
              <a:gd name="connsiteY347" fmla="*/ 591364 h 895572"/>
              <a:gd name="connsiteX348" fmla="*/ 437574 w 1090712"/>
              <a:gd name="connsiteY348" fmla="*/ 595403 h 895572"/>
              <a:gd name="connsiteX349" fmla="*/ 434486 w 1090712"/>
              <a:gd name="connsiteY349" fmla="*/ 598967 h 895572"/>
              <a:gd name="connsiteX350" fmla="*/ 431397 w 1090712"/>
              <a:gd name="connsiteY350" fmla="*/ 602531 h 895572"/>
              <a:gd name="connsiteX351" fmla="*/ 428071 w 1090712"/>
              <a:gd name="connsiteY351" fmla="*/ 605145 h 895572"/>
              <a:gd name="connsiteX352" fmla="*/ 424982 w 1090712"/>
              <a:gd name="connsiteY352" fmla="*/ 607283 h 895572"/>
              <a:gd name="connsiteX353" fmla="*/ 422369 w 1090712"/>
              <a:gd name="connsiteY353" fmla="*/ 608708 h 895572"/>
              <a:gd name="connsiteX354" fmla="*/ 420230 w 1090712"/>
              <a:gd name="connsiteY354" fmla="*/ 609659 h 895572"/>
              <a:gd name="connsiteX355" fmla="*/ 410727 w 1090712"/>
              <a:gd name="connsiteY355" fmla="*/ 610847 h 895572"/>
              <a:gd name="connsiteX356" fmla="*/ 401461 w 1090712"/>
              <a:gd name="connsiteY356" fmla="*/ 612748 h 895572"/>
              <a:gd name="connsiteX357" fmla="*/ 392670 w 1090712"/>
              <a:gd name="connsiteY357" fmla="*/ 614886 h 895572"/>
              <a:gd name="connsiteX358" fmla="*/ 383641 w 1090712"/>
              <a:gd name="connsiteY358" fmla="*/ 617262 h 895572"/>
              <a:gd name="connsiteX359" fmla="*/ 374850 w 1090712"/>
              <a:gd name="connsiteY359" fmla="*/ 620350 h 895572"/>
              <a:gd name="connsiteX360" fmla="*/ 365822 w 1090712"/>
              <a:gd name="connsiteY360" fmla="*/ 623914 h 895572"/>
              <a:gd name="connsiteX361" fmla="*/ 348478 w 1090712"/>
              <a:gd name="connsiteY361" fmla="*/ 631042 h 895572"/>
              <a:gd name="connsiteX362" fmla="*/ 331609 w 1090712"/>
              <a:gd name="connsiteY362" fmla="*/ 639358 h 895572"/>
              <a:gd name="connsiteX363" fmla="*/ 314740 w 1090712"/>
              <a:gd name="connsiteY363" fmla="*/ 647911 h 895572"/>
              <a:gd name="connsiteX364" fmla="*/ 281240 w 1090712"/>
              <a:gd name="connsiteY364" fmla="*/ 665255 h 895572"/>
              <a:gd name="connsiteX365" fmla="*/ 274587 w 1090712"/>
              <a:gd name="connsiteY365" fmla="*/ 669294 h 895572"/>
              <a:gd name="connsiteX366" fmla="*/ 267935 w 1090712"/>
              <a:gd name="connsiteY366" fmla="*/ 672858 h 895572"/>
              <a:gd name="connsiteX367" fmla="*/ 261757 w 1090712"/>
              <a:gd name="connsiteY367" fmla="*/ 675947 h 895572"/>
              <a:gd name="connsiteX368" fmla="*/ 255105 w 1090712"/>
              <a:gd name="connsiteY368" fmla="*/ 679035 h 895572"/>
              <a:gd name="connsiteX369" fmla="*/ 248927 w 1090712"/>
              <a:gd name="connsiteY369" fmla="*/ 681174 h 895572"/>
              <a:gd name="connsiteX370" fmla="*/ 242987 w 1090712"/>
              <a:gd name="connsiteY370" fmla="*/ 683075 h 895572"/>
              <a:gd name="connsiteX371" fmla="*/ 236810 w 1090712"/>
              <a:gd name="connsiteY371" fmla="*/ 684738 h 895572"/>
              <a:gd name="connsiteX372" fmla="*/ 231108 w 1090712"/>
              <a:gd name="connsiteY372" fmla="*/ 686163 h 895572"/>
              <a:gd name="connsiteX373" fmla="*/ 225406 w 1090712"/>
              <a:gd name="connsiteY373" fmla="*/ 687114 h 895572"/>
              <a:gd name="connsiteX374" fmla="*/ 219466 w 1090712"/>
              <a:gd name="connsiteY374" fmla="*/ 687589 h 895572"/>
              <a:gd name="connsiteX375" fmla="*/ 213764 w 1090712"/>
              <a:gd name="connsiteY375" fmla="*/ 687589 h 895572"/>
              <a:gd name="connsiteX376" fmla="*/ 208299 w 1090712"/>
              <a:gd name="connsiteY376" fmla="*/ 687589 h 895572"/>
              <a:gd name="connsiteX377" fmla="*/ 203072 w 1090712"/>
              <a:gd name="connsiteY377" fmla="*/ 687114 h 895572"/>
              <a:gd name="connsiteX378" fmla="*/ 197607 w 1090712"/>
              <a:gd name="connsiteY378" fmla="*/ 686163 h 895572"/>
              <a:gd name="connsiteX379" fmla="*/ 192380 w 1090712"/>
              <a:gd name="connsiteY379" fmla="*/ 684738 h 895572"/>
              <a:gd name="connsiteX380" fmla="*/ 186916 w 1090712"/>
              <a:gd name="connsiteY380" fmla="*/ 683550 h 895572"/>
              <a:gd name="connsiteX381" fmla="*/ 181689 w 1090712"/>
              <a:gd name="connsiteY381" fmla="*/ 681649 h 895572"/>
              <a:gd name="connsiteX382" fmla="*/ 176699 w 1090712"/>
              <a:gd name="connsiteY382" fmla="*/ 679986 h 895572"/>
              <a:gd name="connsiteX383" fmla="*/ 171472 w 1090712"/>
              <a:gd name="connsiteY383" fmla="*/ 677610 h 895572"/>
              <a:gd name="connsiteX384" fmla="*/ 166483 w 1090712"/>
              <a:gd name="connsiteY384" fmla="*/ 674996 h 895572"/>
              <a:gd name="connsiteX385" fmla="*/ 156742 w 1090712"/>
              <a:gd name="connsiteY385" fmla="*/ 669294 h 895572"/>
              <a:gd name="connsiteX386" fmla="*/ 147001 w 1090712"/>
              <a:gd name="connsiteY386" fmla="*/ 662167 h 895572"/>
              <a:gd name="connsiteX387" fmla="*/ 137735 w 1090712"/>
              <a:gd name="connsiteY387" fmla="*/ 654564 h 895572"/>
              <a:gd name="connsiteX388" fmla="*/ 127756 w 1090712"/>
              <a:gd name="connsiteY388" fmla="*/ 645535 h 895572"/>
              <a:gd name="connsiteX389" fmla="*/ 118490 w 1090712"/>
              <a:gd name="connsiteY389" fmla="*/ 636269 h 895572"/>
              <a:gd name="connsiteX390" fmla="*/ 109224 w 1090712"/>
              <a:gd name="connsiteY390" fmla="*/ 626053 h 895572"/>
              <a:gd name="connsiteX391" fmla="*/ 107323 w 1090712"/>
              <a:gd name="connsiteY391" fmla="*/ 623914 h 895572"/>
              <a:gd name="connsiteX392" fmla="*/ 106135 w 1090712"/>
              <a:gd name="connsiteY392" fmla="*/ 620350 h 895572"/>
              <a:gd name="connsiteX393" fmla="*/ 105185 w 1090712"/>
              <a:gd name="connsiteY393" fmla="*/ 616311 h 895572"/>
              <a:gd name="connsiteX394" fmla="*/ 105185 w 1090712"/>
              <a:gd name="connsiteY394" fmla="*/ 612272 h 895572"/>
              <a:gd name="connsiteX395" fmla="*/ 105185 w 1090712"/>
              <a:gd name="connsiteY395" fmla="*/ 608233 h 895572"/>
              <a:gd name="connsiteX396" fmla="*/ 106135 w 1090712"/>
              <a:gd name="connsiteY396" fmla="*/ 604194 h 895572"/>
              <a:gd name="connsiteX397" fmla="*/ 107323 w 1090712"/>
              <a:gd name="connsiteY397" fmla="*/ 600630 h 895572"/>
              <a:gd name="connsiteX398" fmla="*/ 109224 w 1090712"/>
              <a:gd name="connsiteY398" fmla="*/ 598017 h 895572"/>
              <a:gd name="connsiteX399" fmla="*/ 111837 w 1090712"/>
              <a:gd name="connsiteY399" fmla="*/ 591840 h 895572"/>
              <a:gd name="connsiteX400" fmla="*/ 113975 w 1090712"/>
              <a:gd name="connsiteY400" fmla="*/ 586137 h 895572"/>
              <a:gd name="connsiteX401" fmla="*/ 115401 w 1090712"/>
              <a:gd name="connsiteY401" fmla="*/ 579722 h 895572"/>
              <a:gd name="connsiteX402" fmla="*/ 115876 w 1090712"/>
              <a:gd name="connsiteY402" fmla="*/ 574020 h 895572"/>
              <a:gd name="connsiteX403" fmla="*/ 115876 w 1090712"/>
              <a:gd name="connsiteY403" fmla="*/ 568318 h 895572"/>
              <a:gd name="connsiteX404" fmla="*/ 115401 w 1090712"/>
              <a:gd name="connsiteY404" fmla="*/ 562378 h 895572"/>
              <a:gd name="connsiteX405" fmla="*/ 114451 w 1090712"/>
              <a:gd name="connsiteY405" fmla="*/ 557151 h 895572"/>
              <a:gd name="connsiteX406" fmla="*/ 112788 w 1090712"/>
              <a:gd name="connsiteY406" fmla="*/ 551449 h 895572"/>
              <a:gd name="connsiteX407" fmla="*/ 110412 w 1090712"/>
              <a:gd name="connsiteY407" fmla="*/ 545984 h 895572"/>
              <a:gd name="connsiteX408" fmla="*/ 108273 w 1090712"/>
              <a:gd name="connsiteY408" fmla="*/ 540757 h 895572"/>
              <a:gd name="connsiteX409" fmla="*/ 105185 w 1090712"/>
              <a:gd name="connsiteY409" fmla="*/ 535293 h 895572"/>
              <a:gd name="connsiteX410" fmla="*/ 102096 w 1090712"/>
              <a:gd name="connsiteY410" fmla="*/ 530066 h 895572"/>
              <a:gd name="connsiteX411" fmla="*/ 94968 w 1090712"/>
              <a:gd name="connsiteY411" fmla="*/ 519374 h 895572"/>
              <a:gd name="connsiteX412" fmla="*/ 86890 w 1090712"/>
              <a:gd name="connsiteY412" fmla="*/ 508683 h 895572"/>
              <a:gd name="connsiteX413" fmla="*/ 78812 w 1090712"/>
              <a:gd name="connsiteY413" fmla="*/ 497991 h 895572"/>
              <a:gd name="connsiteX414" fmla="*/ 70972 w 1090712"/>
              <a:gd name="connsiteY414" fmla="*/ 486824 h 895572"/>
              <a:gd name="connsiteX415" fmla="*/ 67408 w 1090712"/>
              <a:gd name="connsiteY415" fmla="*/ 481122 h 895572"/>
              <a:gd name="connsiteX416" fmla="*/ 64319 w 1090712"/>
              <a:gd name="connsiteY416" fmla="*/ 474707 h 895572"/>
              <a:gd name="connsiteX417" fmla="*/ 61230 w 1090712"/>
              <a:gd name="connsiteY417" fmla="*/ 469005 h 895572"/>
              <a:gd name="connsiteX418" fmla="*/ 58379 w 1090712"/>
              <a:gd name="connsiteY418" fmla="*/ 462828 h 895572"/>
              <a:gd name="connsiteX419" fmla="*/ 56716 w 1090712"/>
              <a:gd name="connsiteY419" fmla="*/ 456175 h 895572"/>
              <a:gd name="connsiteX420" fmla="*/ 54815 w 1090712"/>
              <a:gd name="connsiteY420" fmla="*/ 449998 h 895572"/>
              <a:gd name="connsiteX421" fmla="*/ 54103 w 1090712"/>
              <a:gd name="connsiteY421" fmla="*/ 443345 h 895572"/>
              <a:gd name="connsiteX422" fmla="*/ 53627 w 1090712"/>
              <a:gd name="connsiteY422" fmla="*/ 436455 h 895572"/>
              <a:gd name="connsiteX423" fmla="*/ 53627 w 1090712"/>
              <a:gd name="connsiteY423" fmla="*/ 429327 h 895572"/>
              <a:gd name="connsiteX424" fmla="*/ 54815 w 1090712"/>
              <a:gd name="connsiteY424" fmla="*/ 422675 h 895572"/>
              <a:gd name="connsiteX425" fmla="*/ 56716 w 1090712"/>
              <a:gd name="connsiteY425" fmla="*/ 415547 h 895572"/>
              <a:gd name="connsiteX426" fmla="*/ 59330 w 1090712"/>
              <a:gd name="connsiteY426" fmla="*/ 408182 h 895572"/>
              <a:gd name="connsiteX427" fmla="*/ 60280 w 1090712"/>
              <a:gd name="connsiteY427" fmla="*/ 403192 h 895572"/>
              <a:gd name="connsiteX428" fmla="*/ 61943 w 1090712"/>
              <a:gd name="connsiteY428" fmla="*/ 397965 h 895572"/>
              <a:gd name="connsiteX429" fmla="*/ 65507 w 1090712"/>
              <a:gd name="connsiteY429" fmla="*/ 387986 h 895572"/>
              <a:gd name="connsiteX430" fmla="*/ 69546 w 1090712"/>
              <a:gd name="connsiteY430" fmla="*/ 378720 h 895572"/>
              <a:gd name="connsiteX431" fmla="*/ 74535 w 1090712"/>
              <a:gd name="connsiteY431" fmla="*/ 369929 h 895572"/>
              <a:gd name="connsiteX432" fmla="*/ 79762 w 1090712"/>
              <a:gd name="connsiteY432" fmla="*/ 360901 h 895572"/>
              <a:gd name="connsiteX433" fmla="*/ 85940 w 1090712"/>
              <a:gd name="connsiteY433" fmla="*/ 352585 h 895572"/>
              <a:gd name="connsiteX434" fmla="*/ 98057 w 1090712"/>
              <a:gd name="connsiteY434" fmla="*/ 335479 h 895572"/>
              <a:gd name="connsiteX435" fmla="*/ 102571 w 1090712"/>
              <a:gd name="connsiteY435" fmla="*/ 328113 h 895572"/>
              <a:gd name="connsiteX436" fmla="*/ 106848 w 1090712"/>
              <a:gd name="connsiteY436" fmla="*/ 320986 h 895572"/>
              <a:gd name="connsiteX437" fmla="*/ 116827 w 1090712"/>
              <a:gd name="connsiteY437" fmla="*/ 307205 h 895572"/>
              <a:gd name="connsiteX438" fmla="*/ 127043 w 1090712"/>
              <a:gd name="connsiteY438" fmla="*/ 293188 h 895572"/>
              <a:gd name="connsiteX439" fmla="*/ 137735 w 1090712"/>
              <a:gd name="connsiteY439" fmla="*/ 279407 h 895572"/>
              <a:gd name="connsiteX440" fmla="*/ 159831 w 1090712"/>
              <a:gd name="connsiteY440" fmla="*/ 251847 h 895572"/>
              <a:gd name="connsiteX441" fmla="*/ 170522 w 1090712"/>
              <a:gd name="connsiteY441" fmla="*/ 238066 h 895572"/>
              <a:gd name="connsiteX442" fmla="*/ 181214 w 1090712"/>
              <a:gd name="connsiteY442" fmla="*/ 223336 h 895572"/>
              <a:gd name="connsiteX443" fmla="*/ 164820 w 1090712"/>
              <a:gd name="connsiteY443" fmla="*/ 223336 h 895572"/>
              <a:gd name="connsiteX444" fmla="*/ 137972 w 1090712"/>
              <a:gd name="connsiteY444" fmla="*/ 230226 h 895572"/>
              <a:gd name="connsiteX445" fmla="*/ 125142 w 1090712"/>
              <a:gd name="connsiteY445" fmla="*/ 233790 h 895572"/>
              <a:gd name="connsiteX446" fmla="*/ 112788 w 1090712"/>
              <a:gd name="connsiteY446" fmla="*/ 237591 h 895572"/>
              <a:gd name="connsiteX447" fmla="*/ 100195 w 1090712"/>
              <a:gd name="connsiteY447" fmla="*/ 241630 h 895572"/>
              <a:gd name="connsiteX448" fmla="*/ 87840 w 1090712"/>
              <a:gd name="connsiteY448" fmla="*/ 245669 h 895572"/>
              <a:gd name="connsiteX449" fmla="*/ 75723 w 1090712"/>
              <a:gd name="connsiteY449" fmla="*/ 250183 h 895572"/>
              <a:gd name="connsiteX450" fmla="*/ 64319 w 1090712"/>
              <a:gd name="connsiteY450" fmla="*/ 254935 h 895572"/>
              <a:gd name="connsiteX451" fmla="*/ 52677 w 1090712"/>
              <a:gd name="connsiteY451" fmla="*/ 260400 h 895572"/>
              <a:gd name="connsiteX452" fmla="*/ 41035 w 1090712"/>
              <a:gd name="connsiteY452" fmla="*/ 265627 h 895572"/>
              <a:gd name="connsiteX453" fmla="*/ 29868 w 1090712"/>
              <a:gd name="connsiteY453" fmla="*/ 271567 h 895572"/>
              <a:gd name="connsiteX454" fmla="*/ 18939 w 1090712"/>
              <a:gd name="connsiteY454" fmla="*/ 277744 h 895572"/>
              <a:gd name="connsiteX455" fmla="*/ 7772 w 1090712"/>
              <a:gd name="connsiteY455" fmla="*/ 284397 h 895572"/>
              <a:gd name="connsiteX456" fmla="*/ 0 w 1090712"/>
              <a:gd name="connsiteY456" fmla="*/ 289924 h 895572"/>
              <a:gd name="connsiteX457" fmla="*/ 0 w 1090712"/>
              <a:gd name="connsiteY457" fmla="*/ 895572 h 895572"/>
              <a:gd name="connsiteX458" fmla="*/ 125653 w 1090712"/>
              <a:gd name="connsiteY458" fmla="*/ 895572 h 895572"/>
              <a:gd name="connsiteX459" fmla="*/ 127756 w 1090712"/>
              <a:gd name="connsiteY459" fmla="*/ 892155 h 895572"/>
              <a:gd name="connsiteX460" fmla="*/ 131082 w 1090712"/>
              <a:gd name="connsiteY460" fmla="*/ 885502 h 895572"/>
              <a:gd name="connsiteX461" fmla="*/ 133696 w 1090712"/>
              <a:gd name="connsiteY461" fmla="*/ 878374 h 895572"/>
              <a:gd name="connsiteX462" fmla="*/ 135834 w 1090712"/>
              <a:gd name="connsiteY462" fmla="*/ 871722 h 895572"/>
              <a:gd name="connsiteX463" fmla="*/ 137735 w 1090712"/>
              <a:gd name="connsiteY463" fmla="*/ 864594 h 895572"/>
              <a:gd name="connsiteX464" fmla="*/ 138923 w 1090712"/>
              <a:gd name="connsiteY464" fmla="*/ 857466 h 895572"/>
              <a:gd name="connsiteX465" fmla="*/ 140348 w 1090712"/>
              <a:gd name="connsiteY465" fmla="*/ 850339 h 895572"/>
              <a:gd name="connsiteX466" fmla="*/ 141298 w 1090712"/>
              <a:gd name="connsiteY466" fmla="*/ 843211 h 895572"/>
              <a:gd name="connsiteX467" fmla="*/ 142011 w 1090712"/>
              <a:gd name="connsiteY467" fmla="*/ 828955 h 895572"/>
              <a:gd name="connsiteX468" fmla="*/ 142486 w 1090712"/>
              <a:gd name="connsiteY468" fmla="*/ 814225 h 895572"/>
              <a:gd name="connsiteX469" fmla="*/ 142486 w 1090712"/>
              <a:gd name="connsiteY469" fmla="*/ 799494 h 895572"/>
              <a:gd name="connsiteX470" fmla="*/ 142486 w 1090712"/>
              <a:gd name="connsiteY470" fmla="*/ 782625 h 895572"/>
              <a:gd name="connsiteX471" fmla="*/ 142486 w 1090712"/>
              <a:gd name="connsiteY471" fmla="*/ 771458 h 895572"/>
              <a:gd name="connsiteX472" fmla="*/ 143912 w 1090712"/>
              <a:gd name="connsiteY472" fmla="*/ 778586 h 895572"/>
              <a:gd name="connsiteX473" fmla="*/ 145100 w 1090712"/>
              <a:gd name="connsiteY473" fmla="*/ 784526 h 895572"/>
              <a:gd name="connsiteX474" fmla="*/ 147476 w 1090712"/>
              <a:gd name="connsiteY474" fmla="*/ 789753 h 895572"/>
              <a:gd name="connsiteX475" fmla="*/ 149614 w 1090712"/>
              <a:gd name="connsiteY475" fmla="*/ 794267 h 895572"/>
              <a:gd name="connsiteX476" fmla="*/ 152228 w 1090712"/>
              <a:gd name="connsiteY476" fmla="*/ 797831 h 895572"/>
              <a:gd name="connsiteX477" fmla="*/ 155554 w 1090712"/>
              <a:gd name="connsiteY477" fmla="*/ 801395 h 895572"/>
              <a:gd name="connsiteX478" fmla="*/ 158643 w 1090712"/>
              <a:gd name="connsiteY478" fmla="*/ 803533 h 895572"/>
              <a:gd name="connsiteX479" fmla="*/ 162206 w 1090712"/>
              <a:gd name="connsiteY479" fmla="*/ 805909 h 895572"/>
              <a:gd name="connsiteX480" fmla="*/ 165770 w 1090712"/>
              <a:gd name="connsiteY480" fmla="*/ 807572 h 895572"/>
              <a:gd name="connsiteX481" fmla="*/ 169572 w 1090712"/>
              <a:gd name="connsiteY481" fmla="*/ 808523 h 895572"/>
              <a:gd name="connsiteX482" fmla="*/ 174086 w 1090712"/>
              <a:gd name="connsiteY482" fmla="*/ 809473 h 895572"/>
              <a:gd name="connsiteX483" fmla="*/ 178600 w 1090712"/>
              <a:gd name="connsiteY483" fmla="*/ 810186 h 895572"/>
              <a:gd name="connsiteX484" fmla="*/ 187866 w 1090712"/>
              <a:gd name="connsiteY484" fmla="*/ 810661 h 895572"/>
              <a:gd name="connsiteX485" fmla="*/ 198083 w 1090712"/>
              <a:gd name="connsiteY485" fmla="*/ 810661 h 895572"/>
              <a:gd name="connsiteX486" fmla="*/ 236810 w 1090712"/>
              <a:gd name="connsiteY486" fmla="*/ 810661 h 895572"/>
              <a:gd name="connsiteX487" fmla="*/ 249640 w 1090712"/>
              <a:gd name="connsiteY487" fmla="*/ 811136 h 895572"/>
              <a:gd name="connsiteX488" fmla="*/ 263183 w 1090712"/>
              <a:gd name="connsiteY488" fmla="*/ 811611 h 895572"/>
              <a:gd name="connsiteX489" fmla="*/ 270310 w 1090712"/>
              <a:gd name="connsiteY489" fmla="*/ 811611 h 895572"/>
              <a:gd name="connsiteX490" fmla="*/ 276963 w 1090712"/>
              <a:gd name="connsiteY490" fmla="*/ 811136 h 895572"/>
              <a:gd name="connsiteX491" fmla="*/ 283140 w 1090712"/>
              <a:gd name="connsiteY491" fmla="*/ 810186 h 895572"/>
              <a:gd name="connsiteX492" fmla="*/ 289793 w 1090712"/>
              <a:gd name="connsiteY492" fmla="*/ 808523 h 895572"/>
              <a:gd name="connsiteX493" fmla="*/ 295495 w 1090712"/>
              <a:gd name="connsiteY493" fmla="*/ 806147 h 895572"/>
              <a:gd name="connsiteX494" fmla="*/ 301435 w 1090712"/>
              <a:gd name="connsiteY494" fmla="*/ 803058 h 895572"/>
              <a:gd name="connsiteX495" fmla="*/ 304524 w 1090712"/>
              <a:gd name="connsiteY495" fmla="*/ 801395 h 895572"/>
              <a:gd name="connsiteX496" fmla="*/ 307137 w 1090712"/>
              <a:gd name="connsiteY496" fmla="*/ 799256 h 895572"/>
              <a:gd name="connsiteX497" fmla="*/ 309275 w 1090712"/>
              <a:gd name="connsiteY497" fmla="*/ 796881 h 895572"/>
              <a:gd name="connsiteX498" fmla="*/ 312126 w 1090712"/>
              <a:gd name="connsiteY498" fmla="*/ 794267 h 895572"/>
              <a:gd name="connsiteX499" fmla="*/ 314265 w 1090712"/>
              <a:gd name="connsiteY499" fmla="*/ 791178 h 895572"/>
              <a:gd name="connsiteX500" fmla="*/ 316403 w 1090712"/>
              <a:gd name="connsiteY500" fmla="*/ 788090 h 895572"/>
              <a:gd name="connsiteX501" fmla="*/ 318304 w 1090712"/>
              <a:gd name="connsiteY501" fmla="*/ 784051 h 895572"/>
              <a:gd name="connsiteX502" fmla="*/ 319967 w 1090712"/>
              <a:gd name="connsiteY502" fmla="*/ 780012 h 895572"/>
              <a:gd name="connsiteX503" fmla="*/ 321868 w 1090712"/>
              <a:gd name="connsiteY503" fmla="*/ 775973 h 895572"/>
              <a:gd name="connsiteX504" fmla="*/ 323056 w 1090712"/>
              <a:gd name="connsiteY504" fmla="*/ 771221 h 895572"/>
              <a:gd name="connsiteX505" fmla="*/ 324481 w 1090712"/>
              <a:gd name="connsiteY505" fmla="*/ 765756 h 895572"/>
              <a:gd name="connsiteX506" fmla="*/ 325907 w 1090712"/>
              <a:gd name="connsiteY506" fmla="*/ 760529 h 895572"/>
              <a:gd name="connsiteX507" fmla="*/ 325907 w 1090712"/>
              <a:gd name="connsiteY507" fmla="*/ 827530 h 895572"/>
              <a:gd name="connsiteX508" fmla="*/ 310226 w 1090712"/>
              <a:gd name="connsiteY508" fmla="*/ 835608 h 895572"/>
              <a:gd name="connsiteX509" fmla="*/ 295970 w 1090712"/>
              <a:gd name="connsiteY509" fmla="*/ 843686 h 895572"/>
              <a:gd name="connsiteX510" fmla="*/ 282665 w 1090712"/>
              <a:gd name="connsiteY510" fmla="*/ 850339 h 895572"/>
              <a:gd name="connsiteX511" fmla="*/ 276488 w 1090712"/>
              <a:gd name="connsiteY511" fmla="*/ 852952 h 895572"/>
              <a:gd name="connsiteX512" fmla="*/ 270310 w 1090712"/>
              <a:gd name="connsiteY512" fmla="*/ 855565 h 895572"/>
              <a:gd name="connsiteX513" fmla="*/ 266271 w 1090712"/>
              <a:gd name="connsiteY513" fmla="*/ 857942 h 895572"/>
              <a:gd name="connsiteX514" fmla="*/ 262708 w 1090712"/>
              <a:gd name="connsiteY514" fmla="*/ 860080 h 895572"/>
              <a:gd name="connsiteX515" fmla="*/ 259619 w 1090712"/>
              <a:gd name="connsiteY515" fmla="*/ 862693 h 895572"/>
              <a:gd name="connsiteX516" fmla="*/ 256768 w 1090712"/>
              <a:gd name="connsiteY516" fmla="*/ 865544 h 895572"/>
              <a:gd name="connsiteX517" fmla="*/ 254154 w 1090712"/>
              <a:gd name="connsiteY517" fmla="*/ 868633 h 895572"/>
              <a:gd name="connsiteX518" fmla="*/ 252491 w 1090712"/>
              <a:gd name="connsiteY518" fmla="*/ 871722 h 895572"/>
              <a:gd name="connsiteX519" fmla="*/ 250590 w 1090712"/>
              <a:gd name="connsiteY519" fmla="*/ 874810 h 895572"/>
              <a:gd name="connsiteX520" fmla="*/ 249402 w 1090712"/>
              <a:gd name="connsiteY520" fmla="*/ 877899 h 895572"/>
              <a:gd name="connsiteX521" fmla="*/ 248452 w 1090712"/>
              <a:gd name="connsiteY521" fmla="*/ 880988 h 895572"/>
              <a:gd name="connsiteX522" fmla="*/ 247977 w 1090712"/>
              <a:gd name="connsiteY522" fmla="*/ 884076 h 895572"/>
              <a:gd name="connsiteX523" fmla="*/ 247977 w 1090712"/>
              <a:gd name="connsiteY523" fmla="*/ 887165 h 895572"/>
              <a:gd name="connsiteX524" fmla="*/ 248452 w 1090712"/>
              <a:gd name="connsiteY524" fmla="*/ 890016 h 895572"/>
              <a:gd name="connsiteX525" fmla="*/ 249402 w 1090712"/>
              <a:gd name="connsiteY525" fmla="*/ 893105 h 895572"/>
              <a:gd name="connsiteX526" fmla="*/ 250075 w 1090712"/>
              <a:gd name="connsiteY526" fmla="*/ 895572 h 895572"/>
              <a:gd name="connsiteX527" fmla="*/ 474750 w 1090712"/>
              <a:gd name="connsiteY527" fmla="*/ 895572 h 895572"/>
              <a:gd name="connsiteX528" fmla="*/ 475827 w 1090712"/>
              <a:gd name="connsiteY528" fmla="*/ 894768 h 895572"/>
              <a:gd name="connsiteX529" fmla="*/ 486993 w 1090712"/>
              <a:gd name="connsiteY529" fmla="*/ 882889 h 895572"/>
              <a:gd name="connsiteX530" fmla="*/ 497210 w 1090712"/>
              <a:gd name="connsiteY530" fmla="*/ 870296 h 895572"/>
              <a:gd name="connsiteX531" fmla="*/ 506951 w 1090712"/>
              <a:gd name="connsiteY531" fmla="*/ 857942 h 895572"/>
              <a:gd name="connsiteX532" fmla="*/ 515742 w 1090712"/>
              <a:gd name="connsiteY532" fmla="*/ 844636 h 895572"/>
              <a:gd name="connsiteX533" fmla="*/ 523820 w 1090712"/>
              <a:gd name="connsiteY533" fmla="*/ 831094 h 895572"/>
              <a:gd name="connsiteX534" fmla="*/ 531898 w 1090712"/>
              <a:gd name="connsiteY534" fmla="*/ 816838 h 895572"/>
              <a:gd name="connsiteX535" fmla="*/ 539026 w 1090712"/>
              <a:gd name="connsiteY535" fmla="*/ 802583 h 895572"/>
              <a:gd name="connsiteX536" fmla="*/ 545678 w 1090712"/>
              <a:gd name="connsiteY536" fmla="*/ 788565 h 895572"/>
              <a:gd name="connsiteX537" fmla="*/ 552331 w 1090712"/>
              <a:gd name="connsiteY537" fmla="*/ 773359 h 895572"/>
              <a:gd name="connsiteX538" fmla="*/ 558033 w 1090712"/>
              <a:gd name="connsiteY538" fmla="*/ 758628 h 895572"/>
              <a:gd name="connsiteX539" fmla="*/ 563498 w 1090712"/>
              <a:gd name="connsiteY539" fmla="*/ 743185 h 895572"/>
              <a:gd name="connsiteX540" fmla="*/ 568725 w 1090712"/>
              <a:gd name="connsiteY540" fmla="*/ 727979 h 895572"/>
              <a:gd name="connsiteX541" fmla="*/ 573714 w 1090712"/>
              <a:gd name="connsiteY541" fmla="*/ 712298 h 895572"/>
              <a:gd name="connsiteX542" fmla="*/ 577991 w 1090712"/>
              <a:gd name="connsiteY542" fmla="*/ 696855 h 895572"/>
              <a:gd name="connsiteX543" fmla="*/ 586544 w 1090712"/>
              <a:gd name="connsiteY543" fmla="*/ 665255 h 895572"/>
              <a:gd name="connsiteX544" fmla="*/ 586069 w 1090712"/>
              <a:gd name="connsiteY544" fmla="*/ 663117 h 895572"/>
              <a:gd name="connsiteX545" fmla="*/ 584881 w 1090712"/>
              <a:gd name="connsiteY545" fmla="*/ 660266 h 895572"/>
              <a:gd name="connsiteX546" fmla="*/ 582980 w 1090712"/>
              <a:gd name="connsiteY546" fmla="*/ 657177 h 895572"/>
              <a:gd name="connsiteX547" fmla="*/ 580367 w 1090712"/>
              <a:gd name="connsiteY547" fmla="*/ 654088 h 895572"/>
              <a:gd name="connsiteX548" fmla="*/ 574902 w 1090712"/>
              <a:gd name="connsiteY548" fmla="*/ 647911 h 895572"/>
              <a:gd name="connsiteX549" fmla="*/ 570150 w 1090712"/>
              <a:gd name="connsiteY549" fmla="*/ 642922 h 895572"/>
              <a:gd name="connsiteX550" fmla="*/ 565636 w 1090712"/>
              <a:gd name="connsiteY550" fmla="*/ 636744 h 895572"/>
              <a:gd name="connsiteX551" fmla="*/ 560647 w 1090712"/>
              <a:gd name="connsiteY551" fmla="*/ 631517 h 895572"/>
              <a:gd name="connsiteX552" fmla="*/ 555420 w 1090712"/>
              <a:gd name="connsiteY552" fmla="*/ 626053 h 895572"/>
              <a:gd name="connsiteX553" fmla="*/ 550193 w 1090712"/>
              <a:gd name="connsiteY553" fmla="*/ 621301 h 895572"/>
              <a:gd name="connsiteX554" fmla="*/ 544253 w 1090712"/>
              <a:gd name="connsiteY554" fmla="*/ 616787 h 895572"/>
              <a:gd name="connsiteX555" fmla="*/ 538075 w 1090712"/>
              <a:gd name="connsiteY555" fmla="*/ 612272 h 895572"/>
              <a:gd name="connsiteX556" fmla="*/ 525721 w 1090712"/>
              <a:gd name="connsiteY556" fmla="*/ 603719 h 895572"/>
              <a:gd name="connsiteX557" fmla="*/ 563023 w 1090712"/>
              <a:gd name="connsiteY557" fmla="*/ 619875 h 895572"/>
              <a:gd name="connsiteX558" fmla="*/ 581317 w 1090712"/>
              <a:gd name="connsiteY558" fmla="*/ 628191 h 895572"/>
              <a:gd name="connsiteX559" fmla="*/ 599374 w 1090712"/>
              <a:gd name="connsiteY559" fmla="*/ 636744 h 895572"/>
              <a:gd name="connsiteX560" fmla="*/ 607927 w 1090712"/>
              <a:gd name="connsiteY560" fmla="*/ 641259 h 895572"/>
              <a:gd name="connsiteX561" fmla="*/ 616718 w 1090712"/>
              <a:gd name="connsiteY561" fmla="*/ 646010 h 895572"/>
              <a:gd name="connsiteX562" fmla="*/ 625271 w 1090712"/>
              <a:gd name="connsiteY562" fmla="*/ 651000 h 895572"/>
              <a:gd name="connsiteX563" fmla="*/ 633349 w 1090712"/>
              <a:gd name="connsiteY563" fmla="*/ 656227 h 895572"/>
              <a:gd name="connsiteX564" fmla="*/ 641665 w 1090712"/>
              <a:gd name="connsiteY564" fmla="*/ 662167 h 895572"/>
              <a:gd name="connsiteX565" fmla="*/ 649268 w 1090712"/>
              <a:gd name="connsiteY565" fmla="*/ 668344 h 895572"/>
              <a:gd name="connsiteX566" fmla="*/ 656871 w 1090712"/>
              <a:gd name="connsiteY566" fmla="*/ 674996 h 895572"/>
              <a:gd name="connsiteX567" fmla="*/ 664474 w 1090712"/>
              <a:gd name="connsiteY567" fmla="*/ 682124 h 895572"/>
              <a:gd name="connsiteX568" fmla="*/ 668988 w 1090712"/>
              <a:gd name="connsiteY568" fmla="*/ 686163 h 895572"/>
              <a:gd name="connsiteX569" fmla="*/ 672790 w 1090712"/>
              <a:gd name="connsiteY569" fmla="*/ 690202 h 895572"/>
              <a:gd name="connsiteX570" fmla="*/ 677304 w 1090712"/>
              <a:gd name="connsiteY570" fmla="*/ 693291 h 895572"/>
              <a:gd name="connsiteX571" fmla="*/ 682293 w 1090712"/>
              <a:gd name="connsiteY571" fmla="*/ 696855 h 895572"/>
              <a:gd name="connsiteX572" fmla="*/ 686570 w 1090712"/>
              <a:gd name="connsiteY572" fmla="*/ 699468 h 895572"/>
              <a:gd name="connsiteX573" fmla="*/ 691559 w 1090712"/>
              <a:gd name="connsiteY573" fmla="*/ 702082 h 895572"/>
              <a:gd name="connsiteX574" fmla="*/ 696549 w 1090712"/>
              <a:gd name="connsiteY574" fmla="*/ 703983 h 895572"/>
              <a:gd name="connsiteX575" fmla="*/ 701300 w 1090712"/>
              <a:gd name="connsiteY575" fmla="*/ 705646 h 895572"/>
              <a:gd name="connsiteX576" fmla="*/ 706290 w 1090712"/>
              <a:gd name="connsiteY576" fmla="*/ 707071 h 895572"/>
              <a:gd name="connsiteX577" fmla="*/ 711042 w 1090712"/>
              <a:gd name="connsiteY577" fmla="*/ 708497 h 895572"/>
              <a:gd name="connsiteX578" fmla="*/ 716506 w 1090712"/>
              <a:gd name="connsiteY578" fmla="*/ 708734 h 895572"/>
              <a:gd name="connsiteX579" fmla="*/ 721258 w 1090712"/>
              <a:gd name="connsiteY579" fmla="*/ 708734 h 895572"/>
              <a:gd name="connsiteX580" fmla="*/ 726723 w 1090712"/>
              <a:gd name="connsiteY580" fmla="*/ 708497 h 895572"/>
              <a:gd name="connsiteX581" fmla="*/ 731712 w 1090712"/>
              <a:gd name="connsiteY581" fmla="*/ 707546 h 895572"/>
              <a:gd name="connsiteX582" fmla="*/ 736939 w 1090712"/>
              <a:gd name="connsiteY582" fmla="*/ 706121 h 895572"/>
              <a:gd name="connsiteX583" fmla="*/ 742166 w 1090712"/>
              <a:gd name="connsiteY583" fmla="*/ 704458 h 895572"/>
              <a:gd name="connsiteX584" fmla="*/ 749294 w 1090712"/>
              <a:gd name="connsiteY584" fmla="*/ 702082 h 895572"/>
              <a:gd name="connsiteX585" fmla="*/ 756184 w 1090712"/>
              <a:gd name="connsiteY585" fmla="*/ 699468 h 895572"/>
              <a:gd name="connsiteX586" fmla="*/ 762361 w 1090712"/>
              <a:gd name="connsiteY586" fmla="*/ 696380 h 895572"/>
              <a:gd name="connsiteX587" fmla="*/ 768063 w 1090712"/>
              <a:gd name="connsiteY587" fmla="*/ 692816 h 895572"/>
              <a:gd name="connsiteX588" fmla="*/ 773528 w 1090712"/>
              <a:gd name="connsiteY588" fmla="*/ 689252 h 895572"/>
              <a:gd name="connsiteX589" fmla="*/ 778755 w 1090712"/>
              <a:gd name="connsiteY589" fmla="*/ 684738 h 895572"/>
              <a:gd name="connsiteX590" fmla="*/ 783269 w 1090712"/>
              <a:gd name="connsiteY590" fmla="*/ 680461 h 895572"/>
              <a:gd name="connsiteX591" fmla="*/ 787308 w 1090712"/>
              <a:gd name="connsiteY591" fmla="*/ 674996 h 895572"/>
              <a:gd name="connsiteX592" fmla="*/ 791110 w 1090712"/>
              <a:gd name="connsiteY592" fmla="*/ 669769 h 895572"/>
              <a:gd name="connsiteX593" fmla="*/ 794436 w 1090712"/>
              <a:gd name="connsiteY593" fmla="*/ 663830 h 895572"/>
              <a:gd name="connsiteX594" fmla="*/ 797050 w 1090712"/>
              <a:gd name="connsiteY594" fmla="*/ 657652 h 895572"/>
              <a:gd name="connsiteX595" fmla="*/ 799188 w 1090712"/>
              <a:gd name="connsiteY595" fmla="*/ 651000 h 895572"/>
              <a:gd name="connsiteX596" fmla="*/ 801089 w 1090712"/>
              <a:gd name="connsiteY596" fmla="*/ 643872 h 895572"/>
              <a:gd name="connsiteX597" fmla="*/ 802277 w 1090712"/>
              <a:gd name="connsiteY597" fmla="*/ 636744 h 895572"/>
              <a:gd name="connsiteX598" fmla="*/ 803227 w 1090712"/>
              <a:gd name="connsiteY598" fmla="*/ 628666 h 895572"/>
              <a:gd name="connsiteX599" fmla="*/ 803227 w 1090712"/>
              <a:gd name="connsiteY599" fmla="*/ 620826 h 895572"/>
              <a:gd name="connsiteX600" fmla="*/ 801089 w 1090712"/>
              <a:gd name="connsiteY600" fmla="*/ 622489 h 895572"/>
              <a:gd name="connsiteX601" fmla="*/ 798238 w 1090712"/>
              <a:gd name="connsiteY601" fmla="*/ 623914 h 895572"/>
              <a:gd name="connsiteX602" fmla="*/ 793011 w 1090712"/>
              <a:gd name="connsiteY602" fmla="*/ 626053 h 895572"/>
              <a:gd name="connsiteX603" fmla="*/ 790397 w 1090712"/>
              <a:gd name="connsiteY603" fmla="*/ 627478 h 895572"/>
              <a:gd name="connsiteX604" fmla="*/ 788496 w 1090712"/>
              <a:gd name="connsiteY604" fmla="*/ 628191 h 895572"/>
              <a:gd name="connsiteX605" fmla="*/ 787308 w 1090712"/>
              <a:gd name="connsiteY605" fmla="*/ 630092 h 895572"/>
              <a:gd name="connsiteX606" fmla="*/ 786833 w 1090712"/>
              <a:gd name="connsiteY606" fmla="*/ 631755 h 895572"/>
              <a:gd name="connsiteX607" fmla="*/ 785408 w 1090712"/>
              <a:gd name="connsiteY607" fmla="*/ 635794 h 895572"/>
              <a:gd name="connsiteX608" fmla="*/ 784220 w 1090712"/>
              <a:gd name="connsiteY608" fmla="*/ 639833 h 895572"/>
              <a:gd name="connsiteX609" fmla="*/ 780656 w 1090712"/>
              <a:gd name="connsiteY609" fmla="*/ 646485 h 895572"/>
              <a:gd name="connsiteX610" fmla="*/ 776617 w 1090712"/>
              <a:gd name="connsiteY610" fmla="*/ 653138 h 895572"/>
              <a:gd name="connsiteX611" fmla="*/ 772103 w 1090712"/>
              <a:gd name="connsiteY611" fmla="*/ 659078 h 895572"/>
              <a:gd name="connsiteX612" fmla="*/ 762361 w 1090712"/>
              <a:gd name="connsiteY612" fmla="*/ 670007 h 895572"/>
              <a:gd name="connsiteX613" fmla="*/ 757847 w 1090712"/>
              <a:gd name="connsiteY613" fmla="*/ 675947 h 895572"/>
              <a:gd name="connsiteX614" fmla="*/ 753333 w 1090712"/>
              <a:gd name="connsiteY614" fmla="*/ 682124 h 895572"/>
              <a:gd name="connsiteX615" fmla="*/ 750244 w 1090712"/>
              <a:gd name="connsiteY615" fmla="*/ 684738 h 895572"/>
              <a:gd name="connsiteX616" fmla="*/ 747155 w 1090712"/>
              <a:gd name="connsiteY616" fmla="*/ 687589 h 895572"/>
              <a:gd name="connsiteX617" fmla="*/ 744067 w 1090712"/>
              <a:gd name="connsiteY617" fmla="*/ 689252 h 895572"/>
              <a:gd name="connsiteX618" fmla="*/ 740978 w 1090712"/>
              <a:gd name="connsiteY618" fmla="*/ 690915 h 895572"/>
              <a:gd name="connsiteX619" fmla="*/ 737890 w 1090712"/>
              <a:gd name="connsiteY619" fmla="*/ 691865 h 895572"/>
              <a:gd name="connsiteX620" fmla="*/ 734801 w 1090712"/>
              <a:gd name="connsiteY620" fmla="*/ 692816 h 895572"/>
              <a:gd name="connsiteX621" fmla="*/ 731950 w 1090712"/>
              <a:gd name="connsiteY621" fmla="*/ 693291 h 895572"/>
              <a:gd name="connsiteX622" fmla="*/ 728861 w 1090712"/>
              <a:gd name="connsiteY622" fmla="*/ 693291 h 895572"/>
              <a:gd name="connsiteX623" fmla="*/ 723634 w 1090712"/>
              <a:gd name="connsiteY623" fmla="*/ 692816 h 895572"/>
              <a:gd name="connsiteX624" fmla="*/ 718169 w 1090712"/>
              <a:gd name="connsiteY624" fmla="*/ 691390 h 895572"/>
              <a:gd name="connsiteX625" fmla="*/ 713418 w 1090712"/>
              <a:gd name="connsiteY625" fmla="*/ 689727 h 895572"/>
              <a:gd name="connsiteX626" fmla="*/ 708903 w 1090712"/>
              <a:gd name="connsiteY626" fmla="*/ 687826 h 895572"/>
              <a:gd name="connsiteX627" fmla="*/ 706765 w 1090712"/>
              <a:gd name="connsiteY627" fmla="*/ 687589 h 895572"/>
              <a:gd name="connsiteX628" fmla="*/ 704864 w 1090712"/>
              <a:gd name="connsiteY628" fmla="*/ 687114 h 895572"/>
              <a:gd name="connsiteX629" fmla="*/ 703201 w 1090712"/>
              <a:gd name="connsiteY629" fmla="*/ 686163 h 895572"/>
              <a:gd name="connsiteX630" fmla="*/ 701776 w 1090712"/>
              <a:gd name="connsiteY630" fmla="*/ 684738 h 895572"/>
              <a:gd name="connsiteX631" fmla="*/ 698687 w 1090712"/>
              <a:gd name="connsiteY631" fmla="*/ 681649 h 895572"/>
              <a:gd name="connsiteX632" fmla="*/ 696549 w 1090712"/>
              <a:gd name="connsiteY632" fmla="*/ 678085 h 895572"/>
              <a:gd name="connsiteX633" fmla="*/ 694648 w 1090712"/>
              <a:gd name="connsiteY633" fmla="*/ 673571 h 895572"/>
              <a:gd name="connsiteX634" fmla="*/ 693460 w 1090712"/>
              <a:gd name="connsiteY634" fmla="*/ 668819 h 895572"/>
              <a:gd name="connsiteX635" fmla="*/ 692510 w 1090712"/>
              <a:gd name="connsiteY635" fmla="*/ 664305 h 895572"/>
              <a:gd name="connsiteX636" fmla="*/ 692510 w 1090712"/>
              <a:gd name="connsiteY636" fmla="*/ 659790 h 895572"/>
              <a:gd name="connsiteX637" fmla="*/ 692510 w 1090712"/>
              <a:gd name="connsiteY637" fmla="*/ 647436 h 895572"/>
              <a:gd name="connsiteX638" fmla="*/ 693460 w 1090712"/>
              <a:gd name="connsiteY638" fmla="*/ 635319 h 895572"/>
              <a:gd name="connsiteX639" fmla="*/ 694173 w 1090712"/>
              <a:gd name="connsiteY639" fmla="*/ 624389 h 895572"/>
              <a:gd name="connsiteX640" fmla="*/ 695598 w 1090712"/>
              <a:gd name="connsiteY640" fmla="*/ 612748 h 895572"/>
              <a:gd name="connsiteX641" fmla="*/ 699162 w 1090712"/>
              <a:gd name="connsiteY641" fmla="*/ 591364 h 895572"/>
              <a:gd name="connsiteX642" fmla="*/ 703676 w 1090712"/>
              <a:gd name="connsiteY642" fmla="*/ 570456 h 895572"/>
              <a:gd name="connsiteX643" fmla="*/ 720070 w 1090712"/>
              <a:gd name="connsiteY643" fmla="*/ 574971 h 895572"/>
              <a:gd name="connsiteX644" fmla="*/ 736939 w 1090712"/>
              <a:gd name="connsiteY644" fmla="*/ 579247 h 895572"/>
              <a:gd name="connsiteX645" fmla="*/ 770677 w 1090712"/>
              <a:gd name="connsiteY645" fmla="*/ 589226 h 895572"/>
              <a:gd name="connsiteX646" fmla="*/ 788021 w 1090712"/>
              <a:gd name="connsiteY646" fmla="*/ 593503 h 895572"/>
              <a:gd name="connsiteX647" fmla="*/ 805365 w 1090712"/>
              <a:gd name="connsiteY647" fmla="*/ 597542 h 895572"/>
              <a:gd name="connsiteX648" fmla="*/ 823660 w 1090712"/>
              <a:gd name="connsiteY648" fmla="*/ 601106 h 895572"/>
              <a:gd name="connsiteX649" fmla="*/ 841954 w 1090712"/>
              <a:gd name="connsiteY649" fmla="*/ 603719 h 895572"/>
              <a:gd name="connsiteX650" fmla="*/ 861437 w 1090712"/>
              <a:gd name="connsiteY650" fmla="*/ 606570 h 895572"/>
              <a:gd name="connsiteX651" fmla="*/ 880682 w 1090712"/>
              <a:gd name="connsiteY651" fmla="*/ 608233 h 895572"/>
              <a:gd name="connsiteX652" fmla="*/ 889948 w 1090712"/>
              <a:gd name="connsiteY652" fmla="*/ 608708 h 895572"/>
              <a:gd name="connsiteX653" fmla="*/ 898976 w 1090712"/>
              <a:gd name="connsiteY653" fmla="*/ 608708 h 895572"/>
              <a:gd name="connsiteX654" fmla="*/ 908242 w 1090712"/>
              <a:gd name="connsiteY654" fmla="*/ 608708 h 895572"/>
              <a:gd name="connsiteX655" fmla="*/ 916795 w 1090712"/>
              <a:gd name="connsiteY655" fmla="*/ 608233 h 895572"/>
              <a:gd name="connsiteX656" fmla="*/ 925586 w 1090712"/>
              <a:gd name="connsiteY656" fmla="*/ 607283 h 895572"/>
              <a:gd name="connsiteX657" fmla="*/ 934140 w 1090712"/>
              <a:gd name="connsiteY657" fmla="*/ 606095 h 895572"/>
              <a:gd name="connsiteX658" fmla="*/ 942455 w 1090712"/>
              <a:gd name="connsiteY658" fmla="*/ 604669 h 895572"/>
              <a:gd name="connsiteX659" fmla="*/ 950533 w 1090712"/>
              <a:gd name="connsiteY659" fmla="*/ 603006 h 895572"/>
              <a:gd name="connsiteX660" fmla="*/ 958611 w 1090712"/>
              <a:gd name="connsiteY660" fmla="*/ 600630 h 895572"/>
              <a:gd name="connsiteX661" fmla="*/ 966452 w 1090712"/>
              <a:gd name="connsiteY661" fmla="*/ 598017 h 895572"/>
              <a:gd name="connsiteX662" fmla="*/ 974055 w 1090712"/>
              <a:gd name="connsiteY662" fmla="*/ 595403 h 895572"/>
              <a:gd name="connsiteX663" fmla="*/ 981658 w 1090712"/>
              <a:gd name="connsiteY663" fmla="*/ 591840 h 895572"/>
              <a:gd name="connsiteX664" fmla="*/ 989261 w 1090712"/>
              <a:gd name="connsiteY664" fmla="*/ 588276 h 895572"/>
              <a:gd name="connsiteX665" fmla="*/ 996388 w 1090712"/>
              <a:gd name="connsiteY665" fmla="*/ 584237 h 895572"/>
              <a:gd name="connsiteX666" fmla="*/ 1003041 w 1090712"/>
              <a:gd name="connsiteY666" fmla="*/ 579247 h 895572"/>
              <a:gd name="connsiteX667" fmla="*/ 1009694 w 1090712"/>
              <a:gd name="connsiteY667" fmla="*/ 574495 h 895572"/>
              <a:gd name="connsiteX668" fmla="*/ 1016346 w 1090712"/>
              <a:gd name="connsiteY668" fmla="*/ 569031 h 895572"/>
              <a:gd name="connsiteX669" fmla="*/ 1022998 w 1090712"/>
              <a:gd name="connsiteY669" fmla="*/ 562853 h 895572"/>
              <a:gd name="connsiteX670" fmla="*/ 1029176 w 1090712"/>
              <a:gd name="connsiteY670" fmla="*/ 556676 h 895572"/>
              <a:gd name="connsiteX671" fmla="*/ 1035116 w 1090712"/>
              <a:gd name="connsiteY671" fmla="*/ 549548 h 895572"/>
              <a:gd name="connsiteX672" fmla="*/ 1040818 w 1090712"/>
              <a:gd name="connsiteY672" fmla="*/ 541945 h 895572"/>
              <a:gd name="connsiteX673" fmla="*/ 1046520 w 1090712"/>
              <a:gd name="connsiteY673" fmla="*/ 534342 h 895572"/>
              <a:gd name="connsiteX674" fmla="*/ 1051985 w 1090712"/>
              <a:gd name="connsiteY674" fmla="*/ 526027 h 895572"/>
              <a:gd name="connsiteX675" fmla="*/ 1056737 w 1090712"/>
              <a:gd name="connsiteY675" fmla="*/ 516523 h 895572"/>
              <a:gd name="connsiteX676" fmla="*/ 1061726 w 1090712"/>
              <a:gd name="connsiteY676" fmla="*/ 507257 h 895572"/>
              <a:gd name="connsiteX677" fmla="*/ 1066715 w 1090712"/>
              <a:gd name="connsiteY677" fmla="*/ 497041 h 895572"/>
              <a:gd name="connsiteX678" fmla="*/ 1070992 w 1090712"/>
              <a:gd name="connsiteY678" fmla="*/ 486349 h 895572"/>
              <a:gd name="connsiteX679" fmla="*/ 1075506 w 1090712"/>
              <a:gd name="connsiteY679" fmla="*/ 475182 h 895572"/>
              <a:gd name="connsiteX680" fmla="*/ 1079070 w 1090712"/>
              <a:gd name="connsiteY680" fmla="*/ 462828 h 895572"/>
              <a:gd name="connsiteX681" fmla="*/ 1082634 w 1090712"/>
              <a:gd name="connsiteY681" fmla="*/ 449998 h 895572"/>
              <a:gd name="connsiteX682" fmla="*/ 1084772 w 1090712"/>
              <a:gd name="connsiteY682" fmla="*/ 437405 h 895572"/>
              <a:gd name="connsiteX683" fmla="*/ 1087148 w 1090712"/>
              <a:gd name="connsiteY683" fmla="*/ 425050 h 895572"/>
              <a:gd name="connsiteX684" fmla="*/ 1088811 w 1090712"/>
              <a:gd name="connsiteY684" fmla="*/ 411983 h 895572"/>
              <a:gd name="connsiteX685" fmla="*/ 1089762 w 1090712"/>
              <a:gd name="connsiteY685" fmla="*/ 399628 h 895572"/>
              <a:gd name="connsiteX686" fmla="*/ 1090712 w 1090712"/>
              <a:gd name="connsiteY686" fmla="*/ 386798 h 895572"/>
              <a:gd name="connsiteX687" fmla="*/ 1090712 w 1090712"/>
              <a:gd name="connsiteY687" fmla="*/ 373731 h 895572"/>
              <a:gd name="connsiteX688" fmla="*/ 1090712 w 1090712"/>
              <a:gd name="connsiteY688" fmla="*/ 360901 h 895572"/>
              <a:gd name="connsiteX689" fmla="*/ 1089762 w 1090712"/>
              <a:gd name="connsiteY689" fmla="*/ 348071 h 895572"/>
              <a:gd name="connsiteX690" fmla="*/ 1088811 w 1090712"/>
              <a:gd name="connsiteY690" fmla="*/ 335004 h 895572"/>
              <a:gd name="connsiteX691" fmla="*/ 1088099 w 1090712"/>
              <a:gd name="connsiteY691" fmla="*/ 321698 h 895572"/>
              <a:gd name="connsiteX692" fmla="*/ 1084772 w 1090712"/>
              <a:gd name="connsiteY692" fmla="*/ 295563 h 895572"/>
              <a:gd name="connsiteX693" fmla="*/ 1080971 w 1090712"/>
              <a:gd name="connsiteY693" fmla="*/ 268478 h 895572"/>
              <a:gd name="connsiteX694" fmla="*/ 1078595 w 1090712"/>
              <a:gd name="connsiteY694" fmla="*/ 258262 h 895572"/>
              <a:gd name="connsiteX695" fmla="*/ 1075981 w 1090712"/>
              <a:gd name="connsiteY695" fmla="*/ 248283 h 895572"/>
              <a:gd name="connsiteX696" fmla="*/ 1072417 w 1090712"/>
              <a:gd name="connsiteY696" fmla="*/ 238542 h 895572"/>
              <a:gd name="connsiteX697" fmla="*/ 1069329 w 1090712"/>
              <a:gd name="connsiteY697" fmla="*/ 229275 h 895572"/>
              <a:gd name="connsiteX698" fmla="*/ 1061251 w 1090712"/>
              <a:gd name="connsiteY698" fmla="*/ 210031 h 895572"/>
              <a:gd name="connsiteX699" fmla="*/ 1053173 w 1090712"/>
              <a:gd name="connsiteY699" fmla="*/ 190073 h 895572"/>
              <a:gd name="connsiteX700" fmla="*/ 1051034 w 1090712"/>
              <a:gd name="connsiteY700" fmla="*/ 186034 h 895572"/>
              <a:gd name="connsiteX701" fmla="*/ 1048896 w 1090712"/>
              <a:gd name="connsiteY701" fmla="*/ 182470 h 895572"/>
              <a:gd name="connsiteX702" fmla="*/ 1046045 w 1090712"/>
              <a:gd name="connsiteY702" fmla="*/ 179381 h 895572"/>
              <a:gd name="connsiteX703" fmla="*/ 1043906 w 1090712"/>
              <a:gd name="connsiteY703" fmla="*/ 176768 h 895572"/>
              <a:gd name="connsiteX704" fmla="*/ 1041293 w 1090712"/>
              <a:gd name="connsiteY704" fmla="*/ 174630 h 895572"/>
              <a:gd name="connsiteX705" fmla="*/ 1038680 w 1090712"/>
              <a:gd name="connsiteY705" fmla="*/ 172729 h 895572"/>
              <a:gd name="connsiteX706" fmla="*/ 1035828 w 1090712"/>
              <a:gd name="connsiteY706" fmla="*/ 171303 h 895572"/>
              <a:gd name="connsiteX707" fmla="*/ 1032740 w 1090712"/>
              <a:gd name="connsiteY707" fmla="*/ 170591 h 895572"/>
              <a:gd name="connsiteX708" fmla="*/ 1030126 w 1090712"/>
              <a:gd name="connsiteY708" fmla="*/ 170591 h 895572"/>
              <a:gd name="connsiteX709" fmla="*/ 1027038 w 1090712"/>
              <a:gd name="connsiteY709" fmla="*/ 170591 h 895572"/>
              <a:gd name="connsiteX710" fmla="*/ 1024424 w 1090712"/>
              <a:gd name="connsiteY710" fmla="*/ 171303 h 895572"/>
              <a:gd name="connsiteX711" fmla="*/ 1021335 w 1090712"/>
              <a:gd name="connsiteY711" fmla="*/ 172729 h 895572"/>
              <a:gd name="connsiteX712" fmla="*/ 1018247 w 1090712"/>
              <a:gd name="connsiteY712" fmla="*/ 174867 h 895572"/>
              <a:gd name="connsiteX713" fmla="*/ 1014920 w 1090712"/>
              <a:gd name="connsiteY713" fmla="*/ 177718 h 895572"/>
              <a:gd name="connsiteX714" fmla="*/ 1011832 w 1090712"/>
              <a:gd name="connsiteY714" fmla="*/ 180807 h 895572"/>
              <a:gd name="connsiteX715" fmla="*/ 1008743 w 1090712"/>
              <a:gd name="connsiteY715" fmla="*/ 184846 h 895572"/>
              <a:gd name="connsiteX716" fmla="*/ 991874 w 1090712"/>
              <a:gd name="connsiteY716" fmla="*/ 201240 h 895572"/>
              <a:gd name="connsiteX717" fmla="*/ 983321 w 1090712"/>
              <a:gd name="connsiteY717" fmla="*/ 209318 h 895572"/>
              <a:gd name="connsiteX718" fmla="*/ 974530 w 1090712"/>
              <a:gd name="connsiteY718" fmla="*/ 216683 h 895572"/>
              <a:gd name="connsiteX719" fmla="*/ 965739 w 1090712"/>
              <a:gd name="connsiteY719" fmla="*/ 223811 h 895572"/>
              <a:gd name="connsiteX720" fmla="*/ 956236 w 1090712"/>
              <a:gd name="connsiteY720" fmla="*/ 230226 h 895572"/>
              <a:gd name="connsiteX721" fmla="*/ 946494 w 1090712"/>
              <a:gd name="connsiteY721" fmla="*/ 235928 h 895572"/>
              <a:gd name="connsiteX722" fmla="*/ 941505 w 1090712"/>
              <a:gd name="connsiteY722" fmla="*/ 238066 h 895572"/>
              <a:gd name="connsiteX723" fmla="*/ 936753 w 1090712"/>
              <a:gd name="connsiteY723" fmla="*/ 240442 h 895572"/>
              <a:gd name="connsiteX724" fmla="*/ 932239 w 1090712"/>
              <a:gd name="connsiteY724" fmla="*/ 242581 h 895572"/>
              <a:gd name="connsiteX725" fmla="*/ 928675 w 1090712"/>
              <a:gd name="connsiteY725" fmla="*/ 245669 h 895572"/>
              <a:gd name="connsiteX726" fmla="*/ 925111 w 1090712"/>
              <a:gd name="connsiteY726" fmla="*/ 249233 h 895572"/>
              <a:gd name="connsiteX727" fmla="*/ 922022 w 1090712"/>
              <a:gd name="connsiteY727" fmla="*/ 252797 h 895572"/>
              <a:gd name="connsiteX728" fmla="*/ 919884 w 1090712"/>
              <a:gd name="connsiteY728" fmla="*/ 257311 h 895572"/>
              <a:gd name="connsiteX729" fmla="*/ 918934 w 1090712"/>
              <a:gd name="connsiteY729" fmla="*/ 259925 h 895572"/>
              <a:gd name="connsiteX730" fmla="*/ 918459 w 1090712"/>
              <a:gd name="connsiteY730" fmla="*/ 262538 h 895572"/>
              <a:gd name="connsiteX731" fmla="*/ 918459 w 1090712"/>
              <a:gd name="connsiteY731" fmla="*/ 265389 h 895572"/>
              <a:gd name="connsiteX732" fmla="*/ 918459 w 1090712"/>
              <a:gd name="connsiteY732" fmla="*/ 268003 h 895572"/>
              <a:gd name="connsiteX733" fmla="*/ 918934 w 1090712"/>
              <a:gd name="connsiteY733" fmla="*/ 271091 h 895572"/>
              <a:gd name="connsiteX734" fmla="*/ 919884 w 1090712"/>
              <a:gd name="connsiteY734" fmla="*/ 274180 h 895572"/>
              <a:gd name="connsiteX735" fmla="*/ 921547 w 1090712"/>
              <a:gd name="connsiteY735" fmla="*/ 282258 h 895572"/>
              <a:gd name="connsiteX736" fmla="*/ 922973 w 1090712"/>
              <a:gd name="connsiteY736" fmla="*/ 290574 h 895572"/>
              <a:gd name="connsiteX737" fmla="*/ 923923 w 1090712"/>
              <a:gd name="connsiteY737" fmla="*/ 299127 h 895572"/>
              <a:gd name="connsiteX738" fmla="*/ 924161 w 1090712"/>
              <a:gd name="connsiteY738" fmla="*/ 307443 h 895572"/>
              <a:gd name="connsiteX739" fmla="*/ 924161 w 1090712"/>
              <a:gd name="connsiteY739" fmla="*/ 315996 h 895572"/>
              <a:gd name="connsiteX740" fmla="*/ 923923 w 1090712"/>
              <a:gd name="connsiteY740" fmla="*/ 324550 h 895572"/>
              <a:gd name="connsiteX741" fmla="*/ 922973 w 1090712"/>
              <a:gd name="connsiteY741" fmla="*/ 332865 h 895572"/>
              <a:gd name="connsiteX742" fmla="*/ 922022 w 1090712"/>
              <a:gd name="connsiteY742" fmla="*/ 340943 h 895572"/>
              <a:gd name="connsiteX743" fmla="*/ 920597 w 1090712"/>
              <a:gd name="connsiteY743" fmla="*/ 349259 h 895572"/>
              <a:gd name="connsiteX744" fmla="*/ 918934 w 1090712"/>
              <a:gd name="connsiteY744" fmla="*/ 357812 h 895572"/>
              <a:gd name="connsiteX745" fmla="*/ 914420 w 1090712"/>
              <a:gd name="connsiteY745" fmla="*/ 374681 h 895572"/>
              <a:gd name="connsiteX746" fmla="*/ 909192 w 1090712"/>
              <a:gd name="connsiteY746" fmla="*/ 391075 h 895572"/>
              <a:gd name="connsiteX747" fmla="*/ 903253 w 1090712"/>
              <a:gd name="connsiteY747" fmla="*/ 408182 h 895572"/>
              <a:gd name="connsiteX748" fmla="*/ 903253 w 1090712"/>
              <a:gd name="connsiteY748" fmla="*/ 397965 h 895572"/>
              <a:gd name="connsiteX749" fmla="*/ 904203 w 1090712"/>
              <a:gd name="connsiteY749" fmla="*/ 387274 h 895572"/>
              <a:gd name="connsiteX750" fmla="*/ 906104 w 1090712"/>
              <a:gd name="connsiteY750" fmla="*/ 367078 h 895572"/>
              <a:gd name="connsiteX751" fmla="*/ 907767 w 1090712"/>
              <a:gd name="connsiteY751" fmla="*/ 347596 h 895572"/>
              <a:gd name="connsiteX752" fmla="*/ 908717 w 1090712"/>
              <a:gd name="connsiteY752" fmla="*/ 338567 h 895572"/>
              <a:gd name="connsiteX753" fmla="*/ 908717 w 1090712"/>
              <a:gd name="connsiteY753" fmla="*/ 329777 h 895572"/>
              <a:gd name="connsiteX754" fmla="*/ 908717 w 1090712"/>
              <a:gd name="connsiteY754" fmla="*/ 325738 h 895572"/>
              <a:gd name="connsiteX755" fmla="*/ 907767 w 1090712"/>
              <a:gd name="connsiteY755" fmla="*/ 322649 h 895572"/>
              <a:gd name="connsiteX756" fmla="*/ 906817 w 1090712"/>
              <a:gd name="connsiteY756" fmla="*/ 319560 h 895572"/>
              <a:gd name="connsiteX757" fmla="*/ 905154 w 1090712"/>
              <a:gd name="connsiteY757" fmla="*/ 316471 h 895572"/>
              <a:gd name="connsiteX758" fmla="*/ 903728 w 1090712"/>
              <a:gd name="connsiteY758" fmla="*/ 314096 h 895572"/>
              <a:gd name="connsiteX759" fmla="*/ 901590 w 1090712"/>
              <a:gd name="connsiteY759" fmla="*/ 311957 h 895572"/>
              <a:gd name="connsiteX760" fmla="*/ 897551 w 1090712"/>
              <a:gd name="connsiteY760" fmla="*/ 307443 h 895572"/>
              <a:gd name="connsiteX761" fmla="*/ 895412 w 1090712"/>
              <a:gd name="connsiteY761" fmla="*/ 309344 h 895572"/>
              <a:gd name="connsiteX762" fmla="*/ 892561 w 1090712"/>
              <a:gd name="connsiteY762" fmla="*/ 310769 h 895572"/>
              <a:gd name="connsiteX763" fmla="*/ 887334 w 1090712"/>
              <a:gd name="connsiteY763" fmla="*/ 313383 h 895572"/>
              <a:gd name="connsiteX764" fmla="*/ 884721 w 1090712"/>
              <a:gd name="connsiteY764" fmla="*/ 314096 h 895572"/>
              <a:gd name="connsiteX765" fmla="*/ 882820 w 1090712"/>
              <a:gd name="connsiteY765" fmla="*/ 315521 h 895572"/>
              <a:gd name="connsiteX766" fmla="*/ 881632 w 1090712"/>
              <a:gd name="connsiteY766" fmla="*/ 316947 h 895572"/>
              <a:gd name="connsiteX767" fmla="*/ 881157 w 1090712"/>
              <a:gd name="connsiteY767" fmla="*/ 318610 h 895572"/>
              <a:gd name="connsiteX768" fmla="*/ 872604 w 1090712"/>
              <a:gd name="connsiteY768" fmla="*/ 331915 h 895572"/>
              <a:gd name="connsiteX769" fmla="*/ 864288 w 1090712"/>
              <a:gd name="connsiteY769" fmla="*/ 346646 h 895572"/>
              <a:gd name="connsiteX770" fmla="*/ 856210 w 1090712"/>
              <a:gd name="connsiteY770" fmla="*/ 361376 h 895572"/>
              <a:gd name="connsiteX771" fmla="*/ 847656 w 1090712"/>
              <a:gd name="connsiteY771" fmla="*/ 374681 h 895572"/>
              <a:gd name="connsiteX772" fmla="*/ 841954 w 1090712"/>
              <a:gd name="connsiteY772" fmla="*/ 374681 h 895572"/>
              <a:gd name="connsiteX773" fmla="*/ 846468 w 1090712"/>
              <a:gd name="connsiteY773" fmla="*/ 357812 h 895572"/>
              <a:gd name="connsiteX774" fmla="*/ 850508 w 1090712"/>
              <a:gd name="connsiteY774" fmla="*/ 339518 h 895572"/>
              <a:gd name="connsiteX775" fmla="*/ 854784 w 1090712"/>
              <a:gd name="connsiteY775" fmla="*/ 319560 h 895572"/>
              <a:gd name="connsiteX776" fmla="*/ 858823 w 1090712"/>
              <a:gd name="connsiteY776" fmla="*/ 296514 h 895572"/>
              <a:gd name="connsiteX777" fmla="*/ 848132 w 1090712"/>
              <a:gd name="connsiteY777" fmla="*/ 303879 h 895572"/>
              <a:gd name="connsiteX778" fmla="*/ 840054 w 1090712"/>
              <a:gd name="connsiteY778" fmla="*/ 310294 h 895572"/>
              <a:gd name="connsiteX779" fmla="*/ 833163 w 1090712"/>
              <a:gd name="connsiteY779" fmla="*/ 316947 h 895572"/>
              <a:gd name="connsiteX780" fmla="*/ 825560 w 1090712"/>
              <a:gd name="connsiteY780" fmla="*/ 324550 h 895572"/>
              <a:gd name="connsiteX781" fmla="*/ 823185 w 1090712"/>
              <a:gd name="connsiteY781" fmla="*/ 326688 h 895572"/>
              <a:gd name="connsiteX782" fmla="*/ 821522 w 1090712"/>
              <a:gd name="connsiteY782" fmla="*/ 329301 h 895572"/>
              <a:gd name="connsiteX783" fmla="*/ 817007 w 1090712"/>
              <a:gd name="connsiteY783" fmla="*/ 335954 h 895572"/>
              <a:gd name="connsiteX784" fmla="*/ 812968 w 1090712"/>
              <a:gd name="connsiteY784" fmla="*/ 344032 h 895572"/>
              <a:gd name="connsiteX785" fmla="*/ 808929 w 1090712"/>
              <a:gd name="connsiteY785" fmla="*/ 352585 h 895572"/>
              <a:gd name="connsiteX786" fmla="*/ 809880 w 1090712"/>
              <a:gd name="connsiteY786" fmla="*/ 343557 h 895572"/>
              <a:gd name="connsiteX787" fmla="*/ 811305 w 1090712"/>
              <a:gd name="connsiteY787" fmla="*/ 335479 h 895572"/>
              <a:gd name="connsiteX788" fmla="*/ 812493 w 1090712"/>
              <a:gd name="connsiteY788" fmla="*/ 328826 h 895572"/>
              <a:gd name="connsiteX789" fmla="*/ 814394 w 1090712"/>
              <a:gd name="connsiteY789" fmla="*/ 323124 h 895572"/>
              <a:gd name="connsiteX790" fmla="*/ 816532 w 1090712"/>
              <a:gd name="connsiteY790" fmla="*/ 317659 h 895572"/>
              <a:gd name="connsiteX791" fmla="*/ 819146 w 1090712"/>
              <a:gd name="connsiteY791" fmla="*/ 313383 h 895572"/>
              <a:gd name="connsiteX792" fmla="*/ 822709 w 1090712"/>
              <a:gd name="connsiteY792" fmla="*/ 309344 h 895572"/>
              <a:gd name="connsiteX793" fmla="*/ 826748 w 1090712"/>
              <a:gd name="connsiteY793" fmla="*/ 306255 h 895572"/>
              <a:gd name="connsiteX794" fmla="*/ 832213 w 1090712"/>
              <a:gd name="connsiteY794" fmla="*/ 303166 h 895572"/>
              <a:gd name="connsiteX795" fmla="*/ 838390 w 1090712"/>
              <a:gd name="connsiteY795" fmla="*/ 300315 h 895572"/>
              <a:gd name="connsiteX796" fmla="*/ 845518 w 1090712"/>
              <a:gd name="connsiteY796" fmla="*/ 298177 h 895572"/>
              <a:gd name="connsiteX797" fmla="*/ 854071 w 1090712"/>
              <a:gd name="connsiteY797" fmla="*/ 295563 h 895572"/>
              <a:gd name="connsiteX798" fmla="*/ 875217 w 1090712"/>
              <a:gd name="connsiteY798" fmla="*/ 290574 h 895572"/>
              <a:gd name="connsiteX799" fmla="*/ 903253 w 1090712"/>
              <a:gd name="connsiteY799" fmla="*/ 285347 h 895572"/>
              <a:gd name="connsiteX800" fmla="*/ 886384 w 1090712"/>
              <a:gd name="connsiteY800" fmla="*/ 268478 h 895572"/>
              <a:gd name="connsiteX801" fmla="*/ 879731 w 1090712"/>
              <a:gd name="connsiteY801" fmla="*/ 270141 h 895572"/>
              <a:gd name="connsiteX802" fmla="*/ 873079 w 1090712"/>
              <a:gd name="connsiteY802" fmla="*/ 271091 h 895572"/>
              <a:gd name="connsiteX803" fmla="*/ 867376 w 1090712"/>
              <a:gd name="connsiteY803" fmla="*/ 271567 h 895572"/>
              <a:gd name="connsiteX804" fmla="*/ 862387 w 1090712"/>
              <a:gd name="connsiteY804" fmla="*/ 271091 h 895572"/>
              <a:gd name="connsiteX805" fmla="*/ 857398 w 1090712"/>
              <a:gd name="connsiteY805" fmla="*/ 269666 h 895572"/>
              <a:gd name="connsiteX806" fmla="*/ 853596 w 1090712"/>
              <a:gd name="connsiteY806" fmla="*/ 268003 h 895572"/>
              <a:gd name="connsiteX807" fmla="*/ 849557 w 1090712"/>
              <a:gd name="connsiteY807" fmla="*/ 265627 h 895572"/>
              <a:gd name="connsiteX808" fmla="*/ 846468 w 1090712"/>
              <a:gd name="connsiteY808" fmla="*/ 262538 h 895572"/>
              <a:gd name="connsiteX809" fmla="*/ 843380 w 1090712"/>
              <a:gd name="connsiteY809" fmla="*/ 259450 h 895572"/>
              <a:gd name="connsiteX810" fmla="*/ 840529 w 1090712"/>
              <a:gd name="connsiteY810" fmla="*/ 255411 h 895572"/>
              <a:gd name="connsiteX811" fmla="*/ 838390 w 1090712"/>
              <a:gd name="connsiteY811" fmla="*/ 251134 h 895572"/>
              <a:gd name="connsiteX812" fmla="*/ 836490 w 1090712"/>
              <a:gd name="connsiteY812" fmla="*/ 246620 h 895572"/>
              <a:gd name="connsiteX813" fmla="*/ 834827 w 1090712"/>
              <a:gd name="connsiteY813" fmla="*/ 241155 h 895572"/>
              <a:gd name="connsiteX814" fmla="*/ 833401 w 1090712"/>
              <a:gd name="connsiteY814" fmla="*/ 235453 h 895572"/>
              <a:gd name="connsiteX815" fmla="*/ 831263 w 1090712"/>
              <a:gd name="connsiteY815" fmla="*/ 223336 h 895572"/>
              <a:gd name="connsiteX816" fmla="*/ 897551 w 1090712"/>
              <a:gd name="connsiteY816" fmla="*/ 206942 h 895572"/>
              <a:gd name="connsiteX817" fmla="*/ 888997 w 1090712"/>
              <a:gd name="connsiteY817" fmla="*/ 194112 h 895572"/>
              <a:gd name="connsiteX818" fmla="*/ 880682 w 1090712"/>
              <a:gd name="connsiteY818" fmla="*/ 181282 h 895572"/>
              <a:gd name="connsiteX819" fmla="*/ 871416 w 1090712"/>
              <a:gd name="connsiteY819" fmla="*/ 168690 h 895572"/>
              <a:gd name="connsiteX820" fmla="*/ 866901 w 1090712"/>
              <a:gd name="connsiteY820" fmla="*/ 162988 h 895572"/>
              <a:gd name="connsiteX821" fmla="*/ 861437 w 1090712"/>
              <a:gd name="connsiteY821" fmla="*/ 157048 h 895572"/>
              <a:gd name="connsiteX822" fmla="*/ 856210 w 1090712"/>
              <a:gd name="connsiteY822" fmla="*/ 151821 h 895572"/>
              <a:gd name="connsiteX823" fmla="*/ 850745 w 1090712"/>
              <a:gd name="connsiteY823" fmla="*/ 146831 h 895572"/>
              <a:gd name="connsiteX824" fmla="*/ 844568 w 1090712"/>
              <a:gd name="connsiteY824" fmla="*/ 142555 h 895572"/>
              <a:gd name="connsiteX825" fmla="*/ 838390 w 1090712"/>
              <a:gd name="connsiteY825" fmla="*/ 138516 h 895572"/>
              <a:gd name="connsiteX826" fmla="*/ 831738 w 1090712"/>
              <a:gd name="connsiteY826" fmla="*/ 134952 h 895572"/>
              <a:gd name="connsiteX827" fmla="*/ 824610 w 1090712"/>
              <a:gd name="connsiteY827" fmla="*/ 132338 h 895572"/>
              <a:gd name="connsiteX828" fmla="*/ 817007 w 1090712"/>
              <a:gd name="connsiteY828" fmla="*/ 129963 h 895572"/>
              <a:gd name="connsiteX829" fmla="*/ 808929 w 1090712"/>
              <a:gd name="connsiteY829" fmla="*/ 128774 h 895572"/>
              <a:gd name="connsiteX830" fmla="*/ 806791 w 1090712"/>
              <a:gd name="connsiteY830" fmla="*/ 128299 h 895572"/>
              <a:gd name="connsiteX831" fmla="*/ 804652 w 1090712"/>
              <a:gd name="connsiteY831" fmla="*/ 127824 h 895572"/>
              <a:gd name="connsiteX832" fmla="*/ 802752 w 1090712"/>
              <a:gd name="connsiteY832" fmla="*/ 126399 h 895572"/>
              <a:gd name="connsiteX833" fmla="*/ 801089 w 1090712"/>
              <a:gd name="connsiteY833" fmla="*/ 125211 h 895572"/>
              <a:gd name="connsiteX834" fmla="*/ 799663 w 1090712"/>
              <a:gd name="connsiteY834" fmla="*/ 123310 h 895572"/>
              <a:gd name="connsiteX835" fmla="*/ 798713 w 1090712"/>
              <a:gd name="connsiteY835" fmla="*/ 121647 h 895572"/>
              <a:gd name="connsiteX836" fmla="*/ 798000 w 1090712"/>
              <a:gd name="connsiteY836" fmla="*/ 119271 h 895572"/>
              <a:gd name="connsiteX837" fmla="*/ 798000 w 1090712"/>
              <a:gd name="connsiteY837" fmla="*/ 117608 h 895572"/>
              <a:gd name="connsiteX838" fmla="*/ 785408 w 1090712"/>
              <a:gd name="connsiteY838" fmla="*/ 106916 h 895572"/>
              <a:gd name="connsiteX839" fmla="*/ 772578 w 1090712"/>
              <a:gd name="connsiteY839" fmla="*/ 95749 h 895572"/>
              <a:gd name="connsiteX840" fmla="*/ 747155 w 1090712"/>
              <a:gd name="connsiteY840" fmla="*/ 72703 h 895572"/>
              <a:gd name="connsiteX841" fmla="*/ 733850 w 1090712"/>
              <a:gd name="connsiteY841" fmla="*/ 61061 h 895572"/>
              <a:gd name="connsiteX842" fmla="*/ 720545 w 1090712"/>
              <a:gd name="connsiteY842" fmla="*/ 49894 h 895572"/>
              <a:gd name="connsiteX843" fmla="*/ 706765 w 1090712"/>
              <a:gd name="connsiteY843" fmla="*/ 38728 h 895572"/>
              <a:gd name="connsiteX844" fmla="*/ 692510 w 1090712"/>
              <a:gd name="connsiteY844" fmla="*/ 28036 h 895572"/>
              <a:gd name="connsiteX845" fmla="*/ 679442 w 1090712"/>
              <a:gd name="connsiteY845" fmla="*/ 21859 h 895572"/>
              <a:gd name="connsiteX846" fmla="*/ 666137 w 1090712"/>
              <a:gd name="connsiteY846" fmla="*/ 16632 h 895572"/>
              <a:gd name="connsiteX847" fmla="*/ 652832 w 1090712"/>
              <a:gd name="connsiteY847" fmla="*/ 11642 h 895572"/>
              <a:gd name="connsiteX848" fmla="*/ 639527 w 1090712"/>
              <a:gd name="connsiteY848" fmla="*/ 7603 h 895572"/>
              <a:gd name="connsiteX849" fmla="*/ 626222 w 1090712"/>
              <a:gd name="connsiteY849" fmla="*/ 4514 h 895572"/>
              <a:gd name="connsiteX850" fmla="*/ 612917 w 1090712"/>
              <a:gd name="connsiteY850" fmla="*/ 1901 h 895572"/>
              <a:gd name="connsiteX851" fmla="*/ 599374 w 1090712"/>
              <a:gd name="connsiteY851" fmla="*/ 475 h 895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Lst>
            <a:rect l="l" t="t" r="r" b="b"/>
            <a:pathLst>
              <a:path w="1090712" h="895572">
                <a:moveTo>
                  <a:pt x="603413" y="721327"/>
                </a:moveTo>
                <a:lnTo>
                  <a:pt x="578466" y="770746"/>
                </a:lnTo>
                <a:lnTo>
                  <a:pt x="553519" y="818264"/>
                </a:lnTo>
                <a:lnTo>
                  <a:pt x="528334" y="865069"/>
                </a:lnTo>
                <a:lnTo>
                  <a:pt x="511825" y="895572"/>
                </a:lnTo>
                <a:lnTo>
                  <a:pt x="624528" y="895572"/>
                </a:lnTo>
                <a:lnTo>
                  <a:pt x="624796" y="894768"/>
                </a:lnTo>
                <a:lnTo>
                  <a:pt x="625271" y="891679"/>
                </a:lnTo>
                <a:lnTo>
                  <a:pt x="625747" y="889066"/>
                </a:lnTo>
                <a:lnTo>
                  <a:pt x="625747" y="860555"/>
                </a:lnTo>
                <a:lnTo>
                  <a:pt x="624796" y="833945"/>
                </a:lnTo>
                <a:lnTo>
                  <a:pt x="624321" y="820877"/>
                </a:lnTo>
                <a:lnTo>
                  <a:pt x="623608" y="808047"/>
                </a:lnTo>
                <a:lnTo>
                  <a:pt x="621708" y="795218"/>
                </a:lnTo>
                <a:lnTo>
                  <a:pt x="620044" y="782625"/>
                </a:lnTo>
                <a:lnTo>
                  <a:pt x="616005" y="766707"/>
                </a:lnTo>
                <a:lnTo>
                  <a:pt x="611966" y="751976"/>
                </a:lnTo>
                <a:lnTo>
                  <a:pt x="607452" y="737245"/>
                </a:lnTo>
                <a:close/>
                <a:moveTo>
                  <a:pt x="698212" y="530778"/>
                </a:moveTo>
                <a:lnTo>
                  <a:pt x="693460" y="534818"/>
                </a:lnTo>
                <a:lnTo>
                  <a:pt x="688471" y="538857"/>
                </a:lnTo>
                <a:lnTo>
                  <a:pt x="678254" y="546935"/>
                </a:lnTo>
                <a:lnTo>
                  <a:pt x="669226" y="553587"/>
                </a:lnTo>
                <a:lnTo>
                  <a:pt x="663048" y="558814"/>
                </a:lnTo>
                <a:lnTo>
                  <a:pt x="663048" y="556676"/>
                </a:lnTo>
                <a:lnTo>
                  <a:pt x="663523" y="554538"/>
                </a:lnTo>
                <a:lnTo>
                  <a:pt x="665424" y="550498"/>
                </a:lnTo>
                <a:lnTo>
                  <a:pt x="668038" y="546459"/>
                </a:lnTo>
                <a:lnTo>
                  <a:pt x="671602" y="542420"/>
                </a:lnTo>
                <a:lnTo>
                  <a:pt x="676829" y="538857"/>
                </a:lnTo>
                <a:lnTo>
                  <a:pt x="682768" y="535768"/>
                </a:lnTo>
                <a:lnTo>
                  <a:pt x="689896" y="533154"/>
                </a:lnTo>
                <a:close/>
                <a:moveTo>
                  <a:pt x="654257" y="302216"/>
                </a:moveTo>
                <a:lnTo>
                  <a:pt x="651882" y="302691"/>
                </a:lnTo>
                <a:lnTo>
                  <a:pt x="649268" y="303166"/>
                </a:lnTo>
                <a:lnTo>
                  <a:pt x="647130" y="304354"/>
                </a:lnTo>
                <a:lnTo>
                  <a:pt x="644516" y="306255"/>
                </a:lnTo>
                <a:lnTo>
                  <a:pt x="642140" y="307918"/>
                </a:lnTo>
                <a:lnTo>
                  <a:pt x="640002" y="310294"/>
                </a:lnTo>
                <a:lnTo>
                  <a:pt x="638101" y="312432"/>
                </a:lnTo>
                <a:lnTo>
                  <a:pt x="636913" y="314571"/>
                </a:lnTo>
                <a:lnTo>
                  <a:pt x="635963" y="316946"/>
                </a:lnTo>
                <a:lnTo>
                  <a:pt x="635963" y="319085"/>
                </a:lnTo>
                <a:lnTo>
                  <a:pt x="636913" y="321223"/>
                </a:lnTo>
                <a:lnTo>
                  <a:pt x="637626" y="324074"/>
                </a:lnTo>
                <a:lnTo>
                  <a:pt x="639527" y="326688"/>
                </a:lnTo>
                <a:lnTo>
                  <a:pt x="643091" y="331677"/>
                </a:lnTo>
                <a:lnTo>
                  <a:pt x="647130" y="335954"/>
                </a:lnTo>
                <a:lnTo>
                  <a:pt x="655920" y="330727"/>
                </a:lnTo>
                <a:lnTo>
                  <a:pt x="663999" y="324787"/>
                </a:lnTo>
                <a:lnTo>
                  <a:pt x="679917" y="313383"/>
                </a:lnTo>
                <a:lnTo>
                  <a:pt x="676354" y="311007"/>
                </a:lnTo>
                <a:lnTo>
                  <a:pt x="672790" y="308393"/>
                </a:lnTo>
                <a:lnTo>
                  <a:pt x="668988" y="306730"/>
                </a:lnTo>
                <a:lnTo>
                  <a:pt x="664949" y="304829"/>
                </a:lnTo>
                <a:lnTo>
                  <a:pt x="660910" y="303641"/>
                </a:lnTo>
                <a:lnTo>
                  <a:pt x="657346" y="302691"/>
                </a:lnTo>
                <a:close/>
                <a:moveTo>
                  <a:pt x="696549" y="252322"/>
                </a:moveTo>
                <a:lnTo>
                  <a:pt x="696786" y="259925"/>
                </a:lnTo>
                <a:lnTo>
                  <a:pt x="698212" y="266102"/>
                </a:lnTo>
                <a:lnTo>
                  <a:pt x="700113" y="272042"/>
                </a:lnTo>
                <a:lnTo>
                  <a:pt x="701776" y="276794"/>
                </a:lnTo>
                <a:lnTo>
                  <a:pt x="704389" y="280833"/>
                </a:lnTo>
                <a:lnTo>
                  <a:pt x="707240" y="284397"/>
                </a:lnTo>
                <a:lnTo>
                  <a:pt x="710329" y="287010"/>
                </a:lnTo>
                <a:lnTo>
                  <a:pt x="713418" y="289624"/>
                </a:lnTo>
                <a:lnTo>
                  <a:pt x="716506" y="291524"/>
                </a:lnTo>
                <a:lnTo>
                  <a:pt x="719595" y="293187"/>
                </a:lnTo>
                <a:lnTo>
                  <a:pt x="725772" y="295088"/>
                </a:lnTo>
                <a:lnTo>
                  <a:pt x="731237" y="296514"/>
                </a:lnTo>
                <a:lnTo>
                  <a:pt x="734801" y="296751"/>
                </a:lnTo>
                <a:lnTo>
                  <a:pt x="722209" y="303879"/>
                </a:lnTo>
                <a:lnTo>
                  <a:pt x="710804" y="311007"/>
                </a:lnTo>
                <a:lnTo>
                  <a:pt x="688471" y="324787"/>
                </a:lnTo>
                <a:lnTo>
                  <a:pt x="667563" y="339043"/>
                </a:lnTo>
                <a:lnTo>
                  <a:pt x="646179" y="352823"/>
                </a:lnTo>
                <a:lnTo>
                  <a:pt x="620044" y="313383"/>
                </a:lnTo>
                <a:lnTo>
                  <a:pt x="617668" y="312432"/>
                </a:lnTo>
                <a:lnTo>
                  <a:pt x="615055" y="312432"/>
                </a:lnTo>
                <a:lnTo>
                  <a:pt x="612441" y="313383"/>
                </a:lnTo>
                <a:lnTo>
                  <a:pt x="609353" y="314095"/>
                </a:lnTo>
                <a:lnTo>
                  <a:pt x="602938" y="316946"/>
                </a:lnTo>
                <a:lnTo>
                  <a:pt x="599849" y="317659"/>
                </a:lnTo>
                <a:lnTo>
                  <a:pt x="596760" y="318610"/>
                </a:lnTo>
                <a:lnTo>
                  <a:pt x="607927" y="307205"/>
                </a:lnTo>
                <a:lnTo>
                  <a:pt x="618619" y="295088"/>
                </a:lnTo>
                <a:lnTo>
                  <a:pt x="623846" y="289386"/>
                </a:lnTo>
                <a:lnTo>
                  <a:pt x="629786" y="283921"/>
                </a:lnTo>
                <a:lnTo>
                  <a:pt x="635963" y="278694"/>
                </a:lnTo>
                <a:lnTo>
                  <a:pt x="642140" y="273705"/>
                </a:lnTo>
                <a:lnTo>
                  <a:pt x="648793" y="269191"/>
                </a:lnTo>
                <a:lnTo>
                  <a:pt x="655446" y="265627"/>
                </a:lnTo>
                <a:lnTo>
                  <a:pt x="662098" y="263013"/>
                </a:lnTo>
                <a:lnTo>
                  <a:pt x="668988" y="260400"/>
                </a:lnTo>
                <a:lnTo>
                  <a:pt x="682768" y="256361"/>
                </a:lnTo>
                <a:close/>
                <a:moveTo>
                  <a:pt x="1030602" y="200289"/>
                </a:moveTo>
                <a:lnTo>
                  <a:pt x="1027513" y="207892"/>
                </a:lnTo>
                <a:lnTo>
                  <a:pt x="1023949" y="214545"/>
                </a:lnTo>
                <a:lnTo>
                  <a:pt x="1019910" y="221197"/>
                </a:lnTo>
                <a:lnTo>
                  <a:pt x="1015396" y="226899"/>
                </a:lnTo>
                <a:lnTo>
                  <a:pt x="1011119" y="232839"/>
                </a:lnTo>
                <a:lnTo>
                  <a:pt x="1006130" y="237591"/>
                </a:lnTo>
                <a:lnTo>
                  <a:pt x="1001140" y="242105"/>
                </a:lnTo>
                <a:lnTo>
                  <a:pt x="996388" y="246144"/>
                </a:lnTo>
                <a:lnTo>
                  <a:pt x="990924" y="249708"/>
                </a:lnTo>
                <a:lnTo>
                  <a:pt x="985697" y="252797"/>
                </a:lnTo>
                <a:lnTo>
                  <a:pt x="980232" y="254935"/>
                </a:lnTo>
                <a:lnTo>
                  <a:pt x="975005" y="256836"/>
                </a:lnTo>
                <a:lnTo>
                  <a:pt x="969541" y="258262"/>
                </a:lnTo>
                <a:lnTo>
                  <a:pt x="963839" y="258499"/>
                </a:lnTo>
                <a:lnTo>
                  <a:pt x="958612" y="258499"/>
                </a:lnTo>
                <a:lnTo>
                  <a:pt x="953622" y="257786"/>
                </a:lnTo>
                <a:lnTo>
                  <a:pt x="970966" y="244006"/>
                </a:lnTo>
                <a:lnTo>
                  <a:pt x="990211" y="229275"/>
                </a:lnTo>
                <a:lnTo>
                  <a:pt x="1010169" y="214069"/>
                </a:lnTo>
                <a:lnTo>
                  <a:pt x="1020385" y="206942"/>
                </a:lnTo>
                <a:close/>
                <a:moveTo>
                  <a:pt x="389581" y="176768"/>
                </a:moveTo>
                <a:lnTo>
                  <a:pt x="397422" y="177243"/>
                </a:lnTo>
                <a:lnTo>
                  <a:pt x="414766" y="178906"/>
                </a:lnTo>
                <a:lnTo>
                  <a:pt x="405500" y="179856"/>
                </a:lnTo>
                <a:lnTo>
                  <a:pt x="396946" y="181995"/>
                </a:lnTo>
                <a:lnTo>
                  <a:pt x="389581" y="184371"/>
                </a:lnTo>
                <a:lnTo>
                  <a:pt x="381978" y="186984"/>
                </a:lnTo>
                <a:lnTo>
                  <a:pt x="375326" y="190548"/>
                </a:lnTo>
                <a:lnTo>
                  <a:pt x="368911" y="194112"/>
                </a:lnTo>
                <a:lnTo>
                  <a:pt x="363208" y="198626"/>
                </a:lnTo>
                <a:lnTo>
                  <a:pt x="357981" y="202903"/>
                </a:lnTo>
                <a:lnTo>
                  <a:pt x="352517" y="208367"/>
                </a:lnTo>
                <a:lnTo>
                  <a:pt x="348003" y="214070"/>
                </a:lnTo>
                <a:lnTo>
                  <a:pt x="343726" y="220247"/>
                </a:lnTo>
                <a:lnTo>
                  <a:pt x="339687" y="226662"/>
                </a:lnTo>
                <a:lnTo>
                  <a:pt x="335648" y="233790"/>
                </a:lnTo>
                <a:lnTo>
                  <a:pt x="332559" y="240917"/>
                </a:lnTo>
                <a:lnTo>
                  <a:pt x="328995" y="248758"/>
                </a:lnTo>
                <a:lnTo>
                  <a:pt x="325907" y="256836"/>
                </a:lnTo>
                <a:lnTo>
                  <a:pt x="325432" y="252797"/>
                </a:lnTo>
                <a:lnTo>
                  <a:pt x="324956" y="248283"/>
                </a:lnTo>
                <a:lnTo>
                  <a:pt x="323056" y="239492"/>
                </a:lnTo>
                <a:lnTo>
                  <a:pt x="320917" y="229275"/>
                </a:lnTo>
                <a:lnTo>
                  <a:pt x="320442" y="223811"/>
                </a:lnTo>
                <a:lnTo>
                  <a:pt x="319967" y="217633"/>
                </a:lnTo>
                <a:lnTo>
                  <a:pt x="314740" y="217633"/>
                </a:lnTo>
                <a:lnTo>
                  <a:pt x="302148" y="243056"/>
                </a:lnTo>
                <a:lnTo>
                  <a:pt x="289793" y="267528"/>
                </a:lnTo>
                <a:lnTo>
                  <a:pt x="277438" y="291049"/>
                </a:lnTo>
                <a:lnTo>
                  <a:pt x="264371" y="312907"/>
                </a:lnTo>
                <a:lnTo>
                  <a:pt x="267459" y="295088"/>
                </a:lnTo>
                <a:lnTo>
                  <a:pt x="271023" y="279170"/>
                </a:lnTo>
                <a:lnTo>
                  <a:pt x="274587" y="263964"/>
                </a:lnTo>
                <a:lnTo>
                  <a:pt x="279101" y="250183"/>
                </a:lnTo>
                <a:lnTo>
                  <a:pt x="284091" y="238066"/>
                </a:lnTo>
                <a:lnTo>
                  <a:pt x="289318" y="226900"/>
                </a:lnTo>
                <a:lnTo>
                  <a:pt x="292406" y="221673"/>
                </a:lnTo>
                <a:lnTo>
                  <a:pt x="295495" y="217158"/>
                </a:lnTo>
                <a:lnTo>
                  <a:pt x="298584" y="212406"/>
                </a:lnTo>
                <a:lnTo>
                  <a:pt x="302148" y="208367"/>
                </a:lnTo>
                <a:lnTo>
                  <a:pt x="305711" y="204328"/>
                </a:lnTo>
                <a:lnTo>
                  <a:pt x="309275" y="200765"/>
                </a:lnTo>
                <a:lnTo>
                  <a:pt x="313314" y="197201"/>
                </a:lnTo>
                <a:lnTo>
                  <a:pt x="317354" y="194112"/>
                </a:lnTo>
                <a:lnTo>
                  <a:pt x="321868" y="191498"/>
                </a:lnTo>
                <a:lnTo>
                  <a:pt x="326382" y="188647"/>
                </a:lnTo>
                <a:lnTo>
                  <a:pt x="330659" y="186509"/>
                </a:lnTo>
                <a:lnTo>
                  <a:pt x="335648" y="184371"/>
                </a:lnTo>
                <a:lnTo>
                  <a:pt x="340637" y="182470"/>
                </a:lnTo>
                <a:lnTo>
                  <a:pt x="345864" y="181282"/>
                </a:lnTo>
                <a:lnTo>
                  <a:pt x="351091" y="179856"/>
                </a:lnTo>
                <a:lnTo>
                  <a:pt x="357031" y="178431"/>
                </a:lnTo>
                <a:lnTo>
                  <a:pt x="368911" y="177243"/>
                </a:lnTo>
                <a:lnTo>
                  <a:pt x="381978" y="176768"/>
                </a:lnTo>
                <a:close/>
                <a:moveTo>
                  <a:pt x="609353" y="174629"/>
                </a:moveTo>
                <a:lnTo>
                  <a:pt x="602463" y="180807"/>
                </a:lnTo>
                <a:lnTo>
                  <a:pt x="596285" y="187459"/>
                </a:lnTo>
                <a:lnTo>
                  <a:pt x="583931" y="201715"/>
                </a:lnTo>
                <a:lnTo>
                  <a:pt x="571101" y="215495"/>
                </a:lnTo>
                <a:lnTo>
                  <a:pt x="564686" y="222148"/>
                </a:lnTo>
                <a:lnTo>
                  <a:pt x="558508" y="228325"/>
                </a:lnTo>
                <a:lnTo>
                  <a:pt x="557558" y="223335"/>
                </a:lnTo>
                <a:lnTo>
                  <a:pt x="557083" y="219059"/>
                </a:lnTo>
                <a:lnTo>
                  <a:pt x="557083" y="215020"/>
                </a:lnTo>
                <a:lnTo>
                  <a:pt x="557558" y="210981"/>
                </a:lnTo>
                <a:lnTo>
                  <a:pt x="558508" y="207417"/>
                </a:lnTo>
                <a:lnTo>
                  <a:pt x="560409" y="203853"/>
                </a:lnTo>
                <a:lnTo>
                  <a:pt x="562072" y="200764"/>
                </a:lnTo>
                <a:lnTo>
                  <a:pt x="564686" y="197676"/>
                </a:lnTo>
                <a:lnTo>
                  <a:pt x="567774" y="194587"/>
                </a:lnTo>
                <a:lnTo>
                  <a:pt x="571813" y="191973"/>
                </a:lnTo>
                <a:lnTo>
                  <a:pt x="576328" y="188647"/>
                </a:lnTo>
                <a:lnTo>
                  <a:pt x="581317" y="186034"/>
                </a:lnTo>
                <a:lnTo>
                  <a:pt x="587019" y="183420"/>
                </a:lnTo>
                <a:lnTo>
                  <a:pt x="593672" y="180332"/>
                </a:lnTo>
                <a:close/>
                <a:moveTo>
                  <a:pt x="586544" y="0"/>
                </a:moveTo>
                <a:lnTo>
                  <a:pt x="570150" y="2851"/>
                </a:lnTo>
                <a:lnTo>
                  <a:pt x="553519" y="5940"/>
                </a:lnTo>
                <a:lnTo>
                  <a:pt x="536650" y="10454"/>
                </a:lnTo>
                <a:lnTo>
                  <a:pt x="520256" y="14731"/>
                </a:lnTo>
                <a:lnTo>
                  <a:pt x="486993" y="24472"/>
                </a:lnTo>
                <a:lnTo>
                  <a:pt x="469887" y="28986"/>
                </a:lnTo>
                <a:lnTo>
                  <a:pt x="453493" y="33500"/>
                </a:lnTo>
                <a:lnTo>
                  <a:pt x="438762" y="40153"/>
                </a:lnTo>
                <a:lnTo>
                  <a:pt x="424507" y="47281"/>
                </a:lnTo>
                <a:lnTo>
                  <a:pt x="417379" y="51320"/>
                </a:lnTo>
                <a:lnTo>
                  <a:pt x="410727" y="55834"/>
                </a:lnTo>
                <a:lnTo>
                  <a:pt x="403599" y="60111"/>
                </a:lnTo>
                <a:lnTo>
                  <a:pt x="397422" y="65100"/>
                </a:lnTo>
                <a:lnTo>
                  <a:pt x="390769" y="69852"/>
                </a:lnTo>
                <a:lnTo>
                  <a:pt x="384592" y="75792"/>
                </a:lnTo>
                <a:lnTo>
                  <a:pt x="378889" y="81494"/>
                </a:lnTo>
                <a:lnTo>
                  <a:pt x="372950" y="87671"/>
                </a:lnTo>
                <a:lnTo>
                  <a:pt x="367723" y="94324"/>
                </a:lnTo>
                <a:lnTo>
                  <a:pt x="362733" y="101452"/>
                </a:lnTo>
                <a:lnTo>
                  <a:pt x="357981" y="109055"/>
                </a:lnTo>
                <a:lnTo>
                  <a:pt x="353467" y="117608"/>
                </a:lnTo>
                <a:lnTo>
                  <a:pt x="409064" y="117608"/>
                </a:lnTo>
                <a:lnTo>
                  <a:pt x="406925" y="119271"/>
                </a:lnTo>
                <a:lnTo>
                  <a:pt x="404074" y="121647"/>
                </a:lnTo>
                <a:lnTo>
                  <a:pt x="400510" y="123310"/>
                </a:lnTo>
                <a:lnTo>
                  <a:pt x="397422" y="125211"/>
                </a:lnTo>
                <a:lnTo>
                  <a:pt x="393383" y="126399"/>
                </a:lnTo>
                <a:lnTo>
                  <a:pt x="389581" y="127824"/>
                </a:lnTo>
                <a:lnTo>
                  <a:pt x="385542" y="128299"/>
                </a:lnTo>
                <a:lnTo>
                  <a:pt x="381503" y="128774"/>
                </a:lnTo>
                <a:lnTo>
                  <a:pt x="375326" y="130438"/>
                </a:lnTo>
                <a:lnTo>
                  <a:pt x="368435" y="131863"/>
                </a:lnTo>
                <a:lnTo>
                  <a:pt x="361783" y="133051"/>
                </a:lnTo>
                <a:lnTo>
                  <a:pt x="355606" y="134001"/>
                </a:lnTo>
                <a:lnTo>
                  <a:pt x="342300" y="135427"/>
                </a:lnTo>
                <a:lnTo>
                  <a:pt x="329471" y="137090"/>
                </a:lnTo>
                <a:lnTo>
                  <a:pt x="322818" y="138040"/>
                </a:lnTo>
                <a:lnTo>
                  <a:pt x="316403" y="139704"/>
                </a:lnTo>
                <a:lnTo>
                  <a:pt x="310226" y="141604"/>
                </a:lnTo>
                <a:lnTo>
                  <a:pt x="304048" y="144218"/>
                </a:lnTo>
                <a:lnTo>
                  <a:pt x="298346" y="147307"/>
                </a:lnTo>
                <a:lnTo>
                  <a:pt x="292406" y="151346"/>
                </a:lnTo>
                <a:lnTo>
                  <a:pt x="286704" y="156335"/>
                </a:lnTo>
                <a:lnTo>
                  <a:pt x="281240" y="162037"/>
                </a:lnTo>
                <a:lnTo>
                  <a:pt x="262232" y="182945"/>
                </a:lnTo>
                <a:lnTo>
                  <a:pt x="242987" y="203378"/>
                </a:lnTo>
                <a:lnTo>
                  <a:pt x="203547" y="244006"/>
                </a:lnTo>
                <a:lnTo>
                  <a:pt x="183827" y="264439"/>
                </a:lnTo>
                <a:lnTo>
                  <a:pt x="164345" y="285822"/>
                </a:lnTo>
                <a:lnTo>
                  <a:pt x="144862" y="307443"/>
                </a:lnTo>
                <a:lnTo>
                  <a:pt x="126093" y="329777"/>
                </a:lnTo>
                <a:lnTo>
                  <a:pt x="122054" y="335004"/>
                </a:lnTo>
                <a:lnTo>
                  <a:pt x="118015" y="340468"/>
                </a:lnTo>
                <a:lnTo>
                  <a:pt x="110887" y="352110"/>
                </a:lnTo>
                <a:lnTo>
                  <a:pt x="104709" y="363514"/>
                </a:lnTo>
                <a:lnTo>
                  <a:pt x="99007" y="375156"/>
                </a:lnTo>
                <a:lnTo>
                  <a:pt x="87840" y="400103"/>
                </a:lnTo>
                <a:lnTo>
                  <a:pt x="82138" y="412458"/>
                </a:lnTo>
                <a:lnTo>
                  <a:pt x="75723" y="425050"/>
                </a:lnTo>
                <a:lnTo>
                  <a:pt x="75723" y="429802"/>
                </a:lnTo>
                <a:lnTo>
                  <a:pt x="76674" y="436217"/>
                </a:lnTo>
                <a:lnTo>
                  <a:pt x="77149" y="439306"/>
                </a:lnTo>
                <a:lnTo>
                  <a:pt x="78574" y="442395"/>
                </a:lnTo>
                <a:lnTo>
                  <a:pt x="79762" y="445008"/>
                </a:lnTo>
                <a:lnTo>
                  <a:pt x="81663" y="447147"/>
                </a:lnTo>
                <a:lnTo>
                  <a:pt x="94018" y="468055"/>
                </a:lnTo>
                <a:lnTo>
                  <a:pt x="106848" y="488963"/>
                </a:lnTo>
                <a:lnTo>
                  <a:pt x="113975" y="499654"/>
                </a:lnTo>
                <a:lnTo>
                  <a:pt x="121103" y="510346"/>
                </a:lnTo>
                <a:lnTo>
                  <a:pt x="128706" y="520562"/>
                </a:lnTo>
                <a:lnTo>
                  <a:pt x="137259" y="531254"/>
                </a:lnTo>
                <a:lnTo>
                  <a:pt x="149614" y="514385"/>
                </a:lnTo>
                <a:lnTo>
                  <a:pt x="162206" y="498466"/>
                </a:lnTo>
                <a:lnTo>
                  <a:pt x="174561" y="483260"/>
                </a:lnTo>
                <a:lnTo>
                  <a:pt x="180739" y="476133"/>
                </a:lnTo>
                <a:lnTo>
                  <a:pt x="186916" y="469480"/>
                </a:lnTo>
                <a:lnTo>
                  <a:pt x="182639" y="482310"/>
                </a:lnTo>
                <a:lnTo>
                  <a:pt x="178125" y="495615"/>
                </a:lnTo>
                <a:lnTo>
                  <a:pt x="172423" y="509871"/>
                </a:lnTo>
                <a:lnTo>
                  <a:pt x="164820" y="525552"/>
                </a:lnTo>
                <a:lnTo>
                  <a:pt x="156267" y="538381"/>
                </a:lnTo>
                <a:lnTo>
                  <a:pt x="152703" y="544559"/>
                </a:lnTo>
                <a:lnTo>
                  <a:pt x="148664" y="551449"/>
                </a:lnTo>
                <a:lnTo>
                  <a:pt x="145100" y="558339"/>
                </a:lnTo>
                <a:lnTo>
                  <a:pt x="142011" y="565467"/>
                </a:lnTo>
                <a:lnTo>
                  <a:pt x="139398" y="573070"/>
                </a:lnTo>
                <a:lnTo>
                  <a:pt x="137259" y="581623"/>
                </a:lnTo>
                <a:lnTo>
                  <a:pt x="136309" y="583761"/>
                </a:lnTo>
                <a:lnTo>
                  <a:pt x="135359" y="586137"/>
                </a:lnTo>
                <a:lnTo>
                  <a:pt x="134883" y="590889"/>
                </a:lnTo>
                <a:lnTo>
                  <a:pt x="134883" y="595879"/>
                </a:lnTo>
                <a:lnTo>
                  <a:pt x="135359" y="601106"/>
                </a:lnTo>
                <a:lnTo>
                  <a:pt x="136784" y="606095"/>
                </a:lnTo>
                <a:lnTo>
                  <a:pt x="138447" y="611322"/>
                </a:lnTo>
                <a:lnTo>
                  <a:pt x="140348" y="616311"/>
                </a:lnTo>
                <a:lnTo>
                  <a:pt x="142486" y="620826"/>
                </a:lnTo>
                <a:lnTo>
                  <a:pt x="148664" y="629616"/>
                </a:lnTo>
                <a:lnTo>
                  <a:pt x="155554" y="637219"/>
                </a:lnTo>
                <a:lnTo>
                  <a:pt x="162444" y="643872"/>
                </a:lnTo>
                <a:lnTo>
                  <a:pt x="169572" y="649099"/>
                </a:lnTo>
                <a:lnTo>
                  <a:pt x="177175" y="653613"/>
                </a:lnTo>
                <a:lnTo>
                  <a:pt x="184778" y="657177"/>
                </a:lnTo>
                <a:lnTo>
                  <a:pt x="192856" y="659553"/>
                </a:lnTo>
                <a:lnTo>
                  <a:pt x="200934" y="661216"/>
                </a:lnTo>
                <a:lnTo>
                  <a:pt x="209250" y="661691"/>
                </a:lnTo>
                <a:lnTo>
                  <a:pt x="218278" y="661691"/>
                </a:lnTo>
                <a:lnTo>
                  <a:pt x="227069" y="660266"/>
                </a:lnTo>
                <a:lnTo>
                  <a:pt x="236335" y="658603"/>
                </a:lnTo>
                <a:lnTo>
                  <a:pt x="245838" y="655514"/>
                </a:lnTo>
                <a:lnTo>
                  <a:pt x="255580" y="652425"/>
                </a:lnTo>
                <a:lnTo>
                  <a:pt x="265321" y="647911"/>
                </a:lnTo>
                <a:lnTo>
                  <a:pt x="276013" y="642922"/>
                </a:lnTo>
                <a:lnTo>
                  <a:pt x="288367" y="635081"/>
                </a:lnTo>
                <a:lnTo>
                  <a:pt x="301910" y="627478"/>
                </a:lnTo>
                <a:lnTo>
                  <a:pt x="315215" y="620350"/>
                </a:lnTo>
                <a:lnTo>
                  <a:pt x="329471" y="613698"/>
                </a:lnTo>
                <a:lnTo>
                  <a:pt x="343726" y="607283"/>
                </a:lnTo>
                <a:lnTo>
                  <a:pt x="357981" y="602056"/>
                </a:lnTo>
                <a:lnTo>
                  <a:pt x="371999" y="597066"/>
                </a:lnTo>
                <a:lnTo>
                  <a:pt x="386730" y="592790"/>
                </a:lnTo>
                <a:lnTo>
                  <a:pt x="394808" y="590414"/>
                </a:lnTo>
                <a:lnTo>
                  <a:pt x="402411" y="587325"/>
                </a:lnTo>
                <a:lnTo>
                  <a:pt x="409064" y="583761"/>
                </a:lnTo>
                <a:lnTo>
                  <a:pt x="411677" y="581623"/>
                </a:lnTo>
                <a:lnTo>
                  <a:pt x="414766" y="579247"/>
                </a:lnTo>
                <a:lnTo>
                  <a:pt x="417142" y="577109"/>
                </a:lnTo>
                <a:lnTo>
                  <a:pt x="419280" y="574495"/>
                </a:lnTo>
                <a:lnTo>
                  <a:pt x="420943" y="571407"/>
                </a:lnTo>
                <a:lnTo>
                  <a:pt x="422844" y="568318"/>
                </a:lnTo>
                <a:lnTo>
                  <a:pt x="424269" y="565229"/>
                </a:lnTo>
                <a:lnTo>
                  <a:pt x="424982" y="561665"/>
                </a:lnTo>
                <a:lnTo>
                  <a:pt x="425457" y="557626"/>
                </a:lnTo>
                <a:lnTo>
                  <a:pt x="425932" y="553587"/>
                </a:lnTo>
                <a:lnTo>
                  <a:pt x="425932" y="413884"/>
                </a:lnTo>
                <a:lnTo>
                  <a:pt x="425932" y="285347"/>
                </a:lnTo>
                <a:lnTo>
                  <a:pt x="429496" y="300078"/>
                </a:lnTo>
                <a:lnTo>
                  <a:pt x="433060" y="314096"/>
                </a:lnTo>
                <a:lnTo>
                  <a:pt x="436149" y="328826"/>
                </a:lnTo>
                <a:lnTo>
                  <a:pt x="438762" y="343082"/>
                </a:lnTo>
                <a:lnTo>
                  <a:pt x="443752" y="370642"/>
                </a:lnTo>
                <a:lnTo>
                  <a:pt x="447791" y="397015"/>
                </a:lnTo>
                <a:lnTo>
                  <a:pt x="451830" y="421962"/>
                </a:lnTo>
                <a:lnTo>
                  <a:pt x="454919" y="446434"/>
                </a:lnTo>
                <a:lnTo>
                  <a:pt x="456106" y="458313"/>
                </a:lnTo>
                <a:lnTo>
                  <a:pt x="457057" y="470430"/>
                </a:lnTo>
                <a:lnTo>
                  <a:pt x="457532" y="482310"/>
                </a:lnTo>
                <a:lnTo>
                  <a:pt x="457532" y="493952"/>
                </a:lnTo>
                <a:lnTo>
                  <a:pt x="457532" y="506069"/>
                </a:lnTo>
                <a:lnTo>
                  <a:pt x="456582" y="517473"/>
                </a:lnTo>
                <a:lnTo>
                  <a:pt x="455869" y="529116"/>
                </a:lnTo>
                <a:lnTo>
                  <a:pt x="453968" y="540757"/>
                </a:lnTo>
                <a:lnTo>
                  <a:pt x="452305" y="552162"/>
                </a:lnTo>
                <a:lnTo>
                  <a:pt x="449454" y="563804"/>
                </a:lnTo>
                <a:lnTo>
                  <a:pt x="446365" y="575446"/>
                </a:lnTo>
                <a:lnTo>
                  <a:pt x="442326" y="586850"/>
                </a:lnTo>
                <a:lnTo>
                  <a:pt x="440188" y="591364"/>
                </a:lnTo>
                <a:lnTo>
                  <a:pt x="437574" y="595403"/>
                </a:lnTo>
                <a:lnTo>
                  <a:pt x="434486" y="598967"/>
                </a:lnTo>
                <a:lnTo>
                  <a:pt x="431397" y="602531"/>
                </a:lnTo>
                <a:lnTo>
                  <a:pt x="428071" y="605145"/>
                </a:lnTo>
                <a:lnTo>
                  <a:pt x="424982" y="607283"/>
                </a:lnTo>
                <a:lnTo>
                  <a:pt x="422369" y="608708"/>
                </a:lnTo>
                <a:lnTo>
                  <a:pt x="420230" y="609659"/>
                </a:lnTo>
                <a:lnTo>
                  <a:pt x="410727" y="610847"/>
                </a:lnTo>
                <a:lnTo>
                  <a:pt x="401461" y="612748"/>
                </a:lnTo>
                <a:lnTo>
                  <a:pt x="392670" y="614886"/>
                </a:lnTo>
                <a:lnTo>
                  <a:pt x="383641" y="617262"/>
                </a:lnTo>
                <a:lnTo>
                  <a:pt x="374850" y="620350"/>
                </a:lnTo>
                <a:lnTo>
                  <a:pt x="365822" y="623914"/>
                </a:lnTo>
                <a:lnTo>
                  <a:pt x="348478" y="631042"/>
                </a:lnTo>
                <a:lnTo>
                  <a:pt x="331609" y="639358"/>
                </a:lnTo>
                <a:lnTo>
                  <a:pt x="314740" y="647911"/>
                </a:lnTo>
                <a:lnTo>
                  <a:pt x="281240" y="665255"/>
                </a:lnTo>
                <a:lnTo>
                  <a:pt x="274587" y="669294"/>
                </a:lnTo>
                <a:lnTo>
                  <a:pt x="267935" y="672858"/>
                </a:lnTo>
                <a:lnTo>
                  <a:pt x="261757" y="675947"/>
                </a:lnTo>
                <a:lnTo>
                  <a:pt x="255105" y="679035"/>
                </a:lnTo>
                <a:lnTo>
                  <a:pt x="248927" y="681174"/>
                </a:lnTo>
                <a:lnTo>
                  <a:pt x="242987" y="683075"/>
                </a:lnTo>
                <a:lnTo>
                  <a:pt x="236810" y="684738"/>
                </a:lnTo>
                <a:lnTo>
                  <a:pt x="231108" y="686163"/>
                </a:lnTo>
                <a:lnTo>
                  <a:pt x="225406" y="687114"/>
                </a:lnTo>
                <a:lnTo>
                  <a:pt x="219466" y="687589"/>
                </a:lnTo>
                <a:lnTo>
                  <a:pt x="213764" y="687589"/>
                </a:lnTo>
                <a:lnTo>
                  <a:pt x="208299" y="687589"/>
                </a:lnTo>
                <a:lnTo>
                  <a:pt x="203072" y="687114"/>
                </a:lnTo>
                <a:lnTo>
                  <a:pt x="197607" y="686163"/>
                </a:lnTo>
                <a:lnTo>
                  <a:pt x="192380" y="684738"/>
                </a:lnTo>
                <a:lnTo>
                  <a:pt x="186916" y="683550"/>
                </a:lnTo>
                <a:lnTo>
                  <a:pt x="181689" y="681649"/>
                </a:lnTo>
                <a:lnTo>
                  <a:pt x="176699" y="679986"/>
                </a:lnTo>
                <a:lnTo>
                  <a:pt x="171472" y="677610"/>
                </a:lnTo>
                <a:lnTo>
                  <a:pt x="166483" y="674996"/>
                </a:lnTo>
                <a:lnTo>
                  <a:pt x="156742" y="669294"/>
                </a:lnTo>
                <a:lnTo>
                  <a:pt x="147001" y="662167"/>
                </a:lnTo>
                <a:lnTo>
                  <a:pt x="137735" y="654564"/>
                </a:lnTo>
                <a:lnTo>
                  <a:pt x="127756" y="645535"/>
                </a:lnTo>
                <a:lnTo>
                  <a:pt x="118490" y="636269"/>
                </a:lnTo>
                <a:lnTo>
                  <a:pt x="109224" y="626053"/>
                </a:lnTo>
                <a:lnTo>
                  <a:pt x="107323" y="623914"/>
                </a:lnTo>
                <a:lnTo>
                  <a:pt x="106135" y="620350"/>
                </a:lnTo>
                <a:lnTo>
                  <a:pt x="105185" y="616311"/>
                </a:lnTo>
                <a:lnTo>
                  <a:pt x="105185" y="612272"/>
                </a:lnTo>
                <a:lnTo>
                  <a:pt x="105185" y="608233"/>
                </a:lnTo>
                <a:lnTo>
                  <a:pt x="106135" y="604194"/>
                </a:lnTo>
                <a:lnTo>
                  <a:pt x="107323" y="600630"/>
                </a:lnTo>
                <a:lnTo>
                  <a:pt x="109224" y="598017"/>
                </a:lnTo>
                <a:lnTo>
                  <a:pt x="111837" y="591840"/>
                </a:lnTo>
                <a:lnTo>
                  <a:pt x="113975" y="586137"/>
                </a:lnTo>
                <a:lnTo>
                  <a:pt x="115401" y="579722"/>
                </a:lnTo>
                <a:lnTo>
                  <a:pt x="115876" y="574020"/>
                </a:lnTo>
                <a:lnTo>
                  <a:pt x="115876" y="568318"/>
                </a:lnTo>
                <a:lnTo>
                  <a:pt x="115401" y="562378"/>
                </a:lnTo>
                <a:lnTo>
                  <a:pt x="114451" y="557151"/>
                </a:lnTo>
                <a:lnTo>
                  <a:pt x="112788" y="551449"/>
                </a:lnTo>
                <a:lnTo>
                  <a:pt x="110412" y="545984"/>
                </a:lnTo>
                <a:lnTo>
                  <a:pt x="108273" y="540757"/>
                </a:lnTo>
                <a:lnTo>
                  <a:pt x="105185" y="535293"/>
                </a:lnTo>
                <a:lnTo>
                  <a:pt x="102096" y="530066"/>
                </a:lnTo>
                <a:lnTo>
                  <a:pt x="94968" y="519374"/>
                </a:lnTo>
                <a:lnTo>
                  <a:pt x="86890" y="508683"/>
                </a:lnTo>
                <a:lnTo>
                  <a:pt x="78812" y="497991"/>
                </a:lnTo>
                <a:lnTo>
                  <a:pt x="70972" y="486824"/>
                </a:lnTo>
                <a:lnTo>
                  <a:pt x="67408" y="481122"/>
                </a:lnTo>
                <a:lnTo>
                  <a:pt x="64319" y="474707"/>
                </a:lnTo>
                <a:lnTo>
                  <a:pt x="61230" y="469005"/>
                </a:lnTo>
                <a:lnTo>
                  <a:pt x="58379" y="462828"/>
                </a:lnTo>
                <a:lnTo>
                  <a:pt x="56716" y="456175"/>
                </a:lnTo>
                <a:lnTo>
                  <a:pt x="54815" y="449998"/>
                </a:lnTo>
                <a:lnTo>
                  <a:pt x="54103" y="443345"/>
                </a:lnTo>
                <a:lnTo>
                  <a:pt x="53627" y="436455"/>
                </a:lnTo>
                <a:lnTo>
                  <a:pt x="53627" y="429327"/>
                </a:lnTo>
                <a:lnTo>
                  <a:pt x="54815" y="422675"/>
                </a:lnTo>
                <a:lnTo>
                  <a:pt x="56716" y="415547"/>
                </a:lnTo>
                <a:lnTo>
                  <a:pt x="59330" y="408182"/>
                </a:lnTo>
                <a:lnTo>
                  <a:pt x="60280" y="403192"/>
                </a:lnTo>
                <a:lnTo>
                  <a:pt x="61943" y="397965"/>
                </a:lnTo>
                <a:lnTo>
                  <a:pt x="65507" y="387986"/>
                </a:lnTo>
                <a:lnTo>
                  <a:pt x="69546" y="378720"/>
                </a:lnTo>
                <a:lnTo>
                  <a:pt x="74535" y="369929"/>
                </a:lnTo>
                <a:lnTo>
                  <a:pt x="79762" y="360901"/>
                </a:lnTo>
                <a:lnTo>
                  <a:pt x="85940" y="352585"/>
                </a:lnTo>
                <a:lnTo>
                  <a:pt x="98057" y="335479"/>
                </a:lnTo>
                <a:lnTo>
                  <a:pt x="102571" y="328113"/>
                </a:lnTo>
                <a:lnTo>
                  <a:pt x="106848" y="320986"/>
                </a:lnTo>
                <a:lnTo>
                  <a:pt x="116827" y="307205"/>
                </a:lnTo>
                <a:lnTo>
                  <a:pt x="127043" y="293188"/>
                </a:lnTo>
                <a:lnTo>
                  <a:pt x="137735" y="279407"/>
                </a:lnTo>
                <a:lnTo>
                  <a:pt x="159831" y="251847"/>
                </a:lnTo>
                <a:lnTo>
                  <a:pt x="170522" y="238066"/>
                </a:lnTo>
                <a:lnTo>
                  <a:pt x="181214" y="223336"/>
                </a:lnTo>
                <a:lnTo>
                  <a:pt x="164820" y="223336"/>
                </a:lnTo>
                <a:lnTo>
                  <a:pt x="137972" y="230226"/>
                </a:lnTo>
                <a:lnTo>
                  <a:pt x="125142" y="233790"/>
                </a:lnTo>
                <a:lnTo>
                  <a:pt x="112788" y="237591"/>
                </a:lnTo>
                <a:lnTo>
                  <a:pt x="100195" y="241630"/>
                </a:lnTo>
                <a:lnTo>
                  <a:pt x="87840" y="245669"/>
                </a:lnTo>
                <a:lnTo>
                  <a:pt x="75723" y="250183"/>
                </a:lnTo>
                <a:lnTo>
                  <a:pt x="64319" y="254935"/>
                </a:lnTo>
                <a:lnTo>
                  <a:pt x="52677" y="260400"/>
                </a:lnTo>
                <a:lnTo>
                  <a:pt x="41035" y="265627"/>
                </a:lnTo>
                <a:lnTo>
                  <a:pt x="29868" y="271567"/>
                </a:lnTo>
                <a:lnTo>
                  <a:pt x="18939" y="277744"/>
                </a:lnTo>
                <a:lnTo>
                  <a:pt x="7772" y="284397"/>
                </a:lnTo>
                <a:lnTo>
                  <a:pt x="0" y="289924"/>
                </a:lnTo>
                <a:lnTo>
                  <a:pt x="0" y="895572"/>
                </a:lnTo>
                <a:lnTo>
                  <a:pt x="125653" y="895572"/>
                </a:lnTo>
                <a:lnTo>
                  <a:pt x="127756" y="892155"/>
                </a:lnTo>
                <a:lnTo>
                  <a:pt x="131082" y="885502"/>
                </a:lnTo>
                <a:lnTo>
                  <a:pt x="133696" y="878374"/>
                </a:lnTo>
                <a:lnTo>
                  <a:pt x="135834" y="871722"/>
                </a:lnTo>
                <a:lnTo>
                  <a:pt x="137735" y="864594"/>
                </a:lnTo>
                <a:lnTo>
                  <a:pt x="138923" y="857466"/>
                </a:lnTo>
                <a:lnTo>
                  <a:pt x="140348" y="850339"/>
                </a:lnTo>
                <a:lnTo>
                  <a:pt x="141298" y="843211"/>
                </a:lnTo>
                <a:lnTo>
                  <a:pt x="142011" y="828955"/>
                </a:lnTo>
                <a:lnTo>
                  <a:pt x="142486" y="814225"/>
                </a:lnTo>
                <a:lnTo>
                  <a:pt x="142486" y="799494"/>
                </a:lnTo>
                <a:lnTo>
                  <a:pt x="142486" y="782625"/>
                </a:lnTo>
                <a:lnTo>
                  <a:pt x="142486" y="771458"/>
                </a:lnTo>
                <a:lnTo>
                  <a:pt x="143912" y="778586"/>
                </a:lnTo>
                <a:lnTo>
                  <a:pt x="145100" y="784526"/>
                </a:lnTo>
                <a:lnTo>
                  <a:pt x="147476" y="789753"/>
                </a:lnTo>
                <a:lnTo>
                  <a:pt x="149614" y="794267"/>
                </a:lnTo>
                <a:lnTo>
                  <a:pt x="152228" y="797831"/>
                </a:lnTo>
                <a:lnTo>
                  <a:pt x="155554" y="801395"/>
                </a:lnTo>
                <a:lnTo>
                  <a:pt x="158643" y="803533"/>
                </a:lnTo>
                <a:lnTo>
                  <a:pt x="162206" y="805909"/>
                </a:lnTo>
                <a:lnTo>
                  <a:pt x="165770" y="807572"/>
                </a:lnTo>
                <a:lnTo>
                  <a:pt x="169572" y="808523"/>
                </a:lnTo>
                <a:lnTo>
                  <a:pt x="174086" y="809473"/>
                </a:lnTo>
                <a:lnTo>
                  <a:pt x="178600" y="810186"/>
                </a:lnTo>
                <a:lnTo>
                  <a:pt x="187866" y="810661"/>
                </a:lnTo>
                <a:lnTo>
                  <a:pt x="198083" y="810661"/>
                </a:lnTo>
                <a:lnTo>
                  <a:pt x="236810" y="810661"/>
                </a:lnTo>
                <a:lnTo>
                  <a:pt x="249640" y="811136"/>
                </a:lnTo>
                <a:lnTo>
                  <a:pt x="263183" y="811611"/>
                </a:lnTo>
                <a:lnTo>
                  <a:pt x="270310" y="811611"/>
                </a:lnTo>
                <a:lnTo>
                  <a:pt x="276963" y="811136"/>
                </a:lnTo>
                <a:lnTo>
                  <a:pt x="283140" y="810186"/>
                </a:lnTo>
                <a:lnTo>
                  <a:pt x="289793" y="808523"/>
                </a:lnTo>
                <a:lnTo>
                  <a:pt x="295495" y="806147"/>
                </a:lnTo>
                <a:lnTo>
                  <a:pt x="301435" y="803058"/>
                </a:lnTo>
                <a:lnTo>
                  <a:pt x="304524" y="801395"/>
                </a:lnTo>
                <a:lnTo>
                  <a:pt x="307137" y="799256"/>
                </a:lnTo>
                <a:lnTo>
                  <a:pt x="309275" y="796881"/>
                </a:lnTo>
                <a:lnTo>
                  <a:pt x="312126" y="794267"/>
                </a:lnTo>
                <a:lnTo>
                  <a:pt x="314265" y="791178"/>
                </a:lnTo>
                <a:lnTo>
                  <a:pt x="316403" y="788090"/>
                </a:lnTo>
                <a:lnTo>
                  <a:pt x="318304" y="784051"/>
                </a:lnTo>
                <a:lnTo>
                  <a:pt x="319967" y="780012"/>
                </a:lnTo>
                <a:lnTo>
                  <a:pt x="321868" y="775973"/>
                </a:lnTo>
                <a:lnTo>
                  <a:pt x="323056" y="771221"/>
                </a:lnTo>
                <a:lnTo>
                  <a:pt x="324481" y="765756"/>
                </a:lnTo>
                <a:lnTo>
                  <a:pt x="325907" y="760529"/>
                </a:lnTo>
                <a:lnTo>
                  <a:pt x="325907" y="827530"/>
                </a:lnTo>
                <a:lnTo>
                  <a:pt x="310226" y="835608"/>
                </a:lnTo>
                <a:lnTo>
                  <a:pt x="295970" y="843686"/>
                </a:lnTo>
                <a:lnTo>
                  <a:pt x="282665" y="850339"/>
                </a:lnTo>
                <a:lnTo>
                  <a:pt x="276488" y="852952"/>
                </a:lnTo>
                <a:lnTo>
                  <a:pt x="270310" y="855565"/>
                </a:lnTo>
                <a:lnTo>
                  <a:pt x="266271" y="857942"/>
                </a:lnTo>
                <a:lnTo>
                  <a:pt x="262708" y="860080"/>
                </a:lnTo>
                <a:lnTo>
                  <a:pt x="259619" y="862693"/>
                </a:lnTo>
                <a:lnTo>
                  <a:pt x="256768" y="865544"/>
                </a:lnTo>
                <a:lnTo>
                  <a:pt x="254154" y="868633"/>
                </a:lnTo>
                <a:lnTo>
                  <a:pt x="252491" y="871722"/>
                </a:lnTo>
                <a:lnTo>
                  <a:pt x="250590" y="874810"/>
                </a:lnTo>
                <a:lnTo>
                  <a:pt x="249402" y="877899"/>
                </a:lnTo>
                <a:lnTo>
                  <a:pt x="248452" y="880988"/>
                </a:lnTo>
                <a:lnTo>
                  <a:pt x="247977" y="884076"/>
                </a:lnTo>
                <a:lnTo>
                  <a:pt x="247977" y="887165"/>
                </a:lnTo>
                <a:lnTo>
                  <a:pt x="248452" y="890016"/>
                </a:lnTo>
                <a:lnTo>
                  <a:pt x="249402" y="893105"/>
                </a:lnTo>
                <a:lnTo>
                  <a:pt x="250075" y="895572"/>
                </a:lnTo>
                <a:lnTo>
                  <a:pt x="474750" y="895572"/>
                </a:lnTo>
                <a:lnTo>
                  <a:pt x="475827" y="894768"/>
                </a:lnTo>
                <a:lnTo>
                  <a:pt x="486993" y="882889"/>
                </a:lnTo>
                <a:lnTo>
                  <a:pt x="497210" y="870296"/>
                </a:lnTo>
                <a:lnTo>
                  <a:pt x="506951" y="857942"/>
                </a:lnTo>
                <a:lnTo>
                  <a:pt x="515742" y="844636"/>
                </a:lnTo>
                <a:lnTo>
                  <a:pt x="523820" y="831094"/>
                </a:lnTo>
                <a:lnTo>
                  <a:pt x="531898" y="816838"/>
                </a:lnTo>
                <a:lnTo>
                  <a:pt x="539026" y="802583"/>
                </a:lnTo>
                <a:lnTo>
                  <a:pt x="545678" y="788565"/>
                </a:lnTo>
                <a:lnTo>
                  <a:pt x="552331" y="773359"/>
                </a:lnTo>
                <a:lnTo>
                  <a:pt x="558033" y="758628"/>
                </a:lnTo>
                <a:lnTo>
                  <a:pt x="563498" y="743185"/>
                </a:lnTo>
                <a:lnTo>
                  <a:pt x="568725" y="727979"/>
                </a:lnTo>
                <a:lnTo>
                  <a:pt x="573714" y="712298"/>
                </a:lnTo>
                <a:lnTo>
                  <a:pt x="577991" y="696855"/>
                </a:lnTo>
                <a:lnTo>
                  <a:pt x="586544" y="665255"/>
                </a:lnTo>
                <a:lnTo>
                  <a:pt x="586069" y="663117"/>
                </a:lnTo>
                <a:lnTo>
                  <a:pt x="584881" y="660266"/>
                </a:lnTo>
                <a:lnTo>
                  <a:pt x="582980" y="657177"/>
                </a:lnTo>
                <a:lnTo>
                  <a:pt x="580367" y="654088"/>
                </a:lnTo>
                <a:lnTo>
                  <a:pt x="574902" y="647911"/>
                </a:lnTo>
                <a:lnTo>
                  <a:pt x="570150" y="642922"/>
                </a:lnTo>
                <a:lnTo>
                  <a:pt x="565636" y="636744"/>
                </a:lnTo>
                <a:lnTo>
                  <a:pt x="560647" y="631517"/>
                </a:lnTo>
                <a:lnTo>
                  <a:pt x="555420" y="626053"/>
                </a:lnTo>
                <a:lnTo>
                  <a:pt x="550193" y="621301"/>
                </a:lnTo>
                <a:lnTo>
                  <a:pt x="544253" y="616787"/>
                </a:lnTo>
                <a:lnTo>
                  <a:pt x="538075" y="612272"/>
                </a:lnTo>
                <a:lnTo>
                  <a:pt x="525721" y="603719"/>
                </a:lnTo>
                <a:lnTo>
                  <a:pt x="563023" y="619875"/>
                </a:lnTo>
                <a:lnTo>
                  <a:pt x="581317" y="628191"/>
                </a:lnTo>
                <a:lnTo>
                  <a:pt x="599374" y="636744"/>
                </a:lnTo>
                <a:lnTo>
                  <a:pt x="607927" y="641259"/>
                </a:lnTo>
                <a:lnTo>
                  <a:pt x="616718" y="646010"/>
                </a:lnTo>
                <a:lnTo>
                  <a:pt x="625271" y="651000"/>
                </a:lnTo>
                <a:lnTo>
                  <a:pt x="633349" y="656227"/>
                </a:lnTo>
                <a:lnTo>
                  <a:pt x="641665" y="662167"/>
                </a:lnTo>
                <a:lnTo>
                  <a:pt x="649268" y="668344"/>
                </a:lnTo>
                <a:lnTo>
                  <a:pt x="656871" y="674996"/>
                </a:lnTo>
                <a:lnTo>
                  <a:pt x="664474" y="682124"/>
                </a:lnTo>
                <a:lnTo>
                  <a:pt x="668988" y="686163"/>
                </a:lnTo>
                <a:lnTo>
                  <a:pt x="672790" y="690202"/>
                </a:lnTo>
                <a:lnTo>
                  <a:pt x="677304" y="693291"/>
                </a:lnTo>
                <a:lnTo>
                  <a:pt x="682293" y="696855"/>
                </a:lnTo>
                <a:lnTo>
                  <a:pt x="686570" y="699468"/>
                </a:lnTo>
                <a:lnTo>
                  <a:pt x="691559" y="702082"/>
                </a:lnTo>
                <a:lnTo>
                  <a:pt x="696549" y="703983"/>
                </a:lnTo>
                <a:lnTo>
                  <a:pt x="701300" y="705646"/>
                </a:lnTo>
                <a:lnTo>
                  <a:pt x="706290" y="707071"/>
                </a:lnTo>
                <a:lnTo>
                  <a:pt x="711042" y="708497"/>
                </a:lnTo>
                <a:lnTo>
                  <a:pt x="716506" y="708734"/>
                </a:lnTo>
                <a:lnTo>
                  <a:pt x="721258" y="708734"/>
                </a:lnTo>
                <a:lnTo>
                  <a:pt x="726723" y="708497"/>
                </a:lnTo>
                <a:lnTo>
                  <a:pt x="731712" y="707546"/>
                </a:lnTo>
                <a:lnTo>
                  <a:pt x="736939" y="706121"/>
                </a:lnTo>
                <a:lnTo>
                  <a:pt x="742166" y="704458"/>
                </a:lnTo>
                <a:lnTo>
                  <a:pt x="749294" y="702082"/>
                </a:lnTo>
                <a:lnTo>
                  <a:pt x="756184" y="699468"/>
                </a:lnTo>
                <a:lnTo>
                  <a:pt x="762361" y="696380"/>
                </a:lnTo>
                <a:lnTo>
                  <a:pt x="768063" y="692816"/>
                </a:lnTo>
                <a:lnTo>
                  <a:pt x="773528" y="689252"/>
                </a:lnTo>
                <a:lnTo>
                  <a:pt x="778755" y="684738"/>
                </a:lnTo>
                <a:lnTo>
                  <a:pt x="783269" y="680461"/>
                </a:lnTo>
                <a:lnTo>
                  <a:pt x="787308" y="674996"/>
                </a:lnTo>
                <a:lnTo>
                  <a:pt x="791110" y="669769"/>
                </a:lnTo>
                <a:lnTo>
                  <a:pt x="794436" y="663830"/>
                </a:lnTo>
                <a:lnTo>
                  <a:pt x="797050" y="657652"/>
                </a:lnTo>
                <a:lnTo>
                  <a:pt x="799188" y="651000"/>
                </a:lnTo>
                <a:lnTo>
                  <a:pt x="801089" y="643872"/>
                </a:lnTo>
                <a:lnTo>
                  <a:pt x="802277" y="636744"/>
                </a:lnTo>
                <a:lnTo>
                  <a:pt x="803227" y="628666"/>
                </a:lnTo>
                <a:lnTo>
                  <a:pt x="803227" y="620826"/>
                </a:lnTo>
                <a:lnTo>
                  <a:pt x="801089" y="622489"/>
                </a:lnTo>
                <a:lnTo>
                  <a:pt x="798238" y="623914"/>
                </a:lnTo>
                <a:lnTo>
                  <a:pt x="793011" y="626053"/>
                </a:lnTo>
                <a:lnTo>
                  <a:pt x="790397" y="627478"/>
                </a:lnTo>
                <a:lnTo>
                  <a:pt x="788496" y="628191"/>
                </a:lnTo>
                <a:lnTo>
                  <a:pt x="787308" y="630092"/>
                </a:lnTo>
                <a:lnTo>
                  <a:pt x="786833" y="631755"/>
                </a:lnTo>
                <a:lnTo>
                  <a:pt x="785408" y="635794"/>
                </a:lnTo>
                <a:lnTo>
                  <a:pt x="784220" y="639833"/>
                </a:lnTo>
                <a:lnTo>
                  <a:pt x="780656" y="646485"/>
                </a:lnTo>
                <a:lnTo>
                  <a:pt x="776617" y="653138"/>
                </a:lnTo>
                <a:lnTo>
                  <a:pt x="772103" y="659078"/>
                </a:lnTo>
                <a:lnTo>
                  <a:pt x="762361" y="670007"/>
                </a:lnTo>
                <a:lnTo>
                  <a:pt x="757847" y="675947"/>
                </a:lnTo>
                <a:lnTo>
                  <a:pt x="753333" y="682124"/>
                </a:lnTo>
                <a:lnTo>
                  <a:pt x="750244" y="684738"/>
                </a:lnTo>
                <a:lnTo>
                  <a:pt x="747155" y="687589"/>
                </a:lnTo>
                <a:lnTo>
                  <a:pt x="744067" y="689252"/>
                </a:lnTo>
                <a:lnTo>
                  <a:pt x="740978" y="690915"/>
                </a:lnTo>
                <a:lnTo>
                  <a:pt x="737890" y="691865"/>
                </a:lnTo>
                <a:lnTo>
                  <a:pt x="734801" y="692816"/>
                </a:lnTo>
                <a:lnTo>
                  <a:pt x="731950" y="693291"/>
                </a:lnTo>
                <a:lnTo>
                  <a:pt x="728861" y="693291"/>
                </a:lnTo>
                <a:lnTo>
                  <a:pt x="723634" y="692816"/>
                </a:lnTo>
                <a:lnTo>
                  <a:pt x="718169" y="691390"/>
                </a:lnTo>
                <a:lnTo>
                  <a:pt x="713418" y="689727"/>
                </a:lnTo>
                <a:lnTo>
                  <a:pt x="708903" y="687826"/>
                </a:lnTo>
                <a:lnTo>
                  <a:pt x="706765" y="687589"/>
                </a:lnTo>
                <a:lnTo>
                  <a:pt x="704864" y="687114"/>
                </a:lnTo>
                <a:lnTo>
                  <a:pt x="703201" y="686163"/>
                </a:lnTo>
                <a:lnTo>
                  <a:pt x="701776" y="684738"/>
                </a:lnTo>
                <a:lnTo>
                  <a:pt x="698687" y="681649"/>
                </a:lnTo>
                <a:lnTo>
                  <a:pt x="696549" y="678085"/>
                </a:lnTo>
                <a:lnTo>
                  <a:pt x="694648" y="673571"/>
                </a:lnTo>
                <a:lnTo>
                  <a:pt x="693460" y="668819"/>
                </a:lnTo>
                <a:lnTo>
                  <a:pt x="692510" y="664305"/>
                </a:lnTo>
                <a:lnTo>
                  <a:pt x="692510" y="659790"/>
                </a:lnTo>
                <a:lnTo>
                  <a:pt x="692510" y="647436"/>
                </a:lnTo>
                <a:lnTo>
                  <a:pt x="693460" y="635319"/>
                </a:lnTo>
                <a:lnTo>
                  <a:pt x="694173" y="624389"/>
                </a:lnTo>
                <a:lnTo>
                  <a:pt x="695598" y="612748"/>
                </a:lnTo>
                <a:lnTo>
                  <a:pt x="699162" y="591364"/>
                </a:lnTo>
                <a:lnTo>
                  <a:pt x="703676" y="570456"/>
                </a:lnTo>
                <a:lnTo>
                  <a:pt x="720070" y="574971"/>
                </a:lnTo>
                <a:lnTo>
                  <a:pt x="736939" y="579247"/>
                </a:lnTo>
                <a:lnTo>
                  <a:pt x="770677" y="589226"/>
                </a:lnTo>
                <a:lnTo>
                  <a:pt x="788021" y="593503"/>
                </a:lnTo>
                <a:lnTo>
                  <a:pt x="805365" y="597542"/>
                </a:lnTo>
                <a:lnTo>
                  <a:pt x="823660" y="601106"/>
                </a:lnTo>
                <a:lnTo>
                  <a:pt x="841954" y="603719"/>
                </a:lnTo>
                <a:lnTo>
                  <a:pt x="861437" y="606570"/>
                </a:lnTo>
                <a:lnTo>
                  <a:pt x="880682" y="608233"/>
                </a:lnTo>
                <a:lnTo>
                  <a:pt x="889948" y="608708"/>
                </a:lnTo>
                <a:lnTo>
                  <a:pt x="898976" y="608708"/>
                </a:lnTo>
                <a:lnTo>
                  <a:pt x="908242" y="608708"/>
                </a:lnTo>
                <a:lnTo>
                  <a:pt x="916795" y="608233"/>
                </a:lnTo>
                <a:lnTo>
                  <a:pt x="925586" y="607283"/>
                </a:lnTo>
                <a:lnTo>
                  <a:pt x="934140" y="606095"/>
                </a:lnTo>
                <a:lnTo>
                  <a:pt x="942455" y="604669"/>
                </a:lnTo>
                <a:lnTo>
                  <a:pt x="950533" y="603006"/>
                </a:lnTo>
                <a:lnTo>
                  <a:pt x="958611" y="600630"/>
                </a:lnTo>
                <a:lnTo>
                  <a:pt x="966452" y="598017"/>
                </a:lnTo>
                <a:lnTo>
                  <a:pt x="974055" y="595403"/>
                </a:lnTo>
                <a:lnTo>
                  <a:pt x="981658" y="591840"/>
                </a:lnTo>
                <a:lnTo>
                  <a:pt x="989261" y="588276"/>
                </a:lnTo>
                <a:lnTo>
                  <a:pt x="996388" y="584237"/>
                </a:lnTo>
                <a:lnTo>
                  <a:pt x="1003041" y="579247"/>
                </a:lnTo>
                <a:lnTo>
                  <a:pt x="1009694" y="574495"/>
                </a:lnTo>
                <a:lnTo>
                  <a:pt x="1016346" y="569031"/>
                </a:lnTo>
                <a:lnTo>
                  <a:pt x="1022998" y="562853"/>
                </a:lnTo>
                <a:lnTo>
                  <a:pt x="1029176" y="556676"/>
                </a:lnTo>
                <a:lnTo>
                  <a:pt x="1035116" y="549548"/>
                </a:lnTo>
                <a:lnTo>
                  <a:pt x="1040818" y="541945"/>
                </a:lnTo>
                <a:lnTo>
                  <a:pt x="1046520" y="534342"/>
                </a:lnTo>
                <a:lnTo>
                  <a:pt x="1051985" y="526027"/>
                </a:lnTo>
                <a:lnTo>
                  <a:pt x="1056737" y="516523"/>
                </a:lnTo>
                <a:lnTo>
                  <a:pt x="1061726" y="507257"/>
                </a:lnTo>
                <a:lnTo>
                  <a:pt x="1066715" y="497041"/>
                </a:lnTo>
                <a:lnTo>
                  <a:pt x="1070992" y="486349"/>
                </a:lnTo>
                <a:lnTo>
                  <a:pt x="1075506" y="475182"/>
                </a:lnTo>
                <a:lnTo>
                  <a:pt x="1079070" y="462828"/>
                </a:lnTo>
                <a:lnTo>
                  <a:pt x="1082634" y="449998"/>
                </a:lnTo>
                <a:lnTo>
                  <a:pt x="1084772" y="437405"/>
                </a:lnTo>
                <a:lnTo>
                  <a:pt x="1087148" y="425050"/>
                </a:lnTo>
                <a:lnTo>
                  <a:pt x="1088811" y="411983"/>
                </a:lnTo>
                <a:lnTo>
                  <a:pt x="1089762" y="399628"/>
                </a:lnTo>
                <a:lnTo>
                  <a:pt x="1090712" y="386798"/>
                </a:lnTo>
                <a:lnTo>
                  <a:pt x="1090712" y="373731"/>
                </a:lnTo>
                <a:lnTo>
                  <a:pt x="1090712" y="360901"/>
                </a:lnTo>
                <a:lnTo>
                  <a:pt x="1089762" y="348071"/>
                </a:lnTo>
                <a:lnTo>
                  <a:pt x="1088811" y="335004"/>
                </a:lnTo>
                <a:lnTo>
                  <a:pt x="1088099" y="321698"/>
                </a:lnTo>
                <a:lnTo>
                  <a:pt x="1084772" y="295563"/>
                </a:lnTo>
                <a:lnTo>
                  <a:pt x="1080971" y="268478"/>
                </a:lnTo>
                <a:lnTo>
                  <a:pt x="1078595" y="258262"/>
                </a:lnTo>
                <a:lnTo>
                  <a:pt x="1075981" y="248283"/>
                </a:lnTo>
                <a:lnTo>
                  <a:pt x="1072417" y="238542"/>
                </a:lnTo>
                <a:lnTo>
                  <a:pt x="1069329" y="229275"/>
                </a:lnTo>
                <a:lnTo>
                  <a:pt x="1061251" y="210031"/>
                </a:lnTo>
                <a:lnTo>
                  <a:pt x="1053173" y="190073"/>
                </a:lnTo>
                <a:lnTo>
                  <a:pt x="1051034" y="186034"/>
                </a:lnTo>
                <a:lnTo>
                  <a:pt x="1048896" y="182470"/>
                </a:lnTo>
                <a:lnTo>
                  <a:pt x="1046045" y="179381"/>
                </a:lnTo>
                <a:lnTo>
                  <a:pt x="1043906" y="176768"/>
                </a:lnTo>
                <a:lnTo>
                  <a:pt x="1041293" y="174630"/>
                </a:lnTo>
                <a:lnTo>
                  <a:pt x="1038680" y="172729"/>
                </a:lnTo>
                <a:lnTo>
                  <a:pt x="1035828" y="171303"/>
                </a:lnTo>
                <a:lnTo>
                  <a:pt x="1032740" y="170591"/>
                </a:lnTo>
                <a:lnTo>
                  <a:pt x="1030126" y="170591"/>
                </a:lnTo>
                <a:lnTo>
                  <a:pt x="1027038" y="170591"/>
                </a:lnTo>
                <a:lnTo>
                  <a:pt x="1024424" y="171303"/>
                </a:lnTo>
                <a:lnTo>
                  <a:pt x="1021335" y="172729"/>
                </a:lnTo>
                <a:lnTo>
                  <a:pt x="1018247" y="174867"/>
                </a:lnTo>
                <a:lnTo>
                  <a:pt x="1014920" y="177718"/>
                </a:lnTo>
                <a:lnTo>
                  <a:pt x="1011832" y="180807"/>
                </a:lnTo>
                <a:lnTo>
                  <a:pt x="1008743" y="184846"/>
                </a:lnTo>
                <a:lnTo>
                  <a:pt x="991874" y="201240"/>
                </a:lnTo>
                <a:lnTo>
                  <a:pt x="983321" y="209318"/>
                </a:lnTo>
                <a:lnTo>
                  <a:pt x="974530" y="216683"/>
                </a:lnTo>
                <a:lnTo>
                  <a:pt x="965739" y="223811"/>
                </a:lnTo>
                <a:lnTo>
                  <a:pt x="956236" y="230226"/>
                </a:lnTo>
                <a:lnTo>
                  <a:pt x="946494" y="235928"/>
                </a:lnTo>
                <a:lnTo>
                  <a:pt x="941505" y="238066"/>
                </a:lnTo>
                <a:lnTo>
                  <a:pt x="936753" y="240442"/>
                </a:lnTo>
                <a:lnTo>
                  <a:pt x="932239" y="242581"/>
                </a:lnTo>
                <a:lnTo>
                  <a:pt x="928675" y="245669"/>
                </a:lnTo>
                <a:lnTo>
                  <a:pt x="925111" y="249233"/>
                </a:lnTo>
                <a:lnTo>
                  <a:pt x="922022" y="252797"/>
                </a:lnTo>
                <a:lnTo>
                  <a:pt x="919884" y="257311"/>
                </a:lnTo>
                <a:lnTo>
                  <a:pt x="918934" y="259925"/>
                </a:lnTo>
                <a:lnTo>
                  <a:pt x="918459" y="262538"/>
                </a:lnTo>
                <a:lnTo>
                  <a:pt x="918459" y="265389"/>
                </a:lnTo>
                <a:lnTo>
                  <a:pt x="918459" y="268003"/>
                </a:lnTo>
                <a:lnTo>
                  <a:pt x="918934" y="271091"/>
                </a:lnTo>
                <a:lnTo>
                  <a:pt x="919884" y="274180"/>
                </a:lnTo>
                <a:lnTo>
                  <a:pt x="921547" y="282258"/>
                </a:lnTo>
                <a:lnTo>
                  <a:pt x="922973" y="290574"/>
                </a:lnTo>
                <a:lnTo>
                  <a:pt x="923923" y="299127"/>
                </a:lnTo>
                <a:lnTo>
                  <a:pt x="924161" y="307443"/>
                </a:lnTo>
                <a:lnTo>
                  <a:pt x="924161" y="315996"/>
                </a:lnTo>
                <a:lnTo>
                  <a:pt x="923923" y="324550"/>
                </a:lnTo>
                <a:lnTo>
                  <a:pt x="922973" y="332865"/>
                </a:lnTo>
                <a:lnTo>
                  <a:pt x="922022" y="340943"/>
                </a:lnTo>
                <a:lnTo>
                  <a:pt x="920597" y="349259"/>
                </a:lnTo>
                <a:lnTo>
                  <a:pt x="918934" y="357812"/>
                </a:lnTo>
                <a:lnTo>
                  <a:pt x="914420" y="374681"/>
                </a:lnTo>
                <a:lnTo>
                  <a:pt x="909192" y="391075"/>
                </a:lnTo>
                <a:lnTo>
                  <a:pt x="903253" y="408182"/>
                </a:lnTo>
                <a:lnTo>
                  <a:pt x="903253" y="397965"/>
                </a:lnTo>
                <a:lnTo>
                  <a:pt x="904203" y="387274"/>
                </a:lnTo>
                <a:lnTo>
                  <a:pt x="906104" y="367078"/>
                </a:lnTo>
                <a:lnTo>
                  <a:pt x="907767" y="347596"/>
                </a:lnTo>
                <a:lnTo>
                  <a:pt x="908717" y="338567"/>
                </a:lnTo>
                <a:lnTo>
                  <a:pt x="908717" y="329777"/>
                </a:lnTo>
                <a:lnTo>
                  <a:pt x="908717" y="325738"/>
                </a:lnTo>
                <a:lnTo>
                  <a:pt x="907767" y="322649"/>
                </a:lnTo>
                <a:lnTo>
                  <a:pt x="906817" y="319560"/>
                </a:lnTo>
                <a:lnTo>
                  <a:pt x="905154" y="316471"/>
                </a:lnTo>
                <a:lnTo>
                  <a:pt x="903728" y="314096"/>
                </a:lnTo>
                <a:lnTo>
                  <a:pt x="901590" y="311957"/>
                </a:lnTo>
                <a:lnTo>
                  <a:pt x="897551" y="307443"/>
                </a:lnTo>
                <a:lnTo>
                  <a:pt x="895412" y="309344"/>
                </a:lnTo>
                <a:lnTo>
                  <a:pt x="892561" y="310769"/>
                </a:lnTo>
                <a:lnTo>
                  <a:pt x="887334" y="313383"/>
                </a:lnTo>
                <a:lnTo>
                  <a:pt x="884721" y="314096"/>
                </a:lnTo>
                <a:lnTo>
                  <a:pt x="882820" y="315521"/>
                </a:lnTo>
                <a:lnTo>
                  <a:pt x="881632" y="316947"/>
                </a:lnTo>
                <a:lnTo>
                  <a:pt x="881157" y="318610"/>
                </a:lnTo>
                <a:lnTo>
                  <a:pt x="872604" y="331915"/>
                </a:lnTo>
                <a:lnTo>
                  <a:pt x="864288" y="346646"/>
                </a:lnTo>
                <a:lnTo>
                  <a:pt x="856210" y="361376"/>
                </a:lnTo>
                <a:lnTo>
                  <a:pt x="847656" y="374681"/>
                </a:lnTo>
                <a:lnTo>
                  <a:pt x="841954" y="374681"/>
                </a:lnTo>
                <a:lnTo>
                  <a:pt x="846468" y="357812"/>
                </a:lnTo>
                <a:lnTo>
                  <a:pt x="850508" y="339518"/>
                </a:lnTo>
                <a:lnTo>
                  <a:pt x="854784" y="319560"/>
                </a:lnTo>
                <a:lnTo>
                  <a:pt x="858823" y="296514"/>
                </a:lnTo>
                <a:lnTo>
                  <a:pt x="848132" y="303879"/>
                </a:lnTo>
                <a:lnTo>
                  <a:pt x="840054" y="310294"/>
                </a:lnTo>
                <a:lnTo>
                  <a:pt x="833163" y="316947"/>
                </a:lnTo>
                <a:lnTo>
                  <a:pt x="825560" y="324550"/>
                </a:lnTo>
                <a:lnTo>
                  <a:pt x="823185" y="326688"/>
                </a:lnTo>
                <a:lnTo>
                  <a:pt x="821522" y="329301"/>
                </a:lnTo>
                <a:lnTo>
                  <a:pt x="817007" y="335954"/>
                </a:lnTo>
                <a:lnTo>
                  <a:pt x="812968" y="344032"/>
                </a:lnTo>
                <a:lnTo>
                  <a:pt x="808929" y="352585"/>
                </a:lnTo>
                <a:lnTo>
                  <a:pt x="809880" y="343557"/>
                </a:lnTo>
                <a:lnTo>
                  <a:pt x="811305" y="335479"/>
                </a:lnTo>
                <a:lnTo>
                  <a:pt x="812493" y="328826"/>
                </a:lnTo>
                <a:lnTo>
                  <a:pt x="814394" y="323124"/>
                </a:lnTo>
                <a:lnTo>
                  <a:pt x="816532" y="317659"/>
                </a:lnTo>
                <a:lnTo>
                  <a:pt x="819146" y="313383"/>
                </a:lnTo>
                <a:lnTo>
                  <a:pt x="822709" y="309344"/>
                </a:lnTo>
                <a:lnTo>
                  <a:pt x="826748" y="306255"/>
                </a:lnTo>
                <a:lnTo>
                  <a:pt x="832213" y="303166"/>
                </a:lnTo>
                <a:lnTo>
                  <a:pt x="838390" y="300315"/>
                </a:lnTo>
                <a:lnTo>
                  <a:pt x="845518" y="298177"/>
                </a:lnTo>
                <a:lnTo>
                  <a:pt x="854071" y="295563"/>
                </a:lnTo>
                <a:lnTo>
                  <a:pt x="875217" y="290574"/>
                </a:lnTo>
                <a:lnTo>
                  <a:pt x="903253" y="285347"/>
                </a:lnTo>
                <a:lnTo>
                  <a:pt x="886384" y="268478"/>
                </a:lnTo>
                <a:lnTo>
                  <a:pt x="879731" y="270141"/>
                </a:lnTo>
                <a:lnTo>
                  <a:pt x="873079" y="271091"/>
                </a:lnTo>
                <a:lnTo>
                  <a:pt x="867376" y="271567"/>
                </a:lnTo>
                <a:lnTo>
                  <a:pt x="862387" y="271091"/>
                </a:lnTo>
                <a:lnTo>
                  <a:pt x="857398" y="269666"/>
                </a:lnTo>
                <a:lnTo>
                  <a:pt x="853596" y="268003"/>
                </a:lnTo>
                <a:lnTo>
                  <a:pt x="849557" y="265627"/>
                </a:lnTo>
                <a:lnTo>
                  <a:pt x="846468" y="262538"/>
                </a:lnTo>
                <a:lnTo>
                  <a:pt x="843380" y="259450"/>
                </a:lnTo>
                <a:lnTo>
                  <a:pt x="840529" y="255411"/>
                </a:lnTo>
                <a:lnTo>
                  <a:pt x="838390" y="251134"/>
                </a:lnTo>
                <a:lnTo>
                  <a:pt x="836490" y="246620"/>
                </a:lnTo>
                <a:lnTo>
                  <a:pt x="834827" y="241155"/>
                </a:lnTo>
                <a:lnTo>
                  <a:pt x="833401" y="235453"/>
                </a:lnTo>
                <a:lnTo>
                  <a:pt x="831263" y="223336"/>
                </a:lnTo>
                <a:lnTo>
                  <a:pt x="897551" y="206942"/>
                </a:lnTo>
                <a:lnTo>
                  <a:pt x="888997" y="194112"/>
                </a:lnTo>
                <a:lnTo>
                  <a:pt x="880682" y="181282"/>
                </a:lnTo>
                <a:lnTo>
                  <a:pt x="871416" y="168690"/>
                </a:lnTo>
                <a:lnTo>
                  <a:pt x="866901" y="162988"/>
                </a:lnTo>
                <a:lnTo>
                  <a:pt x="861437" y="157048"/>
                </a:lnTo>
                <a:lnTo>
                  <a:pt x="856210" y="151821"/>
                </a:lnTo>
                <a:lnTo>
                  <a:pt x="850745" y="146831"/>
                </a:lnTo>
                <a:lnTo>
                  <a:pt x="844568" y="142555"/>
                </a:lnTo>
                <a:lnTo>
                  <a:pt x="838390" y="138516"/>
                </a:lnTo>
                <a:lnTo>
                  <a:pt x="831738" y="134952"/>
                </a:lnTo>
                <a:lnTo>
                  <a:pt x="824610" y="132338"/>
                </a:lnTo>
                <a:lnTo>
                  <a:pt x="817007" y="129963"/>
                </a:lnTo>
                <a:lnTo>
                  <a:pt x="808929" y="128774"/>
                </a:lnTo>
                <a:lnTo>
                  <a:pt x="806791" y="128299"/>
                </a:lnTo>
                <a:lnTo>
                  <a:pt x="804652" y="127824"/>
                </a:lnTo>
                <a:lnTo>
                  <a:pt x="802752" y="126399"/>
                </a:lnTo>
                <a:lnTo>
                  <a:pt x="801089" y="125211"/>
                </a:lnTo>
                <a:lnTo>
                  <a:pt x="799663" y="123310"/>
                </a:lnTo>
                <a:lnTo>
                  <a:pt x="798713" y="121647"/>
                </a:lnTo>
                <a:lnTo>
                  <a:pt x="798000" y="119271"/>
                </a:lnTo>
                <a:lnTo>
                  <a:pt x="798000" y="117608"/>
                </a:lnTo>
                <a:lnTo>
                  <a:pt x="785408" y="106916"/>
                </a:lnTo>
                <a:lnTo>
                  <a:pt x="772578" y="95749"/>
                </a:lnTo>
                <a:lnTo>
                  <a:pt x="747155" y="72703"/>
                </a:lnTo>
                <a:lnTo>
                  <a:pt x="733850" y="61061"/>
                </a:lnTo>
                <a:lnTo>
                  <a:pt x="720545" y="49894"/>
                </a:lnTo>
                <a:lnTo>
                  <a:pt x="706765" y="38728"/>
                </a:lnTo>
                <a:lnTo>
                  <a:pt x="692510" y="28036"/>
                </a:lnTo>
                <a:lnTo>
                  <a:pt x="679442" y="21859"/>
                </a:lnTo>
                <a:lnTo>
                  <a:pt x="666137" y="16632"/>
                </a:lnTo>
                <a:lnTo>
                  <a:pt x="652832" y="11642"/>
                </a:lnTo>
                <a:lnTo>
                  <a:pt x="639527" y="7603"/>
                </a:lnTo>
                <a:lnTo>
                  <a:pt x="626222" y="4514"/>
                </a:lnTo>
                <a:lnTo>
                  <a:pt x="612917" y="1901"/>
                </a:lnTo>
                <a:lnTo>
                  <a:pt x="599374" y="475"/>
                </a:lnTo>
                <a:close/>
              </a:path>
            </a:pathLst>
          </a:custGeom>
          <a:solidFill>
            <a:schemeClr val="bg1">
              <a:alpha val="25000"/>
            </a:schemeClr>
          </a:solidFill>
          <a:ln>
            <a:noFill/>
          </a:ln>
        </p:spPr>
        <p:txBody>
          <a:bodyPr vert="horz" wrap="square" lIns="89642" tIns="44821" rIns="89642" bIns="44821" numCol="1" anchor="t" anchorCtr="0" compatLnSpc="1">
            <a:prstTxWarp prst="textNoShape">
              <a:avLst/>
            </a:prstTxWarp>
            <a:noAutofit/>
          </a:bodyPr>
          <a:lstStyle/>
          <a:p>
            <a:endParaRPr lang="en-IN" sz="1765"/>
          </a:p>
        </p:txBody>
      </p:sp>
      <p:sp>
        <p:nvSpPr>
          <p:cNvPr id="7" name="Rectangle 6"/>
          <p:cNvSpPr/>
          <p:nvPr/>
        </p:nvSpPr>
        <p:spPr>
          <a:xfrm>
            <a:off x="8929" y="1213304"/>
            <a:ext cx="5220355" cy="825547"/>
          </a:xfrm>
          <a:prstGeom prst="rect">
            <a:avLst/>
          </a:prstGeom>
        </p:spPr>
        <p:txBody>
          <a:bodyPr wrap="square" lIns="268927">
            <a:spAutoFit/>
          </a:bodyPr>
          <a:lstStyle/>
          <a:p>
            <a:pPr defTabSz="914102" fontAlgn="base">
              <a:lnSpc>
                <a:spcPct val="90000"/>
              </a:lnSpc>
              <a:spcBef>
                <a:spcPct val="0"/>
              </a:spcBef>
              <a:spcAft>
                <a:spcPct val="0"/>
              </a:spcAft>
            </a:pPr>
            <a:r>
              <a:rPr lang="en-US" sz="5294" dirty="0">
                <a:solidFill>
                  <a:schemeClr val="bg1"/>
                </a:solidFill>
                <a:latin typeface="+mj-lt"/>
                <a:ea typeface="Segoe UI" pitchFamily="34" charset="0"/>
                <a:cs typeface="Segoe UI" pitchFamily="34" charset="0"/>
              </a:rPr>
              <a:t>Hadoop</a:t>
            </a:r>
          </a:p>
        </p:txBody>
      </p:sp>
      <p:sp>
        <p:nvSpPr>
          <p:cNvPr id="2" name="Slide Number Placeholder 1"/>
          <p:cNvSpPr>
            <a:spLocks noGrp="1"/>
          </p:cNvSpPr>
          <p:nvPr>
            <p:ph type="sldNum" sz="quarter" idx="11"/>
          </p:nvPr>
        </p:nvSpPr>
        <p:spPr/>
        <p:txBody>
          <a:bodyPr/>
          <a:lstStyle/>
          <a:p>
            <a:pPr>
              <a:defRPr/>
            </a:pPr>
            <a:fld id="{F8A0AC42-AA1D-4944-8D96-660DE70C7E1B}" type="slidenum">
              <a:rPr lang="en-IN" smtClean="0"/>
              <a:pPr>
                <a:defRPr/>
              </a:pPr>
              <a:t>3</a:t>
            </a:fld>
            <a:endParaRPr lang="en-IN" dirty="0"/>
          </a:p>
        </p:txBody>
      </p:sp>
    </p:spTree>
    <p:extLst>
      <p:ext uri="{BB962C8B-B14F-4D97-AF65-F5344CB8AC3E}">
        <p14:creationId xmlns:p14="http://schemas.microsoft.com/office/powerpoint/2010/main" val="50258767"/>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p:cNvSpPr/>
          <p:nvPr/>
        </p:nvSpPr>
        <p:spPr bwMode="auto">
          <a:xfrm>
            <a:off x="5726549" y="1963780"/>
            <a:ext cx="5507449" cy="3261366"/>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2" name="Title 1"/>
          <p:cNvSpPr>
            <a:spLocks noGrp="1"/>
          </p:cNvSpPr>
          <p:nvPr>
            <p:ph type="title"/>
          </p:nvPr>
        </p:nvSpPr>
        <p:spPr>
          <a:xfrm>
            <a:off x="0" y="4345"/>
            <a:ext cx="11653523" cy="927940"/>
          </a:xfrm>
        </p:spPr>
        <p:txBody>
          <a:bodyPr/>
          <a:lstStyle/>
          <a:p>
            <a:r>
              <a:rPr lang="en-US" dirty="0" err="1"/>
              <a:t>HiveQL</a:t>
            </a:r>
            <a:r>
              <a:rPr lang="en-US" dirty="0"/>
              <a:t>: Execution Flow   </a:t>
            </a:r>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30</a:t>
            </a:fld>
            <a:endParaRPr lang="en-US" dirty="0"/>
          </a:p>
        </p:txBody>
      </p:sp>
      <p:sp>
        <p:nvSpPr>
          <p:cNvPr id="4" name="Rectangle 3"/>
          <p:cNvSpPr/>
          <p:nvPr/>
        </p:nvSpPr>
        <p:spPr bwMode="auto">
          <a:xfrm>
            <a:off x="5726549" y="5819505"/>
            <a:ext cx="5507449" cy="85116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3770" fontAlgn="base">
              <a:spcBef>
                <a:spcPts val="196"/>
              </a:spcBef>
              <a:spcAft>
                <a:spcPts val="294"/>
              </a:spcAft>
            </a:pPr>
            <a:endParaRPr lang="en-US" sz="1961" dirty="0">
              <a:solidFill>
                <a:srgbClr val="505050"/>
              </a:solidFill>
              <a:ea typeface="Segoe UI" pitchFamily="34" charset="0"/>
              <a:cs typeface="Segoe UI" pitchFamily="34" charset="0"/>
            </a:endParaRPr>
          </a:p>
        </p:txBody>
      </p:sp>
      <p:sp>
        <p:nvSpPr>
          <p:cNvPr id="12" name="Content Placeholder 7"/>
          <p:cNvSpPr txBox="1">
            <a:spLocks/>
          </p:cNvSpPr>
          <p:nvPr/>
        </p:nvSpPr>
        <p:spPr bwMode="auto">
          <a:xfrm>
            <a:off x="7569433" y="5959740"/>
            <a:ext cx="2395039" cy="452604"/>
          </a:xfrm>
          <a:prstGeom prst="rect">
            <a:avLst/>
          </a:prstGeom>
          <a:no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none" lIns="89642" tIns="44821" rIns="89642" bIns="44821" numCol="1" spcCol="0" rtlCol="0" fromWordArt="0" anchor="ctr" anchorCtr="0" forceAA="0" compatLnSpc="1">
            <a:prstTxWarp prst="textNoShape">
              <a:avLst/>
            </a:prstTxWarp>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14367" fontAlgn="base">
              <a:lnSpc>
                <a:spcPct val="100000"/>
              </a:lnSpc>
              <a:spcBef>
                <a:spcPts val="588"/>
              </a:spcBef>
              <a:spcAft>
                <a:spcPts val="588"/>
              </a:spcAft>
              <a:buNone/>
              <a:defRPr/>
            </a:pPr>
            <a:r>
              <a:rPr lang="en-US" sz="2353" b="1" dirty="0">
                <a:solidFill>
                  <a:schemeClr val="bg1"/>
                </a:solidFill>
              </a:rPr>
              <a:t>Hadoop / HDFS</a:t>
            </a:r>
          </a:p>
        </p:txBody>
      </p:sp>
      <p:sp>
        <p:nvSpPr>
          <p:cNvPr id="13" name="Freeform 12"/>
          <p:cNvSpPr>
            <a:spLocks/>
          </p:cNvSpPr>
          <p:nvPr/>
        </p:nvSpPr>
        <p:spPr bwMode="auto">
          <a:xfrm>
            <a:off x="6119691" y="5917093"/>
            <a:ext cx="737849" cy="559671"/>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4367"/>
            <a:endParaRPr lang="en-IN" sz="1961">
              <a:solidFill>
                <a:srgbClr val="000000"/>
              </a:solidFill>
            </a:endParaRPr>
          </a:p>
        </p:txBody>
      </p:sp>
      <p:grpSp>
        <p:nvGrpSpPr>
          <p:cNvPr id="20" name="Group 19"/>
          <p:cNvGrpSpPr/>
          <p:nvPr/>
        </p:nvGrpSpPr>
        <p:grpSpPr>
          <a:xfrm>
            <a:off x="7931638" y="2065953"/>
            <a:ext cx="1097283" cy="1097280"/>
            <a:chOff x="3376943" y="1961247"/>
            <a:chExt cx="1122629" cy="1080228"/>
          </a:xfrm>
        </p:grpSpPr>
        <p:sp>
          <p:nvSpPr>
            <p:cNvPr id="19" name="Oval 18"/>
            <p:cNvSpPr/>
            <p:nvPr/>
          </p:nvSpPr>
          <p:spPr bwMode="auto">
            <a:xfrm>
              <a:off x="3376943" y="1961247"/>
              <a:ext cx="1122629" cy="1080228"/>
            </a:xfrm>
            <a:prstGeom prst="ellipse">
              <a:avLst/>
            </a:prstGeom>
            <a:solidFill>
              <a:schemeClr val="bg1">
                <a:lumMod val="95000"/>
              </a:schemeClr>
            </a:solidFill>
            <a:ln w="28575" cap="flat" cmpd="sng" algn="ctr">
              <a:noFill/>
              <a:prstDash val="solid"/>
              <a:round/>
              <a:headEnd type="none" w="med" len="med"/>
              <a:tailEnd type="triangle" w="med" len="med"/>
            </a:ln>
            <a:effectLst/>
          </p:spPr>
          <p:txBody>
            <a:bodyPr rot="0" spcFirstLastPara="0" vertOverflow="overflow" horzOverflow="overflow" vert="horz" wrap="square" lIns="89642" tIns="1120531" rIns="89642" bIns="0" numCol="1" spcCol="0" rtlCol="0" fromWordArt="0" anchor="t" anchorCtr="0" forceAA="0" compatLnSpc="1">
              <a:prstTxWarp prst="textNoShape">
                <a:avLst/>
              </a:prstTxWarp>
              <a:noAutofit/>
            </a:bodyPr>
            <a:lstStyle/>
            <a:p>
              <a:pPr algn="ctr" defTabSz="914102" fontAlgn="base">
                <a:spcBef>
                  <a:spcPct val="0"/>
                </a:spcBef>
                <a:spcAft>
                  <a:spcPct val="0"/>
                </a:spcAft>
                <a:buClr>
                  <a:srgbClr val="FF3300"/>
                </a:buClr>
              </a:pPr>
              <a:endParaRPr lang="en-US" sz="1961" dirty="0">
                <a:solidFill>
                  <a:srgbClr val="505050"/>
                </a:solidFill>
                <a:latin typeface="Segoe UI Semibold" panose="020B0702040204020203" pitchFamily="34" charset="0"/>
                <a:ea typeface="Segoe UI" pitchFamily="34" charset="0"/>
                <a:cs typeface="Segoe UI Semibold" panose="020B0702040204020203" pitchFamily="34" charset="0"/>
              </a:endParaRPr>
            </a:p>
          </p:txBody>
        </p:sp>
        <p:sp>
          <p:nvSpPr>
            <p:cNvPr id="18" name="Freeform 17"/>
            <p:cNvSpPr/>
            <p:nvPr/>
          </p:nvSpPr>
          <p:spPr bwMode="auto">
            <a:xfrm rot="19320000" flipH="1">
              <a:off x="3740499" y="2133419"/>
              <a:ext cx="395516" cy="393412"/>
            </a:xfrm>
            <a:custGeom>
              <a:avLst/>
              <a:gdLst>
                <a:gd name="connsiteX0" fmla="*/ 146044 w 2118694"/>
                <a:gd name="connsiteY0" fmla="*/ 82208 h 2308582"/>
                <a:gd name="connsiteX1" fmla="*/ 82207 w 2118694"/>
                <a:gd name="connsiteY1" fmla="*/ 620297 h 2308582"/>
                <a:gd name="connsiteX2" fmla="*/ 484514 w 2118694"/>
                <a:gd name="connsiteY2" fmla="*/ 752783 h 2308582"/>
                <a:gd name="connsiteX3" fmla="*/ 545239 w 2118694"/>
                <a:gd name="connsiteY3" fmla="*/ 722081 h 2308582"/>
                <a:gd name="connsiteX4" fmla="*/ 851174 w 2118694"/>
                <a:gd name="connsiteY4" fmla="*/ 1110376 h 2308582"/>
                <a:gd name="connsiteX5" fmla="*/ 851174 w 2118694"/>
                <a:gd name="connsiteY5" fmla="*/ 2003655 h 2308582"/>
                <a:gd name="connsiteX6" fmla="*/ 721515 w 2118694"/>
                <a:gd name="connsiteY6" fmla="*/ 1839091 h 2308582"/>
                <a:gd name="connsiteX7" fmla="*/ 619368 w 2118694"/>
                <a:gd name="connsiteY7" fmla="*/ 1919572 h 2308582"/>
                <a:gd name="connsiteX8" fmla="*/ 904247 w 2118694"/>
                <a:gd name="connsiteY8" fmla="*/ 2287921 h 2308582"/>
                <a:gd name="connsiteX9" fmla="*/ 1273295 w 2118694"/>
                <a:gd name="connsiteY9" fmla="*/ 1997151 h 2308582"/>
                <a:gd name="connsiteX10" fmla="*/ 1193463 w 2118694"/>
                <a:gd name="connsiteY10" fmla="*/ 1895827 h 2308582"/>
                <a:gd name="connsiteX11" fmla="*/ 1016057 w 2118694"/>
                <a:gd name="connsiteY11" fmla="*/ 2034355 h 2308582"/>
                <a:gd name="connsiteX12" fmla="*/ 1016057 w 2118694"/>
                <a:gd name="connsiteY12" fmla="*/ 1319647 h 2308582"/>
                <a:gd name="connsiteX13" fmla="*/ 1670509 w 2118694"/>
                <a:gd name="connsiteY13" fmla="*/ 2150283 h 2308582"/>
                <a:gd name="connsiteX14" fmla="*/ 1450339 w 2118694"/>
                <a:gd name="connsiteY14" fmla="*/ 2125136 h 2308582"/>
                <a:gd name="connsiteX15" fmla="*/ 1435142 w 2118694"/>
                <a:gd name="connsiteY15" fmla="*/ 2253232 h 2308582"/>
                <a:gd name="connsiteX16" fmla="*/ 1901704 w 2118694"/>
                <a:gd name="connsiteY16" fmla="*/ 2308582 h 2308582"/>
                <a:gd name="connsiteX17" fmla="*/ 1952394 w 2118694"/>
                <a:gd name="connsiteY17" fmla="*/ 1845691 h 2308582"/>
                <a:gd name="connsiteX18" fmla="*/ 1823256 w 2118694"/>
                <a:gd name="connsiteY18" fmla="*/ 1830372 h 2308582"/>
                <a:gd name="connsiteX19" fmla="*/ 1797752 w 2118694"/>
                <a:gd name="connsiteY19" fmla="*/ 2045358 h 2308582"/>
                <a:gd name="connsiteX20" fmla="*/ 1140004 w 2118694"/>
                <a:gd name="connsiteY20" fmla="*/ 1210540 h 2308582"/>
                <a:gd name="connsiteX21" fmla="*/ 1846006 w 2118694"/>
                <a:gd name="connsiteY21" fmla="*/ 1380444 h 2308582"/>
                <a:gd name="connsiteX22" fmla="*/ 1669814 w 2118694"/>
                <a:gd name="connsiteY22" fmla="*/ 1520514 h 2308582"/>
                <a:gd name="connsiteX23" fmla="*/ 1749647 w 2118694"/>
                <a:gd name="connsiteY23" fmla="*/ 1621837 h 2308582"/>
                <a:gd name="connsiteX24" fmla="*/ 2118694 w 2118694"/>
                <a:gd name="connsiteY24" fmla="*/ 1331067 h 2308582"/>
                <a:gd name="connsiteX25" fmla="*/ 1827225 w 2118694"/>
                <a:gd name="connsiteY25" fmla="*/ 967910 h 2308582"/>
                <a:gd name="connsiteX26" fmla="*/ 1725078 w 2118694"/>
                <a:gd name="connsiteY26" fmla="*/ 1048391 h 2308582"/>
                <a:gd name="connsiteX27" fmla="*/ 1854737 w 2118694"/>
                <a:gd name="connsiteY27" fmla="*/ 1212955 h 2308582"/>
                <a:gd name="connsiteX28" fmla="*/ 975121 w 2118694"/>
                <a:gd name="connsiteY28" fmla="*/ 1001269 h 2308582"/>
                <a:gd name="connsiteX29" fmla="*/ 674752 w 2118694"/>
                <a:gd name="connsiteY29" fmla="*/ 620039 h 2308582"/>
                <a:gd name="connsiteX30" fmla="*/ 718811 w 2118694"/>
                <a:gd name="connsiteY30" fmla="*/ 568182 h 2308582"/>
                <a:gd name="connsiteX31" fmla="*/ 684133 w 2118694"/>
                <a:gd name="connsiteY31" fmla="*/ 146044 h 2308582"/>
                <a:gd name="connsiteX32" fmla="*/ 146044 w 2118694"/>
                <a:gd name="connsiteY32" fmla="*/ 82208 h 2308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118694" h="2308582">
                  <a:moveTo>
                    <a:pt x="146044" y="82208"/>
                  </a:moveTo>
                  <a:cubicBezTo>
                    <a:pt x="-20174" y="213169"/>
                    <a:pt x="-48754" y="454080"/>
                    <a:pt x="82207" y="620297"/>
                  </a:cubicBezTo>
                  <a:cubicBezTo>
                    <a:pt x="180428" y="744960"/>
                    <a:pt x="340496" y="792203"/>
                    <a:pt x="484514" y="752783"/>
                  </a:cubicBezTo>
                  <a:lnTo>
                    <a:pt x="545239" y="722081"/>
                  </a:lnTo>
                  <a:lnTo>
                    <a:pt x="851174" y="1110376"/>
                  </a:lnTo>
                  <a:lnTo>
                    <a:pt x="851174" y="2003655"/>
                  </a:lnTo>
                  <a:lnTo>
                    <a:pt x="721515" y="1839091"/>
                  </a:lnTo>
                  <a:cubicBezTo>
                    <a:pt x="695628" y="1825440"/>
                    <a:pt x="602342" y="1822836"/>
                    <a:pt x="619368" y="1919572"/>
                  </a:cubicBezTo>
                  <a:cubicBezTo>
                    <a:pt x="714327" y="2042355"/>
                    <a:pt x="809287" y="2165137"/>
                    <a:pt x="904247" y="2287921"/>
                  </a:cubicBezTo>
                  <a:lnTo>
                    <a:pt x="1273295" y="1997151"/>
                  </a:lnTo>
                  <a:cubicBezTo>
                    <a:pt x="1299629" y="1913650"/>
                    <a:pt x="1243962" y="1888750"/>
                    <a:pt x="1193463" y="1895827"/>
                  </a:cubicBezTo>
                  <a:lnTo>
                    <a:pt x="1016057" y="2034355"/>
                  </a:lnTo>
                  <a:lnTo>
                    <a:pt x="1016057" y="1319647"/>
                  </a:lnTo>
                  <a:lnTo>
                    <a:pt x="1670509" y="2150283"/>
                  </a:lnTo>
                  <a:lnTo>
                    <a:pt x="1450339" y="2125136"/>
                  </a:lnTo>
                  <a:cubicBezTo>
                    <a:pt x="1403571" y="2145461"/>
                    <a:pt x="1369090" y="2195759"/>
                    <a:pt x="1435142" y="2253232"/>
                  </a:cubicBezTo>
                  <a:lnTo>
                    <a:pt x="1901704" y="2308582"/>
                  </a:lnTo>
                  <a:cubicBezTo>
                    <a:pt x="1918600" y="2154285"/>
                    <a:pt x="1935498" y="1999988"/>
                    <a:pt x="1952394" y="1845691"/>
                  </a:cubicBezTo>
                  <a:cubicBezTo>
                    <a:pt x="1916417" y="1754295"/>
                    <a:pt x="1838210" y="1805215"/>
                    <a:pt x="1823256" y="1830372"/>
                  </a:cubicBezTo>
                  <a:lnTo>
                    <a:pt x="1797752" y="2045358"/>
                  </a:lnTo>
                  <a:lnTo>
                    <a:pt x="1140004" y="1210540"/>
                  </a:lnTo>
                  <a:lnTo>
                    <a:pt x="1846006" y="1380444"/>
                  </a:lnTo>
                  <a:lnTo>
                    <a:pt x="1669814" y="1520514"/>
                  </a:lnTo>
                  <a:cubicBezTo>
                    <a:pt x="1651118" y="1567955"/>
                    <a:pt x="1662302" y="1627903"/>
                    <a:pt x="1749647" y="1621837"/>
                  </a:cubicBezTo>
                  <a:lnTo>
                    <a:pt x="2118694" y="1331067"/>
                  </a:lnTo>
                  <a:cubicBezTo>
                    <a:pt x="2021537" y="1210014"/>
                    <a:pt x="1924381" y="1088961"/>
                    <a:pt x="1827225" y="967910"/>
                  </a:cubicBezTo>
                  <a:cubicBezTo>
                    <a:pt x="1737158" y="928723"/>
                    <a:pt x="1717863" y="1020028"/>
                    <a:pt x="1725078" y="1048391"/>
                  </a:cubicBezTo>
                  <a:lnTo>
                    <a:pt x="1854737" y="1212955"/>
                  </a:lnTo>
                  <a:lnTo>
                    <a:pt x="975121" y="1001269"/>
                  </a:lnTo>
                  <a:lnTo>
                    <a:pt x="674752" y="620039"/>
                  </a:lnTo>
                  <a:lnTo>
                    <a:pt x="718811" y="568182"/>
                  </a:lnTo>
                  <a:cubicBezTo>
                    <a:pt x="790833" y="437385"/>
                    <a:pt x="782354" y="270707"/>
                    <a:pt x="684133" y="146044"/>
                  </a:cubicBezTo>
                  <a:cubicBezTo>
                    <a:pt x="553172" y="-20174"/>
                    <a:pt x="312261" y="-48754"/>
                    <a:pt x="146044" y="82208"/>
                  </a:cubicBezTo>
                  <a:close/>
                </a:path>
              </a:pathLst>
            </a:cu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dirty="0">
                <a:solidFill>
                  <a:srgbClr val="FFFFFF"/>
                </a:solidFill>
                <a:latin typeface="Segoe UI Light"/>
                <a:ea typeface="Segoe UI" pitchFamily="34" charset="0"/>
                <a:cs typeface="Segoe UI" pitchFamily="34" charset="0"/>
              </a:endParaRPr>
            </a:p>
          </p:txBody>
        </p:sp>
      </p:grpSp>
      <p:grpSp>
        <p:nvGrpSpPr>
          <p:cNvPr id="25" name="Group 24"/>
          <p:cNvGrpSpPr/>
          <p:nvPr/>
        </p:nvGrpSpPr>
        <p:grpSpPr>
          <a:xfrm>
            <a:off x="7931639" y="4001124"/>
            <a:ext cx="1097280" cy="1097280"/>
            <a:chOff x="8972550" y="3000685"/>
            <a:chExt cx="1028390" cy="1028390"/>
          </a:xfrm>
        </p:grpSpPr>
        <p:sp>
          <p:nvSpPr>
            <p:cNvPr id="26" name="Oval 25"/>
            <p:cNvSpPr/>
            <p:nvPr/>
          </p:nvSpPr>
          <p:spPr bwMode="auto">
            <a:xfrm>
              <a:off x="8972550" y="3000685"/>
              <a:ext cx="1028390" cy="102839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dirty="0">
                <a:solidFill>
                  <a:srgbClr val="FFFFFF"/>
                </a:solidFill>
                <a:latin typeface="Segoe UI Light"/>
                <a:ea typeface="Segoe UI" pitchFamily="34" charset="0"/>
                <a:cs typeface="Segoe UI" pitchFamily="34" charset="0"/>
              </a:endParaRPr>
            </a:p>
          </p:txBody>
        </p:sp>
        <p:grpSp>
          <p:nvGrpSpPr>
            <p:cNvPr id="27" name="Group 26"/>
            <p:cNvGrpSpPr/>
            <p:nvPr/>
          </p:nvGrpSpPr>
          <p:grpSpPr>
            <a:xfrm>
              <a:off x="9107348" y="3101731"/>
              <a:ext cx="758794" cy="838569"/>
              <a:chOff x="1812596" y="2407618"/>
              <a:chExt cx="406399" cy="449125"/>
            </a:xfrm>
            <a:solidFill>
              <a:schemeClr val="bg1"/>
            </a:solidFill>
          </p:grpSpPr>
          <p:sp>
            <p:nvSpPr>
              <p:cNvPr id="28" name="Freeform 27"/>
              <p:cNvSpPr>
                <a:spLocks/>
              </p:cNvSpPr>
              <p:nvPr/>
            </p:nvSpPr>
            <p:spPr bwMode="auto">
              <a:xfrm>
                <a:off x="1812596" y="2697993"/>
                <a:ext cx="400049" cy="158750"/>
              </a:xfrm>
              <a:custGeom>
                <a:avLst/>
                <a:gdLst>
                  <a:gd name="T0" fmla="*/ 332 w 380"/>
                  <a:gd name="T1" fmla="*/ 0 h 151"/>
                  <a:gd name="T2" fmla="*/ 332 w 380"/>
                  <a:gd name="T3" fmla="*/ 0 h 151"/>
                  <a:gd name="T4" fmla="*/ 192 w 380"/>
                  <a:gd name="T5" fmla="*/ 105 h 151"/>
                  <a:gd name="T6" fmla="*/ 67 w 380"/>
                  <a:gd name="T7" fmla="*/ 35 h 151"/>
                  <a:gd name="T8" fmla="*/ 87 w 380"/>
                  <a:gd name="T9" fmla="*/ 14 h 151"/>
                  <a:gd name="T10" fmla="*/ 82 w 380"/>
                  <a:gd name="T11" fmla="*/ 0 h 151"/>
                  <a:gd name="T12" fmla="*/ 0 w 380"/>
                  <a:gd name="T13" fmla="*/ 0 h 151"/>
                  <a:gd name="T14" fmla="*/ 0 w 380"/>
                  <a:gd name="T15" fmla="*/ 82 h 151"/>
                  <a:gd name="T16" fmla="*/ 14 w 380"/>
                  <a:gd name="T17" fmla="*/ 88 h 151"/>
                  <a:gd name="T18" fmla="*/ 34 w 380"/>
                  <a:gd name="T19" fmla="*/ 68 h 151"/>
                  <a:gd name="T20" fmla="*/ 192 w 380"/>
                  <a:gd name="T21" fmla="*/ 151 h 151"/>
                  <a:gd name="T22" fmla="*/ 380 w 380"/>
                  <a:gd name="T23" fmla="*/ 0 h 151"/>
                  <a:gd name="T24" fmla="*/ 332 w 380"/>
                  <a:gd name="T25"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0" h="151">
                    <a:moveTo>
                      <a:pt x="332" y="0"/>
                    </a:moveTo>
                    <a:lnTo>
                      <a:pt x="332" y="0"/>
                    </a:lnTo>
                    <a:cubicBezTo>
                      <a:pt x="315" y="61"/>
                      <a:pt x="258" y="105"/>
                      <a:pt x="192" y="105"/>
                    </a:cubicBezTo>
                    <a:cubicBezTo>
                      <a:pt x="139" y="105"/>
                      <a:pt x="93" y="77"/>
                      <a:pt x="67" y="35"/>
                    </a:cubicBezTo>
                    <a:lnTo>
                      <a:pt x="87" y="14"/>
                    </a:lnTo>
                    <a:cubicBezTo>
                      <a:pt x="95" y="7"/>
                      <a:pt x="93" y="0"/>
                      <a:pt x="82" y="0"/>
                    </a:cubicBezTo>
                    <a:lnTo>
                      <a:pt x="0" y="0"/>
                    </a:lnTo>
                    <a:lnTo>
                      <a:pt x="0" y="82"/>
                    </a:lnTo>
                    <a:cubicBezTo>
                      <a:pt x="0" y="93"/>
                      <a:pt x="6" y="96"/>
                      <a:pt x="14" y="88"/>
                    </a:cubicBezTo>
                    <a:lnTo>
                      <a:pt x="34" y="68"/>
                    </a:lnTo>
                    <a:cubicBezTo>
                      <a:pt x="69" y="118"/>
                      <a:pt x="126" y="151"/>
                      <a:pt x="192" y="151"/>
                    </a:cubicBezTo>
                    <a:cubicBezTo>
                      <a:pt x="284" y="151"/>
                      <a:pt x="361" y="86"/>
                      <a:pt x="380" y="0"/>
                    </a:cubicBezTo>
                    <a:lnTo>
                      <a:pt x="332"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765">
                  <a:solidFill>
                    <a:srgbClr val="000000"/>
                  </a:solidFill>
                  <a:latin typeface="Segoe UI Semibold" panose="020B0702040204020203" pitchFamily="34" charset="0"/>
                </a:endParaRPr>
              </a:p>
            </p:txBody>
          </p:sp>
          <p:sp>
            <p:nvSpPr>
              <p:cNvPr id="29" name="Freeform 28"/>
              <p:cNvSpPr>
                <a:spLocks/>
              </p:cNvSpPr>
              <p:nvPr/>
            </p:nvSpPr>
            <p:spPr bwMode="auto">
              <a:xfrm>
                <a:off x="1817358" y="2407618"/>
                <a:ext cx="401637" cy="160338"/>
              </a:xfrm>
              <a:custGeom>
                <a:avLst/>
                <a:gdLst>
                  <a:gd name="T0" fmla="*/ 48 w 381"/>
                  <a:gd name="T1" fmla="*/ 152 h 152"/>
                  <a:gd name="T2" fmla="*/ 48 w 381"/>
                  <a:gd name="T3" fmla="*/ 152 h 152"/>
                  <a:gd name="T4" fmla="*/ 188 w 381"/>
                  <a:gd name="T5" fmla="*/ 46 h 152"/>
                  <a:gd name="T6" fmla="*/ 313 w 381"/>
                  <a:gd name="T7" fmla="*/ 117 h 152"/>
                  <a:gd name="T8" fmla="*/ 293 w 381"/>
                  <a:gd name="T9" fmla="*/ 137 h 152"/>
                  <a:gd name="T10" fmla="*/ 299 w 381"/>
                  <a:gd name="T11" fmla="*/ 152 h 152"/>
                  <a:gd name="T12" fmla="*/ 381 w 381"/>
                  <a:gd name="T13" fmla="*/ 152 h 152"/>
                  <a:gd name="T14" fmla="*/ 381 w 381"/>
                  <a:gd name="T15" fmla="*/ 70 h 152"/>
                  <a:gd name="T16" fmla="*/ 366 w 381"/>
                  <a:gd name="T17" fmla="*/ 64 h 152"/>
                  <a:gd name="T18" fmla="*/ 346 w 381"/>
                  <a:gd name="T19" fmla="*/ 84 h 152"/>
                  <a:gd name="T20" fmla="*/ 188 w 381"/>
                  <a:gd name="T21" fmla="*/ 0 h 152"/>
                  <a:gd name="T22" fmla="*/ 0 w 381"/>
                  <a:gd name="T23" fmla="*/ 152 h 152"/>
                  <a:gd name="T24" fmla="*/ 48 w 381"/>
                  <a:gd name="T25"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1" h="152">
                    <a:moveTo>
                      <a:pt x="48" y="152"/>
                    </a:moveTo>
                    <a:lnTo>
                      <a:pt x="48" y="152"/>
                    </a:lnTo>
                    <a:cubicBezTo>
                      <a:pt x="65" y="91"/>
                      <a:pt x="122" y="46"/>
                      <a:pt x="188" y="46"/>
                    </a:cubicBezTo>
                    <a:cubicBezTo>
                      <a:pt x="241" y="46"/>
                      <a:pt x="287" y="75"/>
                      <a:pt x="313" y="117"/>
                    </a:cubicBezTo>
                    <a:lnTo>
                      <a:pt x="293" y="137"/>
                    </a:lnTo>
                    <a:cubicBezTo>
                      <a:pt x="285" y="145"/>
                      <a:pt x="288" y="152"/>
                      <a:pt x="299" y="152"/>
                    </a:cubicBezTo>
                    <a:lnTo>
                      <a:pt x="381" y="152"/>
                    </a:lnTo>
                    <a:lnTo>
                      <a:pt x="381" y="70"/>
                    </a:lnTo>
                    <a:cubicBezTo>
                      <a:pt x="381" y="59"/>
                      <a:pt x="374" y="56"/>
                      <a:pt x="366" y="64"/>
                    </a:cubicBezTo>
                    <a:lnTo>
                      <a:pt x="346" y="84"/>
                    </a:lnTo>
                    <a:cubicBezTo>
                      <a:pt x="312" y="33"/>
                      <a:pt x="254" y="0"/>
                      <a:pt x="188" y="0"/>
                    </a:cubicBezTo>
                    <a:cubicBezTo>
                      <a:pt x="96" y="0"/>
                      <a:pt x="19" y="65"/>
                      <a:pt x="0" y="152"/>
                    </a:cubicBezTo>
                    <a:lnTo>
                      <a:pt x="48" y="152"/>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765">
                  <a:solidFill>
                    <a:srgbClr val="000000"/>
                  </a:solidFill>
                  <a:latin typeface="Segoe UI Semibold" panose="020B0702040204020203" pitchFamily="34" charset="0"/>
                </a:endParaRPr>
              </a:p>
            </p:txBody>
          </p:sp>
        </p:grpSp>
      </p:grpSp>
      <p:grpSp>
        <p:nvGrpSpPr>
          <p:cNvPr id="30" name="Group 29"/>
          <p:cNvGrpSpPr/>
          <p:nvPr/>
        </p:nvGrpSpPr>
        <p:grpSpPr>
          <a:xfrm>
            <a:off x="6772030" y="561588"/>
            <a:ext cx="3416487" cy="995387"/>
            <a:chOff x="7202479" y="2294192"/>
            <a:chExt cx="3590901" cy="1015347"/>
          </a:xfrm>
        </p:grpSpPr>
        <p:sp>
          <p:nvSpPr>
            <p:cNvPr id="31" name="Rectangle 30"/>
            <p:cNvSpPr/>
            <p:nvPr/>
          </p:nvSpPr>
          <p:spPr bwMode="auto">
            <a:xfrm>
              <a:off x="7923646" y="2294192"/>
              <a:ext cx="697219" cy="676656"/>
            </a:xfrm>
            <a:prstGeom prst="rect">
              <a:avLst/>
            </a:prstGeom>
            <a:solidFill>
              <a:schemeClr val="accent3"/>
            </a:solidFill>
            <a:ln w="25400" cap="flat" cmpd="sng" algn="ctr">
              <a:noFill/>
              <a:prstDash val="solid"/>
              <a:headEnd type="none" w="med" len="med"/>
              <a:tailEnd type="none" w="med" len="med"/>
            </a:ln>
            <a:effectLst/>
          </p:spPr>
          <p:txBody>
            <a:bodyPr rot="0" spcFirstLastPara="0" vertOverflow="overflow" horzOverflow="overflow" vert="horz" wrap="square" lIns="48725" tIns="44821" rIns="48725" bIns="40947" numCol="1" spcCol="0" rtlCol="0" fromWordArt="0" anchor="ctr" anchorCtr="0" forceAA="0" compatLnSpc="1">
              <a:prstTxWarp prst="textNoShape">
                <a:avLst/>
              </a:prstTxWarp>
              <a:noAutofit/>
            </a:bodyPr>
            <a:lstStyle/>
            <a:p>
              <a:pPr algn="ctr" defTabSz="590820" fontAlgn="base">
                <a:spcBef>
                  <a:spcPct val="0"/>
                </a:spcBef>
                <a:spcAft>
                  <a:spcPct val="0"/>
                </a:spcAft>
                <a:defRPr/>
              </a:pPr>
              <a:r>
                <a:rPr lang="en-US" sz="1372" kern="0" dirty="0">
                  <a:solidFill>
                    <a:srgbClr val="FFFFFF"/>
                  </a:solidFill>
                  <a:ea typeface="Segoe UI" pitchFamily="34" charset="0"/>
                  <a:cs typeface="Segoe UI" pitchFamily="34" charset="0"/>
                </a:rPr>
                <a:t>JDBC</a:t>
              </a:r>
            </a:p>
          </p:txBody>
        </p:sp>
        <p:sp>
          <p:nvSpPr>
            <p:cNvPr id="32" name="Rectangle 31"/>
            <p:cNvSpPr/>
            <p:nvPr/>
          </p:nvSpPr>
          <p:spPr bwMode="auto">
            <a:xfrm>
              <a:off x="7202479" y="2294192"/>
              <a:ext cx="697219" cy="676656"/>
            </a:xfrm>
            <a:prstGeom prst="rect">
              <a:avLst/>
            </a:prstGeom>
            <a:solidFill>
              <a:schemeClr val="accent3"/>
            </a:solidFill>
            <a:ln w="25400" cap="flat" cmpd="sng" algn="ctr">
              <a:noFill/>
              <a:prstDash val="solid"/>
              <a:headEnd type="none" w="med" len="med"/>
              <a:tailEnd type="none" w="med" len="med"/>
            </a:ln>
            <a:effectLst/>
          </p:spPr>
          <p:txBody>
            <a:bodyPr rot="0" spcFirstLastPara="0" vertOverflow="overflow" horzOverflow="overflow" vert="horz" wrap="square" lIns="48725" tIns="44821" rIns="48725" bIns="40947" numCol="1" spcCol="0" rtlCol="0" fromWordArt="0" anchor="ctr" anchorCtr="0" forceAA="0" compatLnSpc="1">
              <a:prstTxWarp prst="textNoShape">
                <a:avLst/>
              </a:prstTxWarp>
              <a:noAutofit/>
            </a:bodyPr>
            <a:lstStyle/>
            <a:p>
              <a:pPr algn="ctr" defTabSz="590820" fontAlgn="base">
                <a:spcBef>
                  <a:spcPct val="0"/>
                </a:spcBef>
                <a:spcAft>
                  <a:spcPct val="0"/>
                </a:spcAft>
                <a:defRPr/>
              </a:pPr>
              <a:r>
                <a:rPr lang="en-US" sz="1372" kern="0" dirty="0">
                  <a:solidFill>
                    <a:srgbClr val="FFFFFF"/>
                  </a:solidFill>
                  <a:ea typeface="Segoe UI" pitchFamily="34" charset="0"/>
                  <a:cs typeface="Segoe UI" pitchFamily="34" charset="0"/>
                </a:rPr>
                <a:t>ODBC</a:t>
              </a:r>
            </a:p>
          </p:txBody>
        </p:sp>
        <p:sp>
          <p:nvSpPr>
            <p:cNvPr id="33" name="Rectangle 32"/>
            <p:cNvSpPr/>
            <p:nvPr/>
          </p:nvSpPr>
          <p:spPr bwMode="auto">
            <a:xfrm>
              <a:off x="8645747" y="2294192"/>
              <a:ext cx="1060704" cy="1015347"/>
            </a:xfrm>
            <a:prstGeom prst="rect">
              <a:avLst/>
            </a:prstGeom>
            <a:solidFill>
              <a:schemeClr val="accent3"/>
            </a:solidFill>
            <a:ln w="25400" cap="flat" cmpd="sng" algn="ctr">
              <a:noFill/>
              <a:prstDash val="solid"/>
              <a:headEnd type="none" w="med" len="med"/>
              <a:tailEnd type="none" w="med" len="med"/>
            </a:ln>
            <a:effectLst/>
          </p:spPr>
          <p:txBody>
            <a:bodyPr rot="0" spcFirstLastPara="0" vertOverflow="overflow" horzOverflow="overflow" vert="horz" wrap="square" lIns="48725" tIns="44821" rIns="48725" bIns="40947" numCol="1" spcCol="0" rtlCol="0" fromWordArt="0" anchor="ctr" anchorCtr="0" forceAA="0" compatLnSpc="1">
              <a:prstTxWarp prst="textNoShape">
                <a:avLst/>
              </a:prstTxWarp>
              <a:noAutofit/>
            </a:bodyPr>
            <a:lstStyle/>
            <a:p>
              <a:pPr algn="ctr" defTabSz="590820" fontAlgn="base">
                <a:spcBef>
                  <a:spcPct val="0"/>
                </a:spcBef>
                <a:spcAft>
                  <a:spcPct val="0"/>
                </a:spcAft>
              </a:pPr>
              <a:r>
                <a:rPr lang="en-US" sz="1372" kern="0" dirty="0">
                  <a:solidFill>
                    <a:srgbClr val="FFFFFF"/>
                  </a:solidFill>
                  <a:ea typeface="Segoe UI" pitchFamily="34" charset="0"/>
                  <a:cs typeface="Segoe UI" pitchFamily="34" charset="0"/>
                </a:rPr>
                <a:t>Hive web interface (HWI)</a:t>
              </a:r>
            </a:p>
          </p:txBody>
        </p:sp>
        <p:sp>
          <p:nvSpPr>
            <p:cNvPr id="35" name="Rectangle 34"/>
            <p:cNvSpPr/>
            <p:nvPr/>
          </p:nvSpPr>
          <p:spPr bwMode="auto">
            <a:xfrm>
              <a:off x="7202479" y="2997624"/>
              <a:ext cx="1417043" cy="311915"/>
            </a:xfrm>
            <a:prstGeom prst="rect">
              <a:avLst/>
            </a:prstGeom>
            <a:solidFill>
              <a:schemeClr val="accent3"/>
            </a:solidFill>
            <a:ln w="25400" cap="flat" cmpd="sng" algn="ctr">
              <a:noFill/>
              <a:prstDash val="solid"/>
              <a:headEnd type="none" w="med" len="med"/>
              <a:tailEnd type="none" w="med" len="med"/>
            </a:ln>
            <a:effectLst/>
          </p:spPr>
          <p:txBody>
            <a:bodyPr rot="0" spcFirstLastPara="0" vertOverflow="overflow" horzOverflow="overflow" vert="horz" wrap="square" lIns="48725" tIns="44821" rIns="48725" bIns="40947" numCol="1" spcCol="0" rtlCol="0" fromWordArt="0" anchor="ctr" anchorCtr="0" forceAA="0" compatLnSpc="1">
              <a:prstTxWarp prst="textNoShape">
                <a:avLst/>
              </a:prstTxWarp>
              <a:noAutofit/>
            </a:bodyPr>
            <a:lstStyle/>
            <a:p>
              <a:pPr algn="ctr" defTabSz="590820" fontAlgn="base">
                <a:spcBef>
                  <a:spcPct val="0"/>
                </a:spcBef>
                <a:spcAft>
                  <a:spcPct val="0"/>
                </a:spcAft>
                <a:defRPr/>
              </a:pPr>
              <a:r>
                <a:rPr lang="en-US" sz="1372" kern="0" dirty="0">
                  <a:solidFill>
                    <a:srgbClr val="FFFFFF"/>
                  </a:solidFill>
                  <a:ea typeface="Segoe UI" pitchFamily="34" charset="0"/>
                  <a:cs typeface="Segoe UI" pitchFamily="34" charset="0"/>
                </a:rPr>
                <a:t>Thrift server</a:t>
              </a:r>
            </a:p>
          </p:txBody>
        </p:sp>
        <p:sp>
          <p:nvSpPr>
            <p:cNvPr id="36" name="Rectangle 35"/>
            <p:cNvSpPr/>
            <p:nvPr/>
          </p:nvSpPr>
          <p:spPr bwMode="auto">
            <a:xfrm>
              <a:off x="9732676" y="2294192"/>
              <a:ext cx="1060704" cy="1015347"/>
            </a:xfrm>
            <a:prstGeom prst="rect">
              <a:avLst/>
            </a:prstGeom>
            <a:solidFill>
              <a:schemeClr val="accent3"/>
            </a:solidFill>
            <a:ln w="25400" cap="flat" cmpd="sng" algn="ctr">
              <a:noFill/>
              <a:prstDash val="solid"/>
              <a:headEnd type="none" w="med" len="med"/>
              <a:tailEnd type="none" w="med" len="med"/>
            </a:ln>
            <a:effectLst/>
          </p:spPr>
          <p:txBody>
            <a:bodyPr rot="0" spcFirstLastPara="0" vertOverflow="overflow" horzOverflow="overflow" vert="horz" wrap="square" lIns="48725" tIns="44821" rIns="48725" bIns="40947" numCol="1" spcCol="0" rtlCol="0" fromWordArt="0" anchor="b" anchorCtr="0" forceAA="0" compatLnSpc="1">
              <a:prstTxWarp prst="textNoShape">
                <a:avLst/>
              </a:prstTxWarp>
              <a:noAutofit/>
            </a:bodyPr>
            <a:lstStyle/>
            <a:p>
              <a:pPr algn="ctr" defTabSz="590820" fontAlgn="base">
                <a:spcBef>
                  <a:spcPct val="0"/>
                </a:spcBef>
                <a:spcAft>
                  <a:spcPct val="0"/>
                </a:spcAft>
                <a:defRPr/>
              </a:pPr>
              <a:r>
                <a:rPr lang="en-US" sz="1372" kern="0" dirty="0">
                  <a:solidFill>
                    <a:srgbClr val="FFFFFF"/>
                  </a:solidFill>
                  <a:ea typeface="Segoe UI" pitchFamily="34" charset="0"/>
                  <a:cs typeface="Segoe UI" pitchFamily="34" charset="0"/>
                </a:rPr>
                <a:t>Command line interface (CLI)</a:t>
              </a:r>
            </a:p>
          </p:txBody>
        </p:sp>
      </p:grpSp>
      <p:grpSp>
        <p:nvGrpSpPr>
          <p:cNvPr id="6" name="Group 5"/>
          <p:cNvGrpSpPr/>
          <p:nvPr/>
        </p:nvGrpSpPr>
        <p:grpSpPr>
          <a:xfrm>
            <a:off x="6161623" y="3045823"/>
            <a:ext cx="1306287" cy="1097280"/>
            <a:chOff x="6161623" y="3223697"/>
            <a:chExt cx="1306287" cy="1097280"/>
          </a:xfrm>
        </p:grpSpPr>
        <p:sp>
          <p:nvSpPr>
            <p:cNvPr id="22" name="Oval 21"/>
            <p:cNvSpPr/>
            <p:nvPr/>
          </p:nvSpPr>
          <p:spPr bwMode="auto">
            <a:xfrm>
              <a:off x="6266126" y="3223697"/>
              <a:ext cx="1097280" cy="1097280"/>
            </a:xfrm>
            <a:prstGeom prst="ellipse">
              <a:avLst/>
            </a:prstGeom>
            <a:solidFill>
              <a:schemeClr val="accent4"/>
            </a:solidFill>
            <a:ln w="9525" cap="flat" cmpd="sng" algn="ctr">
              <a:noFill/>
              <a:prstDash val="solid"/>
              <a:round/>
              <a:headEnd type="none" w="med" len="med"/>
              <a:tailEnd type="triangl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eaLnBrk="0" fontAlgn="base" hangingPunct="0">
                <a:spcBef>
                  <a:spcPct val="50000"/>
                </a:spcBef>
                <a:spcAft>
                  <a:spcPct val="0"/>
                </a:spcAft>
                <a:buClr>
                  <a:srgbClr val="FF3300"/>
                </a:buClr>
              </a:pPr>
              <a:endParaRPr lang="en-IN" sz="1765" dirty="0">
                <a:solidFill>
                  <a:srgbClr val="FFFFFF"/>
                </a:solidFill>
                <a:latin typeface="Segoe UI Semibold" panose="020B0702040204020203" pitchFamily="34" charset="0"/>
                <a:cs typeface="Segoe UI Semibold" panose="020B0702040204020203" pitchFamily="34" charset="0"/>
              </a:endParaRPr>
            </a:p>
          </p:txBody>
        </p:sp>
        <p:sp>
          <p:nvSpPr>
            <p:cNvPr id="39" name="TextBox 38"/>
            <p:cNvSpPr txBox="1"/>
            <p:nvPr/>
          </p:nvSpPr>
          <p:spPr>
            <a:xfrm>
              <a:off x="6161623" y="3531684"/>
              <a:ext cx="1306287" cy="481307"/>
            </a:xfrm>
            <a:prstGeom prst="rect">
              <a:avLst/>
            </a:prstGeom>
            <a:noFill/>
          </p:spPr>
          <p:txBody>
            <a:bodyPr wrap="none" lIns="0" tIns="0" rIns="0" bIns="0" rtlCol="0" anchor="ctr">
              <a:noAutofit/>
            </a:bodyPr>
            <a:lstStyle/>
            <a:p>
              <a:pPr algn="ctr">
                <a:lnSpc>
                  <a:spcPct val="90000"/>
                </a:lnSpc>
                <a:spcAft>
                  <a:spcPts val="600"/>
                </a:spcAft>
              </a:pPr>
              <a:r>
                <a:rPr lang="en-US" dirty="0">
                  <a:solidFill>
                    <a:schemeClr val="bg1"/>
                  </a:solidFill>
                </a:rPr>
                <a:t>Compiler</a:t>
              </a:r>
            </a:p>
          </p:txBody>
        </p:sp>
      </p:grpSp>
      <p:grpSp>
        <p:nvGrpSpPr>
          <p:cNvPr id="5" name="Group 4"/>
          <p:cNvGrpSpPr/>
          <p:nvPr/>
        </p:nvGrpSpPr>
        <p:grpSpPr>
          <a:xfrm>
            <a:off x="9514420" y="3045823"/>
            <a:ext cx="1306287" cy="1097280"/>
            <a:chOff x="9514420" y="3223697"/>
            <a:chExt cx="1306287" cy="1097280"/>
          </a:xfrm>
        </p:grpSpPr>
        <p:sp>
          <p:nvSpPr>
            <p:cNvPr id="21" name="Oval 20"/>
            <p:cNvSpPr/>
            <p:nvPr/>
          </p:nvSpPr>
          <p:spPr bwMode="auto">
            <a:xfrm>
              <a:off x="9618923" y="3223697"/>
              <a:ext cx="1097280" cy="109728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IN" sz="800"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40" name="TextBox 39"/>
            <p:cNvSpPr txBox="1"/>
            <p:nvPr/>
          </p:nvSpPr>
          <p:spPr>
            <a:xfrm>
              <a:off x="9514420" y="3531684"/>
              <a:ext cx="1306287" cy="481307"/>
            </a:xfrm>
            <a:prstGeom prst="rect">
              <a:avLst/>
            </a:prstGeom>
            <a:noFill/>
          </p:spPr>
          <p:txBody>
            <a:bodyPr wrap="none" lIns="0" tIns="0" rIns="0" bIns="0" rtlCol="0" anchor="ctr">
              <a:noAutofit/>
            </a:bodyPr>
            <a:lstStyle/>
            <a:p>
              <a:pPr algn="ctr">
                <a:lnSpc>
                  <a:spcPct val="90000"/>
                </a:lnSpc>
                <a:spcAft>
                  <a:spcPts val="600"/>
                </a:spcAft>
              </a:pPr>
              <a:r>
                <a:rPr lang="en-US" dirty="0" err="1">
                  <a:solidFill>
                    <a:schemeClr val="bg1"/>
                  </a:solidFill>
                </a:rPr>
                <a:t>MetaStore</a:t>
              </a:r>
              <a:endParaRPr lang="en-US" dirty="0">
                <a:solidFill>
                  <a:schemeClr val="bg1"/>
                </a:solidFill>
              </a:endParaRPr>
            </a:p>
          </p:txBody>
        </p:sp>
      </p:grpSp>
      <p:sp>
        <p:nvSpPr>
          <p:cNvPr id="41" name="TextBox 40"/>
          <p:cNvSpPr txBox="1"/>
          <p:nvPr/>
        </p:nvSpPr>
        <p:spPr>
          <a:xfrm>
            <a:off x="7820804" y="2681926"/>
            <a:ext cx="1306287" cy="481307"/>
          </a:xfrm>
          <a:prstGeom prst="rect">
            <a:avLst/>
          </a:prstGeom>
          <a:noFill/>
        </p:spPr>
        <p:txBody>
          <a:bodyPr wrap="none" lIns="0" tIns="0" rIns="0" bIns="0" rtlCol="0" anchor="ctr">
            <a:noAutofit/>
          </a:bodyPr>
          <a:lstStyle/>
          <a:p>
            <a:pPr algn="ctr">
              <a:lnSpc>
                <a:spcPct val="90000"/>
              </a:lnSpc>
              <a:spcAft>
                <a:spcPts val="600"/>
              </a:spcAft>
            </a:pPr>
            <a:r>
              <a:rPr lang="en-US" dirty="0">
                <a:solidFill>
                  <a:schemeClr val="bg2">
                    <a:lumMod val="50000"/>
                  </a:schemeClr>
                </a:solidFill>
              </a:rPr>
              <a:t>Driver</a:t>
            </a:r>
          </a:p>
        </p:txBody>
      </p:sp>
      <p:sp>
        <p:nvSpPr>
          <p:cNvPr id="42" name="TextBox 41"/>
          <p:cNvSpPr txBox="1"/>
          <p:nvPr/>
        </p:nvSpPr>
        <p:spPr>
          <a:xfrm>
            <a:off x="7805371" y="4315021"/>
            <a:ext cx="1306287" cy="481307"/>
          </a:xfrm>
          <a:prstGeom prst="rect">
            <a:avLst/>
          </a:prstGeom>
          <a:noFill/>
        </p:spPr>
        <p:txBody>
          <a:bodyPr wrap="none" lIns="0" tIns="0" rIns="0" bIns="0" rtlCol="0" anchor="ctr">
            <a:noAutofit/>
          </a:bodyPr>
          <a:lstStyle/>
          <a:p>
            <a:pPr algn="ctr">
              <a:lnSpc>
                <a:spcPct val="90000"/>
              </a:lnSpc>
              <a:spcAft>
                <a:spcPts val="600"/>
              </a:spcAft>
            </a:pPr>
            <a:r>
              <a:rPr lang="en-US" dirty="0">
                <a:solidFill>
                  <a:schemeClr val="bg1"/>
                </a:solidFill>
              </a:rPr>
              <a:t>Execution</a:t>
            </a:r>
          </a:p>
        </p:txBody>
      </p:sp>
      <p:cxnSp>
        <p:nvCxnSpPr>
          <p:cNvPr id="44" name="Straight Arrow Connector 43"/>
          <p:cNvCxnSpPr>
            <a:endCxn id="22" idx="7"/>
          </p:cNvCxnSpPr>
          <p:nvPr/>
        </p:nvCxnSpPr>
        <p:spPr>
          <a:xfrm flipH="1">
            <a:off x="7202713" y="2789390"/>
            <a:ext cx="740448" cy="417126"/>
          </a:xfrm>
          <a:prstGeom prst="straightConnector1">
            <a:avLst/>
          </a:prstGeom>
          <a:ln w="38100">
            <a:solidFill>
              <a:schemeClr val="accent6">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flipV="1">
            <a:off x="9054859" y="4012945"/>
            <a:ext cx="646801" cy="387024"/>
          </a:xfrm>
          <a:prstGeom prst="straightConnector1">
            <a:avLst/>
          </a:prstGeom>
          <a:ln w="38100">
            <a:solidFill>
              <a:schemeClr val="accent6">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flipH="1">
            <a:off x="8480279" y="3171445"/>
            <a:ext cx="2592" cy="777427"/>
          </a:xfrm>
          <a:prstGeom prst="straightConnector1">
            <a:avLst/>
          </a:prstGeom>
          <a:ln w="38100">
            <a:solidFill>
              <a:schemeClr val="accent6">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a:endCxn id="19" idx="0"/>
          </p:cNvCxnSpPr>
          <p:nvPr/>
        </p:nvCxnSpPr>
        <p:spPr>
          <a:xfrm flipH="1">
            <a:off x="8480280" y="1565187"/>
            <a:ext cx="1295" cy="500766"/>
          </a:xfrm>
          <a:prstGeom prst="straightConnector1">
            <a:avLst/>
          </a:prstGeom>
          <a:ln w="38100">
            <a:solidFill>
              <a:schemeClr val="accent6">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a:stCxn id="38" idx="2"/>
            <a:endCxn id="4" idx="0"/>
          </p:cNvCxnSpPr>
          <p:nvPr/>
        </p:nvCxnSpPr>
        <p:spPr>
          <a:xfrm>
            <a:off x="8480274" y="5225146"/>
            <a:ext cx="0" cy="594359"/>
          </a:xfrm>
          <a:prstGeom prst="straightConnector1">
            <a:avLst/>
          </a:prstGeom>
          <a:ln w="38100">
            <a:solidFill>
              <a:schemeClr val="accent6">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p:cNvCxnSpPr>
            <a:stCxn id="39" idx="3"/>
            <a:endCxn id="40" idx="1"/>
          </p:cNvCxnSpPr>
          <p:nvPr/>
        </p:nvCxnSpPr>
        <p:spPr>
          <a:xfrm>
            <a:off x="7467910" y="3594464"/>
            <a:ext cx="2046510" cy="0"/>
          </a:xfrm>
          <a:prstGeom prst="straightConnector1">
            <a:avLst/>
          </a:prstGeom>
          <a:ln w="38100">
            <a:solidFill>
              <a:schemeClr val="accent6">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8551707" y="1703111"/>
            <a:ext cx="200722" cy="193766"/>
          </a:xfrm>
          <a:prstGeom prst="rect">
            <a:avLst/>
          </a:prstGeom>
          <a:solidFill>
            <a:schemeClr val="accent1"/>
          </a:solidFill>
        </p:spPr>
        <p:txBody>
          <a:bodyPr wrap="none" lIns="182880" tIns="146304" rIns="182880" bIns="146304" rtlCol="0" anchor="ctr">
            <a:noAutofit/>
          </a:bodyPr>
          <a:lstStyle/>
          <a:p>
            <a:pPr algn="ctr">
              <a:lnSpc>
                <a:spcPct val="90000"/>
              </a:lnSpc>
              <a:spcAft>
                <a:spcPts val="600"/>
              </a:spcAft>
            </a:pPr>
            <a:r>
              <a:rPr lang="en-US" sz="1400" dirty="0">
                <a:solidFill>
                  <a:schemeClr val="bg1"/>
                </a:solidFill>
              </a:rPr>
              <a:t>1</a:t>
            </a:r>
          </a:p>
        </p:txBody>
      </p:sp>
      <p:sp>
        <p:nvSpPr>
          <p:cNvPr id="43" name="TextBox 42"/>
          <p:cNvSpPr txBox="1"/>
          <p:nvPr/>
        </p:nvSpPr>
        <p:spPr>
          <a:xfrm>
            <a:off x="7357808" y="2758743"/>
            <a:ext cx="200722" cy="193766"/>
          </a:xfrm>
          <a:prstGeom prst="rect">
            <a:avLst/>
          </a:prstGeom>
          <a:solidFill>
            <a:schemeClr val="accent1"/>
          </a:solidFill>
        </p:spPr>
        <p:txBody>
          <a:bodyPr wrap="none" lIns="182880" tIns="146304" rIns="182880" bIns="146304" rtlCol="0" anchor="ctr">
            <a:noAutofit/>
          </a:bodyPr>
          <a:lstStyle/>
          <a:p>
            <a:pPr algn="ctr">
              <a:lnSpc>
                <a:spcPct val="90000"/>
              </a:lnSpc>
              <a:spcAft>
                <a:spcPts val="600"/>
              </a:spcAft>
            </a:pPr>
            <a:r>
              <a:rPr lang="en-US" sz="1400" dirty="0">
                <a:solidFill>
                  <a:schemeClr val="bg1"/>
                </a:solidFill>
              </a:rPr>
              <a:t>2</a:t>
            </a:r>
          </a:p>
        </p:txBody>
      </p:sp>
      <p:sp>
        <p:nvSpPr>
          <p:cNvPr id="45" name="TextBox 44"/>
          <p:cNvSpPr txBox="1"/>
          <p:nvPr/>
        </p:nvSpPr>
        <p:spPr>
          <a:xfrm>
            <a:off x="8551707" y="5419328"/>
            <a:ext cx="200722" cy="193766"/>
          </a:xfrm>
          <a:prstGeom prst="rect">
            <a:avLst/>
          </a:prstGeom>
          <a:solidFill>
            <a:schemeClr val="accent1"/>
          </a:solidFill>
        </p:spPr>
        <p:txBody>
          <a:bodyPr wrap="none" lIns="182880" tIns="146304" rIns="182880" bIns="146304" rtlCol="0" anchor="ctr">
            <a:noAutofit/>
          </a:bodyPr>
          <a:lstStyle/>
          <a:p>
            <a:pPr algn="ctr">
              <a:lnSpc>
                <a:spcPct val="90000"/>
              </a:lnSpc>
              <a:spcAft>
                <a:spcPts val="600"/>
              </a:spcAft>
            </a:pPr>
            <a:r>
              <a:rPr lang="en-US" sz="1400" dirty="0">
                <a:solidFill>
                  <a:schemeClr val="bg1"/>
                </a:solidFill>
              </a:rPr>
              <a:t>5</a:t>
            </a:r>
          </a:p>
        </p:txBody>
      </p:sp>
      <p:sp>
        <p:nvSpPr>
          <p:cNvPr id="46" name="TextBox 45"/>
          <p:cNvSpPr txBox="1"/>
          <p:nvPr/>
        </p:nvSpPr>
        <p:spPr>
          <a:xfrm>
            <a:off x="7573767" y="3684807"/>
            <a:ext cx="200722" cy="193766"/>
          </a:xfrm>
          <a:prstGeom prst="rect">
            <a:avLst/>
          </a:prstGeom>
          <a:solidFill>
            <a:schemeClr val="accent1"/>
          </a:solidFill>
        </p:spPr>
        <p:txBody>
          <a:bodyPr wrap="none" lIns="182880" tIns="146304" rIns="182880" bIns="146304" rtlCol="0" anchor="ctr">
            <a:noAutofit/>
          </a:bodyPr>
          <a:lstStyle/>
          <a:p>
            <a:pPr algn="ctr">
              <a:lnSpc>
                <a:spcPct val="90000"/>
              </a:lnSpc>
              <a:spcAft>
                <a:spcPts val="600"/>
              </a:spcAft>
            </a:pPr>
            <a:r>
              <a:rPr lang="en-US" sz="1400" dirty="0">
                <a:solidFill>
                  <a:schemeClr val="bg1"/>
                </a:solidFill>
              </a:rPr>
              <a:t>3</a:t>
            </a:r>
          </a:p>
        </p:txBody>
      </p:sp>
      <p:sp>
        <p:nvSpPr>
          <p:cNvPr id="48" name="TextBox 47"/>
          <p:cNvSpPr txBox="1"/>
          <p:nvPr/>
        </p:nvSpPr>
        <p:spPr>
          <a:xfrm>
            <a:off x="9342783" y="4256366"/>
            <a:ext cx="265520" cy="283838"/>
          </a:xfrm>
          <a:prstGeom prst="rect">
            <a:avLst/>
          </a:prstGeom>
          <a:solidFill>
            <a:schemeClr val="accent1"/>
          </a:solidFill>
        </p:spPr>
        <p:txBody>
          <a:bodyPr wrap="none" lIns="182880" tIns="146304" rIns="182880" bIns="146304" rtlCol="0" anchor="ctr">
            <a:noAutofit/>
          </a:bodyPr>
          <a:lstStyle/>
          <a:p>
            <a:pPr algn="ctr">
              <a:lnSpc>
                <a:spcPct val="90000"/>
              </a:lnSpc>
              <a:spcAft>
                <a:spcPts val="600"/>
              </a:spcAft>
            </a:pPr>
            <a:r>
              <a:rPr lang="en-US" sz="1400" dirty="0">
                <a:solidFill>
                  <a:schemeClr val="bg1"/>
                </a:solidFill>
              </a:rPr>
              <a:t>5.1</a:t>
            </a:r>
          </a:p>
        </p:txBody>
      </p:sp>
      <p:sp>
        <p:nvSpPr>
          <p:cNvPr id="10" name="TextBox 9"/>
          <p:cNvSpPr txBox="1"/>
          <p:nvPr/>
        </p:nvSpPr>
        <p:spPr>
          <a:xfrm>
            <a:off x="0" y="932284"/>
            <a:ext cx="5676893" cy="5480059"/>
          </a:xfrm>
          <a:prstGeom prst="rect">
            <a:avLst/>
          </a:prstGeom>
          <a:noFill/>
        </p:spPr>
        <p:txBody>
          <a:bodyPr wrap="square" lIns="182880" tIns="146304" rIns="182880" bIns="146304" rtlCol="0">
            <a:noAutofit/>
          </a:bodyPr>
          <a:lstStyle/>
          <a:p>
            <a:pPr lvl="1">
              <a:lnSpc>
                <a:spcPct val="90000"/>
              </a:lnSpc>
              <a:spcAft>
                <a:spcPts val="600"/>
              </a:spcAft>
            </a:pPr>
            <a:r>
              <a:rPr lang="en-US" sz="2000" dirty="0">
                <a:solidFill>
                  <a:schemeClr val="tx1">
                    <a:lumMod val="65000"/>
                    <a:lumOff val="35000"/>
                  </a:schemeClr>
                </a:solidFill>
                <a:cs typeface="Segoe UI Semilight" panose="020B0402040204020203" pitchFamily="34" charset="0"/>
              </a:rPr>
              <a:t>Hive clients send </a:t>
            </a:r>
            <a:r>
              <a:rPr lang="en-US" sz="2000" dirty="0" err="1">
                <a:solidFill>
                  <a:schemeClr val="tx1">
                    <a:lumMod val="65000"/>
                    <a:lumOff val="35000"/>
                  </a:schemeClr>
                </a:solidFill>
                <a:cs typeface="Segoe UI Semilight" panose="020B0402040204020203" pitchFamily="34" charset="0"/>
              </a:rPr>
              <a:t>HiveQL</a:t>
            </a:r>
            <a:r>
              <a:rPr lang="en-US" sz="2000" dirty="0">
                <a:solidFill>
                  <a:schemeClr val="tx1">
                    <a:lumMod val="65000"/>
                    <a:lumOff val="35000"/>
                  </a:schemeClr>
                </a:solidFill>
                <a:cs typeface="Segoe UI Semilight" panose="020B0402040204020203" pitchFamily="34" charset="0"/>
              </a:rPr>
              <a:t> queries to the driver</a:t>
            </a:r>
          </a:p>
          <a:p>
            <a:pPr lvl="1">
              <a:lnSpc>
                <a:spcPct val="90000"/>
              </a:lnSpc>
              <a:spcAft>
                <a:spcPts val="600"/>
              </a:spcAft>
            </a:pPr>
            <a:r>
              <a:rPr lang="en-US" sz="2000" dirty="0">
                <a:solidFill>
                  <a:schemeClr val="tx1">
                    <a:lumMod val="65000"/>
                    <a:lumOff val="35000"/>
                  </a:schemeClr>
                </a:solidFill>
                <a:cs typeface="Segoe UI Semilight" panose="020B0402040204020203" pitchFamily="34" charset="0"/>
              </a:rPr>
              <a:t>The driver sends query to the compiler for parsing and syntax checking.</a:t>
            </a:r>
          </a:p>
          <a:p>
            <a:pPr lvl="1">
              <a:lnSpc>
                <a:spcPct val="90000"/>
              </a:lnSpc>
              <a:spcAft>
                <a:spcPts val="600"/>
              </a:spcAft>
            </a:pPr>
            <a:r>
              <a:rPr lang="en-US" sz="2000" dirty="0">
                <a:solidFill>
                  <a:schemeClr val="tx1">
                    <a:lumMod val="65000"/>
                    <a:lumOff val="35000"/>
                  </a:schemeClr>
                </a:solidFill>
                <a:cs typeface="Segoe UI Semilight" panose="020B0402040204020203" pitchFamily="34" charset="0"/>
              </a:rPr>
              <a:t>The compiler gets the metadata from the store and returns a execution plan to the driver.</a:t>
            </a:r>
          </a:p>
          <a:p>
            <a:pPr lvl="1">
              <a:lnSpc>
                <a:spcPct val="90000"/>
              </a:lnSpc>
              <a:spcAft>
                <a:spcPts val="600"/>
              </a:spcAft>
            </a:pPr>
            <a:r>
              <a:rPr lang="en-US" sz="2000" dirty="0">
                <a:solidFill>
                  <a:schemeClr val="tx1">
                    <a:lumMod val="65000"/>
                    <a:lumOff val="35000"/>
                  </a:schemeClr>
                </a:solidFill>
                <a:cs typeface="Segoe UI Semilight" panose="020B0402040204020203" pitchFamily="34" charset="0"/>
              </a:rPr>
              <a:t>The driver sends the execution plan to the execution engine.</a:t>
            </a:r>
          </a:p>
          <a:p>
            <a:pPr lvl="1">
              <a:lnSpc>
                <a:spcPct val="90000"/>
              </a:lnSpc>
              <a:spcAft>
                <a:spcPts val="600"/>
              </a:spcAft>
            </a:pPr>
            <a:r>
              <a:rPr lang="en-US" sz="2000" dirty="0">
                <a:solidFill>
                  <a:schemeClr val="tx1">
                    <a:lumMod val="65000"/>
                    <a:lumOff val="35000"/>
                  </a:schemeClr>
                </a:solidFill>
                <a:cs typeface="Segoe UI Semilight" panose="020B0402040204020203" pitchFamily="34" charset="0"/>
              </a:rPr>
              <a:t>The execution engine submits the plan as a MR job to be executed by Hadoop. After Hadoop completes execution, the execution engine gets the results which are returned to the driver, which in turn returns the results to the Hive clients. </a:t>
            </a:r>
          </a:p>
          <a:p>
            <a:pPr lvl="2">
              <a:lnSpc>
                <a:spcPct val="90000"/>
              </a:lnSpc>
              <a:spcAft>
                <a:spcPts val="600"/>
              </a:spcAft>
            </a:pPr>
            <a:r>
              <a:rPr lang="en-US" sz="2000" dirty="0">
                <a:solidFill>
                  <a:schemeClr val="tx1">
                    <a:lumMod val="65000"/>
                    <a:lumOff val="35000"/>
                  </a:schemeClr>
                </a:solidFill>
                <a:cs typeface="Segoe UI Semilight" panose="020B0402040204020203" pitchFamily="34" charset="0"/>
              </a:rPr>
              <a:t>The execution engine can execute metadata operations against the </a:t>
            </a:r>
            <a:r>
              <a:rPr lang="en-US" sz="2000" dirty="0" err="1">
                <a:solidFill>
                  <a:schemeClr val="tx1">
                    <a:lumMod val="65000"/>
                    <a:lumOff val="35000"/>
                  </a:schemeClr>
                </a:solidFill>
                <a:cs typeface="Segoe UI Semilight" panose="020B0402040204020203" pitchFamily="34" charset="0"/>
              </a:rPr>
              <a:t>Metastore</a:t>
            </a:r>
            <a:endParaRPr lang="en-US" sz="2000" dirty="0">
              <a:solidFill>
                <a:schemeClr val="tx1">
                  <a:lumMod val="65000"/>
                  <a:lumOff val="35000"/>
                </a:schemeClr>
              </a:solidFill>
              <a:cs typeface="Segoe UI Semilight" panose="020B0402040204020203" pitchFamily="34" charset="0"/>
            </a:endParaRPr>
          </a:p>
          <a:p>
            <a:pPr>
              <a:lnSpc>
                <a:spcPct val="90000"/>
              </a:lnSpc>
              <a:spcAft>
                <a:spcPts val="600"/>
              </a:spcAft>
            </a:pPr>
            <a:endParaRPr lang="en-US" sz="2000" dirty="0">
              <a:solidFill>
                <a:schemeClr val="tx1">
                  <a:lumMod val="65000"/>
                  <a:lumOff val="35000"/>
                </a:schemeClr>
              </a:solidFill>
              <a:cs typeface="Segoe UI Semilight" panose="020B0402040204020203" pitchFamily="34" charset="0"/>
            </a:endParaRPr>
          </a:p>
        </p:txBody>
      </p:sp>
      <p:sp>
        <p:nvSpPr>
          <p:cNvPr id="49" name="TextBox 48"/>
          <p:cNvSpPr txBox="1"/>
          <p:nvPr/>
        </p:nvSpPr>
        <p:spPr>
          <a:xfrm>
            <a:off x="8197480" y="3298079"/>
            <a:ext cx="200722" cy="193766"/>
          </a:xfrm>
          <a:prstGeom prst="rect">
            <a:avLst/>
          </a:prstGeom>
          <a:solidFill>
            <a:schemeClr val="accent1"/>
          </a:solidFill>
        </p:spPr>
        <p:txBody>
          <a:bodyPr wrap="none" lIns="182880" tIns="146304" rIns="182880" bIns="146304" rtlCol="0" anchor="ctr">
            <a:noAutofit/>
          </a:bodyPr>
          <a:lstStyle/>
          <a:p>
            <a:pPr algn="ctr">
              <a:lnSpc>
                <a:spcPct val="90000"/>
              </a:lnSpc>
              <a:spcAft>
                <a:spcPts val="600"/>
              </a:spcAft>
            </a:pPr>
            <a:r>
              <a:rPr lang="en-US" sz="1400" dirty="0">
                <a:solidFill>
                  <a:schemeClr val="bg1"/>
                </a:solidFill>
              </a:rPr>
              <a:t>4</a:t>
            </a:r>
          </a:p>
        </p:txBody>
      </p:sp>
      <p:sp>
        <p:nvSpPr>
          <p:cNvPr id="51" name="TextBox 50"/>
          <p:cNvSpPr txBox="1"/>
          <p:nvPr/>
        </p:nvSpPr>
        <p:spPr>
          <a:xfrm>
            <a:off x="201197" y="1139893"/>
            <a:ext cx="200722" cy="193766"/>
          </a:xfrm>
          <a:prstGeom prst="rect">
            <a:avLst/>
          </a:prstGeom>
          <a:solidFill>
            <a:schemeClr val="accent1"/>
          </a:solidFill>
        </p:spPr>
        <p:txBody>
          <a:bodyPr wrap="none" lIns="182880" tIns="146304" rIns="182880" bIns="146304" rtlCol="0" anchor="ctr">
            <a:noAutofit/>
          </a:bodyPr>
          <a:lstStyle/>
          <a:p>
            <a:pPr algn="ctr">
              <a:lnSpc>
                <a:spcPct val="90000"/>
              </a:lnSpc>
              <a:spcAft>
                <a:spcPts val="600"/>
              </a:spcAft>
            </a:pPr>
            <a:r>
              <a:rPr lang="en-US" sz="1400" dirty="0">
                <a:solidFill>
                  <a:schemeClr val="bg1"/>
                </a:solidFill>
              </a:rPr>
              <a:t>1</a:t>
            </a:r>
          </a:p>
        </p:txBody>
      </p:sp>
      <p:sp>
        <p:nvSpPr>
          <p:cNvPr id="52" name="TextBox 51"/>
          <p:cNvSpPr txBox="1"/>
          <p:nvPr/>
        </p:nvSpPr>
        <p:spPr>
          <a:xfrm>
            <a:off x="201197" y="1768145"/>
            <a:ext cx="200722" cy="193766"/>
          </a:xfrm>
          <a:prstGeom prst="rect">
            <a:avLst/>
          </a:prstGeom>
          <a:solidFill>
            <a:schemeClr val="accent1"/>
          </a:solidFill>
        </p:spPr>
        <p:txBody>
          <a:bodyPr wrap="none" lIns="182880" tIns="146304" rIns="182880" bIns="146304" rtlCol="0" anchor="ctr">
            <a:noAutofit/>
          </a:bodyPr>
          <a:lstStyle/>
          <a:p>
            <a:pPr algn="ctr">
              <a:lnSpc>
                <a:spcPct val="90000"/>
              </a:lnSpc>
              <a:spcAft>
                <a:spcPts val="600"/>
              </a:spcAft>
            </a:pPr>
            <a:r>
              <a:rPr lang="en-US" sz="1400" dirty="0">
                <a:solidFill>
                  <a:schemeClr val="bg1"/>
                </a:solidFill>
              </a:rPr>
              <a:t>2</a:t>
            </a:r>
          </a:p>
        </p:txBody>
      </p:sp>
      <p:sp>
        <p:nvSpPr>
          <p:cNvPr id="53" name="TextBox 52"/>
          <p:cNvSpPr txBox="1"/>
          <p:nvPr/>
        </p:nvSpPr>
        <p:spPr>
          <a:xfrm>
            <a:off x="201197" y="3892016"/>
            <a:ext cx="200722" cy="193766"/>
          </a:xfrm>
          <a:prstGeom prst="rect">
            <a:avLst/>
          </a:prstGeom>
          <a:solidFill>
            <a:schemeClr val="accent1"/>
          </a:solidFill>
        </p:spPr>
        <p:txBody>
          <a:bodyPr wrap="none" lIns="182880" tIns="146304" rIns="182880" bIns="146304" rtlCol="0" anchor="ctr">
            <a:noAutofit/>
          </a:bodyPr>
          <a:lstStyle/>
          <a:p>
            <a:pPr algn="ctr">
              <a:lnSpc>
                <a:spcPct val="90000"/>
              </a:lnSpc>
              <a:spcAft>
                <a:spcPts val="600"/>
              </a:spcAft>
            </a:pPr>
            <a:r>
              <a:rPr lang="en-US" sz="1400" dirty="0">
                <a:solidFill>
                  <a:schemeClr val="bg1"/>
                </a:solidFill>
              </a:rPr>
              <a:t>5</a:t>
            </a:r>
          </a:p>
        </p:txBody>
      </p:sp>
      <p:sp>
        <p:nvSpPr>
          <p:cNvPr id="54" name="TextBox 53"/>
          <p:cNvSpPr txBox="1"/>
          <p:nvPr/>
        </p:nvSpPr>
        <p:spPr>
          <a:xfrm>
            <a:off x="201197" y="2376151"/>
            <a:ext cx="200722" cy="193766"/>
          </a:xfrm>
          <a:prstGeom prst="rect">
            <a:avLst/>
          </a:prstGeom>
          <a:solidFill>
            <a:schemeClr val="accent1"/>
          </a:solidFill>
        </p:spPr>
        <p:txBody>
          <a:bodyPr wrap="none" lIns="182880" tIns="146304" rIns="182880" bIns="146304" rtlCol="0" anchor="ctr">
            <a:noAutofit/>
          </a:bodyPr>
          <a:lstStyle/>
          <a:p>
            <a:pPr algn="ctr">
              <a:lnSpc>
                <a:spcPct val="90000"/>
              </a:lnSpc>
              <a:spcAft>
                <a:spcPts val="600"/>
              </a:spcAft>
            </a:pPr>
            <a:r>
              <a:rPr lang="en-US" sz="1400" dirty="0">
                <a:solidFill>
                  <a:schemeClr val="bg1"/>
                </a:solidFill>
              </a:rPr>
              <a:t>3</a:t>
            </a:r>
          </a:p>
        </p:txBody>
      </p:sp>
      <p:sp>
        <p:nvSpPr>
          <p:cNvPr id="55" name="TextBox 54"/>
          <p:cNvSpPr txBox="1"/>
          <p:nvPr/>
        </p:nvSpPr>
        <p:spPr>
          <a:xfrm>
            <a:off x="725557" y="5611396"/>
            <a:ext cx="298668" cy="274320"/>
          </a:xfrm>
          <a:prstGeom prst="rect">
            <a:avLst/>
          </a:prstGeom>
          <a:solidFill>
            <a:schemeClr val="accent1"/>
          </a:solidFill>
        </p:spPr>
        <p:txBody>
          <a:bodyPr wrap="none" lIns="182880" tIns="146304" rIns="182880" bIns="146304" rtlCol="0" anchor="ctr">
            <a:noAutofit/>
          </a:bodyPr>
          <a:lstStyle/>
          <a:p>
            <a:pPr algn="ctr">
              <a:lnSpc>
                <a:spcPct val="90000"/>
              </a:lnSpc>
              <a:spcAft>
                <a:spcPts val="600"/>
              </a:spcAft>
            </a:pPr>
            <a:r>
              <a:rPr lang="en-US" sz="1400" dirty="0">
                <a:solidFill>
                  <a:schemeClr val="bg1"/>
                </a:solidFill>
              </a:rPr>
              <a:t>5.1</a:t>
            </a:r>
          </a:p>
        </p:txBody>
      </p:sp>
      <p:sp>
        <p:nvSpPr>
          <p:cNvPr id="56" name="TextBox 55"/>
          <p:cNvSpPr txBox="1"/>
          <p:nvPr/>
        </p:nvSpPr>
        <p:spPr>
          <a:xfrm>
            <a:off x="201197" y="3281509"/>
            <a:ext cx="200722" cy="193766"/>
          </a:xfrm>
          <a:prstGeom prst="rect">
            <a:avLst/>
          </a:prstGeom>
          <a:solidFill>
            <a:schemeClr val="accent1"/>
          </a:solidFill>
        </p:spPr>
        <p:txBody>
          <a:bodyPr wrap="none" lIns="182880" tIns="146304" rIns="182880" bIns="146304" rtlCol="0" anchor="ctr">
            <a:noAutofit/>
          </a:bodyPr>
          <a:lstStyle/>
          <a:p>
            <a:pPr algn="ctr">
              <a:lnSpc>
                <a:spcPct val="90000"/>
              </a:lnSpc>
              <a:spcAft>
                <a:spcPts val="600"/>
              </a:spcAft>
            </a:pPr>
            <a:r>
              <a:rPr lang="en-US" sz="1400" dirty="0">
                <a:solidFill>
                  <a:schemeClr val="bg1"/>
                </a:solidFill>
              </a:rPr>
              <a:t>4</a:t>
            </a:r>
          </a:p>
        </p:txBody>
      </p:sp>
    </p:spTree>
    <p:extLst>
      <p:ext uri="{BB962C8B-B14F-4D97-AF65-F5344CB8AC3E}">
        <p14:creationId xmlns:p14="http://schemas.microsoft.com/office/powerpoint/2010/main" val="2093396497"/>
      </p:ext>
    </p:extLst>
  </p:cSld>
  <p:clrMapOvr>
    <a:masterClrMapping/>
  </p:clrMapOvr>
  <p:transition spd="med">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55423" y="1395167"/>
            <a:ext cx="9709608" cy="4713402"/>
          </a:xfrm>
          <a:prstGeom prst="rect">
            <a:avLst/>
          </a:prstGeom>
          <a:solidFill>
            <a:schemeClr val="bg1"/>
          </a:solid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2" name="Title 1"/>
          <p:cNvSpPr>
            <a:spLocks noGrp="1"/>
          </p:cNvSpPr>
          <p:nvPr>
            <p:ph type="title"/>
          </p:nvPr>
        </p:nvSpPr>
        <p:spPr>
          <a:xfrm>
            <a:off x="268927" y="278499"/>
            <a:ext cx="11653523" cy="927940"/>
          </a:xfrm>
        </p:spPr>
        <p:txBody>
          <a:bodyPr/>
          <a:lstStyle/>
          <a:p>
            <a:r>
              <a:rPr lang="en-US" dirty="0"/>
              <a:t>Hive Data Organization Hierarchy</a:t>
            </a:r>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31</a:t>
            </a:fld>
            <a:endParaRPr lang="en-US" dirty="0"/>
          </a:p>
        </p:txBody>
      </p:sp>
      <p:grpSp>
        <p:nvGrpSpPr>
          <p:cNvPr id="6" name="Group 5"/>
          <p:cNvGrpSpPr/>
          <p:nvPr/>
        </p:nvGrpSpPr>
        <p:grpSpPr>
          <a:xfrm>
            <a:off x="1709755" y="1543845"/>
            <a:ext cx="9121643" cy="4310202"/>
            <a:chOff x="738794" y="1421295"/>
            <a:chExt cx="10602532" cy="4734499"/>
          </a:xfrm>
        </p:grpSpPr>
        <p:sp>
          <p:nvSpPr>
            <p:cNvPr id="4" name="Rounded Rectangle 3"/>
            <p:cNvSpPr/>
            <p:nvPr/>
          </p:nvSpPr>
          <p:spPr bwMode="auto">
            <a:xfrm>
              <a:off x="5121331" y="1421295"/>
              <a:ext cx="1997767" cy="735309"/>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b="1" dirty="0">
                  <a:solidFill>
                    <a:schemeClr val="bg1"/>
                  </a:solidFill>
                  <a:latin typeface="Segoe UI Semibold" panose="020B0702040204020203" pitchFamily="34" charset="0"/>
                  <a:ea typeface="Segoe UI" pitchFamily="34" charset="0"/>
                  <a:cs typeface="Segoe UI Semibold" panose="020B0702040204020203" pitchFamily="34" charset="0"/>
                </a:rPr>
                <a:t>Database</a:t>
              </a:r>
            </a:p>
          </p:txBody>
        </p:sp>
        <p:cxnSp>
          <p:nvCxnSpPr>
            <p:cNvPr id="65" name="Elbow Connector 64"/>
            <p:cNvCxnSpPr/>
            <p:nvPr/>
          </p:nvCxnSpPr>
          <p:spPr>
            <a:xfrm rot="5400000">
              <a:off x="3925987" y="694136"/>
              <a:ext cx="731520" cy="3657600"/>
            </a:xfrm>
            <a:prstGeom prst="bentConnector3">
              <a:avLst>
                <a:gd name="adj1" fmla="val 36623"/>
              </a:avLst>
            </a:prstGeom>
            <a:ln w="28575">
              <a:headEnd type="none"/>
              <a:tailEnd type="triangle"/>
            </a:ln>
          </p:spPr>
          <p:style>
            <a:lnRef idx="1">
              <a:schemeClr val="accent6"/>
            </a:lnRef>
            <a:fillRef idx="0">
              <a:schemeClr val="accent6"/>
            </a:fillRef>
            <a:effectRef idx="0">
              <a:schemeClr val="accent6"/>
            </a:effectRef>
            <a:fontRef idx="minor">
              <a:schemeClr val="tx1"/>
            </a:fontRef>
          </p:style>
        </p:cxnSp>
        <p:cxnSp>
          <p:nvCxnSpPr>
            <p:cNvPr id="69" name="Elbow Connector 68"/>
            <p:cNvCxnSpPr/>
            <p:nvPr/>
          </p:nvCxnSpPr>
          <p:spPr>
            <a:xfrm rot="16200000" flipH="1">
              <a:off x="7579236" y="694136"/>
              <a:ext cx="731520" cy="3657600"/>
            </a:xfrm>
            <a:prstGeom prst="bentConnector3">
              <a:avLst>
                <a:gd name="adj1" fmla="val 36623"/>
              </a:avLst>
            </a:prstGeom>
            <a:ln w="28575">
              <a:headEnd type="none"/>
              <a:tailEnd type="triangle"/>
            </a:ln>
          </p:spPr>
          <p:style>
            <a:lnRef idx="1">
              <a:schemeClr val="accent6"/>
            </a:lnRef>
            <a:fillRef idx="0">
              <a:schemeClr val="accent6"/>
            </a:fillRef>
            <a:effectRef idx="0">
              <a:schemeClr val="accent6"/>
            </a:effectRef>
            <a:fontRef idx="minor">
              <a:schemeClr val="tx1"/>
            </a:fontRef>
          </p:style>
        </p:cxnSp>
        <p:cxnSp>
          <p:nvCxnSpPr>
            <p:cNvPr id="71" name="Straight Arrow Connector 70"/>
            <p:cNvCxnSpPr/>
            <p:nvPr/>
          </p:nvCxnSpPr>
          <p:spPr>
            <a:xfrm>
              <a:off x="6120214" y="2157176"/>
              <a:ext cx="0" cy="731520"/>
            </a:xfrm>
            <a:prstGeom prst="straightConnector1">
              <a:avLst/>
            </a:prstGeom>
            <a:ln w="28575">
              <a:headEnd type="none"/>
              <a:tailEnd type="triangle"/>
            </a:ln>
          </p:spPr>
          <p:style>
            <a:lnRef idx="1">
              <a:schemeClr val="accent6"/>
            </a:lnRef>
            <a:fillRef idx="0">
              <a:schemeClr val="accent6"/>
            </a:fillRef>
            <a:effectRef idx="0">
              <a:schemeClr val="accent6"/>
            </a:effectRef>
            <a:fontRef idx="minor">
              <a:schemeClr val="tx1"/>
            </a:fontRef>
          </p:style>
        </p:cxnSp>
        <p:sp>
          <p:nvSpPr>
            <p:cNvPr id="5" name="Rounded Rectangle 4"/>
            <p:cNvSpPr/>
            <p:nvPr/>
          </p:nvSpPr>
          <p:spPr bwMode="auto">
            <a:xfrm>
              <a:off x="1601557" y="2894112"/>
              <a:ext cx="1871869" cy="705861"/>
            </a:xfrm>
            <a:prstGeom prst="round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b="1" dirty="0">
                  <a:solidFill>
                    <a:schemeClr val="bg1"/>
                  </a:solidFill>
                  <a:latin typeface="Segoe UI Semibold" panose="020B0702040204020203" pitchFamily="34" charset="0"/>
                  <a:ea typeface="Segoe UI" pitchFamily="34" charset="0"/>
                  <a:cs typeface="Segoe UI Semibold" panose="020B0702040204020203" pitchFamily="34" charset="0"/>
                </a:rPr>
                <a:t>Table</a:t>
              </a:r>
            </a:p>
          </p:txBody>
        </p:sp>
        <p:cxnSp>
          <p:nvCxnSpPr>
            <p:cNvPr id="86" name="Elbow Connector 85"/>
            <p:cNvCxnSpPr/>
            <p:nvPr/>
          </p:nvCxnSpPr>
          <p:spPr>
            <a:xfrm rot="5400000">
              <a:off x="1783909" y="3406999"/>
              <a:ext cx="548640" cy="886968"/>
            </a:xfrm>
            <a:prstGeom prst="bentConnector3">
              <a:avLst>
                <a:gd name="adj1" fmla="val 49443"/>
              </a:avLst>
            </a:prstGeom>
            <a:ln w="28575">
              <a:headEnd type="none"/>
              <a:tailEnd type="triangle"/>
            </a:ln>
          </p:spPr>
          <p:style>
            <a:lnRef idx="1">
              <a:schemeClr val="accent6"/>
            </a:lnRef>
            <a:fillRef idx="0">
              <a:schemeClr val="accent6"/>
            </a:fillRef>
            <a:effectRef idx="0">
              <a:schemeClr val="accent6"/>
            </a:effectRef>
            <a:fontRef idx="minor">
              <a:schemeClr val="tx1"/>
            </a:fontRef>
          </p:style>
        </p:cxnSp>
        <p:cxnSp>
          <p:nvCxnSpPr>
            <p:cNvPr id="89" name="Elbow Connector 88"/>
            <p:cNvCxnSpPr/>
            <p:nvPr/>
          </p:nvCxnSpPr>
          <p:spPr>
            <a:xfrm rot="16200000" flipH="1">
              <a:off x="2666424" y="3424935"/>
              <a:ext cx="548640" cy="868680"/>
            </a:xfrm>
            <a:prstGeom prst="bentConnector3">
              <a:avLst>
                <a:gd name="adj1" fmla="val 47841"/>
              </a:avLst>
            </a:prstGeom>
            <a:ln w="28575">
              <a:headEnd type="none"/>
              <a:tailEnd type="triangle"/>
            </a:ln>
          </p:spPr>
          <p:style>
            <a:lnRef idx="1">
              <a:schemeClr val="accent6"/>
            </a:lnRef>
            <a:fillRef idx="0">
              <a:schemeClr val="accent6"/>
            </a:fillRef>
            <a:effectRef idx="0">
              <a:schemeClr val="accent6"/>
            </a:effectRef>
            <a:fontRef idx="minor">
              <a:schemeClr val="tx1"/>
            </a:fontRef>
          </p:style>
        </p:cxnSp>
        <p:sp>
          <p:nvSpPr>
            <p:cNvPr id="7" name="Rounded Rectangle 6"/>
            <p:cNvSpPr/>
            <p:nvPr/>
          </p:nvSpPr>
          <p:spPr bwMode="auto">
            <a:xfrm>
              <a:off x="1022606" y="4169729"/>
              <a:ext cx="1138026" cy="599381"/>
            </a:xfrm>
            <a:prstGeom prst="round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cxnSp>
          <p:nvCxnSpPr>
            <p:cNvPr id="75" name="Straight Arrow Connector 74"/>
            <p:cNvCxnSpPr/>
            <p:nvPr/>
          </p:nvCxnSpPr>
          <p:spPr>
            <a:xfrm>
              <a:off x="1591619" y="4785484"/>
              <a:ext cx="0" cy="457200"/>
            </a:xfrm>
            <a:prstGeom prst="straightConnector1">
              <a:avLst/>
            </a:prstGeom>
            <a:ln w="28575">
              <a:headEnd type="none"/>
              <a:tailEnd type="triangle"/>
            </a:ln>
          </p:spPr>
          <p:style>
            <a:lnRef idx="1">
              <a:schemeClr val="accent6"/>
            </a:lnRef>
            <a:fillRef idx="0">
              <a:schemeClr val="accent6"/>
            </a:fillRef>
            <a:effectRef idx="0">
              <a:schemeClr val="accent6"/>
            </a:effectRef>
            <a:fontRef idx="minor">
              <a:schemeClr val="tx1"/>
            </a:fontRef>
          </p:style>
        </p:cxnSp>
        <p:grpSp>
          <p:nvGrpSpPr>
            <p:cNvPr id="126" name="Group 125"/>
            <p:cNvGrpSpPr/>
            <p:nvPr/>
          </p:nvGrpSpPr>
          <p:grpSpPr>
            <a:xfrm>
              <a:off x="871602" y="5277634"/>
              <a:ext cx="1440034" cy="508827"/>
              <a:chOff x="256139" y="5295218"/>
              <a:chExt cx="1440034" cy="508827"/>
            </a:xfrm>
          </p:grpSpPr>
          <p:sp>
            <p:nvSpPr>
              <p:cNvPr id="12" name="Rounded Rectangle 11"/>
              <p:cNvSpPr/>
              <p:nvPr/>
            </p:nvSpPr>
            <p:spPr bwMode="auto">
              <a:xfrm>
                <a:off x="256139" y="5295218"/>
                <a:ext cx="435668" cy="508827"/>
              </a:xfrm>
              <a:prstGeom prst="round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124" name="Rounded Rectangle 123"/>
              <p:cNvSpPr/>
              <p:nvPr/>
            </p:nvSpPr>
            <p:spPr bwMode="auto">
              <a:xfrm>
                <a:off x="758322" y="5295218"/>
                <a:ext cx="435668" cy="508827"/>
              </a:xfrm>
              <a:prstGeom prst="round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125" name="Rounded Rectangle 124"/>
              <p:cNvSpPr/>
              <p:nvPr/>
            </p:nvSpPr>
            <p:spPr bwMode="auto">
              <a:xfrm>
                <a:off x="1260505" y="5295218"/>
                <a:ext cx="435668" cy="508827"/>
              </a:xfrm>
              <a:prstGeom prst="round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grpSp>
        <p:cxnSp>
          <p:nvCxnSpPr>
            <p:cNvPr id="127" name="Elbow Connector 126"/>
            <p:cNvCxnSpPr/>
            <p:nvPr/>
          </p:nvCxnSpPr>
          <p:spPr>
            <a:xfrm rot="5400000">
              <a:off x="1110182" y="4760782"/>
              <a:ext cx="457200" cy="502920"/>
            </a:xfrm>
            <a:prstGeom prst="bentConnector3">
              <a:avLst>
                <a:gd name="adj1" fmla="val 49443"/>
              </a:avLst>
            </a:prstGeom>
            <a:ln w="28575">
              <a:headEnd type="none"/>
              <a:tailEnd type="triangle"/>
            </a:ln>
          </p:spPr>
          <p:style>
            <a:lnRef idx="1">
              <a:schemeClr val="accent6"/>
            </a:lnRef>
            <a:fillRef idx="0">
              <a:schemeClr val="accent6"/>
            </a:fillRef>
            <a:effectRef idx="0">
              <a:schemeClr val="accent6"/>
            </a:effectRef>
            <a:fontRef idx="minor">
              <a:schemeClr val="tx1"/>
            </a:fontRef>
          </p:style>
        </p:cxnSp>
        <p:cxnSp>
          <p:nvCxnSpPr>
            <p:cNvPr id="128" name="Elbow Connector 127"/>
            <p:cNvCxnSpPr/>
            <p:nvPr/>
          </p:nvCxnSpPr>
          <p:spPr>
            <a:xfrm rot="16200000" flipH="1">
              <a:off x="1610945" y="4760782"/>
              <a:ext cx="457200" cy="502920"/>
            </a:xfrm>
            <a:prstGeom prst="bentConnector3">
              <a:avLst>
                <a:gd name="adj1" fmla="val 49443"/>
              </a:avLst>
            </a:prstGeom>
            <a:ln w="28575">
              <a:headEnd type="none"/>
              <a:tailEnd type="triangle"/>
            </a:ln>
          </p:spPr>
          <p:style>
            <a:lnRef idx="1">
              <a:schemeClr val="accent6"/>
            </a:lnRef>
            <a:fillRef idx="0">
              <a:schemeClr val="accent6"/>
            </a:fillRef>
            <a:effectRef idx="0">
              <a:schemeClr val="accent6"/>
            </a:effectRef>
            <a:fontRef idx="minor">
              <a:schemeClr val="tx1"/>
            </a:fontRef>
          </p:style>
        </p:cxnSp>
        <p:sp>
          <p:nvSpPr>
            <p:cNvPr id="131" name="Rounded Rectangle 130"/>
            <p:cNvSpPr/>
            <p:nvPr/>
          </p:nvSpPr>
          <p:spPr bwMode="auto">
            <a:xfrm>
              <a:off x="2801580" y="4172660"/>
              <a:ext cx="1138026" cy="599381"/>
            </a:xfrm>
            <a:prstGeom prst="round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cxnSp>
          <p:nvCxnSpPr>
            <p:cNvPr id="132" name="Straight Arrow Connector 131"/>
            <p:cNvCxnSpPr/>
            <p:nvPr/>
          </p:nvCxnSpPr>
          <p:spPr>
            <a:xfrm>
              <a:off x="3370593" y="4788415"/>
              <a:ext cx="0" cy="457200"/>
            </a:xfrm>
            <a:prstGeom prst="straightConnector1">
              <a:avLst/>
            </a:prstGeom>
            <a:ln w="28575">
              <a:headEnd type="none"/>
              <a:tailEnd type="triangle"/>
            </a:ln>
          </p:spPr>
          <p:style>
            <a:lnRef idx="1">
              <a:schemeClr val="accent6"/>
            </a:lnRef>
            <a:fillRef idx="0">
              <a:schemeClr val="accent6"/>
            </a:fillRef>
            <a:effectRef idx="0">
              <a:schemeClr val="accent6"/>
            </a:effectRef>
            <a:fontRef idx="minor">
              <a:schemeClr val="tx1"/>
            </a:fontRef>
          </p:style>
        </p:cxnSp>
        <p:grpSp>
          <p:nvGrpSpPr>
            <p:cNvPr id="133" name="Group 132"/>
            <p:cNvGrpSpPr/>
            <p:nvPr/>
          </p:nvGrpSpPr>
          <p:grpSpPr>
            <a:xfrm>
              <a:off x="2650576" y="5280565"/>
              <a:ext cx="1440034" cy="508827"/>
              <a:chOff x="256139" y="5295218"/>
              <a:chExt cx="1440034" cy="508827"/>
            </a:xfrm>
          </p:grpSpPr>
          <p:sp>
            <p:nvSpPr>
              <p:cNvPr id="136" name="Rounded Rectangle 135"/>
              <p:cNvSpPr/>
              <p:nvPr/>
            </p:nvSpPr>
            <p:spPr bwMode="auto">
              <a:xfrm>
                <a:off x="256139" y="5295218"/>
                <a:ext cx="435668" cy="508827"/>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137" name="Rounded Rectangle 136"/>
              <p:cNvSpPr/>
              <p:nvPr/>
            </p:nvSpPr>
            <p:spPr bwMode="auto">
              <a:xfrm>
                <a:off x="758322" y="5295218"/>
                <a:ext cx="435668" cy="508827"/>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138" name="Rounded Rectangle 137"/>
              <p:cNvSpPr/>
              <p:nvPr/>
            </p:nvSpPr>
            <p:spPr bwMode="auto">
              <a:xfrm>
                <a:off x="1260505" y="5295218"/>
                <a:ext cx="435668" cy="508827"/>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grpSp>
        <p:cxnSp>
          <p:nvCxnSpPr>
            <p:cNvPr id="134" name="Elbow Connector 133"/>
            <p:cNvCxnSpPr/>
            <p:nvPr/>
          </p:nvCxnSpPr>
          <p:spPr>
            <a:xfrm rot="5400000">
              <a:off x="2889156" y="4763713"/>
              <a:ext cx="457200" cy="502920"/>
            </a:xfrm>
            <a:prstGeom prst="bentConnector3">
              <a:avLst>
                <a:gd name="adj1" fmla="val 49443"/>
              </a:avLst>
            </a:prstGeom>
            <a:ln w="28575">
              <a:headEnd type="none"/>
              <a:tailEnd type="triangle"/>
            </a:ln>
          </p:spPr>
          <p:style>
            <a:lnRef idx="1">
              <a:schemeClr val="accent6"/>
            </a:lnRef>
            <a:fillRef idx="0">
              <a:schemeClr val="accent6"/>
            </a:fillRef>
            <a:effectRef idx="0">
              <a:schemeClr val="accent6"/>
            </a:effectRef>
            <a:fontRef idx="minor">
              <a:schemeClr val="tx1"/>
            </a:fontRef>
          </p:style>
        </p:cxnSp>
        <p:cxnSp>
          <p:nvCxnSpPr>
            <p:cNvPr id="135" name="Elbow Connector 134"/>
            <p:cNvCxnSpPr/>
            <p:nvPr/>
          </p:nvCxnSpPr>
          <p:spPr>
            <a:xfrm rot="16200000" flipH="1">
              <a:off x="3389919" y="4763713"/>
              <a:ext cx="457200" cy="502920"/>
            </a:xfrm>
            <a:prstGeom prst="bentConnector3">
              <a:avLst>
                <a:gd name="adj1" fmla="val 49443"/>
              </a:avLst>
            </a:prstGeom>
            <a:ln w="28575">
              <a:headEnd type="none"/>
              <a:tailEnd type="triangle"/>
            </a:ln>
          </p:spPr>
          <p:style>
            <a:lnRef idx="1">
              <a:schemeClr val="accent6"/>
            </a:lnRef>
            <a:fillRef idx="0">
              <a:schemeClr val="accent6"/>
            </a:fillRef>
            <a:effectRef idx="0">
              <a:schemeClr val="accent6"/>
            </a:effectRef>
            <a:fontRef idx="minor">
              <a:schemeClr val="tx1"/>
            </a:fontRef>
          </p:style>
        </p:cxnSp>
        <p:sp>
          <p:nvSpPr>
            <p:cNvPr id="141" name="Rounded Rectangle 140"/>
            <p:cNvSpPr/>
            <p:nvPr/>
          </p:nvSpPr>
          <p:spPr bwMode="auto">
            <a:xfrm>
              <a:off x="5200537" y="2905840"/>
              <a:ext cx="1871869" cy="705861"/>
            </a:xfrm>
            <a:prstGeom prst="round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b="1" dirty="0">
                  <a:solidFill>
                    <a:schemeClr val="bg1"/>
                  </a:solidFill>
                  <a:latin typeface="Segoe UI Semibold" panose="020B0702040204020203" pitchFamily="34" charset="0"/>
                  <a:ea typeface="Segoe UI" pitchFamily="34" charset="0"/>
                  <a:cs typeface="Segoe UI Semibold" panose="020B0702040204020203" pitchFamily="34" charset="0"/>
                </a:rPr>
                <a:t>Table</a:t>
              </a:r>
            </a:p>
          </p:txBody>
        </p:sp>
        <p:cxnSp>
          <p:nvCxnSpPr>
            <p:cNvPr id="142" name="Elbow Connector 141"/>
            <p:cNvCxnSpPr/>
            <p:nvPr/>
          </p:nvCxnSpPr>
          <p:spPr>
            <a:xfrm rot="5400000">
              <a:off x="5382889" y="3418727"/>
              <a:ext cx="548640" cy="886968"/>
            </a:xfrm>
            <a:prstGeom prst="bentConnector3">
              <a:avLst>
                <a:gd name="adj1" fmla="val 49443"/>
              </a:avLst>
            </a:prstGeom>
            <a:ln w="28575">
              <a:headEnd type="none"/>
              <a:tailEnd type="triangle"/>
            </a:ln>
          </p:spPr>
          <p:style>
            <a:lnRef idx="1">
              <a:schemeClr val="accent6"/>
            </a:lnRef>
            <a:fillRef idx="0">
              <a:schemeClr val="accent6"/>
            </a:fillRef>
            <a:effectRef idx="0">
              <a:schemeClr val="accent6"/>
            </a:effectRef>
            <a:fontRef idx="minor">
              <a:schemeClr val="tx1"/>
            </a:fontRef>
          </p:style>
        </p:cxnSp>
        <p:cxnSp>
          <p:nvCxnSpPr>
            <p:cNvPr id="143" name="Elbow Connector 142"/>
            <p:cNvCxnSpPr/>
            <p:nvPr/>
          </p:nvCxnSpPr>
          <p:spPr>
            <a:xfrm rot="16200000" flipH="1">
              <a:off x="6265404" y="3436663"/>
              <a:ext cx="548640" cy="868680"/>
            </a:xfrm>
            <a:prstGeom prst="bentConnector3">
              <a:avLst>
                <a:gd name="adj1" fmla="val 47841"/>
              </a:avLst>
            </a:prstGeom>
            <a:ln w="28575">
              <a:headEnd type="none"/>
              <a:tailEnd type="triangle"/>
            </a:ln>
          </p:spPr>
          <p:style>
            <a:lnRef idx="1">
              <a:schemeClr val="accent6"/>
            </a:lnRef>
            <a:fillRef idx="0">
              <a:schemeClr val="accent6"/>
            </a:fillRef>
            <a:effectRef idx="0">
              <a:schemeClr val="accent6"/>
            </a:effectRef>
            <a:fontRef idx="minor">
              <a:schemeClr val="tx1"/>
            </a:fontRef>
          </p:style>
        </p:cxnSp>
        <p:sp>
          <p:nvSpPr>
            <p:cNvPr id="154" name="Rounded Rectangle 153"/>
            <p:cNvSpPr/>
            <p:nvPr/>
          </p:nvSpPr>
          <p:spPr bwMode="auto">
            <a:xfrm>
              <a:off x="4621586" y="4181457"/>
              <a:ext cx="1138026" cy="599381"/>
            </a:xfrm>
            <a:prstGeom prst="round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cxnSp>
          <p:nvCxnSpPr>
            <p:cNvPr id="155" name="Straight Arrow Connector 154"/>
            <p:cNvCxnSpPr/>
            <p:nvPr/>
          </p:nvCxnSpPr>
          <p:spPr>
            <a:xfrm>
              <a:off x="5190599" y="4797212"/>
              <a:ext cx="0" cy="457200"/>
            </a:xfrm>
            <a:prstGeom prst="straightConnector1">
              <a:avLst/>
            </a:prstGeom>
            <a:ln w="28575">
              <a:headEnd type="none"/>
              <a:tailEnd type="triangle"/>
            </a:ln>
          </p:spPr>
          <p:style>
            <a:lnRef idx="1">
              <a:schemeClr val="accent6"/>
            </a:lnRef>
            <a:fillRef idx="0">
              <a:schemeClr val="accent6"/>
            </a:fillRef>
            <a:effectRef idx="0">
              <a:schemeClr val="accent6"/>
            </a:effectRef>
            <a:fontRef idx="minor">
              <a:schemeClr val="tx1"/>
            </a:fontRef>
          </p:style>
        </p:cxnSp>
        <p:grpSp>
          <p:nvGrpSpPr>
            <p:cNvPr id="156" name="Group 155"/>
            <p:cNvGrpSpPr/>
            <p:nvPr/>
          </p:nvGrpSpPr>
          <p:grpSpPr>
            <a:xfrm>
              <a:off x="4470582" y="5289362"/>
              <a:ext cx="1440034" cy="508827"/>
              <a:chOff x="256139" y="5295218"/>
              <a:chExt cx="1440034" cy="508827"/>
            </a:xfrm>
          </p:grpSpPr>
          <p:sp>
            <p:nvSpPr>
              <p:cNvPr id="159" name="Rounded Rectangle 158"/>
              <p:cNvSpPr/>
              <p:nvPr/>
            </p:nvSpPr>
            <p:spPr bwMode="auto">
              <a:xfrm>
                <a:off x="256139" y="5295218"/>
                <a:ext cx="435668" cy="508827"/>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160" name="Rounded Rectangle 159"/>
              <p:cNvSpPr/>
              <p:nvPr/>
            </p:nvSpPr>
            <p:spPr bwMode="auto">
              <a:xfrm>
                <a:off x="758322" y="5295218"/>
                <a:ext cx="435668" cy="508827"/>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161" name="Rounded Rectangle 160"/>
              <p:cNvSpPr/>
              <p:nvPr/>
            </p:nvSpPr>
            <p:spPr bwMode="auto">
              <a:xfrm>
                <a:off x="1260505" y="5295218"/>
                <a:ext cx="435668" cy="508827"/>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grpSp>
        <p:cxnSp>
          <p:nvCxnSpPr>
            <p:cNvPr id="157" name="Elbow Connector 156"/>
            <p:cNvCxnSpPr/>
            <p:nvPr/>
          </p:nvCxnSpPr>
          <p:spPr>
            <a:xfrm rot="5400000">
              <a:off x="4709162" y="4772510"/>
              <a:ext cx="457200" cy="502920"/>
            </a:xfrm>
            <a:prstGeom prst="bentConnector3">
              <a:avLst>
                <a:gd name="adj1" fmla="val 49443"/>
              </a:avLst>
            </a:prstGeom>
            <a:ln w="28575">
              <a:headEnd type="none"/>
              <a:tailEnd type="triangle"/>
            </a:ln>
          </p:spPr>
          <p:style>
            <a:lnRef idx="1">
              <a:schemeClr val="accent6"/>
            </a:lnRef>
            <a:fillRef idx="0">
              <a:schemeClr val="accent6"/>
            </a:fillRef>
            <a:effectRef idx="0">
              <a:schemeClr val="accent6"/>
            </a:effectRef>
            <a:fontRef idx="minor">
              <a:schemeClr val="tx1"/>
            </a:fontRef>
          </p:style>
        </p:cxnSp>
        <p:cxnSp>
          <p:nvCxnSpPr>
            <p:cNvPr id="158" name="Elbow Connector 157"/>
            <p:cNvCxnSpPr/>
            <p:nvPr/>
          </p:nvCxnSpPr>
          <p:spPr>
            <a:xfrm rot="16200000" flipH="1">
              <a:off x="5209925" y="4772510"/>
              <a:ext cx="457200" cy="502920"/>
            </a:xfrm>
            <a:prstGeom prst="bentConnector3">
              <a:avLst>
                <a:gd name="adj1" fmla="val 49443"/>
              </a:avLst>
            </a:prstGeom>
            <a:ln w="28575">
              <a:headEnd type="none"/>
              <a:tailEnd type="triangle"/>
            </a:ln>
          </p:spPr>
          <p:style>
            <a:lnRef idx="1">
              <a:schemeClr val="accent6"/>
            </a:lnRef>
            <a:fillRef idx="0">
              <a:schemeClr val="accent6"/>
            </a:fillRef>
            <a:effectRef idx="0">
              <a:schemeClr val="accent6"/>
            </a:effectRef>
            <a:fontRef idx="minor">
              <a:schemeClr val="tx1"/>
            </a:fontRef>
          </p:style>
        </p:cxnSp>
        <p:sp>
          <p:nvSpPr>
            <p:cNvPr id="146" name="Rounded Rectangle 145"/>
            <p:cNvSpPr/>
            <p:nvPr/>
          </p:nvSpPr>
          <p:spPr bwMode="auto">
            <a:xfrm>
              <a:off x="6400560" y="4184388"/>
              <a:ext cx="1138026" cy="599381"/>
            </a:xfrm>
            <a:prstGeom prst="round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cxnSp>
          <p:nvCxnSpPr>
            <p:cNvPr id="147" name="Straight Arrow Connector 146"/>
            <p:cNvCxnSpPr/>
            <p:nvPr/>
          </p:nvCxnSpPr>
          <p:spPr>
            <a:xfrm>
              <a:off x="6969573" y="4800143"/>
              <a:ext cx="0" cy="457200"/>
            </a:xfrm>
            <a:prstGeom prst="straightConnector1">
              <a:avLst/>
            </a:prstGeom>
            <a:ln w="28575">
              <a:headEnd type="none"/>
              <a:tailEnd type="triangle"/>
            </a:ln>
          </p:spPr>
          <p:style>
            <a:lnRef idx="1">
              <a:schemeClr val="accent6"/>
            </a:lnRef>
            <a:fillRef idx="0">
              <a:schemeClr val="accent6"/>
            </a:fillRef>
            <a:effectRef idx="0">
              <a:schemeClr val="accent6"/>
            </a:effectRef>
            <a:fontRef idx="minor">
              <a:schemeClr val="tx1"/>
            </a:fontRef>
          </p:style>
        </p:cxnSp>
        <p:grpSp>
          <p:nvGrpSpPr>
            <p:cNvPr id="148" name="Group 147"/>
            <p:cNvGrpSpPr/>
            <p:nvPr/>
          </p:nvGrpSpPr>
          <p:grpSpPr>
            <a:xfrm>
              <a:off x="6249556" y="5292293"/>
              <a:ext cx="1440034" cy="508827"/>
              <a:chOff x="256139" y="5295218"/>
              <a:chExt cx="1440034" cy="508827"/>
            </a:xfrm>
          </p:grpSpPr>
          <p:sp>
            <p:nvSpPr>
              <p:cNvPr id="151" name="Rounded Rectangle 150"/>
              <p:cNvSpPr/>
              <p:nvPr/>
            </p:nvSpPr>
            <p:spPr bwMode="auto">
              <a:xfrm>
                <a:off x="256139" y="5295218"/>
                <a:ext cx="435668" cy="508827"/>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152" name="Rounded Rectangle 151"/>
              <p:cNvSpPr/>
              <p:nvPr/>
            </p:nvSpPr>
            <p:spPr bwMode="auto">
              <a:xfrm>
                <a:off x="758322" y="5295218"/>
                <a:ext cx="435668" cy="508827"/>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153" name="Rounded Rectangle 152"/>
              <p:cNvSpPr/>
              <p:nvPr/>
            </p:nvSpPr>
            <p:spPr bwMode="auto">
              <a:xfrm>
                <a:off x="1260505" y="5295218"/>
                <a:ext cx="435668" cy="508827"/>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grpSp>
        <p:cxnSp>
          <p:nvCxnSpPr>
            <p:cNvPr id="149" name="Elbow Connector 148"/>
            <p:cNvCxnSpPr/>
            <p:nvPr/>
          </p:nvCxnSpPr>
          <p:spPr>
            <a:xfrm rot="5400000">
              <a:off x="6488136" y="4775441"/>
              <a:ext cx="457200" cy="502920"/>
            </a:xfrm>
            <a:prstGeom prst="bentConnector3">
              <a:avLst>
                <a:gd name="adj1" fmla="val 49443"/>
              </a:avLst>
            </a:prstGeom>
            <a:ln w="28575">
              <a:headEnd type="none"/>
              <a:tailEnd type="triangle"/>
            </a:ln>
          </p:spPr>
          <p:style>
            <a:lnRef idx="1">
              <a:schemeClr val="accent6"/>
            </a:lnRef>
            <a:fillRef idx="0">
              <a:schemeClr val="accent6"/>
            </a:fillRef>
            <a:effectRef idx="0">
              <a:schemeClr val="accent6"/>
            </a:effectRef>
            <a:fontRef idx="minor">
              <a:schemeClr val="tx1"/>
            </a:fontRef>
          </p:style>
        </p:cxnSp>
        <p:cxnSp>
          <p:nvCxnSpPr>
            <p:cNvPr id="150" name="Elbow Connector 149"/>
            <p:cNvCxnSpPr/>
            <p:nvPr/>
          </p:nvCxnSpPr>
          <p:spPr>
            <a:xfrm rot="16200000" flipH="1">
              <a:off x="6988899" y="4775441"/>
              <a:ext cx="457200" cy="502920"/>
            </a:xfrm>
            <a:prstGeom prst="bentConnector3">
              <a:avLst>
                <a:gd name="adj1" fmla="val 49443"/>
              </a:avLst>
            </a:prstGeom>
            <a:ln w="28575">
              <a:headEnd type="none"/>
              <a:tailEnd type="triangle"/>
            </a:ln>
          </p:spPr>
          <p:style>
            <a:lnRef idx="1">
              <a:schemeClr val="accent6"/>
            </a:lnRef>
            <a:fillRef idx="0">
              <a:schemeClr val="accent6"/>
            </a:fillRef>
            <a:effectRef idx="0">
              <a:schemeClr val="accent6"/>
            </a:effectRef>
            <a:fontRef idx="minor">
              <a:schemeClr val="tx1"/>
            </a:fontRef>
          </p:style>
        </p:cxnSp>
        <p:sp>
          <p:nvSpPr>
            <p:cNvPr id="163" name="Rounded Rectangle 162"/>
            <p:cNvSpPr/>
            <p:nvPr/>
          </p:nvSpPr>
          <p:spPr bwMode="auto">
            <a:xfrm>
              <a:off x="8852273" y="2899980"/>
              <a:ext cx="1871869" cy="705861"/>
            </a:xfrm>
            <a:prstGeom prst="round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b="1" dirty="0">
                  <a:solidFill>
                    <a:schemeClr val="bg1"/>
                  </a:solidFill>
                  <a:latin typeface="Segoe UI Semibold" panose="020B0702040204020203" pitchFamily="34" charset="0"/>
                  <a:ea typeface="Segoe UI" pitchFamily="34" charset="0"/>
                  <a:cs typeface="Segoe UI Semibold" panose="020B0702040204020203" pitchFamily="34" charset="0"/>
                </a:rPr>
                <a:t>Table</a:t>
              </a:r>
            </a:p>
          </p:txBody>
        </p:sp>
        <p:cxnSp>
          <p:nvCxnSpPr>
            <p:cNvPr id="164" name="Elbow Connector 163"/>
            <p:cNvCxnSpPr/>
            <p:nvPr/>
          </p:nvCxnSpPr>
          <p:spPr>
            <a:xfrm rot="5400000">
              <a:off x="9034625" y="3412867"/>
              <a:ext cx="548640" cy="886968"/>
            </a:xfrm>
            <a:prstGeom prst="bentConnector3">
              <a:avLst>
                <a:gd name="adj1" fmla="val 49443"/>
              </a:avLst>
            </a:prstGeom>
            <a:ln w="28575">
              <a:headEnd type="none"/>
              <a:tailEnd type="triangle"/>
            </a:ln>
          </p:spPr>
          <p:style>
            <a:lnRef idx="1">
              <a:schemeClr val="accent6"/>
            </a:lnRef>
            <a:fillRef idx="0">
              <a:schemeClr val="accent6"/>
            </a:fillRef>
            <a:effectRef idx="0">
              <a:schemeClr val="accent6"/>
            </a:effectRef>
            <a:fontRef idx="minor">
              <a:schemeClr val="tx1"/>
            </a:fontRef>
          </p:style>
        </p:cxnSp>
        <p:cxnSp>
          <p:nvCxnSpPr>
            <p:cNvPr id="165" name="Elbow Connector 164"/>
            <p:cNvCxnSpPr/>
            <p:nvPr/>
          </p:nvCxnSpPr>
          <p:spPr>
            <a:xfrm rot="16200000" flipH="1">
              <a:off x="9917140" y="3430803"/>
              <a:ext cx="548640" cy="868680"/>
            </a:xfrm>
            <a:prstGeom prst="bentConnector3">
              <a:avLst>
                <a:gd name="adj1" fmla="val 47841"/>
              </a:avLst>
            </a:prstGeom>
            <a:ln w="28575">
              <a:headEnd type="none"/>
              <a:tailEnd type="triangle"/>
            </a:ln>
          </p:spPr>
          <p:style>
            <a:lnRef idx="1">
              <a:schemeClr val="accent6"/>
            </a:lnRef>
            <a:fillRef idx="0">
              <a:schemeClr val="accent6"/>
            </a:fillRef>
            <a:effectRef idx="0">
              <a:schemeClr val="accent6"/>
            </a:effectRef>
            <a:fontRef idx="minor">
              <a:schemeClr val="tx1"/>
            </a:fontRef>
          </p:style>
        </p:cxnSp>
        <p:sp>
          <p:nvSpPr>
            <p:cNvPr id="176" name="Rounded Rectangle 175"/>
            <p:cNvSpPr/>
            <p:nvPr/>
          </p:nvSpPr>
          <p:spPr bwMode="auto">
            <a:xfrm>
              <a:off x="8273322" y="4175597"/>
              <a:ext cx="1138026" cy="599381"/>
            </a:xfrm>
            <a:prstGeom prst="round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cxnSp>
          <p:nvCxnSpPr>
            <p:cNvPr id="177" name="Straight Arrow Connector 176"/>
            <p:cNvCxnSpPr/>
            <p:nvPr/>
          </p:nvCxnSpPr>
          <p:spPr>
            <a:xfrm>
              <a:off x="8842335" y="4791352"/>
              <a:ext cx="0" cy="457200"/>
            </a:xfrm>
            <a:prstGeom prst="straightConnector1">
              <a:avLst/>
            </a:prstGeom>
            <a:ln w="28575">
              <a:headEnd type="none"/>
              <a:tailEnd type="triangle"/>
            </a:ln>
          </p:spPr>
          <p:style>
            <a:lnRef idx="1">
              <a:schemeClr val="accent6"/>
            </a:lnRef>
            <a:fillRef idx="0">
              <a:schemeClr val="accent6"/>
            </a:fillRef>
            <a:effectRef idx="0">
              <a:schemeClr val="accent6"/>
            </a:effectRef>
            <a:fontRef idx="minor">
              <a:schemeClr val="tx1"/>
            </a:fontRef>
          </p:style>
        </p:cxnSp>
        <p:grpSp>
          <p:nvGrpSpPr>
            <p:cNvPr id="178" name="Group 177"/>
            <p:cNvGrpSpPr/>
            <p:nvPr/>
          </p:nvGrpSpPr>
          <p:grpSpPr>
            <a:xfrm>
              <a:off x="8122318" y="5283502"/>
              <a:ext cx="1440034" cy="508827"/>
              <a:chOff x="256139" y="5295218"/>
              <a:chExt cx="1440034" cy="508827"/>
            </a:xfrm>
          </p:grpSpPr>
          <p:sp>
            <p:nvSpPr>
              <p:cNvPr id="181" name="Rounded Rectangle 180"/>
              <p:cNvSpPr/>
              <p:nvPr/>
            </p:nvSpPr>
            <p:spPr bwMode="auto">
              <a:xfrm>
                <a:off x="256139" y="5295218"/>
                <a:ext cx="435668" cy="508827"/>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182" name="Rounded Rectangle 181"/>
              <p:cNvSpPr/>
              <p:nvPr/>
            </p:nvSpPr>
            <p:spPr bwMode="auto">
              <a:xfrm>
                <a:off x="758322" y="5295218"/>
                <a:ext cx="435668" cy="508827"/>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183" name="Rounded Rectangle 182"/>
              <p:cNvSpPr/>
              <p:nvPr/>
            </p:nvSpPr>
            <p:spPr bwMode="auto">
              <a:xfrm>
                <a:off x="1260505" y="5295218"/>
                <a:ext cx="435668" cy="508827"/>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grpSp>
        <p:cxnSp>
          <p:nvCxnSpPr>
            <p:cNvPr id="179" name="Elbow Connector 178"/>
            <p:cNvCxnSpPr/>
            <p:nvPr/>
          </p:nvCxnSpPr>
          <p:spPr>
            <a:xfrm rot="5400000">
              <a:off x="8360898" y="4766650"/>
              <a:ext cx="457200" cy="502920"/>
            </a:xfrm>
            <a:prstGeom prst="bentConnector3">
              <a:avLst>
                <a:gd name="adj1" fmla="val 49443"/>
              </a:avLst>
            </a:prstGeom>
            <a:ln w="28575">
              <a:headEnd type="none"/>
              <a:tailEnd type="triangle"/>
            </a:ln>
          </p:spPr>
          <p:style>
            <a:lnRef idx="1">
              <a:schemeClr val="accent6"/>
            </a:lnRef>
            <a:fillRef idx="0">
              <a:schemeClr val="accent6"/>
            </a:fillRef>
            <a:effectRef idx="0">
              <a:schemeClr val="accent6"/>
            </a:effectRef>
            <a:fontRef idx="minor">
              <a:schemeClr val="tx1"/>
            </a:fontRef>
          </p:style>
        </p:cxnSp>
        <p:cxnSp>
          <p:nvCxnSpPr>
            <p:cNvPr id="180" name="Elbow Connector 179"/>
            <p:cNvCxnSpPr/>
            <p:nvPr/>
          </p:nvCxnSpPr>
          <p:spPr>
            <a:xfrm rot="16200000" flipH="1">
              <a:off x="8861661" y="4766650"/>
              <a:ext cx="457200" cy="502920"/>
            </a:xfrm>
            <a:prstGeom prst="bentConnector3">
              <a:avLst>
                <a:gd name="adj1" fmla="val 49443"/>
              </a:avLst>
            </a:prstGeom>
            <a:ln w="28575">
              <a:headEnd type="none"/>
              <a:tailEnd type="triangle"/>
            </a:ln>
          </p:spPr>
          <p:style>
            <a:lnRef idx="1">
              <a:schemeClr val="accent6"/>
            </a:lnRef>
            <a:fillRef idx="0">
              <a:schemeClr val="accent6"/>
            </a:fillRef>
            <a:effectRef idx="0">
              <a:schemeClr val="accent6"/>
            </a:effectRef>
            <a:fontRef idx="minor">
              <a:schemeClr val="tx1"/>
            </a:fontRef>
          </p:style>
        </p:cxnSp>
        <p:sp>
          <p:nvSpPr>
            <p:cNvPr id="168" name="Rounded Rectangle 167"/>
            <p:cNvSpPr/>
            <p:nvPr/>
          </p:nvSpPr>
          <p:spPr bwMode="auto">
            <a:xfrm>
              <a:off x="10052296" y="4178528"/>
              <a:ext cx="1138026" cy="599381"/>
            </a:xfrm>
            <a:prstGeom prst="round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cxnSp>
          <p:nvCxnSpPr>
            <p:cNvPr id="169" name="Straight Arrow Connector 168"/>
            <p:cNvCxnSpPr/>
            <p:nvPr/>
          </p:nvCxnSpPr>
          <p:spPr>
            <a:xfrm>
              <a:off x="10621309" y="4794283"/>
              <a:ext cx="0" cy="457200"/>
            </a:xfrm>
            <a:prstGeom prst="straightConnector1">
              <a:avLst/>
            </a:prstGeom>
            <a:ln w="28575">
              <a:headEnd type="none"/>
              <a:tailEnd type="triangle"/>
            </a:ln>
          </p:spPr>
          <p:style>
            <a:lnRef idx="1">
              <a:schemeClr val="accent6"/>
            </a:lnRef>
            <a:fillRef idx="0">
              <a:schemeClr val="accent6"/>
            </a:fillRef>
            <a:effectRef idx="0">
              <a:schemeClr val="accent6"/>
            </a:effectRef>
            <a:fontRef idx="minor">
              <a:schemeClr val="tx1"/>
            </a:fontRef>
          </p:style>
        </p:cxnSp>
        <p:grpSp>
          <p:nvGrpSpPr>
            <p:cNvPr id="170" name="Group 169"/>
            <p:cNvGrpSpPr/>
            <p:nvPr/>
          </p:nvGrpSpPr>
          <p:grpSpPr>
            <a:xfrm>
              <a:off x="9901292" y="5286433"/>
              <a:ext cx="1440034" cy="508827"/>
              <a:chOff x="256139" y="5295218"/>
              <a:chExt cx="1440034" cy="508827"/>
            </a:xfrm>
          </p:grpSpPr>
          <p:sp>
            <p:nvSpPr>
              <p:cNvPr id="173" name="Rounded Rectangle 172"/>
              <p:cNvSpPr/>
              <p:nvPr/>
            </p:nvSpPr>
            <p:spPr bwMode="auto">
              <a:xfrm>
                <a:off x="256139" y="5295218"/>
                <a:ext cx="435668" cy="508827"/>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174" name="Rounded Rectangle 173"/>
              <p:cNvSpPr/>
              <p:nvPr/>
            </p:nvSpPr>
            <p:spPr bwMode="auto">
              <a:xfrm>
                <a:off x="758322" y="5295218"/>
                <a:ext cx="435668" cy="508827"/>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175" name="Rounded Rectangle 174"/>
              <p:cNvSpPr/>
              <p:nvPr/>
            </p:nvSpPr>
            <p:spPr bwMode="auto">
              <a:xfrm>
                <a:off x="1260505" y="5295218"/>
                <a:ext cx="435668" cy="508827"/>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grpSp>
        <p:cxnSp>
          <p:nvCxnSpPr>
            <p:cNvPr id="171" name="Elbow Connector 170"/>
            <p:cNvCxnSpPr/>
            <p:nvPr/>
          </p:nvCxnSpPr>
          <p:spPr>
            <a:xfrm rot="5400000">
              <a:off x="10139872" y="4769581"/>
              <a:ext cx="457200" cy="502920"/>
            </a:xfrm>
            <a:prstGeom prst="bentConnector3">
              <a:avLst>
                <a:gd name="adj1" fmla="val 49443"/>
              </a:avLst>
            </a:prstGeom>
            <a:ln w="28575">
              <a:headEnd type="none"/>
              <a:tailEnd type="triangle"/>
            </a:ln>
          </p:spPr>
          <p:style>
            <a:lnRef idx="1">
              <a:schemeClr val="accent6"/>
            </a:lnRef>
            <a:fillRef idx="0">
              <a:schemeClr val="accent6"/>
            </a:fillRef>
            <a:effectRef idx="0">
              <a:schemeClr val="accent6"/>
            </a:effectRef>
            <a:fontRef idx="minor">
              <a:schemeClr val="tx1"/>
            </a:fontRef>
          </p:style>
        </p:cxnSp>
        <p:cxnSp>
          <p:nvCxnSpPr>
            <p:cNvPr id="172" name="Elbow Connector 171"/>
            <p:cNvCxnSpPr/>
            <p:nvPr/>
          </p:nvCxnSpPr>
          <p:spPr>
            <a:xfrm rot="16200000" flipH="1">
              <a:off x="10640635" y="4769581"/>
              <a:ext cx="457200" cy="502920"/>
            </a:xfrm>
            <a:prstGeom prst="bentConnector3">
              <a:avLst>
                <a:gd name="adj1" fmla="val 49443"/>
              </a:avLst>
            </a:prstGeom>
            <a:ln w="28575">
              <a:headEnd type="none"/>
              <a:tailEnd type="triangle"/>
            </a:ln>
          </p:spPr>
          <p:style>
            <a:lnRef idx="1">
              <a:schemeClr val="accent6"/>
            </a:lnRef>
            <a:fillRef idx="0">
              <a:schemeClr val="accent6"/>
            </a:fillRef>
            <a:effectRef idx="0">
              <a:schemeClr val="accent6"/>
            </a:effectRef>
            <a:fontRef idx="minor">
              <a:schemeClr val="tx1"/>
            </a:fontRef>
          </p:style>
        </p:cxnSp>
        <p:sp>
          <p:nvSpPr>
            <p:cNvPr id="184" name="TextBox 183"/>
            <p:cNvSpPr txBox="1"/>
            <p:nvPr/>
          </p:nvSpPr>
          <p:spPr>
            <a:xfrm>
              <a:off x="1046892" y="4309142"/>
              <a:ext cx="1090939" cy="389405"/>
            </a:xfrm>
            <a:prstGeom prst="rect">
              <a:avLst/>
            </a:prstGeom>
            <a:noFill/>
          </p:spPr>
          <p:txBody>
            <a:bodyPr wrap="none" lIns="182880" tIns="146304" rIns="182880" bIns="146304" rtlCol="0" anchor="ctr">
              <a:noAutofit/>
            </a:bodyPr>
            <a:lstStyle/>
            <a:p>
              <a:pPr algn="ctr">
                <a:lnSpc>
                  <a:spcPct val="90000"/>
                </a:lnSpc>
                <a:spcAft>
                  <a:spcPts val="600"/>
                </a:spcAft>
              </a:pPr>
              <a:r>
                <a:rPr lang="en-US" dirty="0">
                  <a:solidFill>
                    <a:schemeClr val="bg1"/>
                  </a:solidFill>
                  <a:latin typeface="Segoe UI Semibold" panose="020B0702040204020203" pitchFamily="34" charset="0"/>
                  <a:cs typeface="Segoe UI Semibold" panose="020B0702040204020203" pitchFamily="34" charset="0"/>
                </a:rPr>
                <a:t>Partition</a:t>
              </a:r>
            </a:p>
          </p:txBody>
        </p:sp>
        <p:sp>
          <p:nvSpPr>
            <p:cNvPr id="185" name="TextBox 184"/>
            <p:cNvSpPr txBox="1"/>
            <p:nvPr/>
          </p:nvSpPr>
          <p:spPr>
            <a:xfrm>
              <a:off x="8290906" y="4282766"/>
              <a:ext cx="1090939" cy="389405"/>
            </a:xfrm>
            <a:prstGeom prst="rect">
              <a:avLst/>
            </a:prstGeom>
            <a:noFill/>
          </p:spPr>
          <p:txBody>
            <a:bodyPr wrap="none" lIns="182880" tIns="146304" rIns="182880" bIns="146304" rtlCol="0" anchor="ctr">
              <a:noAutofit/>
            </a:bodyPr>
            <a:lstStyle/>
            <a:p>
              <a:pPr algn="ctr">
                <a:lnSpc>
                  <a:spcPct val="90000"/>
                </a:lnSpc>
                <a:spcAft>
                  <a:spcPts val="600"/>
                </a:spcAft>
              </a:pPr>
              <a:r>
                <a:rPr lang="en-US" dirty="0">
                  <a:solidFill>
                    <a:schemeClr val="bg1"/>
                  </a:solidFill>
                  <a:latin typeface="Segoe UI Semibold" panose="020B0702040204020203" pitchFamily="34" charset="0"/>
                  <a:cs typeface="Segoe UI Semibold" panose="020B0702040204020203" pitchFamily="34" charset="0"/>
                </a:rPr>
                <a:t>Partition</a:t>
              </a:r>
            </a:p>
          </p:txBody>
        </p:sp>
        <p:sp>
          <p:nvSpPr>
            <p:cNvPr id="186" name="TextBox 185"/>
            <p:cNvSpPr txBox="1"/>
            <p:nvPr/>
          </p:nvSpPr>
          <p:spPr>
            <a:xfrm>
              <a:off x="4647962" y="4309142"/>
              <a:ext cx="1090939" cy="389405"/>
            </a:xfrm>
            <a:prstGeom prst="rect">
              <a:avLst/>
            </a:prstGeom>
            <a:noFill/>
          </p:spPr>
          <p:txBody>
            <a:bodyPr wrap="none" lIns="182880" tIns="146304" rIns="182880" bIns="146304" rtlCol="0" anchor="ctr">
              <a:noAutofit/>
            </a:bodyPr>
            <a:lstStyle/>
            <a:p>
              <a:pPr algn="ctr">
                <a:lnSpc>
                  <a:spcPct val="90000"/>
                </a:lnSpc>
                <a:spcAft>
                  <a:spcPts val="600"/>
                </a:spcAft>
              </a:pPr>
              <a:r>
                <a:rPr lang="en-US" dirty="0">
                  <a:solidFill>
                    <a:schemeClr val="bg1"/>
                  </a:solidFill>
                  <a:latin typeface="Segoe UI Semibold" panose="020B0702040204020203" pitchFamily="34" charset="0"/>
                  <a:cs typeface="Segoe UI Semibold" panose="020B0702040204020203" pitchFamily="34" charset="0"/>
                </a:rPr>
                <a:t>Partition</a:t>
              </a:r>
            </a:p>
          </p:txBody>
        </p:sp>
        <p:sp>
          <p:nvSpPr>
            <p:cNvPr id="187" name="TextBox 186"/>
            <p:cNvSpPr txBox="1"/>
            <p:nvPr/>
          </p:nvSpPr>
          <p:spPr>
            <a:xfrm>
              <a:off x="6418144" y="4309142"/>
              <a:ext cx="1090939" cy="389405"/>
            </a:xfrm>
            <a:prstGeom prst="rect">
              <a:avLst/>
            </a:prstGeom>
            <a:noFill/>
          </p:spPr>
          <p:txBody>
            <a:bodyPr wrap="none" lIns="182880" tIns="146304" rIns="182880" bIns="146304" rtlCol="0" anchor="ctr">
              <a:noAutofit/>
            </a:bodyPr>
            <a:lstStyle/>
            <a:p>
              <a:pPr algn="ctr">
                <a:lnSpc>
                  <a:spcPct val="90000"/>
                </a:lnSpc>
                <a:spcAft>
                  <a:spcPts val="600"/>
                </a:spcAft>
              </a:pPr>
              <a:r>
                <a:rPr lang="en-US" dirty="0">
                  <a:solidFill>
                    <a:schemeClr val="bg1"/>
                  </a:solidFill>
                  <a:latin typeface="Segoe UI Semibold" panose="020B0702040204020203" pitchFamily="34" charset="0"/>
                  <a:cs typeface="Segoe UI Semibold" panose="020B0702040204020203" pitchFamily="34" charset="0"/>
                </a:rPr>
                <a:t>Partition</a:t>
              </a:r>
            </a:p>
          </p:txBody>
        </p:sp>
        <p:sp>
          <p:nvSpPr>
            <p:cNvPr id="188" name="TextBox 187"/>
            <p:cNvSpPr txBox="1"/>
            <p:nvPr/>
          </p:nvSpPr>
          <p:spPr>
            <a:xfrm>
              <a:off x="2818046" y="4309142"/>
              <a:ext cx="1090939" cy="389405"/>
            </a:xfrm>
            <a:prstGeom prst="rect">
              <a:avLst/>
            </a:prstGeom>
            <a:noFill/>
          </p:spPr>
          <p:txBody>
            <a:bodyPr wrap="none" lIns="182880" tIns="146304" rIns="182880" bIns="146304" rtlCol="0" anchor="ctr">
              <a:noAutofit/>
            </a:bodyPr>
            <a:lstStyle/>
            <a:p>
              <a:pPr algn="ctr">
                <a:lnSpc>
                  <a:spcPct val="90000"/>
                </a:lnSpc>
                <a:spcAft>
                  <a:spcPts val="600"/>
                </a:spcAft>
              </a:pPr>
              <a:r>
                <a:rPr lang="en-US" dirty="0">
                  <a:solidFill>
                    <a:schemeClr val="bg1"/>
                  </a:solidFill>
                  <a:latin typeface="Segoe UI Semibold" panose="020B0702040204020203" pitchFamily="34" charset="0"/>
                  <a:cs typeface="Segoe UI Semibold" panose="020B0702040204020203" pitchFamily="34" charset="0"/>
                </a:rPr>
                <a:t>Partition</a:t>
              </a:r>
            </a:p>
          </p:txBody>
        </p:sp>
        <p:sp>
          <p:nvSpPr>
            <p:cNvPr id="189" name="TextBox 188"/>
            <p:cNvSpPr txBox="1"/>
            <p:nvPr/>
          </p:nvSpPr>
          <p:spPr>
            <a:xfrm>
              <a:off x="10087471" y="4282766"/>
              <a:ext cx="1090939" cy="389405"/>
            </a:xfrm>
            <a:prstGeom prst="rect">
              <a:avLst/>
            </a:prstGeom>
            <a:noFill/>
          </p:spPr>
          <p:txBody>
            <a:bodyPr wrap="none" lIns="182880" tIns="146304" rIns="182880" bIns="146304" rtlCol="0" anchor="ctr">
              <a:noAutofit/>
            </a:bodyPr>
            <a:lstStyle/>
            <a:p>
              <a:pPr algn="ctr">
                <a:lnSpc>
                  <a:spcPct val="90000"/>
                </a:lnSpc>
                <a:spcAft>
                  <a:spcPts val="600"/>
                </a:spcAft>
              </a:pPr>
              <a:r>
                <a:rPr lang="en-US" dirty="0">
                  <a:solidFill>
                    <a:schemeClr val="bg1"/>
                  </a:solidFill>
                  <a:latin typeface="Segoe UI Semibold" panose="020B0702040204020203" pitchFamily="34" charset="0"/>
                  <a:cs typeface="Segoe UI Semibold" panose="020B0702040204020203" pitchFamily="34" charset="0"/>
                </a:rPr>
                <a:t>Partition</a:t>
              </a:r>
            </a:p>
          </p:txBody>
        </p:sp>
        <p:sp>
          <p:nvSpPr>
            <p:cNvPr id="190" name="TextBox 189"/>
            <p:cNvSpPr txBox="1"/>
            <p:nvPr/>
          </p:nvSpPr>
          <p:spPr>
            <a:xfrm>
              <a:off x="738794" y="5726186"/>
              <a:ext cx="1559535" cy="426677"/>
            </a:xfrm>
            <a:prstGeom prst="rect">
              <a:avLst/>
            </a:prstGeom>
            <a:noFill/>
          </p:spPr>
          <p:txBody>
            <a:bodyPr wrap="none" lIns="182880" tIns="146304" rIns="182880" bIns="146304" rtlCol="0">
              <a:noAutofit/>
            </a:bodyPr>
            <a:lstStyle/>
            <a:p>
              <a:pPr>
                <a:lnSpc>
                  <a:spcPct val="90000"/>
                </a:lnSpc>
                <a:spcAft>
                  <a:spcPts val="600"/>
                </a:spcAft>
              </a:pPr>
              <a:r>
                <a:rPr lang="en-US" sz="1400" dirty="0">
                  <a:solidFill>
                    <a:schemeClr val="tx1">
                      <a:lumMod val="75000"/>
                      <a:lumOff val="25000"/>
                    </a:schemeClr>
                  </a:solidFill>
                  <a:latin typeface="Segoe UI Semibold" panose="020B0702040204020203" pitchFamily="34" charset="0"/>
                  <a:cs typeface="Segoe UI Semibold" panose="020B0702040204020203" pitchFamily="34" charset="0"/>
                </a:rPr>
                <a:t>Buckets / Clusters</a:t>
              </a:r>
            </a:p>
          </p:txBody>
        </p:sp>
        <p:sp>
          <p:nvSpPr>
            <p:cNvPr id="191" name="TextBox 190"/>
            <p:cNvSpPr txBox="1"/>
            <p:nvPr/>
          </p:nvSpPr>
          <p:spPr>
            <a:xfrm>
              <a:off x="2500187" y="5729117"/>
              <a:ext cx="1559535" cy="426677"/>
            </a:xfrm>
            <a:prstGeom prst="rect">
              <a:avLst/>
            </a:prstGeom>
            <a:noFill/>
          </p:spPr>
          <p:txBody>
            <a:bodyPr wrap="none" lIns="182880" tIns="146304" rIns="182880" bIns="146304" rtlCol="0">
              <a:noAutofit/>
            </a:bodyPr>
            <a:lstStyle/>
            <a:p>
              <a:pPr>
                <a:lnSpc>
                  <a:spcPct val="90000"/>
                </a:lnSpc>
                <a:spcAft>
                  <a:spcPts val="600"/>
                </a:spcAft>
              </a:pPr>
              <a:r>
                <a:rPr lang="en-US" sz="1400" dirty="0">
                  <a:solidFill>
                    <a:schemeClr val="tx1">
                      <a:lumMod val="75000"/>
                      <a:lumOff val="25000"/>
                    </a:schemeClr>
                  </a:solidFill>
                  <a:latin typeface="Segoe UI Semibold" panose="020B0702040204020203" pitchFamily="34" charset="0"/>
                  <a:cs typeface="Segoe UI Semibold" panose="020B0702040204020203" pitchFamily="34" charset="0"/>
                </a:rPr>
                <a:t>Buckets / Clusters</a:t>
              </a:r>
            </a:p>
          </p:txBody>
        </p:sp>
        <p:sp>
          <p:nvSpPr>
            <p:cNvPr id="192" name="TextBox 191"/>
            <p:cNvSpPr txBox="1"/>
            <p:nvPr/>
          </p:nvSpPr>
          <p:spPr>
            <a:xfrm>
              <a:off x="4270370" y="5679297"/>
              <a:ext cx="1559535" cy="426677"/>
            </a:xfrm>
            <a:prstGeom prst="rect">
              <a:avLst/>
            </a:prstGeom>
            <a:noFill/>
          </p:spPr>
          <p:txBody>
            <a:bodyPr wrap="none" lIns="182880" tIns="146304" rIns="182880" bIns="146304" rtlCol="0">
              <a:noAutofit/>
            </a:bodyPr>
            <a:lstStyle/>
            <a:p>
              <a:pPr>
                <a:lnSpc>
                  <a:spcPct val="90000"/>
                </a:lnSpc>
                <a:spcAft>
                  <a:spcPts val="600"/>
                </a:spcAft>
              </a:pPr>
              <a:r>
                <a:rPr lang="en-US" sz="1400" dirty="0">
                  <a:solidFill>
                    <a:schemeClr val="tx1">
                      <a:lumMod val="75000"/>
                      <a:lumOff val="25000"/>
                    </a:schemeClr>
                  </a:solidFill>
                  <a:latin typeface="Segoe UI Semibold" panose="020B0702040204020203" pitchFamily="34" charset="0"/>
                  <a:cs typeface="Segoe UI Semibold" panose="020B0702040204020203" pitchFamily="34" charset="0"/>
                </a:rPr>
                <a:t>Buckets / Clusters</a:t>
              </a:r>
            </a:p>
          </p:txBody>
        </p:sp>
        <p:sp>
          <p:nvSpPr>
            <p:cNvPr id="193" name="TextBox 192"/>
            <p:cNvSpPr txBox="1"/>
            <p:nvPr/>
          </p:nvSpPr>
          <p:spPr>
            <a:xfrm>
              <a:off x="6146064" y="5682228"/>
              <a:ext cx="1559535" cy="426677"/>
            </a:xfrm>
            <a:prstGeom prst="rect">
              <a:avLst/>
            </a:prstGeom>
            <a:noFill/>
          </p:spPr>
          <p:txBody>
            <a:bodyPr wrap="none" lIns="182880" tIns="146304" rIns="182880" bIns="146304" rtlCol="0">
              <a:noAutofit/>
            </a:bodyPr>
            <a:lstStyle/>
            <a:p>
              <a:pPr>
                <a:lnSpc>
                  <a:spcPct val="90000"/>
                </a:lnSpc>
                <a:spcAft>
                  <a:spcPts val="600"/>
                </a:spcAft>
              </a:pPr>
              <a:r>
                <a:rPr lang="en-US" sz="1400" dirty="0">
                  <a:solidFill>
                    <a:schemeClr val="tx1">
                      <a:lumMod val="75000"/>
                      <a:lumOff val="25000"/>
                    </a:schemeClr>
                  </a:solidFill>
                  <a:latin typeface="Segoe UI Semibold" panose="020B0702040204020203" pitchFamily="34" charset="0"/>
                  <a:cs typeface="Segoe UI Semibold" panose="020B0702040204020203" pitchFamily="34" charset="0"/>
                </a:rPr>
                <a:t>Buckets / Clusters</a:t>
              </a:r>
            </a:p>
          </p:txBody>
        </p:sp>
        <p:sp>
          <p:nvSpPr>
            <p:cNvPr id="194" name="TextBox 193"/>
            <p:cNvSpPr txBox="1"/>
            <p:nvPr/>
          </p:nvSpPr>
          <p:spPr>
            <a:xfrm>
              <a:off x="8012970" y="5676369"/>
              <a:ext cx="1559535" cy="426677"/>
            </a:xfrm>
            <a:prstGeom prst="rect">
              <a:avLst/>
            </a:prstGeom>
            <a:noFill/>
          </p:spPr>
          <p:txBody>
            <a:bodyPr wrap="none" lIns="182880" tIns="146304" rIns="182880" bIns="146304" rtlCol="0">
              <a:noAutofit/>
            </a:bodyPr>
            <a:lstStyle/>
            <a:p>
              <a:pPr>
                <a:lnSpc>
                  <a:spcPct val="90000"/>
                </a:lnSpc>
                <a:spcAft>
                  <a:spcPts val="600"/>
                </a:spcAft>
              </a:pPr>
              <a:r>
                <a:rPr lang="en-US" sz="1400" dirty="0">
                  <a:solidFill>
                    <a:schemeClr val="tx1">
                      <a:lumMod val="75000"/>
                      <a:lumOff val="25000"/>
                    </a:schemeClr>
                  </a:solidFill>
                  <a:latin typeface="Segoe UI Semibold" panose="020B0702040204020203" pitchFamily="34" charset="0"/>
                  <a:cs typeface="Segoe UI Semibold" panose="020B0702040204020203" pitchFamily="34" charset="0"/>
                </a:rPr>
                <a:t>Buckets / Clusters</a:t>
              </a:r>
            </a:p>
          </p:txBody>
        </p:sp>
        <p:sp>
          <p:nvSpPr>
            <p:cNvPr id="195" name="TextBox 194"/>
            <p:cNvSpPr txBox="1"/>
            <p:nvPr/>
          </p:nvSpPr>
          <p:spPr>
            <a:xfrm>
              <a:off x="9739195" y="5679299"/>
              <a:ext cx="1559535" cy="426677"/>
            </a:xfrm>
            <a:prstGeom prst="rect">
              <a:avLst/>
            </a:prstGeom>
            <a:noFill/>
          </p:spPr>
          <p:txBody>
            <a:bodyPr wrap="none" lIns="182880" tIns="146304" rIns="182880" bIns="146304" rtlCol="0">
              <a:noAutofit/>
            </a:bodyPr>
            <a:lstStyle/>
            <a:p>
              <a:pPr>
                <a:lnSpc>
                  <a:spcPct val="90000"/>
                </a:lnSpc>
                <a:spcAft>
                  <a:spcPts val="600"/>
                </a:spcAft>
              </a:pPr>
              <a:r>
                <a:rPr lang="en-US" sz="1400" dirty="0">
                  <a:solidFill>
                    <a:schemeClr val="tx1">
                      <a:lumMod val="75000"/>
                      <a:lumOff val="25000"/>
                    </a:schemeClr>
                  </a:solidFill>
                  <a:latin typeface="Segoe UI Semibold" panose="020B0702040204020203" pitchFamily="34" charset="0"/>
                  <a:cs typeface="Segoe UI Semibold" panose="020B0702040204020203" pitchFamily="34" charset="0"/>
                </a:rPr>
                <a:t>Buckets / Clusters</a:t>
              </a:r>
            </a:p>
          </p:txBody>
        </p:sp>
      </p:grpSp>
    </p:spTree>
    <p:extLst>
      <p:ext uri="{BB962C8B-B14F-4D97-AF65-F5344CB8AC3E}">
        <p14:creationId xmlns:p14="http://schemas.microsoft.com/office/powerpoint/2010/main" val="1944488802"/>
      </p:ext>
    </p:extLst>
  </p:cSld>
  <p:clrMapOvr>
    <a:masterClrMapping/>
  </p:clrMapOvr>
  <p:transition spd="med">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mple Data – Customers File</a:t>
            </a:r>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32</a:t>
            </a:fld>
            <a:endParaRPr lang="en-US" dirty="0"/>
          </a:p>
        </p:txBody>
      </p:sp>
      <p:pic>
        <p:nvPicPr>
          <p:cNvPr id="10" name="Picture 9"/>
          <p:cNvPicPr>
            <a:picLocks noChangeAspect="1"/>
          </p:cNvPicPr>
          <p:nvPr/>
        </p:nvPicPr>
        <p:blipFill>
          <a:blip r:embed="rId2"/>
          <a:stretch>
            <a:fillRect/>
          </a:stretch>
        </p:blipFill>
        <p:spPr>
          <a:xfrm>
            <a:off x="1157938" y="2137641"/>
            <a:ext cx="10487025" cy="3543300"/>
          </a:xfrm>
          <a:prstGeom prst="rect">
            <a:avLst/>
          </a:prstGeom>
          <a:ln>
            <a:solidFill>
              <a:schemeClr val="bg2"/>
            </a:solidFill>
          </a:ln>
        </p:spPr>
      </p:pic>
      <p:sp>
        <p:nvSpPr>
          <p:cNvPr id="12" name="TextBox 11"/>
          <p:cNvSpPr txBox="1"/>
          <p:nvPr/>
        </p:nvSpPr>
        <p:spPr>
          <a:xfrm>
            <a:off x="369453" y="1330043"/>
            <a:ext cx="1376219" cy="304800"/>
          </a:xfrm>
          <a:prstGeom prst="rect">
            <a:avLst/>
          </a:prstGeom>
          <a:solidFill>
            <a:schemeClr val="accent4">
              <a:lumMod val="75000"/>
            </a:schemeClr>
          </a:solidFill>
        </p:spPr>
        <p:txBody>
          <a:bodyPr wrap="none" lIns="182880" tIns="146304" rIns="182880" bIns="146304" rtlCol="0" anchor="ctr">
            <a:noAutofit/>
          </a:bodyPr>
          <a:lstStyle/>
          <a:p>
            <a:pPr algn="ctr">
              <a:lnSpc>
                <a:spcPct val="90000"/>
              </a:lnSpc>
              <a:spcAft>
                <a:spcPts val="600"/>
              </a:spcAft>
            </a:pPr>
            <a:r>
              <a:rPr lang="en-US" sz="1600" dirty="0">
                <a:solidFill>
                  <a:schemeClr val="bg1"/>
                </a:solidFill>
              </a:rPr>
              <a:t>Customer Id</a:t>
            </a:r>
          </a:p>
        </p:txBody>
      </p:sp>
      <p:cxnSp>
        <p:nvCxnSpPr>
          <p:cNvPr id="18" name="Straight Arrow Connector 17"/>
          <p:cNvCxnSpPr/>
          <p:nvPr/>
        </p:nvCxnSpPr>
        <p:spPr>
          <a:xfrm>
            <a:off x="1057563" y="1634843"/>
            <a:ext cx="217055" cy="50280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2850144" y="1339286"/>
            <a:ext cx="1547090" cy="304800"/>
          </a:xfrm>
          <a:prstGeom prst="rect">
            <a:avLst/>
          </a:prstGeom>
          <a:solidFill>
            <a:schemeClr val="accent1">
              <a:lumMod val="75000"/>
            </a:schemeClr>
          </a:solidFill>
        </p:spPr>
        <p:txBody>
          <a:bodyPr wrap="none" lIns="182880" tIns="146304" rIns="182880" bIns="146304" rtlCol="0" anchor="ctr">
            <a:noAutofit/>
          </a:bodyPr>
          <a:lstStyle/>
          <a:p>
            <a:pPr algn="ctr">
              <a:lnSpc>
                <a:spcPct val="90000"/>
              </a:lnSpc>
              <a:spcAft>
                <a:spcPts val="600"/>
              </a:spcAft>
            </a:pPr>
            <a:r>
              <a:rPr lang="en-US" sz="1600" dirty="0">
                <a:solidFill>
                  <a:schemeClr val="bg1"/>
                </a:solidFill>
              </a:rPr>
              <a:t>Customer Name</a:t>
            </a:r>
          </a:p>
        </p:txBody>
      </p:sp>
      <p:cxnSp>
        <p:nvCxnSpPr>
          <p:cNvPr id="22" name="Straight Arrow Connector 21"/>
          <p:cNvCxnSpPr>
            <a:stCxn id="20" idx="2"/>
            <a:endCxn id="17" idx="0"/>
          </p:cNvCxnSpPr>
          <p:nvPr/>
        </p:nvCxnSpPr>
        <p:spPr>
          <a:xfrm flipH="1">
            <a:off x="2386445" y="1644086"/>
            <a:ext cx="1237244" cy="51318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5220966" y="1350589"/>
            <a:ext cx="1828798" cy="304800"/>
          </a:xfrm>
          <a:prstGeom prst="rect">
            <a:avLst/>
          </a:prstGeom>
          <a:solidFill>
            <a:schemeClr val="accent3">
              <a:lumMod val="75000"/>
            </a:schemeClr>
          </a:solidFill>
        </p:spPr>
        <p:txBody>
          <a:bodyPr wrap="none" lIns="182880" tIns="146304" rIns="182880" bIns="146304" rtlCol="0" anchor="ctr">
            <a:noAutofit/>
          </a:bodyPr>
          <a:lstStyle/>
          <a:p>
            <a:pPr algn="ctr">
              <a:lnSpc>
                <a:spcPct val="90000"/>
              </a:lnSpc>
              <a:spcAft>
                <a:spcPts val="600"/>
              </a:spcAft>
            </a:pPr>
            <a:r>
              <a:rPr lang="en-US" sz="1600" dirty="0">
                <a:solidFill>
                  <a:schemeClr val="bg1"/>
                </a:solidFill>
              </a:rPr>
              <a:t>Email Preferences</a:t>
            </a:r>
          </a:p>
        </p:txBody>
      </p:sp>
      <p:cxnSp>
        <p:nvCxnSpPr>
          <p:cNvPr id="25" name="Straight Arrow Connector 24"/>
          <p:cNvCxnSpPr>
            <a:stCxn id="23" idx="2"/>
            <a:endCxn id="19" idx="0"/>
          </p:cNvCxnSpPr>
          <p:nvPr/>
        </p:nvCxnSpPr>
        <p:spPr>
          <a:xfrm flipH="1">
            <a:off x="4670136" y="1655389"/>
            <a:ext cx="1465229" cy="50187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6771951" y="5893635"/>
            <a:ext cx="1547090" cy="304800"/>
          </a:xfrm>
          <a:prstGeom prst="rect">
            <a:avLst/>
          </a:prstGeom>
          <a:solidFill>
            <a:schemeClr val="tx2">
              <a:lumMod val="60000"/>
              <a:lumOff val="40000"/>
            </a:schemeClr>
          </a:solidFill>
        </p:spPr>
        <p:txBody>
          <a:bodyPr wrap="none" lIns="182880" tIns="146304" rIns="182880" bIns="146304" rtlCol="0" anchor="ctr">
            <a:noAutofit/>
          </a:bodyPr>
          <a:lstStyle/>
          <a:p>
            <a:pPr algn="ctr">
              <a:lnSpc>
                <a:spcPct val="90000"/>
              </a:lnSpc>
              <a:spcAft>
                <a:spcPts val="600"/>
              </a:spcAft>
            </a:pPr>
            <a:r>
              <a:rPr lang="en-US" sz="1600" dirty="0">
                <a:solidFill>
                  <a:schemeClr val="bg1"/>
                </a:solidFill>
              </a:rPr>
              <a:t>Billing Address</a:t>
            </a:r>
          </a:p>
        </p:txBody>
      </p:sp>
      <p:cxnSp>
        <p:nvCxnSpPr>
          <p:cNvPr id="28" name="Straight Arrow Connector 27"/>
          <p:cNvCxnSpPr>
            <a:stCxn id="26" idx="0"/>
          </p:cNvCxnSpPr>
          <p:nvPr/>
        </p:nvCxnSpPr>
        <p:spPr>
          <a:xfrm flipH="1" flipV="1">
            <a:off x="6216073" y="5430563"/>
            <a:ext cx="1329423" cy="46307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9573002" y="3756891"/>
            <a:ext cx="1794163" cy="304800"/>
          </a:xfrm>
          <a:prstGeom prst="rect">
            <a:avLst/>
          </a:prstGeom>
          <a:solidFill>
            <a:schemeClr val="accent5">
              <a:lumMod val="75000"/>
            </a:schemeClr>
          </a:solidFill>
        </p:spPr>
        <p:txBody>
          <a:bodyPr wrap="none" lIns="182880" tIns="146304" rIns="182880" bIns="146304" rtlCol="0" anchor="ctr">
            <a:noAutofit/>
          </a:bodyPr>
          <a:lstStyle/>
          <a:p>
            <a:pPr algn="ctr">
              <a:lnSpc>
                <a:spcPct val="90000"/>
              </a:lnSpc>
              <a:spcAft>
                <a:spcPts val="600"/>
              </a:spcAft>
            </a:pPr>
            <a:r>
              <a:rPr lang="en-US" sz="1600" dirty="0">
                <a:solidFill>
                  <a:schemeClr val="bg1"/>
                </a:solidFill>
              </a:rPr>
              <a:t>Shipping Address</a:t>
            </a:r>
          </a:p>
        </p:txBody>
      </p:sp>
      <p:sp>
        <p:nvSpPr>
          <p:cNvPr id="38" name="Rectangle 37"/>
          <p:cNvSpPr/>
          <p:nvPr/>
        </p:nvSpPr>
        <p:spPr bwMode="auto">
          <a:xfrm>
            <a:off x="1166090" y="2157268"/>
            <a:ext cx="579582" cy="230908"/>
          </a:xfrm>
          <a:prstGeom prst="rect">
            <a:avLst/>
          </a:prstGeom>
          <a:solidFill>
            <a:schemeClr val="accent4">
              <a:lumMod val="75000"/>
              <a:alpha val="27843"/>
            </a:schemeClr>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cxnSp>
        <p:nvCxnSpPr>
          <p:cNvPr id="34" name="Straight Arrow Connector 33"/>
          <p:cNvCxnSpPr>
            <a:stCxn id="29" idx="0"/>
          </p:cNvCxnSpPr>
          <p:nvPr/>
        </p:nvCxnSpPr>
        <p:spPr>
          <a:xfrm flipH="1" flipV="1">
            <a:off x="8097981" y="3334328"/>
            <a:ext cx="2372103" cy="42256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6" name="Rectangle 15"/>
          <p:cNvSpPr/>
          <p:nvPr/>
        </p:nvSpPr>
        <p:spPr bwMode="auto">
          <a:xfrm>
            <a:off x="4645894" y="3108039"/>
            <a:ext cx="6725892" cy="230908"/>
          </a:xfrm>
          <a:prstGeom prst="rect">
            <a:avLst/>
          </a:prstGeom>
          <a:solidFill>
            <a:schemeClr val="accent5">
              <a:lumMod val="75000"/>
              <a:alpha val="27843"/>
            </a:schemeClr>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7" name="Rectangle 16"/>
          <p:cNvSpPr/>
          <p:nvPr/>
        </p:nvSpPr>
        <p:spPr bwMode="auto">
          <a:xfrm>
            <a:off x="1798781" y="2157268"/>
            <a:ext cx="1175328" cy="230908"/>
          </a:xfrm>
          <a:prstGeom prst="rect">
            <a:avLst/>
          </a:prstGeom>
          <a:solidFill>
            <a:schemeClr val="accent1">
              <a:alpha val="27843"/>
            </a:schemeClr>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9" name="Rectangle 18"/>
          <p:cNvSpPr/>
          <p:nvPr/>
        </p:nvSpPr>
        <p:spPr bwMode="auto">
          <a:xfrm>
            <a:off x="3031835" y="2157268"/>
            <a:ext cx="3276602" cy="230908"/>
          </a:xfrm>
          <a:prstGeom prst="rect">
            <a:avLst/>
          </a:prstGeom>
          <a:solidFill>
            <a:schemeClr val="accent3">
              <a:alpha val="27843"/>
            </a:schemeClr>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21" name="Rectangle 20"/>
          <p:cNvSpPr/>
          <p:nvPr/>
        </p:nvSpPr>
        <p:spPr bwMode="auto">
          <a:xfrm>
            <a:off x="1157938" y="5215919"/>
            <a:ext cx="5058135" cy="230908"/>
          </a:xfrm>
          <a:prstGeom prst="rect">
            <a:avLst/>
          </a:prstGeom>
          <a:solidFill>
            <a:schemeClr val="bg2">
              <a:lumMod val="25000"/>
              <a:alpha val="27843"/>
            </a:schemeClr>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24" name="Rectangle 23"/>
          <p:cNvSpPr/>
          <p:nvPr/>
        </p:nvSpPr>
        <p:spPr bwMode="auto">
          <a:xfrm>
            <a:off x="7041502" y="4985011"/>
            <a:ext cx="2444243" cy="230908"/>
          </a:xfrm>
          <a:prstGeom prst="rect">
            <a:avLst/>
          </a:prstGeom>
          <a:solidFill>
            <a:schemeClr val="bg2">
              <a:lumMod val="25000"/>
              <a:alpha val="27843"/>
            </a:schemeClr>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cxnSp>
        <p:nvCxnSpPr>
          <p:cNvPr id="7" name="Straight Arrow Connector 6"/>
          <p:cNvCxnSpPr>
            <a:stCxn id="26" idx="0"/>
            <a:endCxn id="24" idx="2"/>
          </p:cNvCxnSpPr>
          <p:nvPr/>
        </p:nvCxnSpPr>
        <p:spPr>
          <a:xfrm flipV="1">
            <a:off x="7545496" y="5215919"/>
            <a:ext cx="718128" cy="67771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73702375"/>
      </p:ext>
    </p:extLst>
  </p:cSld>
  <p:clrMapOvr>
    <a:masterClrMapping/>
  </p:clrMapOvr>
  <p:transition spd="med">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mple Data – Orders File</a:t>
            </a:r>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33</a:t>
            </a:fld>
            <a:endParaRPr lang="en-US" dirty="0"/>
          </a:p>
        </p:txBody>
      </p:sp>
      <p:pic>
        <p:nvPicPr>
          <p:cNvPr id="4" name="Picture 3"/>
          <p:cNvPicPr>
            <a:picLocks noChangeAspect="1"/>
          </p:cNvPicPr>
          <p:nvPr/>
        </p:nvPicPr>
        <p:blipFill>
          <a:blip r:embed="rId2"/>
          <a:stretch>
            <a:fillRect/>
          </a:stretch>
        </p:blipFill>
        <p:spPr>
          <a:xfrm>
            <a:off x="414337" y="2581275"/>
            <a:ext cx="11363325" cy="1695450"/>
          </a:xfrm>
          <a:prstGeom prst="rect">
            <a:avLst/>
          </a:prstGeom>
          <a:ln>
            <a:solidFill>
              <a:schemeClr val="bg1">
                <a:lumMod val="95000"/>
              </a:schemeClr>
            </a:solidFill>
          </a:ln>
        </p:spPr>
      </p:pic>
      <p:sp>
        <p:nvSpPr>
          <p:cNvPr id="5" name="TextBox 4"/>
          <p:cNvSpPr txBox="1"/>
          <p:nvPr/>
        </p:nvSpPr>
        <p:spPr>
          <a:xfrm>
            <a:off x="268927" y="2008353"/>
            <a:ext cx="1376219" cy="304800"/>
          </a:xfrm>
          <a:prstGeom prst="rect">
            <a:avLst/>
          </a:prstGeom>
          <a:solidFill>
            <a:schemeClr val="accent4">
              <a:lumMod val="75000"/>
            </a:schemeClr>
          </a:solidFill>
        </p:spPr>
        <p:txBody>
          <a:bodyPr wrap="none" lIns="182880" tIns="146304" rIns="182880" bIns="146304" rtlCol="0" anchor="ctr">
            <a:noAutofit/>
          </a:bodyPr>
          <a:lstStyle/>
          <a:p>
            <a:pPr algn="ctr">
              <a:lnSpc>
                <a:spcPct val="90000"/>
              </a:lnSpc>
              <a:spcAft>
                <a:spcPts val="600"/>
              </a:spcAft>
            </a:pPr>
            <a:r>
              <a:rPr lang="en-US" sz="1600" dirty="0">
                <a:solidFill>
                  <a:schemeClr val="bg1"/>
                </a:solidFill>
              </a:rPr>
              <a:t>Customer Id</a:t>
            </a:r>
          </a:p>
        </p:txBody>
      </p:sp>
      <p:sp>
        <p:nvSpPr>
          <p:cNvPr id="6" name="TextBox 5"/>
          <p:cNvSpPr txBox="1"/>
          <p:nvPr/>
        </p:nvSpPr>
        <p:spPr>
          <a:xfrm>
            <a:off x="2821710" y="1990014"/>
            <a:ext cx="2110508" cy="304800"/>
          </a:xfrm>
          <a:prstGeom prst="rect">
            <a:avLst/>
          </a:prstGeom>
          <a:solidFill>
            <a:schemeClr val="accent1">
              <a:lumMod val="75000"/>
            </a:schemeClr>
          </a:solidFill>
        </p:spPr>
        <p:txBody>
          <a:bodyPr wrap="none" lIns="182880" tIns="146304" rIns="182880" bIns="146304" rtlCol="0" anchor="ctr">
            <a:noAutofit/>
          </a:bodyPr>
          <a:lstStyle/>
          <a:p>
            <a:pPr algn="ctr">
              <a:lnSpc>
                <a:spcPct val="90000"/>
              </a:lnSpc>
              <a:spcAft>
                <a:spcPts val="600"/>
              </a:spcAft>
            </a:pPr>
            <a:r>
              <a:rPr lang="en-US" sz="1600" dirty="0">
                <a:solidFill>
                  <a:schemeClr val="bg1"/>
                </a:solidFill>
              </a:rPr>
              <a:t>Order Data and Time</a:t>
            </a:r>
          </a:p>
        </p:txBody>
      </p:sp>
      <p:sp>
        <p:nvSpPr>
          <p:cNvPr id="7" name="TextBox 6"/>
          <p:cNvSpPr txBox="1"/>
          <p:nvPr/>
        </p:nvSpPr>
        <p:spPr>
          <a:xfrm>
            <a:off x="414337" y="4692086"/>
            <a:ext cx="1828798" cy="304800"/>
          </a:xfrm>
          <a:prstGeom prst="rect">
            <a:avLst/>
          </a:prstGeom>
          <a:solidFill>
            <a:schemeClr val="accent3">
              <a:lumMod val="75000"/>
            </a:schemeClr>
          </a:solidFill>
        </p:spPr>
        <p:txBody>
          <a:bodyPr wrap="none" lIns="182880" tIns="146304" rIns="182880" bIns="146304" rtlCol="0" anchor="ctr">
            <a:noAutofit/>
          </a:bodyPr>
          <a:lstStyle/>
          <a:p>
            <a:pPr algn="ctr">
              <a:lnSpc>
                <a:spcPct val="90000"/>
              </a:lnSpc>
              <a:spcAft>
                <a:spcPts val="600"/>
              </a:spcAft>
            </a:pPr>
            <a:r>
              <a:rPr lang="en-US" sz="1600" dirty="0">
                <a:solidFill>
                  <a:schemeClr val="bg1"/>
                </a:solidFill>
              </a:rPr>
              <a:t>Order Id</a:t>
            </a:r>
          </a:p>
        </p:txBody>
      </p:sp>
      <p:sp>
        <p:nvSpPr>
          <p:cNvPr id="8" name="TextBox 7"/>
          <p:cNvSpPr txBox="1"/>
          <p:nvPr/>
        </p:nvSpPr>
        <p:spPr>
          <a:xfrm>
            <a:off x="7118927" y="4789081"/>
            <a:ext cx="1547090" cy="304800"/>
          </a:xfrm>
          <a:prstGeom prst="rect">
            <a:avLst/>
          </a:prstGeom>
          <a:solidFill>
            <a:schemeClr val="tx2">
              <a:lumMod val="60000"/>
              <a:lumOff val="40000"/>
            </a:schemeClr>
          </a:solidFill>
        </p:spPr>
        <p:txBody>
          <a:bodyPr wrap="none" lIns="182880" tIns="146304" rIns="182880" bIns="146304" rtlCol="0" anchor="ctr">
            <a:noAutofit/>
          </a:bodyPr>
          <a:lstStyle/>
          <a:p>
            <a:pPr algn="ctr">
              <a:lnSpc>
                <a:spcPct val="90000"/>
              </a:lnSpc>
              <a:spcAft>
                <a:spcPts val="600"/>
              </a:spcAft>
            </a:pPr>
            <a:r>
              <a:rPr lang="en-US" sz="1600" dirty="0">
                <a:solidFill>
                  <a:schemeClr val="bg1"/>
                </a:solidFill>
              </a:rPr>
              <a:t>Product Details</a:t>
            </a:r>
          </a:p>
        </p:txBody>
      </p:sp>
      <p:sp>
        <p:nvSpPr>
          <p:cNvPr id="9" name="Rectangle 8"/>
          <p:cNvSpPr/>
          <p:nvPr/>
        </p:nvSpPr>
        <p:spPr bwMode="auto">
          <a:xfrm>
            <a:off x="480291" y="2590379"/>
            <a:ext cx="517239" cy="245186"/>
          </a:xfrm>
          <a:prstGeom prst="rect">
            <a:avLst/>
          </a:prstGeom>
          <a:solidFill>
            <a:schemeClr val="accent4">
              <a:lumMod val="75000"/>
              <a:alpha val="56863"/>
            </a:schemeClr>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0" name="Rectangle 9"/>
          <p:cNvSpPr/>
          <p:nvPr/>
        </p:nvSpPr>
        <p:spPr bwMode="auto">
          <a:xfrm>
            <a:off x="1824190" y="2613471"/>
            <a:ext cx="2396828" cy="245186"/>
          </a:xfrm>
          <a:prstGeom prst="rect">
            <a:avLst/>
          </a:prstGeom>
          <a:solidFill>
            <a:schemeClr val="accent1">
              <a:lumMod val="50000"/>
              <a:alpha val="56863"/>
            </a:schemeClr>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1" name="Rectangle 10"/>
          <p:cNvSpPr/>
          <p:nvPr/>
        </p:nvSpPr>
        <p:spPr bwMode="auto">
          <a:xfrm>
            <a:off x="4184073" y="3961953"/>
            <a:ext cx="7416799" cy="245186"/>
          </a:xfrm>
          <a:prstGeom prst="rect">
            <a:avLst/>
          </a:prstGeom>
          <a:solidFill>
            <a:schemeClr val="tx1">
              <a:lumMod val="65000"/>
              <a:lumOff val="35000"/>
              <a:alpha val="56863"/>
            </a:schemeClr>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2" name="Rectangle 11"/>
          <p:cNvSpPr/>
          <p:nvPr/>
        </p:nvSpPr>
        <p:spPr bwMode="auto">
          <a:xfrm>
            <a:off x="1020616" y="3934268"/>
            <a:ext cx="624530" cy="245186"/>
          </a:xfrm>
          <a:prstGeom prst="rect">
            <a:avLst/>
          </a:prstGeom>
          <a:solidFill>
            <a:schemeClr val="accent3">
              <a:alpha val="56863"/>
            </a:schemeClr>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cxnSp>
        <p:nvCxnSpPr>
          <p:cNvPr id="14" name="Straight Arrow Connector 13"/>
          <p:cNvCxnSpPr>
            <a:stCxn id="6" idx="2"/>
            <a:endCxn id="10" idx="0"/>
          </p:cNvCxnSpPr>
          <p:nvPr/>
        </p:nvCxnSpPr>
        <p:spPr>
          <a:xfrm flipH="1">
            <a:off x="3022604" y="2294814"/>
            <a:ext cx="854360" cy="31865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stCxn id="8" idx="0"/>
            <a:endCxn id="11" idx="2"/>
          </p:cNvCxnSpPr>
          <p:nvPr/>
        </p:nvCxnSpPr>
        <p:spPr>
          <a:xfrm flipV="1">
            <a:off x="7892472" y="4207139"/>
            <a:ext cx="1" cy="58194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a:stCxn id="7" idx="0"/>
            <a:endCxn id="12" idx="2"/>
          </p:cNvCxnSpPr>
          <p:nvPr/>
        </p:nvCxnSpPr>
        <p:spPr>
          <a:xfrm flipV="1">
            <a:off x="1328736" y="4179454"/>
            <a:ext cx="4145" cy="51263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a:stCxn id="5" idx="2"/>
            <a:endCxn id="9" idx="0"/>
          </p:cNvCxnSpPr>
          <p:nvPr/>
        </p:nvCxnSpPr>
        <p:spPr>
          <a:xfrm flipH="1">
            <a:off x="738911" y="2313153"/>
            <a:ext cx="218126" cy="27722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5994824"/>
      </p:ext>
    </p:extLst>
  </p:cSld>
  <p:clrMapOvr>
    <a:masterClrMapping/>
  </p:clrMapOvr>
  <p:transition spd="med">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ive Table Creation</a:t>
            </a:r>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34</a:t>
            </a:fld>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3739946727"/>
              </p:ext>
            </p:extLst>
          </p:nvPr>
        </p:nvGraphicFramePr>
        <p:xfrm>
          <a:off x="554606" y="1430348"/>
          <a:ext cx="5518975" cy="5141254"/>
        </p:xfrm>
        <a:graphic>
          <a:graphicData uri="http://schemas.openxmlformats.org/drawingml/2006/table">
            <a:tbl>
              <a:tblPr firstRow="1" bandRow="1">
                <a:tableStyleId>{C083E6E3-FA7D-4D7B-A595-EF9225AFEA82}</a:tableStyleId>
              </a:tblPr>
              <a:tblGrid>
                <a:gridCol w="1679373">
                  <a:extLst>
                    <a:ext uri="{9D8B030D-6E8A-4147-A177-3AD203B41FA5}">
                      <a16:colId xmlns:a16="http://schemas.microsoft.com/office/drawing/2014/main" val="1384300322"/>
                    </a:ext>
                  </a:extLst>
                </a:gridCol>
                <a:gridCol w="3839602">
                  <a:extLst>
                    <a:ext uri="{9D8B030D-6E8A-4147-A177-3AD203B41FA5}">
                      <a16:colId xmlns:a16="http://schemas.microsoft.com/office/drawing/2014/main" val="4056424228"/>
                    </a:ext>
                  </a:extLst>
                </a:gridCol>
              </a:tblGrid>
              <a:tr h="1040878">
                <a:tc>
                  <a:txBody>
                    <a:bodyPr/>
                    <a:lstStyle/>
                    <a:p>
                      <a:r>
                        <a:rPr lang="en-US" sz="1400" b="0" dirty="0">
                          <a:solidFill>
                            <a:schemeClr val="tx1">
                              <a:lumMod val="65000"/>
                              <a:lumOff val="35000"/>
                            </a:schemeClr>
                          </a:solidFill>
                        </a:rPr>
                        <a:t>Internal</a:t>
                      </a:r>
                      <a:r>
                        <a:rPr lang="en-US" sz="1400" b="0" baseline="0" dirty="0">
                          <a:solidFill>
                            <a:schemeClr val="tx1">
                              <a:lumMod val="65000"/>
                              <a:lumOff val="35000"/>
                            </a:schemeClr>
                          </a:solidFill>
                        </a:rPr>
                        <a:t> Tables</a:t>
                      </a:r>
                      <a:endParaRPr lang="en-US" sz="1400" b="0" dirty="0">
                        <a:solidFill>
                          <a:schemeClr val="tx1">
                            <a:lumMod val="65000"/>
                            <a:lumOff val="35000"/>
                          </a:schemeClr>
                        </a:solidFill>
                      </a:endParaRPr>
                    </a:p>
                  </a:txBody>
                  <a:tcPr anchor="ctr"/>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400" b="0" dirty="0">
                          <a:solidFill>
                            <a:schemeClr val="tx1">
                              <a:lumMod val="65000"/>
                              <a:lumOff val="35000"/>
                            </a:schemeClr>
                          </a:solidFill>
                        </a:rPr>
                        <a:t>Manage/control the data.  </a:t>
                      </a:r>
                    </a:p>
                    <a:p>
                      <a:pPr marL="0" marR="0" indent="0" algn="l" defTabSz="914367" rtl="0" eaLnBrk="1" fontAlgn="auto" latinLnBrk="0" hangingPunct="1">
                        <a:lnSpc>
                          <a:spcPct val="100000"/>
                        </a:lnSpc>
                        <a:spcBef>
                          <a:spcPts val="0"/>
                        </a:spcBef>
                        <a:spcAft>
                          <a:spcPts val="0"/>
                        </a:spcAft>
                        <a:buClrTx/>
                        <a:buSzTx/>
                        <a:buFontTx/>
                        <a:buNone/>
                        <a:tabLst/>
                        <a:defRPr/>
                      </a:pPr>
                      <a:r>
                        <a:rPr lang="en-US" sz="1400" b="0" dirty="0">
                          <a:solidFill>
                            <a:schemeClr val="tx1">
                              <a:lumMod val="65000"/>
                              <a:lumOff val="35000"/>
                            </a:schemeClr>
                          </a:solidFill>
                        </a:rPr>
                        <a:t>If an internal table is dropped, the associated data is deleted. Default.</a:t>
                      </a:r>
                    </a:p>
                  </a:txBody>
                  <a:tcPr anchor="ctr"/>
                </a:tc>
                <a:extLst>
                  <a:ext uri="{0D108BD9-81ED-4DB2-BD59-A6C34878D82A}">
                    <a16:rowId xmlns:a16="http://schemas.microsoft.com/office/drawing/2014/main" val="1205131065"/>
                  </a:ext>
                </a:extLst>
              </a:tr>
              <a:tr h="986427">
                <a:tc>
                  <a:txBody>
                    <a:bodyPr/>
                    <a:lstStyle/>
                    <a:p>
                      <a:r>
                        <a:rPr lang="en-US" sz="1400" dirty="0">
                          <a:solidFill>
                            <a:schemeClr val="tx1">
                              <a:lumMod val="65000"/>
                              <a:lumOff val="35000"/>
                            </a:schemeClr>
                          </a:solidFill>
                        </a:rPr>
                        <a:t>External Tables</a:t>
                      </a:r>
                    </a:p>
                  </a:txBody>
                  <a:tcPr anchor="ctr"/>
                </a:tc>
                <a:tc>
                  <a:txBody>
                    <a:bodyPr/>
                    <a:lstStyle/>
                    <a:p>
                      <a:r>
                        <a:rPr lang="en-US" sz="1400" dirty="0">
                          <a:solidFill>
                            <a:schemeClr val="tx1">
                              <a:lumMod val="65000"/>
                              <a:lumOff val="35000"/>
                            </a:schemeClr>
                          </a:solidFill>
                        </a:rPr>
                        <a:t>Do not manage/control the data. </a:t>
                      </a:r>
                    </a:p>
                    <a:p>
                      <a:r>
                        <a:rPr lang="en-US" sz="1400" dirty="0">
                          <a:solidFill>
                            <a:schemeClr val="tx1">
                              <a:lumMod val="65000"/>
                              <a:lumOff val="35000"/>
                            </a:schemeClr>
                          </a:solidFill>
                        </a:rPr>
                        <a:t>If an external</a:t>
                      </a:r>
                      <a:r>
                        <a:rPr lang="en-US" sz="1400" baseline="0" dirty="0">
                          <a:solidFill>
                            <a:schemeClr val="tx1">
                              <a:lumMod val="65000"/>
                              <a:lumOff val="35000"/>
                            </a:schemeClr>
                          </a:solidFill>
                        </a:rPr>
                        <a:t> table </a:t>
                      </a:r>
                      <a:r>
                        <a:rPr lang="en-US" sz="1400" dirty="0">
                          <a:solidFill>
                            <a:schemeClr val="tx1">
                              <a:lumMod val="65000"/>
                              <a:lumOff val="35000"/>
                            </a:schemeClr>
                          </a:solidFill>
                        </a:rPr>
                        <a:t>is dropped the associated data is not deleted.</a:t>
                      </a:r>
                      <a:endParaRPr lang="en-US" sz="1600" dirty="0">
                        <a:solidFill>
                          <a:schemeClr val="tx1">
                            <a:lumMod val="65000"/>
                            <a:lumOff val="35000"/>
                          </a:schemeClr>
                        </a:solidFill>
                      </a:endParaRPr>
                    </a:p>
                  </a:txBody>
                  <a:tcPr anchor="ctr"/>
                </a:tc>
                <a:extLst>
                  <a:ext uri="{0D108BD9-81ED-4DB2-BD59-A6C34878D82A}">
                    <a16:rowId xmlns:a16="http://schemas.microsoft.com/office/drawing/2014/main" val="2828221985"/>
                  </a:ext>
                </a:extLst>
              </a:tr>
              <a:tr h="2124189">
                <a:tc>
                  <a:txBody>
                    <a:bodyPr/>
                    <a:lstStyle/>
                    <a:p>
                      <a:r>
                        <a:rPr lang="en-US" sz="1400" dirty="0">
                          <a:solidFill>
                            <a:schemeClr val="tx1">
                              <a:lumMod val="65000"/>
                              <a:lumOff val="35000"/>
                            </a:schemeClr>
                          </a:solidFill>
                        </a:rPr>
                        <a:t>LOCATION</a:t>
                      </a:r>
                    </a:p>
                  </a:txBody>
                  <a:tcPr anchor="ctr"/>
                </a:tc>
                <a:tc>
                  <a:txBody>
                    <a:bodyPr/>
                    <a:lstStyle/>
                    <a:p>
                      <a:pPr marL="0" indent="0">
                        <a:spcAft>
                          <a:spcPts val="600"/>
                        </a:spcAft>
                        <a:buFont typeface="Arial" panose="020B0604020202020204" pitchFamily="34" charset="0"/>
                        <a:buNone/>
                      </a:pPr>
                      <a:r>
                        <a:rPr lang="en-US" sz="1400" dirty="0">
                          <a:solidFill>
                            <a:schemeClr val="tx1">
                              <a:lumMod val="65000"/>
                              <a:lumOff val="35000"/>
                            </a:schemeClr>
                          </a:solidFill>
                        </a:rPr>
                        <a:t>Locatio</a:t>
                      </a:r>
                      <a:r>
                        <a:rPr lang="en-US" sz="1400" baseline="0" dirty="0">
                          <a:solidFill>
                            <a:schemeClr val="tx1">
                              <a:lumMod val="65000"/>
                              <a:lumOff val="35000"/>
                            </a:schemeClr>
                          </a:solidFill>
                        </a:rPr>
                        <a:t>n of</a:t>
                      </a:r>
                      <a:r>
                        <a:rPr lang="en-US" sz="1400" dirty="0">
                          <a:solidFill>
                            <a:schemeClr val="tx1">
                              <a:lumMod val="65000"/>
                              <a:lumOff val="35000"/>
                            </a:schemeClr>
                          </a:solidFill>
                        </a:rPr>
                        <a:t> the data can be specified with LOCATION keyword</a:t>
                      </a:r>
                    </a:p>
                    <a:p>
                      <a:pPr marL="342917" lvl="0" indent="-274320">
                        <a:spcAft>
                          <a:spcPts val="600"/>
                        </a:spcAft>
                        <a:buFont typeface="Arial" panose="020B0604020202020204" pitchFamily="34" charset="0"/>
                        <a:buChar char="•"/>
                      </a:pPr>
                      <a:r>
                        <a:rPr lang="en-US" sz="1400" dirty="0">
                          <a:solidFill>
                            <a:schemeClr val="tx1">
                              <a:lumMod val="65000"/>
                              <a:lumOff val="35000"/>
                            </a:schemeClr>
                          </a:solidFill>
                        </a:rPr>
                        <a:t>Location</a:t>
                      </a:r>
                      <a:r>
                        <a:rPr lang="en-US" sz="1400" baseline="0" dirty="0">
                          <a:solidFill>
                            <a:schemeClr val="tx1">
                              <a:lumMod val="65000"/>
                              <a:lumOff val="35000"/>
                            </a:schemeClr>
                          </a:solidFill>
                        </a:rPr>
                        <a:t> can be a </a:t>
                      </a:r>
                      <a:r>
                        <a:rPr lang="en-US" sz="1400" dirty="0">
                          <a:solidFill>
                            <a:schemeClr val="tx1">
                              <a:lumMod val="65000"/>
                              <a:lumOff val="35000"/>
                            </a:schemeClr>
                          </a:solidFill>
                        </a:rPr>
                        <a:t>HDFS folder that already has the data.</a:t>
                      </a:r>
                      <a:r>
                        <a:rPr lang="en-US" sz="1400" baseline="0" dirty="0">
                          <a:solidFill>
                            <a:schemeClr val="tx1">
                              <a:lumMod val="65000"/>
                              <a:lumOff val="35000"/>
                            </a:schemeClr>
                          </a:solidFill>
                        </a:rPr>
                        <a:t> Or d</a:t>
                      </a:r>
                      <a:r>
                        <a:rPr lang="en-US" sz="1400" dirty="0">
                          <a:solidFill>
                            <a:schemeClr val="tx1">
                              <a:lumMod val="65000"/>
                              <a:lumOff val="35000"/>
                            </a:schemeClr>
                          </a:solidFill>
                        </a:rPr>
                        <a:t>ata can be added later to an empty folder.</a:t>
                      </a:r>
                    </a:p>
                    <a:p>
                      <a:pPr marL="342917" lvl="0" indent="-274320">
                        <a:buFont typeface="Arial" panose="020B0604020202020204" pitchFamily="34" charset="0"/>
                        <a:buChar char="•"/>
                      </a:pPr>
                      <a:r>
                        <a:rPr lang="en-US" sz="1400" dirty="0">
                          <a:solidFill>
                            <a:schemeClr val="tx1">
                              <a:lumMod val="65000"/>
                              <a:lumOff val="35000"/>
                            </a:schemeClr>
                          </a:solidFill>
                        </a:rPr>
                        <a:t>If not specified, default</a:t>
                      </a:r>
                      <a:r>
                        <a:rPr lang="en-US" sz="1400" baseline="0" dirty="0">
                          <a:solidFill>
                            <a:schemeClr val="tx1">
                              <a:lumMod val="65000"/>
                              <a:lumOff val="35000"/>
                            </a:schemeClr>
                          </a:solidFill>
                        </a:rPr>
                        <a:t> </a:t>
                      </a:r>
                      <a:r>
                        <a:rPr lang="en-US" sz="1400" dirty="0">
                          <a:solidFill>
                            <a:schemeClr val="tx1">
                              <a:lumMod val="65000"/>
                              <a:lumOff val="35000"/>
                            </a:schemeClr>
                          </a:solidFill>
                        </a:rPr>
                        <a:t>is: /hive/warehouse/</a:t>
                      </a:r>
                      <a:endParaRPr lang="en-US" sz="1400" i="1" dirty="0">
                        <a:solidFill>
                          <a:schemeClr val="tx1">
                            <a:lumMod val="65000"/>
                            <a:lumOff val="35000"/>
                          </a:schemeClr>
                        </a:solidFill>
                      </a:endParaRPr>
                    </a:p>
                  </a:txBody>
                  <a:tcPr anchor="ctr"/>
                </a:tc>
                <a:extLst>
                  <a:ext uri="{0D108BD9-81ED-4DB2-BD59-A6C34878D82A}">
                    <a16:rowId xmlns:a16="http://schemas.microsoft.com/office/drawing/2014/main" val="2244621386"/>
                  </a:ext>
                </a:extLst>
              </a:tr>
              <a:tr h="989760">
                <a:tc>
                  <a:txBody>
                    <a:bodyPr/>
                    <a:lstStyle/>
                    <a:p>
                      <a:r>
                        <a:rPr lang="en-US" sz="1400" dirty="0">
                          <a:solidFill>
                            <a:schemeClr val="tx1">
                              <a:lumMod val="65000"/>
                              <a:lumOff val="35000"/>
                            </a:schemeClr>
                          </a:solidFill>
                        </a:rPr>
                        <a:t>Multiple Views</a:t>
                      </a:r>
                    </a:p>
                  </a:txBody>
                  <a:tcPr anchor="ctr"/>
                </a:tc>
                <a:tc>
                  <a:txBody>
                    <a:bodyPr/>
                    <a:lstStyle/>
                    <a:p>
                      <a:r>
                        <a:rPr lang="en-US" sz="1600" dirty="0">
                          <a:solidFill>
                            <a:schemeClr val="tx1">
                              <a:lumMod val="65000"/>
                              <a:lumOff val="35000"/>
                            </a:schemeClr>
                          </a:solidFill>
                        </a:rPr>
                        <a:t>Multiple</a:t>
                      </a:r>
                      <a:r>
                        <a:rPr lang="en-US" sz="1600" baseline="0" dirty="0">
                          <a:solidFill>
                            <a:schemeClr val="tx1">
                              <a:lumMod val="65000"/>
                              <a:lumOff val="35000"/>
                            </a:schemeClr>
                          </a:solidFill>
                        </a:rPr>
                        <a:t> tables can point to the same data</a:t>
                      </a:r>
                      <a:endParaRPr lang="en-US" sz="1600" dirty="0">
                        <a:solidFill>
                          <a:schemeClr val="tx1">
                            <a:lumMod val="65000"/>
                            <a:lumOff val="35000"/>
                          </a:schemeClr>
                        </a:solidFill>
                      </a:endParaRPr>
                    </a:p>
                  </a:txBody>
                  <a:tcPr anchor="ctr"/>
                </a:tc>
                <a:extLst>
                  <a:ext uri="{0D108BD9-81ED-4DB2-BD59-A6C34878D82A}">
                    <a16:rowId xmlns:a16="http://schemas.microsoft.com/office/drawing/2014/main" val="4016489077"/>
                  </a:ext>
                </a:extLst>
              </a:tr>
            </a:tbl>
          </a:graphicData>
        </a:graphic>
      </p:graphicFrame>
      <p:pic>
        <p:nvPicPr>
          <p:cNvPr id="8" name="Picture 7"/>
          <p:cNvPicPr>
            <a:picLocks noChangeAspect="1"/>
          </p:cNvPicPr>
          <p:nvPr/>
        </p:nvPicPr>
        <p:blipFill>
          <a:blip r:embed="rId3"/>
          <a:stretch>
            <a:fillRect/>
          </a:stretch>
        </p:blipFill>
        <p:spPr>
          <a:xfrm>
            <a:off x="6274603" y="1685001"/>
            <a:ext cx="5543550" cy="4610100"/>
          </a:xfrm>
          <a:prstGeom prst="rect">
            <a:avLst/>
          </a:prstGeom>
          <a:ln>
            <a:solidFill>
              <a:schemeClr val="bg2">
                <a:lumMod val="50000"/>
              </a:schemeClr>
            </a:solidFill>
          </a:ln>
        </p:spPr>
      </p:pic>
      <p:sp>
        <p:nvSpPr>
          <p:cNvPr id="7" name="TextBox 6"/>
          <p:cNvSpPr txBox="1"/>
          <p:nvPr/>
        </p:nvSpPr>
        <p:spPr>
          <a:xfrm>
            <a:off x="10475615" y="868218"/>
            <a:ext cx="1543560" cy="856043"/>
          </a:xfrm>
          <a:prstGeom prst="rect">
            <a:avLst/>
          </a:prstGeom>
          <a:solidFill>
            <a:schemeClr val="accent3"/>
          </a:solidFill>
        </p:spPr>
        <p:txBody>
          <a:bodyPr wrap="square" lIns="91440" tIns="91440" rIns="91440" bIns="91440" rtlCol="0">
            <a:noAutofit/>
          </a:bodyPr>
          <a:lstStyle/>
          <a:p>
            <a:pPr algn="ctr">
              <a:lnSpc>
                <a:spcPct val="90000"/>
              </a:lnSpc>
              <a:spcAft>
                <a:spcPts val="600"/>
              </a:spcAft>
            </a:pPr>
            <a:r>
              <a:rPr lang="en-US" sz="1600" dirty="0">
                <a:solidFill>
                  <a:schemeClr val="bg1"/>
                </a:solidFill>
              </a:rPr>
              <a:t>Hive supports complex types such as “map”</a:t>
            </a:r>
          </a:p>
        </p:txBody>
      </p:sp>
      <p:sp>
        <p:nvSpPr>
          <p:cNvPr id="10" name="TextBox 9"/>
          <p:cNvSpPr txBox="1"/>
          <p:nvPr/>
        </p:nvSpPr>
        <p:spPr>
          <a:xfrm>
            <a:off x="6988429" y="6149620"/>
            <a:ext cx="4658626" cy="557001"/>
          </a:xfrm>
          <a:prstGeom prst="rect">
            <a:avLst/>
          </a:prstGeom>
          <a:solidFill>
            <a:schemeClr val="bg1">
              <a:lumMod val="95000"/>
            </a:schemeClr>
          </a:solidFill>
        </p:spPr>
        <p:txBody>
          <a:bodyPr wrap="square" lIns="182880" tIns="91440" rIns="182880" bIns="91440" rtlCol="0">
            <a:noAutofit/>
          </a:bodyPr>
          <a:lstStyle/>
          <a:p>
            <a:pPr>
              <a:lnSpc>
                <a:spcPct val="90000"/>
              </a:lnSpc>
              <a:spcAft>
                <a:spcPts val="600"/>
              </a:spcAft>
            </a:pPr>
            <a:r>
              <a:rPr lang="en-US" sz="1400" dirty="0">
                <a:solidFill>
                  <a:schemeClr val="tx1">
                    <a:lumMod val="75000"/>
                    <a:lumOff val="25000"/>
                  </a:schemeClr>
                </a:solidFill>
                <a:latin typeface="Segoe UI Semibold" panose="020B0702040204020203" pitchFamily="34" charset="0"/>
                <a:cs typeface="Segoe UI Semibold" panose="020B0702040204020203" pitchFamily="34" charset="0"/>
              </a:rPr>
              <a:t>HDInsight Hive Tables can directly point to Azure Data Lake Store files</a:t>
            </a:r>
          </a:p>
        </p:txBody>
      </p:sp>
      <p:sp>
        <p:nvSpPr>
          <p:cNvPr id="4" name="Rectangle 3"/>
          <p:cNvSpPr/>
          <p:nvPr/>
        </p:nvSpPr>
        <p:spPr bwMode="auto">
          <a:xfrm>
            <a:off x="7535957" y="5105395"/>
            <a:ext cx="2430080" cy="173255"/>
          </a:xfrm>
          <a:prstGeom prst="rect">
            <a:avLst/>
          </a:prstGeom>
          <a:no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cxnSp>
        <p:nvCxnSpPr>
          <p:cNvPr id="11" name="Straight Arrow Connector 10"/>
          <p:cNvCxnSpPr>
            <a:stCxn id="7" idx="2"/>
          </p:cNvCxnSpPr>
          <p:nvPr/>
        </p:nvCxnSpPr>
        <p:spPr>
          <a:xfrm flipH="1">
            <a:off x="10298545" y="1724261"/>
            <a:ext cx="948850" cy="1388394"/>
          </a:xfrm>
          <a:prstGeom prst="straightConnector1">
            <a:avLst/>
          </a:prstGeom>
          <a:ln w="28575">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a:stCxn id="10" idx="0"/>
          </p:cNvCxnSpPr>
          <p:nvPr/>
        </p:nvCxnSpPr>
        <p:spPr>
          <a:xfrm flipH="1" flipV="1">
            <a:off x="8750998" y="5278650"/>
            <a:ext cx="566744" cy="870970"/>
          </a:xfrm>
          <a:prstGeom prst="straightConnector1">
            <a:avLst/>
          </a:prstGeom>
          <a:ln w="28575">
            <a:solidFill>
              <a:schemeClr val="accent4">
                <a:lumMod val="75000"/>
              </a:schemeClr>
            </a:solidFill>
            <a:headEnd type="none"/>
            <a:tailEnd type="triangle"/>
          </a:ln>
        </p:spPr>
        <p:style>
          <a:lnRef idx="1">
            <a:schemeClr val="accent6"/>
          </a:lnRef>
          <a:fillRef idx="0">
            <a:schemeClr val="accent6"/>
          </a:fillRef>
          <a:effectRef idx="0">
            <a:schemeClr val="accent6"/>
          </a:effectRef>
          <a:fontRef idx="minor">
            <a:schemeClr val="tx1"/>
          </a:fontRef>
        </p:style>
      </p:cxnSp>
      <p:sp>
        <p:nvSpPr>
          <p:cNvPr id="22" name="TextBox 21"/>
          <p:cNvSpPr txBox="1"/>
          <p:nvPr/>
        </p:nvSpPr>
        <p:spPr>
          <a:xfrm>
            <a:off x="8056477" y="6688391"/>
            <a:ext cx="2974568" cy="195731"/>
          </a:xfrm>
          <a:prstGeom prst="rect">
            <a:avLst/>
          </a:prstGeom>
          <a:noFill/>
        </p:spPr>
        <p:txBody>
          <a:bodyPr wrap="none" lIns="0" tIns="0" rIns="0" bIns="0" rtlCol="0" anchor="ctr">
            <a:noAutofit/>
          </a:bodyPr>
          <a:lstStyle/>
          <a:p>
            <a:pPr>
              <a:lnSpc>
                <a:spcPct val="90000"/>
              </a:lnSpc>
              <a:spcAft>
                <a:spcPts val="600"/>
              </a:spcAft>
            </a:pPr>
            <a:r>
              <a:rPr lang="en-US" sz="1100" i="1" dirty="0">
                <a:solidFill>
                  <a:schemeClr val="tx1">
                    <a:lumMod val="85000"/>
                    <a:lumOff val="15000"/>
                  </a:schemeClr>
                </a:solidFill>
              </a:rPr>
              <a:t>* Order table creation is shown in notes sections</a:t>
            </a:r>
          </a:p>
        </p:txBody>
      </p:sp>
    </p:spTree>
    <p:extLst>
      <p:ext uri="{BB962C8B-B14F-4D97-AF65-F5344CB8AC3E}">
        <p14:creationId xmlns:p14="http://schemas.microsoft.com/office/powerpoint/2010/main" val="1947181013"/>
      </p:ext>
    </p:extLst>
  </p:cSld>
  <p:clrMapOvr>
    <a:masterClrMapping/>
  </p:clrMapOvr>
  <p:transition spd="med">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oading Data into Hive Tables</a:t>
            </a:r>
          </a:p>
        </p:txBody>
      </p:sp>
      <p:sp>
        <p:nvSpPr>
          <p:cNvPr id="3" name="Slide Number Placeholder 2"/>
          <p:cNvSpPr>
            <a:spLocks noGrp="1"/>
          </p:cNvSpPr>
          <p:nvPr>
            <p:ph type="sldNum" sz="quarter" idx="11"/>
          </p:nvPr>
        </p:nvSpPr>
        <p:spPr/>
        <p:txBody>
          <a:bodyPr/>
          <a:lstStyle/>
          <a:p>
            <a:pPr>
              <a:defRPr/>
            </a:pPr>
            <a:fld id="{F8A0AC42-AA1D-4944-8D96-660DE70C7E1B}" type="slidenum">
              <a:rPr lang="en-US" sz="1000" smtClean="0"/>
              <a:pPr>
                <a:defRPr/>
              </a:pPr>
              <a:t>35</a:t>
            </a:fld>
            <a:endParaRPr lang="en-US" sz="1000" dirty="0"/>
          </a:p>
        </p:txBody>
      </p:sp>
      <p:graphicFrame>
        <p:nvGraphicFramePr>
          <p:cNvPr id="5" name="Table 4"/>
          <p:cNvGraphicFramePr>
            <a:graphicFrameLocks noGrp="1"/>
          </p:cNvGraphicFramePr>
          <p:nvPr>
            <p:extLst>
              <p:ext uri="{D42A27DB-BD31-4B8C-83A1-F6EECF244321}">
                <p14:modId xmlns:p14="http://schemas.microsoft.com/office/powerpoint/2010/main" val="692348998"/>
              </p:ext>
            </p:extLst>
          </p:nvPr>
        </p:nvGraphicFramePr>
        <p:xfrm>
          <a:off x="471403" y="1555308"/>
          <a:ext cx="11273745" cy="2698639"/>
        </p:xfrm>
        <a:graphic>
          <a:graphicData uri="http://schemas.openxmlformats.org/drawingml/2006/table">
            <a:tbl>
              <a:tblPr firstRow="1" bandRow="1">
                <a:tableStyleId>{2D5ABB26-0587-4C30-8999-92F81FD0307C}</a:tableStyleId>
              </a:tblPr>
              <a:tblGrid>
                <a:gridCol w="4501650">
                  <a:extLst>
                    <a:ext uri="{9D8B030D-6E8A-4147-A177-3AD203B41FA5}">
                      <a16:colId xmlns:a16="http://schemas.microsoft.com/office/drawing/2014/main" val="1384300322"/>
                    </a:ext>
                  </a:extLst>
                </a:gridCol>
                <a:gridCol w="6772095">
                  <a:extLst>
                    <a:ext uri="{9D8B030D-6E8A-4147-A177-3AD203B41FA5}">
                      <a16:colId xmlns:a16="http://schemas.microsoft.com/office/drawing/2014/main" val="4056424228"/>
                    </a:ext>
                  </a:extLst>
                </a:gridCol>
              </a:tblGrid>
              <a:tr h="917403">
                <a:tc>
                  <a:txBody>
                    <a:bodyPr/>
                    <a:lstStyle/>
                    <a:p>
                      <a:pPr lvl="0"/>
                      <a:r>
                        <a:rPr lang="en-US" sz="1600" dirty="0">
                          <a:solidFill>
                            <a:schemeClr val="tx1">
                              <a:lumMod val="65000"/>
                              <a:lumOff val="35000"/>
                            </a:schemeClr>
                          </a:solidFill>
                        </a:rPr>
                        <a:t>Load local</a:t>
                      </a:r>
                      <a:r>
                        <a:rPr lang="en-US" sz="1600" baseline="0" dirty="0">
                          <a:solidFill>
                            <a:schemeClr val="tx1">
                              <a:lumMod val="65000"/>
                              <a:lumOff val="35000"/>
                            </a:schemeClr>
                          </a:solidFill>
                        </a:rPr>
                        <a:t> data</a:t>
                      </a:r>
                      <a:endParaRPr lang="en-US" sz="1600" dirty="0">
                        <a:solidFill>
                          <a:schemeClr val="tx1">
                            <a:lumMod val="65000"/>
                            <a:lumOff val="35000"/>
                          </a:schemeClr>
                        </a:solidFill>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E4F8"/>
                    </a:solidFill>
                  </a:tcPr>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600" baseline="0" dirty="0">
                          <a:solidFill>
                            <a:schemeClr val="accent3"/>
                          </a:solidFill>
                        </a:rPr>
                        <a:t>LOAD DATA LOCAL INPATH ... INTO TABLE … </a:t>
                      </a:r>
                    </a:p>
                    <a:p>
                      <a:pPr marL="0" marR="0" indent="0" algn="l" defTabSz="914367" rtl="0" eaLnBrk="1" fontAlgn="auto" latinLnBrk="0" hangingPunct="1">
                        <a:lnSpc>
                          <a:spcPct val="100000"/>
                        </a:lnSpc>
                        <a:spcBef>
                          <a:spcPts val="0"/>
                        </a:spcBef>
                        <a:spcAft>
                          <a:spcPts val="0"/>
                        </a:spcAft>
                        <a:buClrTx/>
                        <a:buSzTx/>
                        <a:buFontTx/>
                        <a:buNone/>
                        <a:tabLst/>
                        <a:defRPr/>
                      </a:pPr>
                      <a:r>
                        <a:rPr lang="en-US" sz="1600" baseline="0" dirty="0" err="1">
                          <a:solidFill>
                            <a:schemeClr val="accent3"/>
                          </a:solidFill>
                        </a:rPr>
                        <a:t>hadoop</a:t>
                      </a:r>
                      <a:r>
                        <a:rPr lang="en-US" sz="1600" baseline="0" dirty="0">
                          <a:solidFill>
                            <a:schemeClr val="accent3"/>
                          </a:solidFill>
                        </a:rPr>
                        <a:t> </a:t>
                      </a:r>
                      <a:r>
                        <a:rPr lang="en-US" sz="1600" baseline="0" dirty="0" err="1">
                          <a:solidFill>
                            <a:schemeClr val="accent3"/>
                          </a:solidFill>
                        </a:rPr>
                        <a:t>dfs</a:t>
                      </a:r>
                      <a:r>
                        <a:rPr lang="en-US" sz="1600" baseline="0" dirty="0">
                          <a:solidFill>
                            <a:schemeClr val="accent3"/>
                          </a:solidFill>
                        </a:rPr>
                        <a:t> –put </a:t>
                      </a:r>
                      <a:r>
                        <a:rPr lang="en-US" sz="1600" baseline="0" dirty="0">
                          <a:solidFill>
                            <a:schemeClr val="accent2">
                              <a:lumMod val="75000"/>
                            </a:schemeClr>
                          </a:solidFill>
                        </a:rPr>
                        <a:t>‘local source’ ‘destination’</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E4F8"/>
                    </a:solidFill>
                  </a:tcPr>
                </a:tc>
                <a:extLst>
                  <a:ext uri="{0D108BD9-81ED-4DB2-BD59-A6C34878D82A}">
                    <a16:rowId xmlns:a16="http://schemas.microsoft.com/office/drawing/2014/main" val="1205131065"/>
                  </a:ext>
                </a:extLst>
              </a:tr>
              <a:tr h="902285">
                <a:tc>
                  <a:txBody>
                    <a:bodyPr/>
                    <a:lstStyle/>
                    <a:p>
                      <a:pPr lvl="0"/>
                      <a:r>
                        <a:rPr lang="en-US" sz="1600" dirty="0">
                          <a:solidFill>
                            <a:schemeClr val="tx1">
                              <a:lumMod val="65000"/>
                              <a:lumOff val="35000"/>
                            </a:schemeClr>
                          </a:solidFill>
                        </a:rPr>
                        <a:t>Load</a:t>
                      </a:r>
                      <a:r>
                        <a:rPr lang="en-US" sz="1600" baseline="0" dirty="0">
                          <a:solidFill>
                            <a:schemeClr val="tx1">
                              <a:lumMod val="65000"/>
                              <a:lumOff val="35000"/>
                            </a:schemeClr>
                          </a:solidFill>
                        </a:rPr>
                        <a:t> d</a:t>
                      </a:r>
                      <a:r>
                        <a:rPr lang="en-US" sz="1600" dirty="0">
                          <a:solidFill>
                            <a:schemeClr val="tx1">
                              <a:lumMod val="65000"/>
                              <a:lumOff val="35000"/>
                            </a:schemeClr>
                          </a:solidFill>
                        </a:rPr>
                        <a:t>ata</a:t>
                      </a:r>
                      <a:r>
                        <a:rPr lang="en-US" sz="1600" baseline="0" dirty="0">
                          <a:solidFill>
                            <a:schemeClr val="tx1">
                              <a:lumMod val="65000"/>
                              <a:lumOff val="35000"/>
                            </a:schemeClr>
                          </a:solidFill>
                        </a:rPr>
                        <a:t> from other Hive tables</a:t>
                      </a:r>
                      <a:endParaRPr lang="en-US" sz="1600" dirty="0">
                        <a:solidFill>
                          <a:schemeClr val="tx1">
                            <a:lumMod val="65000"/>
                            <a:lumOff val="35000"/>
                          </a:schemeClr>
                        </a:solidFill>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600" dirty="0">
                          <a:solidFill>
                            <a:schemeClr val="accent3"/>
                          </a:solidFill>
                        </a:rPr>
                        <a:t>INSERT</a:t>
                      </a:r>
                      <a:r>
                        <a:rPr lang="en-US" sz="1600" baseline="0" dirty="0">
                          <a:solidFill>
                            <a:schemeClr val="accent3"/>
                          </a:solidFill>
                        </a:rPr>
                        <a:t> INTO TABLE ‘</a:t>
                      </a:r>
                      <a:r>
                        <a:rPr lang="en-US" sz="1600" baseline="0" dirty="0">
                          <a:solidFill>
                            <a:schemeClr val="accent2"/>
                          </a:solidFill>
                        </a:rPr>
                        <a:t>destination-hive-table</a:t>
                      </a:r>
                      <a:r>
                        <a:rPr lang="en-US" sz="1600" baseline="0" dirty="0">
                          <a:solidFill>
                            <a:schemeClr val="accent3"/>
                          </a:solidFill>
                        </a:rPr>
                        <a:t>’ </a:t>
                      </a:r>
                      <a:br>
                        <a:rPr lang="en-US" sz="1600" baseline="0" dirty="0">
                          <a:solidFill>
                            <a:schemeClr val="accent3"/>
                          </a:solidFill>
                        </a:rPr>
                      </a:br>
                      <a:r>
                        <a:rPr lang="en-US" sz="1600" baseline="0" dirty="0">
                          <a:solidFill>
                            <a:schemeClr val="accent3"/>
                          </a:solidFill>
                        </a:rPr>
                        <a:t>SELECT ‘</a:t>
                      </a:r>
                      <a:r>
                        <a:rPr lang="en-US" sz="1600" baseline="0" dirty="0">
                          <a:solidFill>
                            <a:schemeClr val="accent2"/>
                          </a:solidFill>
                        </a:rPr>
                        <a:t>select-statement</a:t>
                      </a:r>
                      <a:r>
                        <a:rPr lang="en-US" sz="1600" baseline="0" dirty="0">
                          <a:solidFill>
                            <a:schemeClr val="accent3"/>
                          </a:solidFill>
                        </a:rPr>
                        <a:t>’ FROM </a:t>
                      </a:r>
                      <a:r>
                        <a:rPr lang="en-US" sz="1600" baseline="0" dirty="0">
                          <a:solidFill>
                            <a:schemeClr val="tx1">
                              <a:lumMod val="75000"/>
                              <a:lumOff val="25000"/>
                            </a:schemeClr>
                          </a:solidFill>
                        </a:rPr>
                        <a:t>‘</a:t>
                      </a:r>
                      <a:r>
                        <a:rPr lang="en-US" sz="1600" baseline="0" dirty="0">
                          <a:solidFill>
                            <a:schemeClr val="accent2"/>
                          </a:solidFill>
                        </a:rPr>
                        <a:t>source-hive-table</a:t>
                      </a:r>
                      <a:r>
                        <a:rPr lang="en-US" sz="1600" baseline="0" dirty="0">
                          <a:solidFill>
                            <a:schemeClr val="tx1">
                              <a:lumMod val="75000"/>
                              <a:lumOff val="25000"/>
                            </a:schemeClr>
                          </a:solidFill>
                        </a:rPr>
                        <a:t>’</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28221985"/>
                  </a:ext>
                </a:extLst>
              </a:tr>
              <a:tr h="878951">
                <a:tc>
                  <a:txBody>
                    <a:bodyPr/>
                    <a:lstStyle/>
                    <a:p>
                      <a:pPr lvl="0"/>
                      <a:r>
                        <a:rPr lang="en-US" sz="1600" dirty="0">
                          <a:solidFill>
                            <a:schemeClr val="tx1">
                              <a:lumMod val="65000"/>
                              <a:lumOff val="35000"/>
                            </a:schemeClr>
                          </a:solidFill>
                        </a:rPr>
                        <a:t>Insert</a:t>
                      </a:r>
                      <a:r>
                        <a:rPr lang="en-US" sz="1600" baseline="0" dirty="0">
                          <a:solidFill>
                            <a:schemeClr val="tx1">
                              <a:lumMod val="65000"/>
                              <a:lumOff val="35000"/>
                            </a:schemeClr>
                          </a:solidFill>
                        </a:rPr>
                        <a:t> values directly</a:t>
                      </a:r>
                      <a:endParaRPr lang="en-US" sz="1600" dirty="0">
                        <a:solidFill>
                          <a:schemeClr val="tx1">
                            <a:lumMod val="65000"/>
                            <a:lumOff val="35000"/>
                          </a:schemeClr>
                        </a:solidFill>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E4F8"/>
                    </a:solidFill>
                  </a:tcPr>
                </a:tc>
                <a:tc>
                  <a:txBody>
                    <a:bodyPr/>
                    <a:lstStyle/>
                    <a:p>
                      <a:pPr marL="0" indent="0">
                        <a:spcAft>
                          <a:spcPts val="600"/>
                        </a:spcAft>
                        <a:buFont typeface="Arial" panose="020B0604020202020204" pitchFamily="34" charset="0"/>
                        <a:buNone/>
                      </a:pPr>
                      <a:r>
                        <a:rPr lang="en-US" sz="1600" i="0" dirty="0">
                          <a:solidFill>
                            <a:schemeClr val="accent3"/>
                          </a:solidFill>
                        </a:rPr>
                        <a:t>INSERT</a:t>
                      </a:r>
                      <a:r>
                        <a:rPr lang="en-US" sz="1600" i="0" baseline="0" dirty="0">
                          <a:solidFill>
                            <a:schemeClr val="accent3"/>
                          </a:solidFill>
                        </a:rPr>
                        <a:t> INTO TABLE </a:t>
                      </a:r>
                      <a:r>
                        <a:rPr lang="en-US" sz="1600" i="0" baseline="0" dirty="0">
                          <a:solidFill>
                            <a:schemeClr val="tx1">
                              <a:lumMod val="65000"/>
                              <a:lumOff val="35000"/>
                            </a:schemeClr>
                          </a:solidFill>
                        </a:rPr>
                        <a:t>‘</a:t>
                      </a:r>
                      <a:r>
                        <a:rPr lang="en-US" sz="1600" i="0" baseline="0" dirty="0" err="1">
                          <a:solidFill>
                            <a:schemeClr val="accent2"/>
                          </a:solidFill>
                        </a:rPr>
                        <a:t>tablename</a:t>
                      </a:r>
                      <a:r>
                        <a:rPr lang="en-US" sz="1600" i="0" baseline="0" dirty="0">
                          <a:solidFill>
                            <a:schemeClr val="tx1">
                              <a:lumMod val="65000"/>
                              <a:lumOff val="35000"/>
                            </a:schemeClr>
                          </a:solidFill>
                        </a:rPr>
                        <a:t>’ </a:t>
                      </a:r>
                      <a:br>
                        <a:rPr lang="en-US" sz="1600" i="0" baseline="0" dirty="0">
                          <a:solidFill>
                            <a:schemeClr val="tx1">
                              <a:lumMod val="65000"/>
                              <a:lumOff val="35000"/>
                            </a:schemeClr>
                          </a:solidFill>
                        </a:rPr>
                      </a:br>
                      <a:r>
                        <a:rPr lang="en-US" sz="1600" i="0" baseline="0" dirty="0">
                          <a:solidFill>
                            <a:schemeClr val="accent3"/>
                          </a:solidFill>
                        </a:rPr>
                        <a:t>VALUES</a:t>
                      </a:r>
                      <a:r>
                        <a:rPr lang="en-US" sz="1600" i="0" baseline="0" dirty="0">
                          <a:solidFill>
                            <a:schemeClr val="tx1">
                              <a:lumMod val="65000"/>
                              <a:lumOff val="35000"/>
                            </a:schemeClr>
                          </a:solidFill>
                        </a:rPr>
                        <a:t> (row1_values), (row2_values), …. </a:t>
                      </a:r>
                      <a:endParaRPr lang="en-US" sz="1600" i="0" dirty="0">
                        <a:solidFill>
                          <a:schemeClr val="tx1">
                            <a:lumMod val="65000"/>
                            <a:lumOff val="35000"/>
                          </a:schemeClr>
                        </a:solidFill>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E4F8"/>
                    </a:solidFill>
                  </a:tcPr>
                </a:tc>
                <a:extLst>
                  <a:ext uri="{0D108BD9-81ED-4DB2-BD59-A6C34878D82A}">
                    <a16:rowId xmlns:a16="http://schemas.microsoft.com/office/drawing/2014/main" val="2244621386"/>
                  </a:ext>
                </a:extLst>
              </a:tr>
            </a:tbl>
          </a:graphicData>
        </a:graphic>
      </p:graphicFrame>
      <p:sp>
        <p:nvSpPr>
          <p:cNvPr id="19" name="Rectangle 18"/>
          <p:cNvSpPr/>
          <p:nvPr/>
        </p:nvSpPr>
        <p:spPr bwMode="auto">
          <a:xfrm>
            <a:off x="7180594" y="5416478"/>
            <a:ext cx="4286512" cy="11401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3770" fontAlgn="base">
              <a:spcBef>
                <a:spcPts val="196"/>
              </a:spcBef>
              <a:spcAft>
                <a:spcPts val="294"/>
              </a:spcAft>
            </a:pPr>
            <a:endParaRPr lang="en-US" sz="1961" dirty="0">
              <a:solidFill>
                <a:srgbClr val="505050"/>
              </a:solidFill>
              <a:ea typeface="Segoe UI" pitchFamily="34" charset="0"/>
              <a:cs typeface="Segoe UI" pitchFamily="34" charset="0"/>
            </a:endParaRPr>
          </a:p>
        </p:txBody>
      </p:sp>
      <p:sp>
        <p:nvSpPr>
          <p:cNvPr id="20" name="Content Placeholder 7"/>
          <p:cNvSpPr txBox="1">
            <a:spLocks/>
          </p:cNvSpPr>
          <p:nvPr/>
        </p:nvSpPr>
        <p:spPr bwMode="auto">
          <a:xfrm>
            <a:off x="9313591" y="6140667"/>
            <a:ext cx="2228327" cy="452604"/>
          </a:xfrm>
          <a:prstGeom prst="rect">
            <a:avLst/>
          </a:prstGeom>
          <a:no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none" lIns="89642" tIns="44821" rIns="89642" bIns="44821" numCol="1" spcCol="0" rtlCol="0" fromWordArt="0" anchor="ctr" anchorCtr="0" forceAA="0" compatLnSpc="1">
            <a:prstTxWarp prst="textNoShape">
              <a:avLst/>
            </a:prstTxWarp>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14367" fontAlgn="base">
              <a:lnSpc>
                <a:spcPct val="100000"/>
              </a:lnSpc>
              <a:spcBef>
                <a:spcPts val="588"/>
              </a:spcBef>
              <a:spcAft>
                <a:spcPts val="588"/>
              </a:spcAft>
              <a:buNone/>
              <a:defRPr/>
            </a:pPr>
            <a:r>
              <a:rPr lang="en-US" sz="2353" b="1" dirty="0">
                <a:solidFill>
                  <a:schemeClr val="bg1"/>
                </a:solidFill>
              </a:rPr>
              <a:t>Hadoop/HDFS</a:t>
            </a:r>
          </a:p>
        </p:txBody>
      </p:sp>
      <p:sp>
        <p:nvSpPr>
          <p:cNvPr id="21" name="Freeform 20"/>
          <p:cNvSpPr>
            <a:spLocks/>
          </p:cNvSpPr>
          <p:nvPr/>
        </p:nvSpPr>
        <p:spPr bwMode="auto">
          <a:xfrm>
            <a:off x="10526929" y="5498737"/>
            <a:ext cx="737849" cy="559671"/>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4367"/>
            <a:endParaRPr lang="en-IN" sz="1961">
              <a:solidFill>
                <a:srgbClr val="000000"/>
              </a:solidFill>
            </a:endParaRPr>
          </a:p>
        </p:txBody>
      </p:sp>
      <p:grpSp>
        <p:nvGrpSpPr>
          <p:cNvPr id="31" name="Group 30"/>
          <p:cNvGrpSpPr/>
          <p:nvPr/>
        </p:nvGrpSpPr>
        <p:grpSpPr>
          <a:xfrm>
            <a:off x="794145" y="5375209"/>
            <a:ext cx="4241818" cy="1222638"/>
            <a:chOff x="7380798" y="1660032"/>
            <a:chExt cx="4241818" cy="1222638"/>
          </a:xfrm>
        </p:grpSpPr>
        <p:sp>
          <p:nvSpPr>
            <p:cNvPr id="23" name="Rectangle 22"/>
            <p:cNvSpPr/>
            <p:nvPr/>
          </p:nvSpPr>
          <p:spPr bwMode="auto">
            <a:xfrm>
              <a:off x="7380798" y="1660032"/>
              <a:ext cx="4241818" cy="1222638"/>
            </a:xfrm>
            <a:prstGeom prst="rect">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grpSp>
          <p:nvGrpSpPr>
            <p:cNvPr id="14" name="Group 13"/>
            <p:cNvGrpSpPr/>
            <p:nvPr/>
          </p:nvGrpSpPr>
          <p:grpSpPr>
            <a:xfrm>
              <a:off x="7807006" y="1862928"/>
              <a:ext cx="765075" cy="897662"/>
              <a:chOff x="7824390" y="4095265"/>
              <a:chExt cx="601556" cy="705806"/>
            </a:xfrm>
            <a:solidFill>
              <a:schemeClr val="accent2"/>
            </a:solidFill>
          </p:grpSpPr>
          <p:sp>
            <p:nvSpPr>
              <p:cNvPr id="15" name="Freeform 14"/>
              <p:cNvSpPr/>
              <p:nvPr/>
            </p:nvSpPr>
            <p:spPr>
              <a:xfrm>
                <a:off x="7824390" y="4095265"/>
                <a:ext cx="484428" cy="705806"/>
              </a:xfrm>
              <a:custGeom>
                <a:avLst/>
                <a:gdLst/>
                <a:ahLst/>
                <a:cxnLst/>
                <a:rect l="l" t="t" r="r" b="b"/>
                <a:pathLst>
                  <a:path w="484428" h="705806">
                    <a:moveTo>
                      <a:pt x="22138" y="425828"/>
                    </a:moveTo>
                    <a:lnTo>
                      <a:pt x="22138" y="647206"/>
                    </a:lnTo>
                    <a:lnTo>
                      <a:pt x="290396" y="684971"/>
                    </a:lnTo>
                    <a:lnTo>
                      <a:pt x="290396" y="437548"/>
                    </a:lnTo>
                    <a:close/>
                    <a:moveTo>
                      <a:pt x="22138" y="363973"/>
                    </a:moveTo>
                    <a:lnTo>
                      <a:pt x="22138" y="406946"/>
                    </a:lnTo>
                    <a:lnTo>
                      <a:pt x="291699" y="417364"/>
                    </a:lnTo>
                    <a:lnTo>
                      <a:pt x="291699" y="367228"/>
                    </a:lnTo>
                    <a:close/>
                    <a:moveTo>
                      <a:pt x="291699" y="298860"/>
                    </a:moveTo>
                    <a:lnTo>
                      <a:pt x="22789" y="301466"/>
                    </a:lnTo>
                    <a:lnTo>
                      <a:pt x="22789" y="344439"/>
                    </a:lnTo>
                    <a:lnTo>
                      <a:pt x="291699" y="348996"/>
                    </a:lnTo>
                    <a:close/>
                    <a:moveTo>
                      <a:pt x="293002" y="229192"/>
                    </a:moveTo>
                    <a:lnTo>
                      <a:pt x="22789" y="239609"/>
                    </a:lnTo>
                    <a:lnTo>
                      <a:pt x="22789" y="283235"/>
                    </a:lnTo>
                    <a:lnTo>
                      <a:pt x="293002" y="279328"/>
                    </a:lnTo>
                    <a:close/>
                    <a:moveTo>
                      <a:pt x="293652" y="159523"/>
                    </a:moveTo>
                    <a:lnTo>
                      <a:pt x="24092" y="177102"/>
                    </a:lnTo>
                    <a:lnTo>
                      <a:pt x="24092" y="222030"/>
                    </a:lnTo>
                    <a:lnTo>
                      <a:pt x="293652" y="209658"/>
                    </a:lnTo>
                    <a:close/>
                    <a:moveTo>
                      <a:pt x="293652" y="91156"/>
                    </a:moveTo>
                    <a:lnTo>
                      <a:pt x="24742" y="115247"/>
                    </a:lnTo>
                    <a:lnTo>
                      <a:pt x="24742" y="160825"/>
                    </a:lnTo>
                    <a:lnTo>
                      <a:pt x="293652" y="141943"/>
                    </a:lnTo>
                    <a:close/>
                    <a:moveTo>
                      <a:pt x="294303" y="22138"/>
                    </a:moveTo>
                    <a:lnTo>
                      <a:pt x="25394" y="54043"/>
                    </a:lnTo>
                    <a:lnTo>
                      <a:pt x="25394" y="97667"/>
                    </a:lnTo>
                    <a:lnTo>
                      <a:pt x="294303" y="71622"/>
                    </a:lnTo>
                    <a:close/>
                    <a:moveTo>
                      <a:pt x="321650" y="0"/>
                    </a:moveTo>
                    <a:lnTo>
                      <a:pt x="484428" y="52090"/>
                    </a:lnTo>
                    <a:lnTo>
                      <a:pt x="481682" y="303119"/>
                    </a:lnTo>
                    <a:cubicBezTo>
                      <a:pt x="424601" y="301242"/>
                      <a:pt x="364564" y="310379"/>
                      <a:pt x="312246" y="334952"/>
                    </a:cubicBezTo>
                    <a:lnTo>
                      <a:pt x="312246" y="680233"/>
                    </a:lnTo>
                    <a:lnTo>
                      <a:pt x="352988" y="691472"/>
                    </a:lnTo>
                    <a:lnTo>
                      <a:pt x="312534" y="705806"/>
                    </a:lnTo>
                    <a:lnTo>
                      <a:pt x="0" y="658926"/>
                    </a:lnTo>
                    <a:lnTo>
                      <a:pt x="0" y="40369"/>
                    </a:lnTo>
                    <a:close/>
                  </a:path>
                </a:pathLst>
              </a:custGeom>
              <a:solidFill>
                <a:schemeClr val="accent4"/>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defRPr/>
                </a:pPr>
                <a:endParaRPr lang="en-US" sz="2157" kern="0" dirty="0">
                  <a:gradFill>
                    <a:gsLst>
                      <a:gs pos="0">
                        <a:srgbClr val="FFFFFF"/>
                      </a:gs>
                      <a:gs pos="100000">
                        <a:srgbClr val="FFFFFF"/>
                      </a:gs>
                    </a:gsLst>
                    <a:lin ang="5400000" scaled="0"/>
                  </a:gradFill>
                </a:endParaRPr>
              </a:p>
            </p:txBody>
          </p:sp>
          <p:grpSp>
            <p:nvGrpSpPr>
              <p:cNvPr id="16" name="Group 15"/>
              <p:cNvGrpSpPr>
                <a:grpSpLocks noChangeAspect="1"/>
              </p:cNvGrpSpPr>
              <p:nvPr/>
            </p:nvGrpSpPr>
            <p:grpSpPr>
              <a:xfrm>
                <a:off x="7918866" y="4411546"/>
                <a:ext cx="507080" cy="372919"/>
                <a:chOff x="-142729" y="1184276"/>
                <a:chExt cx="1802442" cy="1325563"/>
              </a:xfrm>
              <a:grpFill/>
            </p:grpSpPr>
            <p:sp>
              <p:nvSpPr>
                <p:cNvPr id="17" name="Oval 122"/>
                <p:cNvSpPr>
                  <a:spLocks noChangeArrowheads="1"/>
                </p:cNvSpPr>
                <p:nvPr/>
              </p:nvSpPr>
              <p:spPr bwMode="auto">
                <a:xfrm>
                  <a:off x="-142729" y="1184276"/>
                  <a:ext cx="985836"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a:defRPr/>
                  </a:pPr>
                  <a:endParaRPr lang="en-US" sz="1765" kern="0" dirty="0">
                    <a:solidFill>
                      <a:srgbClr val="FFFFFF"/>
                    </a:solidFill>
                  </a:endParaRPr>
                </a:p>
              </p:txBody>
            </p:sp>
            <p:sp>
              <p:nvSpPr>
                <p:cNvPr id="18" name="Freeform 123"/>
                <p:cNvSpPr>
                  <a:spLocks noEditPoints="1"/>
                </p:cNvSpPr>
                <p:nvPr/>
              </p:nvSpPr>
              <p:spPr bwMode="auto">
                <a:xfrm>
                  <a:off x="638954" y="1314452"/>
                  <a:ext cx="1020759" cy="1195387"/>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a:defRPr/>
                  </a:pPr>
                  <a:endParaRPr lang="en-US" sz="1765" kern="0">
                    <a:solidFill>
                      <a:srgbClr val="FFFFFF"/>
                    </a:solidFill>
                  </a:endParaRPr>
                </a:p>
              </p:txBody>
            </p:sp>
          </p:grpSp>
        </p:grpSp>
        <p:sp>
          <p:nvSpPr>
            <p:cNvPr id="6" name="Rectangle 5"/>
            <p:cNvSpPr/>
            <p:nvPr/>
          </p:nvSpPr>
          <p:spPr>
            <a:xfrm>
              <a:off x="8608211" y="2420446"/>
              <a:ext cx="2723823" cy="261610"/>
            </a:xfrm>
            <a:prstGeom prst="rect">
              <a:avLst/>
            </a:prstGeom>
          </p:spPr>
          <p:txBody>
            <a:bodyPr wrap="none">
              <a:spAutoFit/>
            </a:bodyPr>
            <a:lstStyle/>
            <a:p>
              <a:r>
                <a:rPr lang="en-US" sz="1100" dirty="0">
                  <a:solidFill>
                    <a:schemeClr val="bg1"/>
                  </a:solidFill>
                </a:rPr>
                <a:t>‘/home/dataset/</a:t>
              </a:r>
              <a:r>
                <a:rPr lang="en-US" sz="1100" dirty="0" err="1">
                  <a:solidFill>
                    <a:schemeClr val="bg1"/>
                  </a:solidFill>
                </a:rPr>
                <a:t>customers_address_hive</a:t>
              </a:r>
              <a:r>
                <a:rPr lang="en-US" sz="1100" dirty="0">
                  <a:solidFill>
                    <a:schemeClr val="bg1"/>
                  </a:solidFill>
                </a:rPr>
                <a:t>’</a:t>
              </a:r>
            </a:p>
          </p:txBody>
        </p:sp>
        <p:sp>
          <p:nvSpPr>
            <p:cNvPr id="7" name="TextBox 6"/>
            <p:cNvSpPr txBox="1"/>
            <p:nvPr/>
          </p:nvSpPr>
          <p:spPr>
            <a:xfrm>
              <a:off x="8927044" y="1776082"/>
              <a:ext cx="1226769" cy="456955"/>
            </a:xfrm>
            <a:prstGeom prst="rect">
              <a:avLst/>
            </a:prstGeom>
            <a:noFill/>
          </p:spPr>
          <p:txBody>
            <a:bodyPr wrap="none" lIns="182880" tIns="146304" rIns="182880" bIns="146304" rtlCol="0">
              <a:noAutofit/>
            </a:bodyPr>
            <a:lstStyle/>
            <a:p>
              <a:pPr>
                <a:lnSpc>
                  <a:spcPct val="90000"/>
                </a:lnSpc>
                <a:spcAft>
                  <a:spcPts val="600"/>
                </a:spcAft>
              </a:pPr>
              <a:r>
                <a:rPr lang="en-US" dirty="0">
                  <a:solidFill>
                    <a:schemeClr val="bg1"/>
                  </a:solidFill>
                </a:rPr>
                <a:t>Local</a:t>
              </a:r>
              <a:br>
                <a:rPr lang="en-US" dirty="0">
                  <a:solidFill>
                    <a:schemeClr val="bg1"/>
                  </a:solidFill>
                </a:rPr>
              </a:br>
              <a:r>
                <a:rPr lang="en-US" dirty="0">
                  <a:solidFill>
                    <a:schemeClr val="bg1"/>
                  </a:solidFill>
                </a:rPr>
                <a:t>File</a:t>
              </a:r>
            </a:p>
          </p:txBody>
        </p:sp>
        <p:pic>
          <p:nvPicPr>
            <p:cNvPr id="22532" name="Picture 4" descr="http://cdn2.hubspot.net/hub/297110/file-1663305332-png/images/doc-logo.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798984" y="1770282"/>
              <a:ext cx="773520" cy="773520"/>
            </a:xfrm>
            <a:prstGeom prst="rect">
              <a:avLst/>
            </a:prstGeom>
            <a:noFill/>
            <a:extLst>
              <a:ext uri="{909E8E84-426E-40DD-AFC4-6F175D3DCCD1}">
                <a14:hiddenFill xmlns:a14="http://schemas.microsoft.com/office/drawing/2010/main">
                  <a:solidFill>
                    <a:srgbClr val="FFFFFF"/>
                  </a:solidFill>
                </a14:hiddenFill>
              </a:ext>
            </a:extLst>
          </p:spPr>
        </p:pic>
      </p:grpSp>
      <p:sp>
        <p:nvSpPr>
          <p:cNvPr id="22" name="Rectangle 21"/>
          <p:cNvSpPr/>
          <p:nvPr/>
        </p:nvSpPr>
        <p:spPr>
          <a:xfrm>
            <a:off x="7094148" y="5778573"/>
            <a:ext cx="2915670" cy="369332"/>
          </a:xfrm>
          <a:prstGeom prst="rect">
            <a:avLst/>
          </a:prstGeom>
        </p:spPr>
        <p:txBody>
          <a:bodyPr wrap="none">
            <a:spAutoFit/>
          </a:bodyPr>
          <a:lstStyle/>
          <a:p>
            <a:pPr marL="68597" lvl="0"/>
            <a:r>
              <a:rPr lang="en-US" i="1" dirty="0">
                <a:solidFill>
                  <a:schemeClr val="bg1"/>
                </a:solidFill>
              </a:rPr>
              <a:t>/hive/warehouse/customer</a:t>
            </a:r>
          </a:p>
        </p:txBody>
      </p:sp>
      <p:cxnSp>
        <p:nvCxnSpPr>
          <p:cNvPr id="25" name="Straight Arrow Connector 24"/>
          <p:cNvCxnSpPr>
            <a:stCxn id="23" idx="3"/>
            <a:endCxn id="19" idx="1"/>
          </p:cNvCxnSpPr>
          <p:nvPr/>
        </p:nvCxnSpPr>
        <p:spPr>
          <a:xfrm>
            <a:off x="5035963" y="5986528"/>
            <a:ext cx="2144631" cy="0"/>
          </a:xfrm>
          <a:prstGeom prst="straightConnector1">
            <a:avLst/>
          </a:prstGeom>
          <a:ln w="5715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6144126" y="5135715"/>
            <a:ext cx="0" cy="822960"/>
          </a:xfrm>
          <a:prstGeom prst="straightConnector1">
            <a:avLst/>
          </a:prstGeom>
          <a:ln w="57150">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43" name="TextBox 42"/>
          <p:cNvSpPr txBox="1"/>
          <p:nvPr/>
        </p:nvSpPr>
        <p:spPr>
          <a:xfrm>
            <a:off x="5181287" y="1091491"/>
            <a:ext cx="1181805" cy="457647"/>
          </a:xfrm>
          <a:prstGeom prst="rect">
            <a:avLst/>
          </a:prstGeom>
          <a:noFill/>
        </p:spPr>
        <p:txBody>
          <a:bodyPr wrap="none" lIns="182880" tIns="146304" rIns="182880" bIns="146304" rtlCol="0">
            <a:noAutofit/>
          </a:bodyPr>
          <a:lstStyle/>
          <a:p>
            <a:pPr>
              <a:lnSpc>
                <a:spcPct val="90000"/>
              </a:lnSpc>
              <a:spcAft>
                <a:spcPts val="600"/>
              </a:spcAft>
            </a:pPr>
            <a:r>
              <a:rPr lang="en-US" dirty="0">
                <a:solidFill>
                  <a:schemeClr val="tx1">
                    <a:lumMod val="85000"/>
                    <a:lumOff val="15000"/>
                  </a:schemeClr>
                </a:solidFill>
                <a:latin typeface="Segoe UI Semibold" panose="020B0702040204020203" pitchFamily="34" charset="0"/>
                <a:cs typeface="Segoe UI Semibold" panose="020B0702040204020203" pitchFamily="34" charset="0"/>
              </a:rPr>
              <a:t>Options</a:t>
            </a:r>
          </a:p>
        </p:txBody>
      </p:sp>
      <p:pic>
        <p:nvPicPr>
          <p:cNvPr id="8" name="Picture 7"/>
          <p:cNvPicPr>
            <a:picLocks noChangeAspect="1"/>
          </p:cNvPicPr>
          <p:nvPr/>
        </p:nvPicPr>
        <p:blipFill>
          <a:blip r:embed="rId4"/>
          <a:stretch>
            <a:fillRect/>
          </a:stretch>
        </p:blipFill>
        <p:spPr>
          <a:xfrm>
            <a:off x="3615238" y="4574319"/>
            <a:ext cx="5057775" cy="514350"/>
          </a:xfrm>
          <a:prstGeom prst="rect">
            <a:avLst/>
          </a:prstGeom>
        </p:spPr>
      </p:pic>
      <p:sp>
        <p:nvSpPr>
          <p:cNvPr id="24" name="TextBox 23"/>
          <p:cNvSpPr txBox="1"/>
          <p:nvPr/>
        </p:nvSpPr>
        <p:spPr>
          <a:xfrm>
            <a:off x="4227313" y="6656382"/>
            <a:ext cx="3790591" cy="195731"/>
          </a:xfrm>
          <a:prstGeom prst="rect">
            <a:avLst/>
          </a:prstGeom>
          <a:noFill/>
        </p:spPr>
        <p:txBody>
          <a:bodyPr wrap="none" lIns="0" tIns="0" rIns="0" bIns="0" rtlCol="0" anchor="ctr">
            <a:noAutofit/>
          </a:bodyPr>
          <a:lstStyle/>
          <a:p>
            <a:pPr>
              <a:lnSpc>
                <a:spcPct val="90000"/>
              </a:lnSpc>
              <a:spcAft>
                <a:spcPts val="600"/>
              </a:spcAft>
            </a:pPr>
            <a:r>
              <a:rPr lang="en-US" sz="1100" i="1" dirty="0">
                <a:solidFill>
                  <a:schemeClr val="tx1">
                    <a:lumMod val="85000"/>
                    <a:lumOff val="15000"/>
                  </a:schemeClr>
                </a:solidFill>
              </a:rPr>
              <a:t>* Loading data into orders  table is shown in the notes sections</a:t>
            </a:r>
          </a:p>
        </p:txBody>
      </p:sp>
    </p:spTree>
    <p:extLst>
      <p:ext uri="{BB962C8B-B14F-4D97-AF65-F5344CB8AC3E}">
        <p14:creationId xmlns:p14="http://schemas.microsoft.com/office/powerpoint/2010/main" val="3005038734"/>
      </p:ext>
    </p:extLst>
  </p:cSld>
  <p:clrMapOvr>
    <a:masterClrMapping/>
  </p:clrMapOvr>
  <p:transition spd="med">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ustomers Table</a:t>
            </a:r>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36</a:t>
            </a:fld>
            <a:endParaRPr lang="en-US" dirty="0"/>
          </a:p>
        </p:txBody>
      </p:sp>
      <p:pic>
        <p:nvPicPr>
          <p:cNvPr id="4" name="Picture 3"/>
          <p:cNvPicPr>
            <a:picLocks noChangeAspect="1"/>
          </p:cNvPicPr>
          <p:nvPr/>
        </p:nvPicPr>
        <p:blipFill>
          <a:blip r:embed="rId2"/>
          <a:stretch>
            <a:fillRect/>
          </a:stretch>
        </p:blipFill>
        <p:spPr>
          <a:xfrm>
            <a:off x="349971" y="1502704"/>
            <a:ext cx="6891337" cy="4821867"/>
          </a:xfrm>
          <a:prstGeom prst="rect">
            <a:avLst/>
          </a:prstGeom>
        </p:spPr>
      </p:pic>
      <p:pic>
        <p:nvPicPr>
          <p:cNvPr id="6" name="Picture 5"/>
          <p:cNvPicPr>
            <a:picLocks noChangeAspect="1"/>
          </p:cNvPicPr>
          <p:nvPr/>
        </p:nvPicPr>
        <p:blipFill>
          <a:blip r:embed="rId3"/>
          <a:stretch>
            <a:fillRect/>
          </a:stretch>
        </p:blipFill>
        <p:spPr>
          <a:xfrm>
            <a:off x="7241308" y="1500611"/>
            <a:ext cx="4369778" cy="4823960"/>
          </a:xfrm>
          <a:prstGeom prst="rect">
            <a:avLst/>
          </a:prstGeom>
        </p:spPr>
      </p:pic>
    </p:spTree>
    <p:extLst>
      <p:ext uri="{BB962C8B-B14F-4D97-AF65-F5344CB8AC3E}">
        <p14:creationId xmlns:p14="http://schemas.microsoft.com/office/powerpoint/2010/main" val="1499174724"/>
      </p:ext>
    </p:extLst>
  </p:cSld>
  <p:clrMapOvr>
    <a:masterClrMapping/>
  </p:clrMapOvr>
  <p:transition spd="med">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HiveQL</a:t>
            </a:r>
            <a:r>
              <a:rPr lang="en-US" dirty="0"/>
              <a:t> Overview</a:t>
            </a:r>
          </a:p>
        </p:txBody>
      </p:sp>
      <p:sp>
        <p:nvSpPr>
          <p:cNvPr id="3" name="Slide Number Placeholder 2"/>
          <p:cNvSpPr>
            <a:spLocks noGrp="1"/>
          </p:cNvSpPr>
          <p:nvPr>
            <p:ph type="sldNum" sz="quarter" idx="11"/>
          </p:nvPr>
        </p:nvSpPr>
        <p:spPr/>
        <p:txBody>
          <a:bodyPr/>
          <a:lstStyle/>
          <a:p>
            <a:pPr>
              <a:defRPr/>
            </a:pPr>
            <a:fld id="{F8A0AC42-AA1D-4944-8D96-660DE70C7E1B}" type="slidenum">
              <a:rPr lang="en-US" sz="1200" smtClean="0"/>
              <a:pPr>
                <a:defRPr/>
              </a:pPr>
              <a:t>37</a:t>
            </a:fld>
            <a:endParaRPr lang="en-US" sz="1200" dirty="0"/>
          </a:p>
        </p:txBody>
      </p:sp>
      <p:sp>
        <p:nvSpPr>
          <p:cNvPr id="4" name="Trapezoid 3"/>
          <p:cNvSpPr/>
          <p:nvPr/>
        </p:nvSpPr>
        <p:spPr bwMode="auto">
          <a:xfrm rot="16200000">
            <a:off x="85590" y="3031263"/>
            <a:ext cx="5092807" cy="1748590"/>
          </a:xfrm>
          <a:prstGeom prst="trapezoid">
            <a:avLst>
              <a:gd name="adj" fmla="val 128943"/>
            </a:avLst>
          </a:prstGeom>
          <a:no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5" name="TextBox 4"/>
          <p:cNvSpPr txBox="1"/>
          <p:nvPr/>
        </p:nvSpPr>
        <p:spPr>
          <a:xfrm>
            <a:off x="364164" y="3577406"/>
            <a:ext cx="1375185" cy="627864"/>
          </a:xfrm>
          <a:prstGeom prst="rect">
            <a:avLst/>
          </a:prstGeom>
          <a:solidFill>
            <a:schemeClr val="accent3"/>
          </a:solidFill>
        </p:spPr>
        <p:txBody>
          <a:bodyPr wrap="none" lIns="182880" tIns="146304" rIns="182880" bIns="146304" rtlCol="0">
            <a:spAutoFit/>
          </a:bodyPr>
          <a:lstStyle/>
          <a:p>
            <a:pPr>
              <a:lnSpc>
                <a:spcPct val="90000"/>
              </a:lnSpc>
              <a:spcAft>
                <a:spcPts val="600"/>
              </a:spcAft>
            </a:pPr>
            <a:r>
              <a:rPr lang="en-US" sz="2400" dirty="0" err="1">
                <a:solidFill>
                  <a:schemeClr val="bg1"/>
                </a:solidFill>
                <a:latin typeface="Segoe UI Semibold" panose="020B0702040204020203" pitchFamily="34" charset="0"/>
                <a:cs typeface="Segoe UI Semibold" panose="020B0702040204020203" pitchFamily="34" charset="0"/>
              </a:rPr>
              <a:t>HiveQL</a:t>
            </a:r>
            <a:endParaRPr lang="en-US" sz="2400" dirty="0">
              <a:solidFill>
                <a:schemeClr val="bg1"/>
              </a:solidFill>
              <a:latin typeface="Segoe UI Semibold" panose="020B0702040204020203" pitchFamily="34" charset="0"/>
              <a:cs typeface="Segoe UI Semibold" panose="020B0702040204020203" pitchFamily="34" charset="0"/>
            </a:endParaRPr>
          </a:p>
        </p:txBody>
      </p:sp>
      <p:sp>
        <p:nvSpPr>
          <p:cNvPr id="7" name="TextBox 6"/>
          <p:cNvSpPr txBox="1"/>
          <p:nvPr/>
        </p:nvSpPr>
        <p:spPr>
          <a:xfrm>
            <a:off x="3490247" y="1395662"/>
            <a:ext cx="7491851" cy="5042079"/>
          </a:xfrm>
          <a:prstGeom prst="rect">
            <a:avLst/>
          </a:prstGeom>
          <a:solidFill>
            <a:schemeClr val="bg1"/>
          </a:solidFill>
        </p:spPr>
        <p:txBody>
          <a:bodyPr wrap="none" lIns="182880" tIns="146304" rIns="182880" bIns="146304" rtlCol="0">
            <a:noAutofit/>
          </a:bodyPr>
          <a:lstStyle/>
          <a:p>
            <a:pPr marL="251460" indent="-342900">
              <a:lnSpc>
                <a:spcPct val="90000"/>
              </a:lnSpc>
              <a:spcBef>
                <a:spcPts val="600"/>
              </a:spcBef>
              <a:spcAft>
                <a:spcPts val="1200"/>
              </a:spcAft>
              <a:buClr>
                <a:schemeClr val="accent3"/>
              </a:buClr>
              <a:buFont typeface="Wingdings" panose="05000000000000000000" pitchFamily="2" charset="2"/>
              <a:buChar char="v"/>
            </a:pPr>
            <a:r>
              <a:rPr lang="en-US" sz="2000" dirty="0">
                <a:solidFill>
                  <a:schemeClr val="tx1">
                    <a:lumMod val="65000"/>
                    <a:lumOff val="35000"/>
                  </a:schemeClr>
                </a:solidFill>
              </a:rPr>
              <a:t>SQL-like syntax: SELECT … FROM … WHERE </a:t>
            </a:r>
          </a:p>
          <a:p>
            <a:pPr marL="251460" indent="-342900">
              <a:lnSpc>
                <a:spcPct val="90000"/>
              </a:lnSpc>
              <a:spcBef>
                <a:spcPts val="600"/>
              </a:spcBef>
              <a:spcAft>
                <a:spcPts val="1200"/>
              </a:spcAft>
              <a:buClr>
                <a:schemeClr val="accent3"/>
              </a:buClr>
              <a:buFont typeface="Wingdings" panose="05000000000000000000" pitchFamily="2" charset="2"/>
              <a:buChar char="v"/>
            </a:pPr>
            <a:r>
              <a:rPr lang="en-US" sz="2000" dirty="0">
                <a:solidFill>
                  <a:schemeClr val="tx1">
                    <a:lumMod val="65000"/>
                    <a:lumOff val="35000"/>
                  </a:schemeClr>
                </a:solidFill>
              </a:rPr>
              <a:t>ALL and DISTINCT</a:t>
            </a:r>
          </a:p>
          <a:p>
            <a:pPr marL="251460" indent="-342900">
              <a:lnSpc>
                <a:spcPct val="90000"/>
              </a:lnSpc>
              <a:spcBef>
                <a:spcPts val="600"/>
              </a:spcBef>
              <a:spcAft>
                <a:spcPts val="1200"/>
              </a:spcAft>
              <a:buClr>
                <a:schemeClr val="accent3"/>
              </a:buClr>
              <a:buFont typeface="Wingdings" panose="05000000000000000000" pitchFamily="2" charset="2"/>
              <a:buChar char="v"/>
            </a:pPr>
            <a:r>
              <a:rPr lang="en-US" sz="2000" dirty="0">
                <a:solidFill>
                  <a:schemeClr val="tx1">
                    <a:lumMod val="65000"/>
                    <a:lumOff val="35000"/>
                  </a:schemeClr>
                </a:solidFill>
              </a:rPr>
              <a:t>Support for Partitioning</a:t>
            </a:r>
          </a:p>
          <a:p>
            <a:pPr marL="251460" indent="-342900">
              <a:lnSpc>
                <a:spcPct val="90000"/>
              </a:lnSpc>
              <a:spcBef>
                <a:spcPts val="600"/>
              </a:spcBef>
              <a:spcAft>
                <a:spcPts val="1200"/>
              </a:spcAft>
              <a:buClr>
                <a:schemeClr val="accent3"/>
              </a:buClr>
              <a:buFont typeface="Wingdings" panose="05000000000000000000" pitchFamily="2" charset="2"/>
              <a:buChar char="v"/>
            </a:pPr>
            <a:r>
              <a:rPr lang="en-US" sz="2000" dirty="0">
                <a:solidFill>
                  <a:schemeClr val="tx1">
                    <a:lumMod val="65000"/>
                    <a:lumOff val="35000"/>
                  </a:schemeClr>
                </a:solidFill>
              </a:rPr>
              <a:t>GROUP BY</a:t>
            </a:r>
          </a:p>
          <a:p>
            <a:pPr marL="251460" indent="-342900">
              <a:lnSpc>
                <a:spcPct val="90000"/>
              </a:lnSpc>
              <a:spcBef>
                <a:spcPts val="600"/>
              </a:spcBef>
              <a:spcAft>
                <a:spcPts val="1200"/>
              </a:spcAft>
              <a:buClr>
                <a:schemeClr val="accent3"/>
              </a:buClr>
              <a:buFont typeface="Wingdings" panose="05000000000000000000" pitchFamily="2" charset="2"/>
              <a:buChar char="v"/>
            </a:pPr>
            <a:r>
              <a:rPr lang="en-US" sz="2000" dirty="0">
                <a:solidFill>
                  <a:schemeClr val="tx1">
                    <a:lumMod val="65000"/>
                    <a:lumOff val="35000"/>
                  </a:schemeClr>
                </a:solidFill>
              </a:rPr>
              <a:t>SORT BY, ORDER BY, CLUSTER BY, DISTRIBUTE BY</a:t>
            </a:r>
          </a:p>
          <a:p>
            <a:pPr marL="251460" indent="-342900">
              <a:lnSpc>
                <a:spcPct val="90000"/>
              </a:lnSpc>
              <a:spcBef>
                <a:spcPts val="600"/>
              </a:spcBef>
              <a:spcAft>
                <a:spcPts val="1200"/>
              </a:spcAft>
              <a:buClr>
                <a:schemeClr val="accent3"/>
              </a:buClr>
              <a:buFont typeface="Wingdings" panose="05000000000000000000" pitchFamily="2" charset="2"/>
              <a:buChar char="v"/>
            </a:pPr>
            <a:r>
              <a:rPr lang="en-US" sz="2000" dirty="0">
                <a:solidFill>
                  <a:schemeClr val="tx1">
                    <a:lumMod val="65000"/>
                    <a:lumOff val="35000"/>
                  </a:schemeClr>
                </a:solidFill>
              </a:rPr>
              <a:t>JOINs: LEFT, RIGHT, FULL, OUTER, LEFT SEMI, CROSS JOIN</a:t>
            </a:r>
          </a:p>
          <a:p>
            <a:pPr marL="251460" indent="-342900">
              <a:lnSpc>
                <a:spcPct val="90000"/>
              </a:lnSpc>
              <a:spcBef>
                <a:spcPts val="600"/>
              </a:spcBef>
              <a:spcAft>
                <a:spcPts val="1200"/>
              </a:spcAft>
              <a:buClr>
                <a:schemeClr val="accent3"/>
              </a:buClr>
              <a:buFont typeface="Wingdings" panose="05000000000000000000" pitchFamily="2" charset="2"/>
              <a:buChar char="v"/>
            </a:pPr>
            <a:r>
              <a:rPr lang="en-US" sz="2000" dirty="0">
                <a:solidFill>
                  <a:schemeClr val="tx1">
                    <a:lumMod val="65000"/>
                    <a:lumOff val="35000"/>
                  </a:schemeClr>
                </a:solidFill>
              </a:rPr>
              <a:t>Built-in: Operators, Functions, Aggregate Functions</a:t>
            </a:r>
          </a:p>
          <a:p>
            <a:pPr marL="251460" indent="-342900">
              <a:lnSpc>
                <a:spcPct val="90000"/>
              </a:lnSpc>
              <a:spcBef>
                <a:spcPts val="600"/>
              </a:spcBef>
              <a:spcAft>
                <a:spcPts val="1200"/>
              </a:spcAft>
              <a:buClr>
                <a:schemeClr val="accent3"/>
              </a:buClr>
              <a:buFont typeface="Wingdings" panose="05000000000000000000" pitchFamily="2" charset="2"/>
              <a:buChar char="v"/>
            </a:pPr>
            <a:r>
              <a:rPr lang="en-US" sz="2000" dirty="0">
                <a:solidFill>
                  <a:schemeClr val="tx1">
                    <a:lumMod val="65000"/>
                    <a:lumOff val="35000"/>
                  </a:schemeClr>
                </a:solidFill>
              </a:rPr>
              <a:t>User Defined Functions (UDFs)</a:t>
            </a:r>
          </a:p>
          <a:p>
            <a:pPr marL="251460" indent="-342900">
              <a:lnSpc>
                <a:spcPct val="90000"/>
              </a:lnSpc>
              <a:spcBef>
                <a:spcPts val="600"/>
              </a:spcBef>
              <a:spcAft>
                <a:spcPts val="1200"/>
              </a:spcAft>
              <a:buClr>
                <a:schemeClr val="accent3"/>
              </a:buClr>
              <a:buFont typeface="Wingdings" panose="05000000000000000000" pitchFamily="2" charset="2"/>
              <a:buChar char="v"/>
            </a:pPr>
            <a:r>
              <a:rPr lang="en-US" sz="2000" dirty="0">
                <a:solidFill>
                  <a:schemeClr val="tx1">
                    <a:lumMod val="65000"/>
                    <a:lumOff val="35000"/>
                  </a:schemeClr>
                </a:solidFill>
              </a:rPr>
              <a:t>Support for Subqueries</a:t>
            </a:r>
          </a:p>
          <a:p>
            <a:pPr marL="251460" indent="-342900">
              <a:lnSpc>
                <a:spcPct val="90000"/>
              </a:lnSpc>
              <a:spcBef>
                <a:spcPts val="600"/>
              </a:spcBef>
              <a:spcAft>
                <a:spcPts val="1200"/>
              </a:spcAft>
              <a:buClr>
                <a:schemeClr val="accent3"/>
              </a:buClr>
              <a:buFont typeface="Wingdings" panose="05000000000000000000" pitchFamily="2" charset="2"/>
              <a:buChar char="v"/>
            </a:pPr>
            <a:r>
              <a:rPr lang="en-US" sz="2000" dirty="0">
                <a:solidFill>
                  <a:schemeClr val="tx1">
                    <a:lumMod val="65000"/>
                    <a:lumOff val="35000"/>
                  </a:schemeClr>
                </a:solidFill>
              </a:rPr>
              <a:t>Windowing and Analytics Functions</a:t>
            </a:r>
          </a:p>
          <a:p>
            <a:pPr marL="182880" indent="-274320">
              <a:lnSpc>
                <a:spcPct val="90000"/>
              </a:lnSpc>
              <a:spcAft>
                <a:spcPts val="600"/>
              </a:spcAft>
              <a:buFont typeface="+mj-lt"/>
              <a:buAutoNum type="arabicPeriod"/>
            </a:pPr>
            <a:endParaRPr lang="en-US" dirty="0">
              <a:solidFill>
                <a:schemeClr val="tx1">
                  <a:lumMod val="85000"/>
                  <a:lumOff val="15000"/>
                </a:schemeClr>
              </a:solidFill>
            </a:endParaRPr>
          </a:p>
        </p:txBody>
      </p:sp>
      <p:cxnSp>
        <p:nvCxnSpPr>
          <p:cNvPr id="17" name="Straight Connector 16"/>
          <p:cNvCxnSpPr/>
          <p:nvPr/>
        </p:nvCxnSpPr>
        <p:spPr>
          <a:xfrm>
            <a:off x="3490246" y="1363578"/>
            <a:ext cx="8138160" cy="0"/>
          </a:xfrm>
          <a:prstGeom prst="line">
            <a:avLst/>
          </a:prstGeom>
          <a:ln w="38100">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3490246" y="6451962"/>
            <a:ext cx="7955280" cy="0"/>
          </a:xfrm>
          <a:prstGeom prst="line">
            <a:avLst/>
          </a:prstGeom>
          <a:ln w="28575">
            <a:headEnd type="none"/>
            <a:tailEnd type="none"/>
          </a:ln>
        </p:spPr>
        <p:style>
          <a:lnRef idx="1">
            <a:schemeClr val="accent1"/>
          </a:lnRef>
          <a:fillRef idx="0">
            <a:schemeClr val="accent1"/>
          </a:fillRef>
          <a:effectRef idx="0">
            <a:schemeClr val="accent1"/>
          </a:effectRef>
          <a:fontRef idx="minor">
            <a:schemeClr val="tx1"/>
          </a:fontRef>
        </p:style>
      </p:cxnSp>
      <p:grpSp>
        <p:nvGrpSpPr>
          <p:cNvPr id="24" name="Group 23"/>
          <p:cNvGrpSpPr/>
          <p:nvPr/>
        </p:nvGrpSpPr>
        <p:grpSpPr>
          <a:xfrm>
            <a:off x="3907584" y="1433326"/>
            <a:ext cx="7732295" cy="4507817"/>
            <a:chOff x="3928710" y="1448668"/>
            <a:chExt cx="7732295" cy="4507817"/>
          </a:xfrm>
          <a:solidFill>
            <a:schemeClr val="accent1">
              <a:alpha val="7843"/>
            </a:schemeClr>
          </a:solidFill>
        </p:grpSpPr>
        <p:sp>
          <p:nvSpPr>
            <p:cNvPr id="11" name="Rectangle 10"/>
            <p:cNvSpPr/>
            <p:nvPr/>
          </p:nvSpPr>
          <p:spPr bwMode="auto">
            <a:xfrm>
              <a:off x="3928710" y="1448668"/>
              <a:ext cx="7732295" cy="513349"/>
            </a:xfrm>
            <a:prstGeom prst="rect">
              <a:avLst/>
            </a:prstGeom>
            <a:solidFill>
              <a:schemeClr val="accent3">
                <a:lumMod val="20000"/>
                <a:lumOff val="80000"/>
                <a:alpha val="18039"/>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20" name="Rectangle 19"/>
            <p:cNvSpPr/>
            <p:nvPr/>
          </p:nvSpPr>
          <p:spPr bwMode="auto">
            <a:xfrm>
              <a:off x="3928710" y="2403168"/>
              <a:ext cx="7732295" cy="513349"/>
            </a:xfrm>
            <a:prstGeom prst="rect">
              <a:avLst/>
            </a:prstGeom>
            <a:solidFill>
              <a:schemeClr val="accent3">
                <a:lumMod val="20000"/>
                <a:lumOff val="80000"/>
                <a:alpha val="18039"/>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21" name="Rectangle 20"/>
            <p:cNvSpPr/>
            <p:nvPr/>
          </p:nvSpPr>
          <p:spPr bwMode="auto">
            <a:xfrm>
              <a:off x="3928710" y="3421837"/>
              <a:ext cx="7732295" cy="513349"/>
            </a:xfrm>
            <a:prstGeom prst="rect">
              <a:avLst/>
            </a:prstGeom>
            <a:solidFill>
              <a:schemeClr val="accent3">
                <a:lumMod val="20000"/>
                <a:lumOff val="80000"/>
                <a:alpha val="18039"/>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22" name="Rectangle 21"/>
            <p:cNvSpPr/>
            <p:nvPr/>
          </p:nvSpPr>
          <p:spPr bwMode="auto">
            <a:xfrm>
              <a:off x="3928710" y="4408425"/>
              <a:ext cx="7732295" cy="513349"/>
            </a:xfrm>
            <a:prstGeom prst="rect">
              <a:avLst/>
            </a:prstGeom>
            <a:solidFill>
              <a:schemeClr val="accent3">
                <a:lumMod val="20000"/>
                <a:lumOff val="80000"/>
                <a:alpha val="18039"/>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23" name="Rectangle 22"/>
            <p:cNvSpPr/>
            <p:nvPr/>
          </p:nvSpPr>
          <p:spPr bwMode="auto">
            <a:xfrm>
              <a:off x="3928710" y="5443136"/>
              <a:ext cx="7732295" cy="513349"/>
            </a:xfrm>
            <a:prstGeom prst="rect">
              <a:avLst/>
            </a:prstGeom>
            <a:solidFill>
              <a:schemeClr val="accent3">
                <a:lumMod val="20000"/>
                <a:lumOff val="80000"/>
                <a:alpha val="18039"/>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grpSp>
    </p:spTree>
    <p:extLst>
      <p:ext uri="{BB962C8B-B14F-4D97-AF65-F5344CB8AC3E}">
        <p14:creationId xmlns:p14="http://schemas.microsoft.com/office/powerpoint/2010/main" val="3363278581"/>
      </p:ext>
    </p:extLst>
  </p:cSld>
  <p:clrMapOvr>
    <a:masterClrMapping/>
  </p:clrMapOvr>
  <p:transition spd="med">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HiveQL</a:t>
            </a:r>
            <a:endParaRPr lang="en-US" dirty="0"/>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38</a:t>
            </a:fld>
            <a:endParaRPr lang="en-US" dirty="0"/>
          </a:p>
        </p:txBody>
      </p:sp>
      <p:sp>
        <p:nvSpPr>
          <p:cNvPr id="4" name="TextBox 3"/>
          <p:cNvSpPr txBox="1"/>
          <p:nvPr/>
        </p:nvSpPr>
        <p:spPr>
          <a:xfrm>
            <a:off x="478476" y="1180755"/>
            <a:ext cx="7949689" cy="890597"/>
          </a:xfrm>
          <a:prstGeom prst="rect">
            <a:avLst/>
          </a:prstGeom>
          <a:solidFill>
            <a:schemeClr val="accent3"/>
          </a:solidFill>
        </p:spPr>
        <p:txBody>
          <a:bodyPr wrap="square" lIns="182880" tIns="146304" rIns="182880" bIns="146304" rtlCol="0" anchor="ctr">
            <a:noAutofit/>
          </a:bodyPr>
          <a:lstStyle/>
          <a:p>
            <a:pPr algn="ctr">
              <a:lnSpc>
                <a:spcPct val="90000"/>
              </a:lnSpc>
              <a:spcAft>
                <a:spcPts val="600"/>
              </a:spcAft>
            </a:pPr>
            <a:r>
              <a:rPr lang="en-US" dirty="0">
                <a:solidFill>
                  <a:schemeClr val="bg1"/>
                </a:solidFill>
                <a:latin typeface="Segoe UI Semibold" panose="020B0702040204020203" pitchFamily="34" charset="0"/>
                <a:cs typeface="Segoe UI Semibold" panose="020B0702040204020203" pitchFamily="34" charset="0"/>
              </a:rPr>
              <a:t>Query: Find name and </a:t>
            </a:r>
            <a:r>
              <a:rPr lang="en-US" i="1" dirty="0">
                <a:solidFill>
                  <a:schemeClr val="bg1"/>
                </a:solidFill>
                <a:latin typeface="Segoe UI Semibold" panose="020B0702040204020203" pitchFamily="34" charset="0"/>
                <a:cs typeface="Segoe UI Semibold" panose="020B0702040204020203" pitchFamily="34" charset="0"/>
              </a:rPr>
              <a:t>billing city </a:t>
            </a:r>
            <a:r>
              <a:rPr lang="en-US" dirty="0">
                <a:solidFill>
                  <a:schemeClr val="bg1"/>
                </a:solidFill>
                <a:latin typeface="Segoe UI Semibold" panose="020B0702040204020203" pitchFamily="34" charset="0"/>
                <a:cs typeface="Segoe UI Semibold" panose="020B0702040204020203" pitchFamily="34" charset="0"/>
              </a:rPr>
              <a:t>of customers with </a:t>
            </a:r>
            <a:r>
              <a:rPr lang="en-US" i="1" dirty="0">
                <a:solidFill>
                  <a:schemeClr val="bg1"/>
                </a:solidFill>
                <a:latin typeface="Segoe UI Semibold" panose="020B0702040204020203" pitchFamily="34" charset="0"/>
                <a:cs typeface="Segoe UI Semibold" panose="020B0702040204020203" pitchFamily="34" charset="0"/>
              </a:rPr>
              <a:t>shipping addresses </a:t>
            </a:r>
            <a:r>
              <a:rPr lang="en-US" dirty="0">
                <a:solidFill>
                  <a:schemeClr val="bg1"/>
                </a:solidFill>
                <a:latin typeface="Segoe UI Semibold" panose="020B0702040204020203" pitchFamily="34" charset="0"/>
                <a:cs typeface="Segoe UI Semibold" panose="020B0702040204020203" pitchFamily="34" charset="0"/>
              </a:rPr>
              <a:t>in ‘TX’ or ‘IL‘. Group by City.</a:t>
            </a:r>
          </a:p>
        </p:txBody>
      </p:sp>
      <p:sp>
        <p:nvSpPr>
          <p:cNvPr id="9" name="Striped Right Arrow 8"/>
          <p:cNvSpPr/>
          <p:nvPr/>
        </p:nvSpPr>
        <p:spPr bwMode="auto">
          <a:xfrm>
            <a:off x="7795461" y="3661347"/>
            <a:ext cx="771525" cy="466725"/>
          </a:xfrm>
          <a:prstGeom prst="striped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pic>
        <p:nvPicPr>
          <p:cNvPr id="6" name="Picture 5"/>
          <p:cNvPicPr>
            <a:picLocks noChangeAspect="1"/>
          </p:cNvPicPr>
          <p:nvPr/>
        </p:nvPicPr>
        <p:blipFill>
          <a:blip r:embed="rId2"/>
          <a:stretch>
            <a:fillRect/>
          </a:stretch>
        </p:blipFill>
        <p:spPr>
          <a:xfrm>
            <a:off x="8705807" y="796066"/>
            <a:ext cx="2939000" cy="5708606"/>
          </a:xfrm>
          <a:prstGeom prst="rect">
            <a:avLst/>
          </a:prstGeom>
          <a:ln>
            <a:solidFill>
              <a:schemeClr val="bg2">
                <a:lumMod val="50000"/>
              </a:schemeClr>
            </a:solidFill>
          </a:ln>
        </p:spPr>
      </p:pic>
      <p:pic>
        <p:nvPicPr>
          <p:cNvPr id="8" name="Picture 7"/>
          <p:cNvPicPr>
            <a:picLocks noChangeAspect="1"/>
          </p:cNvPicPr>
          <p:nvPr/>
        </p:nvPicPr>
        <p:blipFill>
          <a:blip r:embed="rId3"/>
          <a:stretch>
            <a:fillRect/>
          </a:stretch>
        </p:blipFill>
        <p:spPr>
          <a:xfrm>
            <a:off x="387275" y="2459321"/>
            <a:ext cx="7229475" cy="2800350"/>
          </a:xfrm>
          <a:prstGeom prst="rect">
            <a:avLst/>
          </a:prstGeom>
          <a:ln>
            <a:solidFill>
              <a:schemeClr val="bg2">
                <a:lumMod val="50000"/>
              </a:schemeClr>
            </a:solidFill>
          </a:ln>
        </p:spPr>
      </p:pic>
    </p:spTree>
    <p:extLst>
      <p:ext uri="{BB962C8B-B14F-4D97-AF65-F5344CB8AC3E}">
        <p14:creationId xmlns:p14="http://schemas.microsoft.com/office/powerpoint/2010/main" val="2607487664"/>
      </p:ext>
    </p:extLst>
  </p:cSld>
  <p:clrMapOvr>
    <a:masterClrMapping/>
  </p:clrMapOvr>
  <p:transition spd="med">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HiveQL</a:t>
            </a:r>
            <a:endParaRPr lang="en-US" dirty="0"/>
          </a:p>
        </p:txBody>
      </p:sp>
      <p:sp>
        <p:nvSpPr>
          <p:cNvPr id="3" name="Slide Number Placeholder 2"/>
          <p:cNvSpPr>
            <a:spLocks noGrp="1"/>
          </p:cNvSpPr>
          <p:nvPr>
            <p:ph type="sldNum" sz="quarter" idx="11"/>
          </p:nvPr>
        </p:nvSpPr>
        <p:spPr/>
        <p:txBody>
          <a:bodyPr/>
          <a:lstStyle/>
          <a:p>
            <a:pPr>
              <a:defRPr/>
            </a:pPr>
            <a:fld id="{F8A0AC42-AA1D-4944-8D96-660DE70C7E1B}" type="slidenum">
              <a:rPr lang="en-US" sz="1200" smtClean="0"/>
              <a:pPr>
                <a:defRPr/>
              </a:pPr>
              <a:t>39</a:t>
            </a:fld>
            <a:endParaRPr lang="en-US" sz="1200" dirty="0"/>
          </a:p>
        </p:txBody>
      </p:sp>
      <p:sp>
        <p:nvSpPr>
          <p:cNvPr id="4" name="TextBox 3"/>
          <p:cNvSpPr txBox="1"/>
          <p:nvPr/>
        </p:nvSpPr>
        <p:spPr>
          <a:xfrm>
            <a:off x="372739" y="1121082"/>
            <a:ext cx="6836724" cy="793779"/>
          </a:xfrm>
          <a:prstGeom prst="rect">
            <a:avLst/>
          </a:prstGeom>
          <a:solidFill>
            <a:schemeClr val="accent3"/>
          </a:solidFill>
        </p:spPr>
        <p:txBody>
          <a:bodyPr wrap="square" lIns="182880" tIns="146304" rIns="182880" bIns="146304" rtlCol="0">
            <a:noAutofit/>
          </a:bodyPr>
          <a:lstStyle/>
          <a:p>
            <a:pPr algn="ctr">
              <a:lnSpc>
                <a:spcPct val="90000"/>
              </a:lnSpc>
              <a:spcAft>
                <a:spcPts val="600"/>
              </a:spcAft>
            </a:pPr>
            <a:r>
              <a:rPr lang="en-US" dirty="0">
                <a:solidFill>
                  <a:schemeClr val="bg1"/>
                </a:solidFill>
                <a:latin typeface="Segoe UI Semibold" panose="020B0702040204020203" pitchFamily="34" charset="0"/>
                <a:cs typeface="Segoe UI Semibold" panose="020B0702040204020203" pitchFamily="34" charset="0"/>
              </a:rPr>
              <a:t>Query: Find names of products purchased by customers whose shipping address is in Texas.</a:t>
            </a:r>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330759" y="1121082"/>
            <a:ext cx="4445605" cy="5450939"/>
          </a:xfrm>
          <a:prstGeom prst="rect">
            <a:avLst/>
          </a:prstGeom>
          <a:ln>
            <a:solidFill>
              <a:schemeClr val="bg2">
                <a:lumMod val="50000"/>
              </a:schemeClr>
            </a:solidFill>
          </a:ln>
        </p:spPr>
      </p:pic>
      <p:pic>
        <p:nvPicPr>
          <p:cNvPr id="11" name="Picture 10"/>
          <p:cNvPicPr>
            <a:picLocks noChangeAspect="1"/>
          </p:cNvPicPr>
          <p:nvPr/>
        </p:nvPicPr>
        <p:blipFill>
          <a:blip r:embed="rId3"/>
          <a:stretch>
            <a:fillRect/>
          </a:stretch>
        </p:blipFill>
        <p:spPr>
          <a:xfrm>
            <a:off x="372739" y="2841914"/>
            <a:ext cx="6457950" cy="2781300"/>
          </a:xfrm>
          <a:prstGeom prst="rect">
            <a:avLst/>
          </a:prstGeom>
          <a:ln>
            <a:solidFill>
              <a:schemeClr val="tx1">
                <a:lumMod val="65000"/>
                <a:lumOff val="35000"/>
              </a:schemeClr>
            </a:solidFill>
          </a:ln>
        </p:spPr>
      </p:pic>
      <p:sp>
        <p:nvSpPr>
          <p:cNvPr id="9" name="Striped Right Arrow 8"/>
          <p:cNvSpPr/>
          <p:nvPr/>
        </p:nvSpPr>
        <p:spPr bwMode="auto">
          <a:xfrm>
            <a:off x="6671960" y="4091029"/>
            <a:ext cx="771525" cy="466725"/>
          </a:xfrm>
          <a:prstGeom prst="striped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Tree>
    <p:extLst>
      <p:ext uri="{BB962C8B-B14F-4D97-AF65-F5344CB8AC3E}">
        <p14:creationId xmlns:p14="http://schemas.microsoft.com/office/powerpoint/2010/main" val="787537291"/>
      </p:ext>
    </p:extLst>
  </p:cSld>
  <p:clrMapOvr>
    <a:masterClrMapping/>
  </p:clrMapOvr>
  <p:transition spd="med">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adoop – What is it?</a:t>
            </a:r>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4</a:t>
            </a:fld>
            <a:endParaRPr lang="en-US" dirty="0"/>
          </a:p>
        </p:txBody>
      </p:sp>
      <p:sp>
        <p:nvSpPr>
          <p:cNvPr id="4" name="TextBox 3"/>
          <p:cNvSpPr txBox="1"/>
          <p:nvPr/>
        </p:nvSpPr>
        <p:spPr>
          <a:xfrm>
            <a:off x="502920" y="1327465"/>
            <a:ext cx="11183112" cy="530352"/>
          </a:xfrm>
          <a:prstGeom prst="rect">
            <a:avLst/>
          </a:prstGeom>
          <a:solidFill>
            <a:schemeClr val="accent3"/>
          </a:solidFill>
        </p:spPr>
        <p:txBody>
          <a:bodyPr wrap="none" lIns="182880" tIns="146304" rIns="182880" bIns="146304" rtlCol="0">
            <a:noAutofit/>
          </a:bodyPr>
          <a:lstStyle/>
          <a:p>
            <a:pPr algn="ctr">
              <a:lnSpc>
                <a:spcPct val="90000"/>
              </a:lnSpc>
              <a:spcAft>
                <a:spcPts val="600"/>
              </a:spcAft>
            </a:pPr>
            <a:r>
              <a:rPr lang="en-US" sz="2000" dirty="0">
                <a:solidFill>
                  <a:schemeClr val="bg1"/>
                </a:solidFill>
                <a:latin typeface="Segoe UI Semibold" panose="020B0702040204020203" pitchFamily="34" charset="0"/>
                <a:cs typeface="Segoe UI Semibold" panose="020B0702040204020203" pitchFamily="34" charset="0"/>
              </a:rPr>
              <a:t>A highly reliable, distributed and parallel programming framework for analyzing big data</a:t>
            </a:r>
          </a:p>
        </p:txBody>
      </p:sp>
      <p:sp>
        <p:nvSpPr>
          <p:cNvPr id="5" name="TextBox 4"/>
          <p:cNvSpPr txBox="1"/>
          <p:nvPr/>
        </p:nvSpPr>
        <p:spPr>
          <a:xfrm>
            <a:off x="417863" y="1922191"/>
            <a:ext cx="6793992" cy="4515551"/>
          </a:xfrm>
          <a:prstGeom prst="rect">
            <a:avLst/>
          </a:prstGeom>
          <a:noFill/>
        </p:spPr>
        <p:txBody>
          <a:bodyPr wrap="square" lIns="182880" tIns="146304" rIns="182880" bIns="146304" rtlCol="0">
            <a:noAutofit/>
          </a:bodyPr>
          <a:lstStyle/>
          <a:p>
            <a:pPr marL="285750" indent="-285750">
              <a:lnSpc>
                <a:spcPts val="2600"/>
              </a:lnSpc>
              <a:spcBef>
                <a:spcPts val="300"/>
              </a:spcBef>
              <a:spcAft>
                <a:spcPts val="300"/>
              </a:spcAft>
              <a:buClr>
                <a:schemeClr val="accent3"/>
              </a:buClr>
              <a:buSzPct val="75000"/>
              <a:buFont typeface="Wingdings" panose="05000000000000000000" pitchFamily="2" charset="2"/>
              <a:buChar char="v"/>
            </a:pPr>
            <a:r>
              <a:rPr lang="en-US" sz="2000" dirty="0">
                <a:solidFill>
                  <a:schemeClr val="tx1">
                    <a:lumMod val="65000"/>
                    <a:lumOff val="35000"/>
                  </a:schemeClr>
                </a:solidFill>
              </a:rPr>
              <a:t>An Java-based, open sourced, Apache project</a:t>
            </a:r>
          </a:p>
          <a:p>
            <a:pPr marL="285750" indent="-285750">
              <a:lnSpc>
                <a:spcPts val="2300"/>
              </a:lnSpc>
              <a:spcBef>
                <a:spcPts val="300"/>
              </a:spcBef>
              <a:spcAft>
                <a:spcPts val="300"/>
              </a:spcAft>
              <a:buClr>
                <a:schemeClr val="accent3"/>
              </a:buClr>
              <a:buSzPct val="75000"/>
              <a:buFont typeface="Wingdings" panose="05000000000000000000" pitchFamily="2" charset="2"/>
              <a:buChar char="v"/>
            </a:pPr>
            <a:r>
              <a:rPr lang="en-US" sz="2000" dirty="0">
                <a:solidFill>
                  <a:schemeClr val="tx1">
                    <a:lumMod val="65000"/>
                    <a:lumOff val="35000"/>
                  </a:schemeClr>
                </a:solidFill>
              </a:rPr>
              <a:t>Capable of running on variety of hardware platforms, including clusters of commodity hardware</a:t>
            </a:r>
          </a:p>
          <a:p>
            <a:pPr marL="742950" lvl="1" indent="-285750">
              <a:lnSpc>
                <a:spcPct val="90000"/>
              </a:lnSpc>
              <a:spcAft>
                <a:spcPts val="300"/>
              </a:spcAft>
              <a:buFont typeface="Arial" panose="020B0604020202020204" pitchFamily="34" charset="0"/>
              <a:buChar char="•"/>
            </a:pPr>
            <a:r>
              <a:rPr lang="en-US" sz="1600" dirty="0">
                <a:solidFill>
                  <a:schemeClr val="tx1">
                    <a:lumMod val="65000"/>
                    <a:lumOff val="35000"/>
                  </a:schemeClr>
                </a:solidFill>
              </a:rPr>
              <a:t>Is tolerant to failures of nodes, software components, network</a:t>
            </a:r>
          </a:p>
          <a:p>
            <a:pPr marL="742950" lvl="1" indent="-285750">
              <a:lnSpc>
                <a:spcPct val="90000"/>
              </a:lnSpc>
              <a:spcAft>
                <a:spcPts val="300"/>
              </a:spcAft>
              <a:buFont typeface="Arial" panose="020B0604020202020204" pitchFamily="34" charset="0"/>
              <a:buChar char="•"/>
            </a:pPr>
            <a:r>
              <a:rPr lang="en-US" sz="1600" dirty="0">
                <a:solidFill>
                  <a:schemeClr val="tx1">
                    <a:lumMod val="65000"/>
                    <a:lumOff val="35000"/>
                  </a:schemeClr>
                </a:solidFill>
              </a:rPr>
              <a:t>Scales with the cluster</a:t>
            </a:r>
          </a:p>
          <a:p>
            <a:pPr marL="285750" indent="-285750">
              <a:lnSpc>
                <a:spcPts val="2600"/>
              </a:lnSpc>
              <a:spcAft>
                <a:spcPts val="300"/>
              </a:spcAft>
              <a:buClr>
                <a:schemeClr val="accent3"/>
              </a:buClr>
              <a:buSzPct val="75000"/>
              <a:buFont typeface="Wingdings" panose="05000000000000000000" pitchFamily="2" charset="2"/>
              <a:buChar char="v"/>
            </a:pPr>
            <a:r>
              <a:rPr lang="en-US" sz="2000" dirty="0">
                <a:solidFill>
                  <a:schemeClr val="tx1">
                    <a:lumMod val="65000"/>
                    <a:lumOff val="35000"/>
                  </a:schemeClr>
                </a:solidFill>
              </a:rPr>
              <a:t>The Hadoop core consists of:</a:t>
            </a:r>
          </a:p>
          <a:p>
            <a:pPr marL="742950" lvl="1" indent="-285750">
              <a:lnSpc>
                <a:spcPct val="90000"/>
              </a:lnSpc>
              <a:spcAft>
                <a:spcPts val="600"/>
              </a:spcAft>
              <a:buFont typeface="Arial" panose="020B0604020202020204" pitchFamily="34" charset="0"/>
              <a:buChar char="•"/>
            </a:pPr>
            <a:r>
              <a:rPr lang="en-US" sz="1600" dirty="0">
                <a:solidFill>
                  <a:schemeClr val="tx1">
                    <a:lumMod val="65000"/>
                    <a:lumOff val="35000"/>
                  </a:schemeClr>
                </a:solidFill>
              </a:rPr>
              <a:t>A scalable, reliable file system (HDFS)</a:t>
            </a:r>
          </a:p>
          <a:p>
            <a:pPr marL="742950" lvl="1" indent="-285750">
              <a:lnSpc>
                <a:spcPct val="90000"/>
              </a:lnSpc>
              <a:spcAft>
                <a:spcPts val="600"/>
              </a:spcAft>
              <a:buFont typeface="Arial" panose="020B0604020202020204" pitchFamily="34" charset="0"/>
              <a:buChar char="•"/>
            </a:pPr>
            <a:r>
              <a:rPr lang="en-US" sz="1600" dirty="0">
                <a:solidFill>
                  <a:schemeClr val="tx1">
                    <a:lumMod val="65000"/>
                    <a:lumOff val="35000"/>
                  </a:schemeClr>
                </a:solidFill>
              </a:rPr>
              <a:t>A framework that enables development of programs based on MapReduce (MR) or Directed Acyclic Graph (DAG) model</a:t>
            </a:r>
          </a:p>
          <a:p>
            <a:pPr marL="742950" lvl="1" indent="-285750">
              <a:lnSpc>
                <a:spcPct val="90000"/>
              </a:lnSpc>
              <a:spcAft>
                <a:spcPts val="600"/>
              </a:spcAft>
              <a:buFont typeface="Arial" panose="020B0604020202020204" pitchFamily="34" charset="0"/>
              <a:buChar char="•"/>
            </a:pPr>
            <a:r>
              <a:rPr lang="en-US" sz="1600" dirty="0">
                <a:solidFill>
                  <a:schemeClr val="tx1">
                    <a:lumMod val="65000"/>
                    <a:lumOff val="35000"/>
                  </a:schemeClr>
                </a:solidFill>
              </a:rPr>
              <a:t>YARN, a distributed resource manager that allocates and controls access to the resource of the cluster manager</a:t>
            </a:r>
          </a:p>
          <a:p>
            <a:pPr marL="285750" indent="-285750">
              <a:lnSpc>
                <a:spcPts val="2300"/>
              </a:lnSpc>
              <a:spcBef>
                <a:spcPts val="300"/>
              </a:spcBef>
              <a:spcAft>
                <a:spcPts val="300"/>
              </a:spcAft>
              <a:buClr>
                <a:schemeClr val="accent3"/>
              </a:buClr>
              <a:buSzPct val="75000"/>
              <a:buFont typeface="Wingdings" panose="05000000000000000000" pitchFamily="2" charset="2"/>
              <a:buChar char="v"/>
            </a:pPr>
            <a:r>
              <a:rPr lang="en-US" sz="2000" dirty="0">
                <a:solidFill>
                  <a:schemeClr val="tx1">
                    <a:lumMod val="65000"/>
                    <a:lumOff val="35000"/>
                  </a:schemeClr>
                </a:solidFill>
              </a:rPr>
              <a:t>In addition to the core Hadoop has a rich ecosystem that supports SQL/NoSQL, Streaming, Real-time and Interactive applications. </a:t>
            </a:r>
          </a:p>
        </p:txBody>
      </p:sp>
      <p:grpSp>
        <p:nvGrpSpPr>
          <p:cNvPr id="41" name="Group 40"/>
          <p:cNvGrpSpPr/>
          <p:nvPr/>
        </p:nvGrpSpPr>
        <p:grpSpPr>
          <a:xfrm>
            <a:off x="7878099" y="2044668"/>
            <a:ext cx="3807933" cy="3902453"/>
            <a:chOff x="7878099" y="2044668"/>
            <a:chExt cx="3807933" cy="3902453"/>
          </a:xfrm>
        </p:grpSpPr>
        <p:sp>
          <p:nvSpPr>
            <p:cNvPr id="116" name="Rectangle 115"/>
            <p:cNvSpPr/>
            <p:nvPr/>
          </p:nvSpPr>
          <p:spPr bwMode="auto">
            <a:xfrm>
              <a:off x="7878099" y="2044668"/>
              <a:ext cx="3807933" cy="3902453"/>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6" name="Rectangle 5"/>
            <p:cNvSpPr/>
            <p:nvPr/>
          </p:nvSpPr>
          <p:spPr bwMode="auto">
            <a:xfrm>
              <a:off x="7981350" y="4472850"/>
              <a:ext cx="3602736" cy="128930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grpSp>
          <p:nvGrpSpPr>
            <p:cNvPr id="23" name="Group 22"/>
            <p:cNvGrpSpPr/>
            <p:nvPr/>
          </p:nvGrpSpPr>
          <p:grpSpPr>
            <a:xfrm>
              <a:off x="8159627" y="5524692"/>
              <a:ext cx="3238500" cy="164592"/>
              <a:chOff x="7851648" y="2916936"/>
              <a:chExt cx="3238500" cy="164592"/>
            </a:xfrm>
          </p:grpSpPr>
          <p:grpSp>
            <p:nvGrpSpPr>
              <p:cNvPr id="14" name="Group 13"/>
              <p:cNvGrpSpPr/>
              <p:nvPr/>
            </p:nvGrpSpPr>
            <p:grpSpPr>
              <a:xfrm>
                <a:off x="7851648" y="2916936"/>
                <a:ext cx="1586484" cy="164592"/>
                <a:chOff x="7851648" y="2916936"/>
                <a:chExt cx="1586484" cy="164592"/>
              </a:xfrm>
            </p:grpSpPr>
            <p:sp>
              <p:nvSpPr>
                <p:cNvPr id="7" name="Rectangle 6"/>
                <p:cNvSpPr/>
                <p:nvPr/>
              </p:nvSpPr>
              <p:spPr bwMode="auto">
                <a:xfrm>
                  <a:off x="7851648" y="2916936"/>
                  <a:ext cx="173736" cy="1645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8" name="Rectangle 7"/>
                <p:cNvSpPr/>
                <p:nvPr/>
              </p:nvSpPr>
              <p:spPr bwMode="auto">
                <a:xfrm>
                  <a:off x="9264396" y="2916936"/>
                  <a:ext cx="173736" cy="1645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9" name="Rectangle 8"/>
                <p:cNvSpPr/>
                <p:nvPr/>
              </p:nvSpPr>
              <p:spPr bwMode="auto">
                <a:xfrm>
                  <a:off x="8074152" y="2916936"/>
                  <a:ext cx="173736" cy="1645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10" name="Rectangle 9"/>
                <p:cNvSpPr/>
                <p:nvPr/>
              </p:nvSpPr>
              <p:spPr bwMode="auto">
                <a:xfrm>
                  <a:off x="8310372" y="2916936"/>
                  <a:ext cx="173736" cy="1645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11" name="Rectangle 10"/>
                <p:cNvSpPr/>
                <p:nvPr/>
              </p:nvSpPr>
              <p:spPr bwMode="auto">
                <a:xfrm>
                  <a:off x="8549640" y="2916936"/>
                  <a:ext cx="173736" cy="1645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12" name="Rectangle 11"/>
                <p:cNvSpPr/>
                <p:nvPr/>
              </p:nvSpPr>
              <p:spPr bwMode="auto">
                <a:xfrm>
                  <a:off x="8785860" y="2916936"/>
                  <a:ext cx="173736" cy="1645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13" name="Rectangle 12"/>
                <p:cNvSpPr/>
                <p:nvPr/>
              </p:nvSpPr>
              <p:spPr bwMode="auto">
                <a:xfrm>
                  <a:off x="9025128" y="2916936"/>
                  <a:ext cx="173736" cy="1645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grpSp>
          <p:grpSp>
            <p:nvGrpSpPr>
              <p:cNvPr id="15" name="Group 14"/>
              <p:cNvGrpSpPr/>
              <p:nvPr/>
            </p:nvGrpSpPr>
            <p:grpSpPr>
              <a:xfrm>
                <a:off x="9503664" y="2916936"/>
                <a:ext cx="1586484" cy="164592"/>
                <a:chOff x="7851648" y="2916936"/>
                <a:chExt cx="1586484" cy="164592"/>
              </a:xfrm>
            </p:grpSpPr>
            <p:sp>
              <p:nvSpPr>
                <p:cNvPr id="16" name="Rectangle 15"/>
                <p:cNvSpPr/>
                <p:nvPr/>
              </p:nvSpPr>
              <p:spPr bwMode="auto">
                <a:xfrm>
                  <a:off x="7851648" y="2916936"/>
                  <a:ext cx="173736" cy="1645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17" name="Rectangle 16"/>
                <p:cNvSpPr/>
                <p:nvPr/>
              </p:nvSpPr>
              <p:spPr bwMode="auto">
                <a:xfrm>
                  <a:off x="9264396" y="2916936"/>
                  <a:ext cx="173736" cy="1645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18" name="Rectangle 17"/>
                <p:cNvSpPr/>
                <p:nvPr/>
              </p:nvSpPr>
              <p:spPr bwMode="auto">
                <a:xfrm>
                  <a:off x="8074152" y="2916936"/>
                  <a:ext cx="173736" cy="1645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19" name="Rectangle 18"/>
                <p:cNvSpPr/>
                <p:nvPr/>
              </p:nvSpPr>
              <p:spPr bwMode="auto">
                <a:xfrm>
                  <a:off x="8310372" y="2916936"/>
                  <a:ext cx="173736" cy="1645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20" name="Rectangle 19"/>
                <p:cNvSpPr/>
                <p:nvPr/>
              </p:nvSpPr>
              <p:spPr bwMode="auto">
                <a:xfrm>
                  <a:off x="8549640" y="2916936"/>
                  <a:ext cx="173736" cy="1645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21" name="Rectangle 20"/>
                <p:cNvSpPr/>
                <p:nvPr/>
              </p:nvSpPr>
              <p:spPr bwMode="auto">
                <a:xfrm>
                  <a:off x="8785860" y="2916936"/>
                  <a:ext cx="173736" cy="1645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22" name="Rectangle 21"/>
                <p:cNvSpPr/>
                <p:nvPr/>
              </p:nvSpPr>
              <p:spPr bwMode="auto">
                <a:xfrm>
                  <a:off x="9025128" y="2916936"/>
                  <a:ext cx="173736" cy="1645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grpSp>
        </p:grpSp>
        <p:grpSp>
          <p:nvGrpSpPr>
            <p:cNvPr id="24" name="Group 23"/>
            <p:cNvGrpSpPr/>
            <p:nvPr/>
          </p:nvGrpSpPr>
          <p:grpSpPr>
            <a:xfrm>
              <a:off x="8159627" y="4640541"/>
              <a:ext cx="3238500" cy="164592"/>
              <a:chOff x="7851648" y="2916936"/>
              <a:chExt cx="3238500" cy="164592"/>
            </a:xfrm>
          </p:grpSpPr>
          <p:grpSp>
            <p:nvGrpSpPr>
              <p:cNvPr id="25" name="Group 24"/>
              <p:cNvGrpSpPr/>
              <p:nvPr/>
            </p:nvGrpSpPr>
            <p:grpSpPr>
              <a:xfrm>
                <a:off x="7851648" y="2916936"/>
                <a:ext cx="1586484" cy="164592"/>
                <a:chOff x="7851648" y="2916936"/>
                <a:chExt cx="1586484" cy="164592"/>
              </a:xfrm>
            </p:grpSpPr>
            <p:sp>
              <p:nvSpPr>
                <p:cNvPr id="34" name="Rectangle 33"/>
                <p:cNvSpPr/>
                <p:nvPr/>
              </p:nvSpPr>
              <p:spPr bwMode="auto">
                <a:xfrm>
                  <a:off x="7851648" y="2916936"/>
                  <a:ext cx="173736" cy="1645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35" name="Rectangle 34"/>
                <p:cNvSpPr/>
                <p:nvPr/>
              </p:nvSpPr>
              <p:spPr bwMode="auto">
                <a:xfrm>
                  <a:off x="9264396" y="2916936"/>
                  <a:ext cx="173736" cy="1645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36" name="Rectangle 35"/>
                <p:cNvSpPr/>
                <p:nvPr/>
              </p:nvSpPr>
              <p:spPr bwMode="auto">
                <a:xfrm>
                  <a:off x="8074152" y="2916936"/>
                  <a:ext cx="173736" cy="1645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37" name="Rectangle 36"/>
                <p:cNvSpPr/>
                <p:nvPr/>
              </p:nvSpPr>
              <p:spPr bwMode="auto">
                <a:xfrm>
                  <a:off x="8310372" y="2916936"/>
                  <a:ext cx="173736" cy="1645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38" name="Rectangle 37"/>
                <p:cNvSpPr/>
                <p:nvPr/>
              </p:nvSpPr>
              <p:spPr bwMode="auto">
                <a:xfrm>
                  <a:off x="8549640" y="2916936"/>
                  <a:ext cx="173736" cy="1645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39" name="Rectangle 38"/>
                <p:cNvSpPr/>
                <p:nvPr/>
              </p:nvSpPr>
              <p:spPr bwMode="auto">
                <a:xfrm>
                  <a:off x="8785860" y="2916936"/>
                  <a:ext cx="173736" cy="1645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40" name="Rectangle 39"/>
                <p:cNvSpPr/>
                <p:nvPr/>
              </p:nvSpPr>
              <p:spPr bwMode="auto">
                <a:xfrm>
                  <a:off x="9025128" y="2916936"/>
                  <a:ext cx="173736" cy="1645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grpSp>
          <p:grpSp>
            <p:nvGrpSpPr>
              <p:cNvPr id="26" name="Group 25"/>
              <p:cNvGrpSpPr/>
              <p:nvPr/>
            </p:nvGrpSpPr>
            <p:grpSpPr>
              <a:xfrm>
                <a:off x="9503664" y="2916936"/>
                <a:ext cx="1586484" cy="164592"/>
                <a:chOff x="7851648" y="2916936"/>
                <a:chExt cx="1586484" cy="164592"/>
              </a:xfrm>
            </p:grpSpPr>
            <p:sp>
              <p:nvSpPr>
                <p:cNvPr id="27" name="Rectangle 26"/>
                <p:cNvSpPr/>
                <p:nvPr/>
              </p:nvSpPr>
              <p:spPr bwMode="auto">
                <a:xfrm>
                  <a:off x="7851648" y="2916936"/>
                  <a:ext cx="173736" cy="1645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28" name="Rectangle 27"/>
                <p:cNvSpPr/>
                <p:nvPr/>
              </p:nvSpPr>
              <p:spPr bwMode="auto">
                <a:xfrm>
                  <a:off x="9264396" y="2916936"/>
                  <a:ext cx="173736" cy="1645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29" name="Rectangle 28"/>
                <p:cNvSpPr/>
                <p:nvPr/>
              </p:nvSpPr>
              <p:spPr bwMode="auto">
                <a:xfrm>
                  <a:off x="8074152" y="2916936"/>
                  <a:ext cx="173736" cy="1645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30" name="Rectangle 29"/>
                <p:cNvSpPr/>
                <p:nvPr/>
              </p:nvSpPr>
              <p:spPr bwMode="auto">
                <a:xfrm>
                  <a:off x="8310372" y="2916936"/>
                  <a:ext cx="173736" cy="1645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31" name="Rectangle 30"/>
                <p:cNvSpPr/>
                <p:nvPr/>
              </p:nvSpPr>
              <p:spPr bwMode="auto">
                <a:xfrm>
                  <a:off x="8549640" y="2916936"/>
                  <a:ext cx="173736" cy="1645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32" name="Rectangle 31"/>
                <p:cNvSpPr/>
                <p:nvPr/>
              </p:nvSpPr>
              <p:spPr bwMode="auto">
                <a:xfrm>
                  <a:off x="8785860" y="2916936"/>
                  <a:ext cx="173736" cy="1645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33" name="Rectangle 32"/>
                <p:cNvSpPr/>
                <p:nvPr/>
              </p:nvSpPr>
              <p:spPr bwMode="auto">
                <a:xfrm>
                  <a:off x="9025128" y="2916936"/>
                  <a:ext cx="173736" cy="1645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grpSp>
        </p:grpSp>
        <p:grpSp>
          <p:nvGrpSpPr>
            <p:cNvPr id="107" name="Group 106"/>
            <p:cNvGrpSpPr/>
            <p:nvPr/>
          </p:nvGrpSpPr>
          <p:grpSpPr>
            <a:xfrm>
              <a:off x="8159627" y="4920612"/>
              <a:ext cx="1107948" cy="164592"/>
              <a:chOff x="7807994" y="5995770"/>
              <a:chExt cx="1107948" cy="164592"/>
            </a:xfrm>
          </p:grpSpPr>
          <p:sp>
            <p:nvSpPr>
              <p:cNvPr id="51" name="Rectangle 50"/>
              <p:cNvSpPr/>
              <p:nvPr/>
            </p:nvSpPr>
            <p:spPr bwMode="auto">
              <a:xfrm>
                <a:off x="7807994" y="5995770"/>
                <a:ext cx="173736" cy="1645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53" name="Rectangle 52"/>
              <p:cNvSpPr/>
              <p:nvPr/>
            </p:nvSpPr>
            <p:spPr bwMode="auto">
              <a:xfrm>
                <a:off x="8030498" y="5995770"/>
                <a:ext cx="173736" cy="1645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54" name="Rectangle 53"/>
              <p:cNvSpPr/>
              <p:nvPr/>
            </p:nvSpPr>
            <p:spPr bwMode="auto">
              <a:xfrm>
                <a:off x="8266718" y="5995770"/>
                <a:ext cx="173736" cy="1645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55" name="Rectangle 54"/>
              <p:cNvSpPr/>
              <p:nvPr/>
            </p:nvSpPr>
            <p:spPr bwMode="auto">
              <a:xfrm>
                <a:off x="8505986" y="5995770"/>
                <a:ext cx="173736" cy="1645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56" name="Rectangle 55"/>
              <p:cNvSpPr/>
              <p:nvPr/>
            </p:nvSpPr>
            <p:spPr bwMode="auto">
              <a:xfrm>
                <a:off x="8742206" y="5995770"/>
                <a:ext cx="173736" cy="1645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grpSp>
        <p:sp>
          <p:nvSpPr>
            <p:cNvPr id="57" name="Rectangle 56"/>
            <p:cNvSpPr/>
            <p:nvPr/>
          </p:nvSpPr>
          <p:spPr bwMode="auto">
            <a:xfrm>
              <a:off x="8142863" y="5221567"/>
              <a:ext cx="173736" cy="1645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92" name="TextBox 91"/>
            <p:cNvSpPr txBox="1"/>
            <p:nvPr/>
          </p:nvSpPr>
          <p:spPr>
            <a:xfrm>
              <a:off x="9233058" y="4736502"/>
              <a:ext cx="1211580" cy="475488"/>
            </a:xfrm>
            <a:prstGeom prst="rect">
              <a:avLst/>
            </a:prstGeom>
            <a:noFill/>
          </p:spPr>
          <p:txBody>
            <a:bodyPr wrap="none" lIns="182880" tIns="146304" rIns="182880" bIns="146304" rtlCol="0">
              <a:noAutofit/>
            </a:bodyPr>
            <a:lstStyle/>
            <a:p>
              <a:pPr>
                <a:lnSpc>
                  <a:spcPct val="90000"/>
                </a:lnSpc>
                <a:spcAft>
                  <a:spcPts val="600"/>
                </a:spcAft>
              </a:pPr>
              <a:r>
                <a:rPr lang="en-US" sz="2400" dirty="0">
                  <a:solidFill>
                    <a:schemeClr val="bg1"/>
                  </a:solidFill>
                  <a:latin typeface="Segoe UI Semibold" panose="020B0702040204020203" pitchFamily="34" charset="0"/>
                  <a:cs typeface="Segoe UI Semibold" panose="020B0702040204020203" pitchFamily="34" charset="0"/>
                </a:rPr>
                <a:t>HDFS</a:t>
              </a:r>
            </a:p>
          </p:txBody>
        </p:sp>
        <p:sp>
          <p:nvSpPr>
            <p:cNvPr id="93" name="Rectangle 92"/>
            <p:cNvSpPr/>
            <p:nvPr/>
          </p:nvSpPr>
          <p:spPr bwMode="auto">
            <a:xfrm>
              <a:off x="7981350" y="3608152"/>
              <a:ext cx="3602736" cy="90525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94" name="Rectangle 93"/>
            <p:cNvSpPr/>
            <p:nvPr/>
          </p:nvSpPr>
          <p:spPr bwMode="auto">
            <a:xfrm>
              <a:off x="7981350" y="2629744"/>
              <a:ext cx="3602736" cy="97840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95" name="TextBox 94"/>
            <p:cNvSpPr txBox="1"/>
            <p:nvPr/>
          </p:nvSpPr>
          <p:spPr>
            <a:xfrm>
              <a:off x="9173087" y="3769550"/>
              <a:ext cx="1211580" cy="475488"/>
            </a:xfrm>
            <a:prstGeom prst="rect">
              <a:avLst/>
            </a:prstGeom>
            <a:noFill/>
          </p:spPr>
          <p:txBody>
            <a:bodyPr wrap="none" lIns="182880" tIns="146304" rIns="182880" bIns="146304" rtlCol="0">
              <a:noAutofit/>
            </a:bodyPr>
            <a:lstStyle/>
            <a:p>
              <a:pPr algn="ctr">
                <a:lnSpc>
                  <a:spcPct val="90000"/>
                </a:lnSpc>
                <a:spcAft>
                  <a:spcPts val="600"/>
                </a:spcAft>
              </a:pPr>
              <a:r>
                <a:rPr lang="en-US" sz="2400" dirty="0">
                  <a:solidFill>
                    <a:schemeClr val="bg1"/>
                  </a:solidFill>
                  <a:latin typeface="Segoe UI Semibold" panose="020B0702040204020203" pitchFamily="34" charset="0"/>
                  <a:cs typeface="Segoe UI Semibold" panose="020B0702040204020203" pitchFamily="34" charset="0"/>
                </a:rPr>
                <a:t>YARN</a:t>
              </a:r>
              <a:br>
                <a:rPr lang="en-US" sz="2400" dirty="0">
                  <a:solidFill>
                    <a:schemeClr val="bg1"/>
                  </a:solidFill>
                  <a:latin typeface="Segoe UI Semibold" panose="020B0702040204020203" pitchFamily="34" charset="0"/>
                  <a:cs typeface="Segoe UI Semibold" panose="020B0702040204020203" pitchFamily="34" charset="0"/>
                </a:rPr>
              </a:br>
              <a:r>
                <a:rPr lang="en-US" dirty="0">
                  <a:solidFill>
                    <a:schemeClr val="bg1"/>
                  </a:solidFill>
                  <a:latin typeface="Segoe UI Semibold" panose="020B0702040204020203" pitchFamily="34" charset="0"/>
                  <a:cs typeface="Segoe UI Semibold" panose="020B0702040204020203" pitchFamily="34" charset="0"/>
                </a:rPr>
                <a:t>(cluster resource manager)</a:t>
              </a:r>
            </a:p>
          </p:txBody>
        </p:sp>
        <p:sp>
          <p:nvSpPr>
            <p:cNvPr id="96" name="Trapezoid 95"/>
            <p:cNvSpPr/>
            <p:nvPr/>
          </p:nvSpPr>
          <p:spPr bwMode="auto">
            <a:xfrm flipV="1">
              <a:off x="8460648" y="3599191"/>
              <a:ext cx="994410" cy="265176"/>
            </a:xfrm>
            <a:prstGeom prst="trapezoid">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97" name="Trapezoid 96"/>
            <p:cNvSpPr/>
            <p:nvPr/>
          </p:nvSpPr>
          <p:spPr bwMode="auto">
            <a:xfrm flipV="1">
              <a:off x="10127142" y="3606628"/>
              <a:ext cx="994410" cy="265176"/>
            </a:xfrm>
            <a:prstGeom prst="trapezoid">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98" name="TextBox 97"/>
            <p:cNvSpPr txBox="1"/>
            <p:nvPr/>
          </p:nvSpPr>
          <p:spPr>
            <a:xfrm>
              <a:off x="7981796" y="2643243"/>
              <a:ext cx="1811274" cy="568452"/>
            </a:xfrm>
            <a:prstGeom prst="rect">
              <a:avLst/>
            </a:prstGeom>
            <a:noFill/>
          </p:spPr>
          <p:txBody>
            <a:bodyPr wrap="none" lIns="182880" tIns="146304" rIns="182880" bIns="146304" rtlCol="0">
              <a:noAutofit/>
            </a:bodyPr>
            <a:lstStyle>
              <a:defPPr>
                <a:defRPr lang="en-US"/>
              </a:defPPr>
              <a:lvl1pPr>
                <a:lnSpc>
                  <a:spcPct val="90000"/>
                </a:lnSpc>
                <a:spcAft>
                  <a:spcPts val="600"/>
                </a:spcAft>
                <a:defRPr sz="2400" b="1">
                  <a:solidFill>
                    <a:schemeClr val="bg1"/>
                  </a:solidFill>
                </a:defRPr>
              </a:lvl1pPr>
            </a:lstStyle>
            <a:p>
              <a:r>
                <a:rPr lang="en-US" sz="2000" b="0" dirty="0">
                  <a:latin typeface="Segoe UI Semibold" panose="020B0702040204020203" pitchFamily="34" charset="0"/>
                  <a:cs typeface="Segoe UI Semibold" panose="020B0702040204020203" pitchFamily="34" charset="0"/>
                </a:rPr>
                <a:t>MapReduce</a:t>
              </a:r>
            </a:p>
          </p:txBody>
        </p:sp>
        <p:sp>
          <p:nvSpPr>
            <p:cNvPr id="99" name="TextBox 98"/>
            <p:cNvSpPr txBox="1"/>
            <p:nvPr/>
          </p:nvSpPr>
          <p:spPr>
            <a:xfrm>
              <a:off x="10348884" y="2639716"/>
              <a:ext cx="914400" cy="553277"/>
            </a:xfrm>
            <a:prstGeom prst="rect">
              <a:avLst/>
            </a:prstGeom>
            <a:noFill/>
          </p:spPr>
          <p:txBody>
            <a:bodyPr wrap="none" lIns="182880" tIns="146304" rIns="182880" bIns="146304" rtlCol="0">
              <a:noAutofit/>
            </a:bodyPr>
            <a:lstStyle>
              <a:defPPr>
                <a:defRPr lang="en-US"/>
              </a:defPPr>
              <a:lvl1pPr>
                <a:lnSpc>
                  <a:spcPct val="90000"/>
                </a:lnSpc>
                <a:spcAft>
                  <a:spcPts val="600"/>
                </a:spcAft>
                <a:defRPr sz="2400" b="1">
                  <a:solidFill>
                    <a:schemeClr val="bg1"/>
                  </a:solidFill>
                </a:defRPr>
              </a:lvl1pPr>
            </a:lstStyle>
            <a:p>
              <a:r>
                <a:rPr lang="en-US" sz="2000" b="0" dirty="0" err="1">
                  <a:latin typeface="Segoe UI Semibold" panose="020B0702040204020203" pitchFamily="34" charset="0"/>
                  <a:cs typeface="Segoe UI Semibold" panose="020B0702040204020203" pitchFamily="34" charset="0"/>
                </a:rPr>
                <a:t>Tez</a:t>
              </a:r>
              <a:endParaRPr lang="en-US" sz="2000" b="0" dirty="0">
                <a:latin typeface="Segoe UI Semibold" panose="020B0702040204020203" pitchFamily="34" charset="0"/>
                <a:cs typeface="Segoe UI Semibold" panose="020B0702040204020203" pitchFamily="34" charset="0"/>
              </a:endParaRPr>
            </a:p>
          </p:txBody>
        </p:sp>
        <p:cxnSp>
          <p:nvCxnSpPr>
            <p:cNvPr id="101" name="Straight Connector 100"/>
            <p:cNvCxnSpPr>
              <a:stCxn id="94" idx="0"/>
              <a:endCxn id="93" idx="0"/>
            </p:cNvCxnSpPr>
            <p:nvPr/>
          </p:nvCxnSpPr>
          <p:spPr>
            <a:xfrm>
              <a:off x="9782718" y="2629744"/>
              <a:ext cx="0" cy="978408"/>
            </a:xfrm>
            <a:prstGeom prst="line">
              <a:avLst/>
            </a:prstGeom>
            <a:ln>
              <a:prstDash val="dash"/>
              <a:headEnd type="none"/>
              <a:tailEnd type="none"/>
            </a:ln>
          </p:spPr>
          <p:style>
            <a:lnRef idx="1">
              <a:schemeClr val="accent5"/>
            </a:lnRef>
            <a:fillRef idx="0">
              <a:schemeClr val="accent5"/>
            </a:fillRef>
            <a:effectRef idx="0">
              <a:schemeClr val="accent5"/>
            </a:effectRef>
            <a:fontRef idx="minor">
              <a:schemeClr val="tx1"/>
            </a:fontRef>
          </p:style>
        </p:cxnSp>
        <p:sp>
          <p:nvSpPr>
            <p:cNvPr id="102" name="Rectangle 101"/>
            <p:cNvSpPr/>
            <p:nvPr/>
          </p:nvSpPr>
          <p:spPr>
            <a:xfrm>
              <a:off x="8318842" y="5193701"/>
              <a:ext cx="2834430" cy="313932"/>
            </a:xfrm>
            <a:prstGeom prst="rect">
              <a:avLst/>
            </a:prstGeom>
          </p:spPr>
          <p:txBody>
            <a:bodyPr wrap="none">
              <a:spAutoFit/>
            </a:bodyPr>
            <a:lstStyle/>
            <a:p>
              <a:pPr>
                <a:lnSpc>
                  <a:spcPct val="90000"/>
                </a:lnSpc>
                <a:spcAft>
                  <a:spcPts val="600"/>
                </a:spcAft>
              </a:pPr>
              <a:r>
                <a:rPr lang="en-US" sz="1600" dirty="0">
                  <a:solidFill>
                    <a:schemeClr val="bg1"/>
                  </a:solidFill>
                  <a:latin typeface="Segoe UI Semibold" panose="020B0702040204020203" pitchFamily="34" charset="0"/>
                  <a:cs typeface="Segoe UI Semibold" panose="020B0702040204020203" pitchFamily="34" charset="0"/>
                </a:rPr>
                <a:t>(redundant, reliable storage)</a:t>
              </a:r>
            </a:p>
          </p:txBody>
        </p:sp>
        <p:sp>
          <p:nvSpPr>
            <p:cNvPr id="106" name="TextBox 105"/>
            <p:cNvSpPr txBox="1"/>
            <p:nvPr/>
          </p:nvSpPr>
          <p:spPr>
            <a:xfrm>
              <a:off x="7879404" y="2176208"/>
              <a:ext cx="3704682" cy="299755"/>
            </a:xfrm>
            <a:prstGeom prst="rect">
              <a:avLst/>
            </a:prstGeom>
            <a:noFill/>
          </p:spPr>
          <p:txBody>
            <a:bodyPr wrap="none" lIns="182880" tIns="146304" rIns="182880" bIns="146304" rtlCol="0" anchor="ctr">
              <a:noAutofit/>
            </a:bodyPr>
            <a:lstStyle/>
            <a:p>
              <a:pPr algn="ctr">
                <a:lnSpc>
                  <a:spcPct val="90000"/>
                </a:lnSpc>
                <a:spcAft>
                  <a:spcPts val="600"/>
                </a:spcAft>
              </a:pPr>
              <a:r>
                <a:rPr lang="en-US" dirty="0">
                  <a:solidFill>
                    <a:schemeClr val="tx1">
                      <a:lumMod val="85000"/>
                      <a:lumOff val="15000"/>
                    </a:schemeClr>
                  </a:solidFill>
                  <a:latin typeface="Segoe UI Semibold" panose="020B0702040204020203" pitchFamily="34" charset="0"/>
                  <a:cs typeface="Segoe UI Semibold" panose="020B0702040204020203" pitchFamily="34" charset="0"/>
                </a:rPr>
                <a:t>Hadoop Core</a:t>
              </a:r>
            </a:p>
          </p:txBody>
        </p:sp>
        <p:grpSp>
          <p:nvGrpSpPr>
            <p:cNvPr id="108" name="Group 107"/>
            <p:cNvGrpSpPr/>
            <p:nvPr/>
          </p:nvGrpSpPr>
          <p:grpSpPr>
            <a:xfrm>
              <a:off x="10310510" y="4941036"/>
              <a:ext cx="1107948" cy="164592"/>
              <a:chOff x="7807994" y="5995770"/>
              <a:chExt cx="1107948" cy="164592"/>
            </a:xfrm>
          </p:grpSpPr>
          <p:sp>
            <p:nvSpPr>
              <p:cNvPr id="109" name="Rectangle 108"/>
              <p:cNvSpPr/>
              <p:nvPr/>
            </p:nvSpPr>
            <p:spPr bwMode="auto">
              <a:xfrm>
                <a:off x="7807994" y="5995770"/>
                <a:ext cx="173736" cy="1645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110" name="Rectangle 109"/>
              <p:cNvSpPr/>
              <p:nvPr/>
            </p:nvSpPr>
            <p:spPr bwMode="auto">
              <a:xfrm>
                <a:off x="8030498" y="5995770"/>
                <a:ext cx="173736" cy="1645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111" name="Rectangle 110"/>
              <p:cNvSpPr/>
              <p:nvPr/>
            </p:nvSpPr>
            <p:spPr bwMode="auto">
              <a:xfrm>
                <a:off x="8266718" y="5995770"/>
                <a:ext cx="173736" cy="1645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112" name="Rectangle 111"/>
              <p:cNvSpPr/>
              <p:nvPr/>
            </p:nvSpPr>
            <p:spPr bwMode="auto">
              <a:xfrm>
                <a:off x="8505986" y="5995770"/>
                <a:ext cx="173736" cy="1645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113" name="Rectangle 112"/>
              <p:cNvSpPr/>
              <p:nvPr/>
            </p:nvSpPr>
            <p:spPr bwMode="auto">
              <a:xfrm>
                <a:off x="8742206" y="5995770"/>
                <a:ext cx="173736" cy="1645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grpSp>
        <p:sp>
          <p:nvSpPr>
            <p:cNvPr id="115" name="Rectangle 114"/>
            <p:cNvSpPr/>
            <p:nvPr/>
          </p:nvSpPr>
          <p:spPr bwMode="auto">
            <a:xfrm>
              <a:off x="11226996" y="5241991"/>
              <a:ext cx="173736" cy="1645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117" name="Rectangle 116"/>
            <p:cNvSpPr/>
            <p:nvPr/>
          </p:nvSpPr>
          <p:spPr>
            <a:xfrm>
              <a:off x="8292130" y="3225067"/>
              <a:ext cx="2846228" cy="313932"/>
            </a:xfrm>
            <a:prstGeom prst="rect">
              <a:avLst/>
            </a:prstGeom>
          </p:spPr>
          <p:txBody>
            <a:bodyPr wrap="none">
              <a:spAutoFit/>
            </a:bodyPr>
            <a:lstStyle/>
            <a:p>
              <a:pPr>
                <a:lnSpc>
                  <a:spcPct val="90000"/>
                </a:lnSpc>
                <a:spcAft>
                  <a:spcPts val="600"/>
                </a:spcAft>
              </a:pPr>
              <a:r>
                <a:rPr lang="en-US" sz="1600" dirty="0">
                  <a:solidFill>
                    <a:schemeClr val="bg1"/>
                  </a:solidFill>
                  <a:latin typeface="Segoe UI Semibold" panose="020B0702040204020203" pitchFamily="34" charset="0"/>
                  <a:cs typeface="Segoe UI Semibold" panose="020B0702040204020203" pitchFamily="34" charset="0"/>
                </a:rPr>
                <a:t>(data processing framework)</a:t>
              </a:r>
            </a:p>
          </p:txBody>
        </p:sp>
      </p:grpSp>
    </p:spTree>
    <p:extLst>
      <p:ext uri="{BB962C8B-B14F-4D97-AF65-F5344CB8AC3E}">
        <p14:creationId xmlns:p14="http://schemas.microsoft.com/office/powerpoint/2010/main" val="2154387283"/>
      </p:ext>
    </p:extLst>
  </p:cSld>
  <p:clrMapOvr>
    <a:masterClrMapping/>
  </p:clrMapOvr>
  <p:transition spd="med">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DI on Linux: </a:t>
            </a:r>
            <a:r>
              <a:rPr lang="en-US" dirty="0" err="1"/>
              <a:t>HiveQL</a:t>
            </a:r>
            <a:r>
              <a:rPr lang="en-US" dirty="0"/>
              <a:t> Execution Choices </a:t>
            </a:r>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40</a:t>
            </a:fld>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694081358"/>
              </p:ext>
            </p:extLst>
          </p:nvPr>
        </p:nvGraphicFramePr>
        <p:xfrm>
          <a:off x="268927" y="1644933"/>
          <a:ext cx="11171817" cy="4362196"/>
        </p:xfrm>
        <a:graphic>
          <a:graphicData uri="http://schemas.openxmlformats.org/drawingml/2006/table">
            <a:tbl>
              <a:tblPr firstRow="1" bandRow="1">
                <a:tableStyleId>{C083E6E3-FA7D-4D7B-A595-EF9225AFEA82}</a:tableStyleId>
              </a:tblPr>
              <a:tblGrid>
                <a:gridCol w="4146881">
                  <a:extLst>
                    <a:ext uri="{9D8B030D-6E8A-4147-A177-3AD203B41FA5}">
                      <a16:colId xmlns:a16="http://schemas.microsoft.com/office/drawing/2014/main" val="3955206659"/>
                    </a:ext>
                  </a:extLst>
                </a:gridCol>
                <a:gridCol w="1970283">
                  <a:extLst>
                    <a:ext uri="{9D8B030D-6E8A-4147-A177-3AD203B41FA5}">
                      <a16:colId xmlns:a16="http://schemas.microsoft.com/office/drawing/2014/main" val="3838297379"/>
                    </a:ext>
                  </a:extLst>
                </a:gridCol>
                <a:gridCol w="2011547">
                  <a:extLst>
                    <a:ext uri="{9D8B030D-6E8A-4147-A177-3AD203B41FA5}">
                      <a16:colId xmlns:a16="http://schemas.microsoft.com/office/drawing/2014/main" val="1877255538"/>
                    </a:ext>
                  </a:extLst>
                </a:gridCol>
                <a:gridCol w="3043106">
                  <a:extLst>
                    <a:ext uri="{9D8B030D-6E8A-4147-A177-3AD203B41FA5}">
                      <a16:colId xmlns:a16="http://schemas.microsoft.com/office/drawing/2014/main" val="183330401"/>
                    </a:ext>
                  </a:extLst>
                </a:gridCol>
              </a:tblGrid>
              <a:tr h="370840">
                <a:tc>
                  <a:txBody>
                    <a:bodyPr/>
                    <a:lstStyle/>
                    <a:p>
                      <a:r>
                        <a:rPr lang="en-US" dirty="0"/>
                        <a:t>Tool</a:t>
                      </a:r>
                      <a:endParaRPr lang="en-US" b="0" dirty="0">
                        <a:solidFill>
                          <a:schemeClr val="accent1">
                            <a:lumMod val="75000"/>
                          </a:schemeClr>
                        </a:solidFill>
                      </a:endParaRPr>
                    </a:p>
                  </a:txBody>
                  <a:tcPr anchor="ctr"/>
                </a:tc>
                <a:tc>
                  <a:txBody>
                    <a:bodyPr/>
                    <a:lstStyle/>
                    <a:p>
                      <a:pPr algn="ctr"/>
                      <a:r>
                        <a:rPr lang="en-US" dirty="0"/>
                        <a:t>Interactive Shell</a:t>
                      </a:r>
                      <a:endParaRPr lang="en-US" b="0" dirty="0">
                        <a:solidFill>
                          <a:schemeClr val="accent1">
                            <a:lumMod val="75000"/>
                          </a:schemeClr>
                        </a:solidFill>
                      </a:endParaRPr>
                    </a:p>
                  </a:txBody>
                  <a:tcPr anchor="ctr"/>
                </a:tc>
                <a:tc>
                  <a:txBody>
                    <a:bodyPr/>
                    <a:lstStyle/>
                    <a:p>
                      <a:pPr algn="ctr"/>
                      <a:r>
                        <a:rPr lang="en-US" dirty="0"/>
                        <a:t>Batch Processing</a:t>
                      </a:r>
                      <a:endParaRPr lang="en-US" b="0" dirty="0">
                        <a:solidFill>
                          <a:schemeClr val="accent1">
                            <a:lumMod val="75000"/>
                          </a:schemeClr>
                        </a:solidFill>
                      </a:endParaRPr>
                    </a:p>
                  </a:txBody>
                  <a:tcPr anchor="ctr"/>
                </a:tc>
                <a:tc>
                  <a:txBody>
                    <a:bodyPr/>
                    <a:lstStyle/>
                    <a:p>
                      <a:pPr algn="ctr"/>
                      <a:r>
                        <a:rPr lang="en-US" dirty="0"/>
                        <a:t>Client</a:t>
                      </a:r>
                      <a:r>
                        <a:rPr lang="en-US" baseline="0" dirty="0"/>
                        <a:t> OS</a:t>
                      </a:r>
                      <a:endParaRPr lang="en-US" b="0" dirty="0">
                        <a:solidFill>
                          <a:schemeClr val="accent1">
                            <a:lumMod val="75000"/>
                          </a:schemeClr>
                        </a:solidFill>
                      </a:endParaRPr>
                    </a:p>
                  </a:txBody>
                  <a:tcPr anchor="ctr"/>
                </a:tc>
                <a:extLst>
                  <a:ext uri="{0D108BD9-81ED-4DB2-BD59-A6C34878D82A}">
                    <a16:rowId xmlns:a16="http://schemas.microsoft.com/office/drawing/2014/main" val="768154581"/>
                  </a:ext>
                </a:extLst>
              </a:tr>
              <a:tr h="629412">
                <a:tc>
                  <a:txBody>
                    <a:bodyPr/>
                    <a:lstStyle/>
                    <a:p>
                      <a:r>
                        <a:rPr lang="en-US" sz="2000" dirty="0">
                          <a:hlinkClick r:id="rId2"/>
                        </a:rPr>
                        <a:t>Hive</a:t>
                      </a:r>
                      <a:r>
                        <a:rPr lang="en-US" sz="2000" baseline="0" dirty="0">
                          <a:hlinkClick r:id="rId2"/>
                        </a:rPr>
                        <a:t> View</a:t>
                      </a:r>
                      <a:endParaRPr lang="en-US" sz="2000" dirty="0">
                        <a:solidFill>
                          <a:schemeClr val="bg2">
                            <a:lumMod val="25000"/>
                          </a:schemeClr>
                        </a:solidFill>
                      </a:endParaRPr>
                    </a:p>
                  </a:txBody>
                  <a:tcPr anchor="ctr"/>
                </a:tc>
                <a:tc>
                  <a:txBody>
                    <a:bodyPr/>
                    <a:lstStyle/>
                    <a:p>
                      <a:pPr marL="285750" indent="-285750" algn="ctr">
                        <a:buClr>
                          <a:schemeClr val="accent3">
                            <a:lumMod val="50000"/>
                          </a:schemeClr>
                        </a:buClr>
                        <a:buFont typeface="Wingdings" panose="05000000000000000000" pitchFamily="2" charset="2"/>
                        <a:buChar char="ü"/>
                      </a:pPr>
                      <a:r>
                        <a:rPr lang="en-US" sz="2400" baseline="0" dirty="0"/>
                        <a:t>  </a:t>
                      </a:r>
                      <a:endParaRPr lang="en-US" sz="2400" dirty="0"/>
                    </a:p>
                  </a:txBody>
                  <a:tcPr anchor="ctr"/>
                </a:tc>
                <a:tc>
                  <a:txBody>
                    <a:bodyPr/>
                    <a:lstStyle/>
                    <a:p>
                      <a:pPr marL="285750" indent="-285750" algn="ctr">
                        <a:buClr>
                          <a:schemeClr val="accent3">
                            <a:lumMod val="50000"/>
                          </a:schemeClr>
                        </a:buClr>
                        <a:buFont typeface="Wingdings" panose="05000000000000000000" pitchFamily="2" charset="2"/>
                        <a:buChar char="ü"/>
                      </a:pPr>
                      <a:r>
                        <a:rPr lang="en-US" sz="2400" baseline="0" dirty="0"/>
                        <a:t> </a:t>
                      </a:r>
                      <a:endParaRPr lang="en-US" sz="2400" dirty="0"/>
                    </a:p>
                  </a:txBody>
                  <a:tcPr anchor="ctr"/>
                </a:tc>
                <a:tc>
                  <a:txBody>
                    <a:bodyPr/>
                    <a:lstStyle/>
                    <a:p>
                      <a:r>
                        <a:rPr lang="en-US" sz="2000" dirty="0"/>
                        <a:t>Any</a:t>
                      </a:r>
                      <a:r>
                        <a:rPr lang="en-US" sz="2000" baseline="0" dirty="0"/>
                        <a:t> (browser based)</a:t>
                      </a:r>
                      <a:endParaRPr lang="en-US" sz="2000" dirty="0">
                        <a:solidFill>
                          <a:schemeClr val="tx1">
                            <a:lumMod val="65000"/>
                            <a:lumOff val="35000"/>
                          </a:schemeClr>
                        </a:solidFill>
                      </a:endParaRPr>
                    </a:p>
                  </a:txBody>
                  <a:tcPr anchor="ctr"/>
                </a:tc>
                <a:extLst>
                  <a:ext uri="{0D108BD9-81ED-4DB2-BD59-A6C34878D82A}">
                    <a16:rowId xmlns:a16="http://schemas.microsoft.com/office/drawing/2014/main" val="2431224489"/>
                  </a:ext>
                </a:extLst>
              </a:tr>
              <a:tr h="629412">
                <a:tc>
                  <a:txBody>
                    <a:bodyPr/>
                    <a:lstStyle/>
                    <a:p>
                      <a:r>
                        <a:rPr lang="en-US" sz="2000" dirty="0">
                          <a:hlinkClick r:id="rId3"/>
                        </a:rPr>
                        <a:t>Beeline Command </a:t>
                      </a:r>
                      <a:br>
                        <a:rPr lang="en-US" sz="2000" dirty="0">
                          <a:hlinkClick r:id="rId3"/>
                        </a:rPr>
                      </a:br>
                      <a:r>
                        <a:rPr lang="en-US" sz="2000" dirty="0">
                          <a:hlinkClick r:id="rId3"/>
                        </a:rPr>
                        <a:t>(from</a:t>
                      </a:r>
                      <a:r>
                        <a:rPr lang="en-US" sz="2000" baseline="0" dirty="0">
                          <a:hlinkClick r:id="rId3"/>
                        </a:rPr>
                        <a:t> an SSH session)</a:t>
                      </a:r>
                      <a:endParaRPr lang="en-US" sz="2000" dirty="0">
                        <a:solidFill>
                          <a:schemeClr val="bg2">
                            <a:lumMod val="25000"/>
                          </a:schemeClr>
                        </a:solidFill>
                      </a:endParaRPr>
                    </a:p>
                  </a:txBody>
                  <a:tcPr anchor="ctr"/>
                </a:tc>
                <a:tc>
                  <a:txBody>
                    <a:bodyPr/>
                    <a:lstStyle/>
                    <a:p>
                      <a:pPr marL="285750" indent="-285750" algn="ctr">
                        <a:buClr>
                          <a:schemeClr val="accent3">
                            <a:lumMod val="50000"/>
                          </a:schemeClr>
                        </a:buClr>
                        <a:buFont typeface="Wingdings" panose="05000000000000000000" pitchFamily="2" charset="2"/>
                        <a:buChar char="ü"/>
                      </a:pPr>
                      <a:r>
                        <a:rPr lang="en-US" sz="2400" dirty="0"/>
                        <a:t> </a:t>
                      </a:r>
                    </a:p>
                  </a:txBody>
                  <a:tcPr anchor="ctr"/>
                </a:tc>
                <a:tc>
                  <a:txBody>
                    <a:bodyPr/>
                    <a:lstStyle/>
                    <a:p>
                      <a:pPr marL="285750" indent="-285750" algn="ctr">
                        <a:buClr>
                          <a:schemeClr val="accent3">
                            <a:lumMod val="50000"/>
                          </a:schemeClr>
                        </a:buClr>
                        <a:buFont typeface="Wingdings" panose="05000000000000000000" pitchFamily="2" charset="2"/>
                        <a:buChar char="ü"/>
                      </a:pPr>
                      <a:r>
                        <a:rPr lang="en-US" sz="2400" baseline="0" dirty="0"/>
                        <a:t> </a:t>
                      </a:r>
                      <a:endParaRPr lang="en-US" sz="2400" dirty="0"/>
                    </a:p>
                  </a:txBody>
                  <a:tcPr anchor="ctr"/>
                </a:tc>
                <a:tc>
                  <a:txBody>
                    <a:bodyPr/>
                    <a:lstStyle/>
                    <a:p>
                      <a:r>
                        <a:rPr lang="en-US" sz="2000" kern="1200" dirty="0">
                          <a:effectLst/>
                        </a:rPr>
                        <a:t>Linux, Unix, Mac OS X, or Windows</a:t>
                      </a:r>
                      <a:endParaRPr lang="en-US" sz="2000" dirty="0">
                        <a:solidFill>
                          <a:schemeClr val="tx1">
                            <a:lumMod val="65000"/>
                            <a:lumOff val="35000"/>
                          </a:schemeClr>
                        </a:solidFill>
                      </a:endParaRPr>
                    </a:p>
                  </a:txBody>
                  <a:tcPr anchor="ctr"/>
                </a:tc>
                <a:extLst>
                  <a:ext uri="{0D108BD9-81ED-4DB2-BD59-A6C34878D82A}">
                    <a16:rowId xmlns:a16="http://schemas.microsoft.com/office/drawing/2014/main" val="2589048810"/>
                  </a:ext>
                </a:extLst>
              </a:tr>
              <a:tr h="629412">
                <a:tc>
                  <a:txBody>
                    <a:bodyPr/>
                    <a:lstStyle/>
                    <a:p>
                      <a:r>
                        <a:rPr lang="en-US" sz="2000" dirty="0">
                          <a:hlinkClick r:id="rId4"/>
                        </a:rPr>
                        <a:t>Hive Command </a:t>
                      </a:r>
                      <a:br>
                        <a:rPr lang="en-US" sz="2000" dirty="0">
                          <a:hlinkClick r:id="rId4"/>
                        </a:rPr>
                      </a:br>
                      <a:r>
                        <a:rPr lang="en-US" sz="2000" dirty="0">
                          <a:hlinkClick r:id="rId4"/>
                        </a:rPr>
                        <a:t>(from an SSH</a:t>
                      </a:r>
                      <a:r>
                        <a:rPr lang="en-US" sz="2000" baseline="0" dirty="0">
                          <a:hlinkClick r:id="rId4"/>
                        </a:rPr>
                        <a:t> session)</a:t>
                      </a:r>
                      <a:endParaRPr lang="en-US" sz="2000" dirty="0">
                        <a:solidFill>
                          <a:schemeClr val="bg2">
                            <a:lumMod val="25000"/>
                          </a:schemeClr>
                        </a:solidFill>
                      </a:endParaRPr>
                    </a:p>
                  </a:txBody>
                  <a:tcPr anchor="ctr"/>
                </a:tc>
                <a:tc>
                  <a:txBody>
                    <a:bodyPr/>
                    <a:lstStyle/>
                    <a:p>
                      <a:pPr marL="285750" indent="-285750" algn="ctr">
                        <a:buClr>
                          <a:schemeClr val="accent3">
                            <a:lumMod val="50000"/>
                          </a:schemeClr>
                        </a:buClr>
                        <a:buFont typeface="Wingdings" panose="05000000000000000000" pitchFamily="2" charset="2"/>
                        <a:buChar char="ü"/>
                      </a:pPr>
                      <a:r>
                        <a:rPr lang="en-US" sz="2400" baseline="0" dirty="0"/>
                        <a:t> </a:t>
                      </a:r>
                      <a:endParaRPr lang="en-US" sz="2400" dirty="0"/>
                    </a:p>
                  </a:txBody>
                  <a:tcPr anchor="ctr"/>
                </a:tc>
                <a:tc>
                  <a:txBody>
                    <a:bodyPr/>
                    <a:lstStyle/>
                    <a:p>
                      <a:pPr marL="285750" indent="-285750" algn="ctr">
                        <a:buClr>
                          <a:schemeClr val="accent3">
                            <a:lumMod val="50000"/>
                          </a:schemeClr>
                        </a:buClr>
                        <a:buFont typeface="Wingdings" panose="05000000000000000000" pitchFamily="2" charset="2"/>
                        <a:buChar char="ü"/>
                      </a:pPr>
                      <a:r>
                        <a:rPr lang="en-US" sz="2400" baseline="0" dirty="0"/>
                        <a:t> </a:t>
                      </a:r>
                      <a:endParaRPr lang="en-US" sz="2400" dirty="0"/>
                    </a:p>
                  </a:txBody>
                  <a:tcPr anchor="ctr"/>
                </a:tc>
                <a:tc>
                  <a:txBody>
                    <a:bodyPr/>
                    <a:lstStyle/>
                    <a:p>
                      <a:r>
                        <a:rPr lang="en-US" sz="2000" kern="1200" dirty="0">
                          <a:effectLst/>
                        </a:rPr>
                        <a:t>Linux, Unix, Mac OS X, or Windows</a:t>
                      </a:r>
                      <a:endParaRPr lang="en-US" sz="2000" dirty="0">
                        <a:solidFill>
                          <a:schemeClr val="tx1">
                            <a:lumMod val="65000"/>
                            <a:lumOff val="35000"/>
                          </a:schemeClr>
                        </a:solidFill>
                      </a:endParaRPr>
                    </a:p>
                  </a:txBody>
                  <a:tcPr anchor="ctr"/>
                </a:tc>
                <a:extLst>
                  <a:ext uri="{0D108BD9-81ED-4DB2-BD59-A6C34878D82A}">
                    <a16:rowId xmlns:a16="http://schemas.microsoft.com/office/drawing/2014/main" val="845935007"/>
                  </a:ext>
                </a:extLst>
              </a:tr>
              <a:tr h="629412">
                <a:tc>
                  <a:txBody>
                    <a:bodyPr/>
                    <a:lstStyle/>
                    <a:p>
                      <a:r>
                        <a:rPr lang="en-US" sz="2000" dirty="0">
                          <a:hlinkClick r:id="rId5"/>
                        </a:rPr>
                        <a:t>Curl</a:t>
                      </a:r>
                      <a:endParaRPr lang="en-US" sz="2000" dirty="0">
                        <a:solidFill>
                          <a:schemeClr val="bg2">
                            <a:lumMod val="25000"/>
                          </a:schemeClr>
                        </a:solidFill>
                      </a:endParaRPr>
                    </a:p>
                  </a:txBody>
                  <a:tcPr anchor="ctr"/>
                </a:tc>
                <a:tc>
                  <a:txBody>
                    <a:bodyPr/>
                    <a:lstStyle/>
                    <a:p>
                      <a:pPr marL="0" indent="0" algn="ctr">
                        <a:buClr>
                          <a:schemeClr val="accent3">
                            <a:lumMod val="50000"/>
                          </a:schemeClr>
                        </a:buClr>
                        <a:buFont typeface="Wingdings" panose="05000000000000000000" pitchFamily="2" charset="2"/>
                        <a:buNone/>
                      </a:pPr>
                      <a:endParaRPr lang="en-US" sz="2400" dirty="0"/>
                    </a:p>
                  </a:txBody>
                  <a:tcPr anchor="ctr"/>
                </a:tc>
                <a:tc>
                  <a:txBody>
                    <a:bodyPr/>
                    <a:lstStyle/>
                    <a:p>
                      <a:pPr marL="285750" indent="-285750" algn="ctr">
                        <a:buClr>
                          <a:schemeClr val="accent3">
                            <a:lumMod val="50000"/>
                          </a:schemeClr>
                        </a:buClr>
                        <a:buFont typeface="Wingdings" panose="05000000000000000000" pitchFamily="2" charset="2"/>
                        <a:buChar char="ü"/>
                      </a:pPr>
                      <a:r>
                        <a:rPr lang="en-US" sz="2400" baseline="0" dirty="0"/>
                        <a:t> </a:t>
                      </a:r>
                      <a:endParaRPr lang="en-US" sz="2400" dirty="0"/>
                    </a:p>
                  </a:txBody>
                  <a:tcPr anchor="ctr"/>
                </a:tc>
                <a:tc>
                  <a:txBody>
                    <a:bodyPr/>
                    <a:lstStyle/>
                    <a:p>
                      <a:r>
                        <a:rPr lang="en-US" sz="2000" kern="1200" dirty="0">
                          <a:effectLst/>
                        </a:rPr>
                        <a:t>Linux, Unix, Mac OS X, or Windows</a:t>
                      </a:r>
                      <a:endParaRPr lang="en-US" sz="2000" dirty="0">
                        <a:solidFill>
                          <a:schemeClr val="tx1">
                            <a:lumMod val="65000"/>
                            <a:lumOff val="35000"/>
                          </a:schemeClr>
                        </a:solidFill>
                      </a:endParaRPr>
                    </a:p>
                  </a:txBody>
                  <a:tcPr anchor="ctr"/>
                </a:tc>
                <a:extLst>
                  <a:ext uri="{0D108BD9-81ED-4DB2-BD59-A6C34878D82A}">
                    <a16:rowId xmlns:a16="http://schemas.microsoft.com/office/drawing/2014/main" val="1415997200"/>
                  </a:ext>
                </a:extLst>
              </a:tr>
              <a:tr h="629412">
                <a:tc>
                  <a:txBody>
                    <a:bodyPr/>
                    <a:lstStyle/>
                    <a:p>
                      <a:r>
                        <a:rPr lang="en-US" sz="2000" dirty="0">
                          <a:hlinkClick r:id="rId6"/>
                        </a:rPr>
                        <a:t>HDInsight tools for</a:t>
                      </a:r>
                      <a:r>
                        <a:rPr lang="en-US" sz="2000" baseline="0" dirty="0">
                          <a:hlinkClick r:id="rId6"/>
                        </a:rPr>
                        <a:t> Visual Studio</a:t>
                      </a:r>
                      <a:endParaRPr lang="en-US" sz="2000" dirty="0">
                        <a:solidFill>
                          <a:schemeClr val="bg2">
                            <a:lumMod val="25000"/>
                          </a:schemeClr>
                        </a:solidFill>
                      </a:endParaRPr>
                    </a:p>
                  </a:txBody>
                  <a:tcPr anchor="ctr"/>
                </a:tc>
                <a:tc>
                  <a:txBody>
                    <a:bodyPr/>
                    <a:lstStyle/>
                    <a:p>
                      <a:pPr marL="0" indent="0" algn="ctr">
                        <a:buClr>
                          <a:schemeClr val="accent3">
                            <a:lumMod val="50000"/>
                          </a:schemeClr>
                        </a:buClr>
                        <a:buFont typeface="Wingdings" panose="05000000000000000000" pitchFamily="2" charset="2"/>
                        <a:buNone/>
                      </a:pPr>
                      <a:endParaRPr lang="en-US" sz="2400" dirty="0"/>
                    </a:p>
                  </a:txBody>
                  <a:tcPr anchor="ctr"/>
                </a:tc>
                <a:tc>
                  <a:txBody>
                    <a:bodyPr/>
                    <a:lstStyle/>
                    <a:p>
                      <a:pPr marL="285750" indent="-285750" algn="ctr">
                        <a:buClr>
                          <a:schemeClr val="accent3">
                            <a:lumMod val="50000"/>
                          </a:schemeClr>
                        </a:buClr>
                        <a:buFont typeface="Wingdings" panose="05000000000000000000" pitchFamily="2" charset="2"/>
                        <a:buChar char="ü"/>
                      </a:pPr>
                      <a:r>
                        <a:rPr lang="en-US" sz="2400" baseline="0" dirty="0"/>
                        <a:t> </a:t>
                      </a:r>
                      <a:endParaRPr lang="en-US" sz="2400" dirty="0"/>
                    </a:p>
                  </a:txBody>
                  <a:tcPr anchor="ctr"/>
                </a:tc>
                <a:tc>
                  <a:txBody>
                    <a:bodyPr/>
                    <a:lstStyle/>
                    <a:p>
                      <a:r>
                        <a:rPr lang="en-US" sz="2000" dirty="0"/>
                        <a:t>Windows</a:t>
                      </a:r>
                      <a:endParaRPr lang="en-US" sz="2000" dirty="0">
                        <a:solidFill>
                          <a:schemeClr val="tx1">
                            <a:lumMod val="65000"/>
                            <a:lumOff val="35000"/>
                          </a:schemeClr>
                        </a:solidFill>
                      </a:endParaRPr>
                    </a:p>
                  </a:txBody>
                  <a:tcPr anchor="ctr"/>
                </a:tc>
                <a:extLst>
                  <a:ext uri="{0D108BD9-81ED-4DB2-BD59-A6C34878D82A}">
                    <a16:rowId xmlns:a16="http://schemas.microsoft.com/office/drawing/2014/main" val="323686044"/>
                  </a:ext>
                </a:extLst>
              </a:tr>
              <a:tr h="629412">
                <a:tc>
                  <a:txBody>
                    <a:bodyPr/>
                    <a:lstStyle/>
                    <a:p>
                      <a:r>
                        <a:rPr lang="en-US" sz="2000" dirty="0">
                          <a:hlinkClick r:id="rId7" action="ppaction://hlinkfile"/>
                        </a:rPr>
                        <a:t>Windows PowerShell</a:t>
                      </a:r>
                      <a:endParaRPr lang="en-US" sz="2000" dirty="0">
                        <a:solidFill>
                          <a:schemeClr val="bg2">
                            <a:lumMod val="25000"/>
                          </a:schemeClr>
                        </a:solidFill>
                      </a:endParaRPr>
                    </a:p>
                  </a:txBody>
                  <a:tcPr anchor="ctr"/>
                </a:tc>
                <a:tc>
                  <a:txBody>
                    <a:bodyPr/>
                    <a:lstStyle/>
                    <a:p>
                      <a:pPr marL="0" indent="0" algn="ctr">
                        <a:buClr>
                          <a:schemeClr val="accent3">
                            <a:lumMod val="50000"/>
                          </a:schemeClr>
                        </a:buClr>
                        <a:buFont typeface="Wingdings" panose="05000000000000000000" pitchFamily="2" charset="2"/>
                        <a:buNone/>
                      </a:pPr>
                      <a:endParaRPr lang="en-US" sz="2400" dirty="0"/>
                    </a:p>
                  </a:txBody>
                  <a:tcPr anchor="ctr"/>
                </a:tc>
                <a:tc>
                  <a:txBody>
                    <a:bodyPr/>
                    <a:lstStyle/>
                    <a:p>
                      <a:pPr marL="285750" indent="-285750" algn="ctr">
                        <a:buClr>
                          <a:schemeClr val="accent3">
                            <a:lumMod val="50000"/>
                          </a:schemeClr>
                        </a:buClr>
                        <a:buFont typeface="Wingdings" panose="05000000000000000000" pitchFamily="2" charset="2"/>
                        <a:buChar char="ü"/>
                      </a:pPr>
                      <a:r>
                        <a:rPr lang="en-US" sz="2400" baseline="0" dirty="0"/>
                        <a:t> </a:t>
                      </a:r>
                      <a:endParaRPr lang="en-US" sz="2400" dirty="0"/>
                    </a:p>
                  </a:txBody>
                  <a:tcPr anchor="ctr"/>
                </a:tc>
                <a:tc>
                  <a:txBody>
                    <a:bodyPr/>
                    <a:lstStyle/>
                    <a:p>
                      <a:r>
                        <a:rPr lang="en-US" sz="2000" dirty="0"/>
                        <a:t>Windows</a:t>
                      </a:r>
                      <a:endParaRPr lang="en-US" sz="2000" dirty="0">
                        <a:solidFill>
                          <a:schemeClr val="tx1">
                            <a:lumMod val="65000"/>
                            <a:lumOff val="35000"/>
                          </a:schemeClr>
                        </a:solidFill>
                      </a:endParaRPr>
                    </a:p>
                  </a:txBody>
                  <a:tcPr anchor="ctr"/>
                </a:tc>
                <a:extLst>
                  <a:ext uri="{0D108BD9-81ED-4DB2-BD59-A6C34878D82A}">
                    <a16:rowId xmlns:a16="http://schemas.microsoft.com/office/drawing/2014/main" val="38121792"/>
                  </a:ext>
                </a:extLst>
              </a:tr>
            </a:tbl>
          </a:graphicData>
        </a:graphic>
      </p:graphicFrame>
    </p:spTree>
    <p:extLst>
      <p:ext uri="{BB962C8B-B14F-4D97-AF65-F5344CB8AC3E}">
        <p14:creationId xmlns:p14="http://schemas.microsoft.com/office/powerpoint/2010/main" val="2061265068"/>
      </p:ext>
    </p:extLst>
  </p:cSld>
  <p:clrMapOvr>
    <a:masterClrMapping/>
  </p:clrMapOvr>
  <p:transition spd="med">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mparing RDBMS and Hive</a:t>
            </a:r>
          </a:p>
        </p:txBody>
      </p:sp>
      <p:graphicFrame>
        <p:nvGraphicFramePr>
          <p:cNvPr id="3" name="Table 2"/>
          <p:cNvGraphicFramePr>
            <a:graphicFrameLocks noGrp="1"/>
          </p:cNvGraphicFramePr>
          <p:nvPr>
            <p:extLst>
              <p:ext uri="{D42A27DB-BD31-4B8C-83A1-F6EECF244321}">
                <p14:modId xmlns:p14="http://schemas.microsoft.com/office/powerpoint/2010/main" val="1856651607"/>
              </p:ext>
            </p:extLst>
          </p:nvPr>
        </p:nvGraphicFramePr>
        <p:xfrm>
          <a:off x="455995" y="1528385"/>
          <a:ext cx="11311140" cy="4752140"/>
        </p:xfrm>
        <a:graphic>
          <a:graphicData uri="http://schemas.openxmlformats.org/drawingml/2006/table">
            <a:tbl>
              <a:tblPr firstRow="1" bandRow="1"/>
              <a:tblGrid>
                <a:gridCol w="3026990">
                  <a:extLst>
                    <a:ext uri="{9D8B030D-6E8A-4147-A177-3AD203B41FA5}">
                      <a16:colId xmlns:a16="http://schemas.microsoft.com/office/drawing/2014/main" val="20000"/>
                    </a:ext>
                  </a:extLst>
                </a:gridCol>
                <a:gridCol w="4142075">
                  <a:extLst>
                    <a:ext uri="{9D8B030D-6E8A-4147-A177-3AD203B41FA5}">
                      <a16:colId xmlns:a16="http://schemas.microsoft.com/office/drawing/2014/main" val="20001"/>
                    </a:ext>
                  </a:extLst>
                </a:gridCol>
                <a:gridCol w="4142075">
                  <a:extLst>
                    <a:ext uri="{9D8B030D-6E8A-4147-A177-3AD203B41FA5}">
                      <a16:colId xmlns:a16="http://schemas.microsoft.com/office/drawing/2014/main" val="20002"/>
                    </a:ext>
                  </a:extLst>
                </a:gridCol>
              </a:tblGrid>
              <a:tr h="461307">
                <a:tc>
                  <a:txBody>
                    <a:bodyPr/>
                    <a:lstStyle/>
                    <a:p>
                      <a:endParaRPr lang="en-US" sz="2800" dirty="0">
                        <a:latin typeface="Trebuchet MS" pitchFamily="34" charset="0"/>
                      </a:endParaRPr>
                    </a:p>
                  </a:txBody>
                  <a:tcPr marL="89642" marR="89642" marT="44821" marB="44821" anchor="ctr">
                    <a:lnL w="12700" cmpd="sng">
                      <a:noFill/>
                      <a:prstDash val="solid"/>
                    </a:lnL>
                    <a:lnR w="12700" cap="flat" cmpd="sng" algn="ctr">
                      <a:solidFill>
                        <a:schemeClr val="accent3"/>
                      </a:solidFill>
                      <a:prstDash val="solid"/>
                      <a:round/>
                      <a:headEnd type="none" w="med" len="med"/>
                      <a:tailEnd type="none" w="med" len="med"/>
                    </a:lnR>
                    <a:lnT w="12700" cmpd="sng">
                      <a:noFill/>
                      <a:prstDash val="soli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2700" baseline="0" dirty="0">
                          <a:solidFill>
                            <a:schemeClr val="bg1"/>
                          </a:solidFill>
                          <a:latin typeface="+mn-lt"/>
                        </a:rPr>
                        <a:t>RDBMS DW</a:t>
                      </a:r>
                      <a:endParaRPr lang="en-US" sz="2700" b="0" dirty="0">
                        <a:solidFill>
                          <a:schemeClr val="bg1"/>
                        </a:solidFill>
                        <a:latin typeface="+mn-lt"/>
                      </a:endParaRPr>
                    </a:p>
                  </a:txBody>
                  <a:tcPr marL="89642" marR="89642" marT="44821" marB="44821" anchor="ctr">
                    <a:lnL w="12700" cap="flat" cmpd="sng" algn="ctr">
                      <a:solidFill>
                        <a:schemeClr val="accent3"/>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mpd="sng">
                      <a:noFill/>
                      <a:prstDash val="soli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US" sz="2700" dirty="0">
                          <a:solidFill>
                            <a:schemeClr val="bg1"/>
                          </a:solidFill>
                          <a:latin typeface="+mn-lt"/>
                        </a:rPr>
                        <a:t>Hive</a:t>
                      </a:r>
                      <a:endParaRPr lang="en-US" sz="2700" b="0" dirty="0">
                        <a:solidFill>
                          <a:schemeClr val="bg1"/>
                        </a:solidFill>
                        <a:latin typeface="+mn-lt"/>
                      </a:endParaRPr>
                    </a:p>
                  </a:txBody>
                  <a:tcPr marL="89642" marR="89642" marT="44821" marB="44821" anchor="ctr">
                    <a:lnL w="9525" cap="flat" cmpd="sng" algn="ctr">
                      <a:solidFill>
                        <a:schemeClr val="bg1"/>
                      </a:solidFill>
                      <a:prstDash val="solid"/>
                      <a:round/>
                      <a:headEnd type="none" w="med" len="med"/>
                      <a:tailEnd type="none" w="med" len="med"/>
                    </a:lnL>
                    <a:lnR w="9525" cap="flat" cmpd="sng" algn="ctr">
                      <a:solidFill>
                        <a:schemeClr val="accent3"/>
                      </a:solidFill>
                      <a:prstDash val="solid"/>
                      <a:round/>
                      <a:headEnd type="none" w="med" len="med"/>
                      <a:tailEnd type="none" w="med" len="med"/>
                    </a:lnR>
                    <a:lnT w="12700" cmpd="sng">
                      <a:noFill/>
                      <a:prstDash val="soli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0000"/>
                  </a:ext>
                </a:extLst>
              </a:tr>
              <a:tr h="461307">
                <a:tc>
                  <a:txBody>
                    <a:bodyPr/>
                    <a:lstStyle/>
                    <a:p>
                      <a:pPr algn="r"/>
                      <a:r>
                        <a:rPr lang="en-US" sz="2500" dirty="0">
                          <a:solidFill>
                            <a:schemeClr val="accent3"/>
                          </a:solidFill>
                          <a:latin typeface="+mn-lt"/>
                        </a:rPr>
                        <a:t>Structure</a:t>
                      </a:r>
                    </a:p>
                  </a:txBody>
                  <a:tcPr marL="89642" marR="89642" marT="44821" marB="44821" anchor="ctr">
                    <a:lnL w="952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000" dirty="0">
                          <a:solidFill>
                            <a:schemeClr val="tx2"/>
                          </a:solidFill>
                        </a:rPr>
                        <a:t>Schema On</a:t>
                      </a:r>
                      <a:r>
                        <a:rPr lang="en-US" sz="2000" baseline="0" dirty="0">
                          <a:solidFill>
                            <a:schemeClr val="tx2"/>
                          </a:solidFill>
                        </a:rPr>
                        <a:t> Write</a:t>
                      </a:r>
                      <a:endParaRPr lang="en-US" sz="2000" b="0" dirty="0">
                        <a:solidFill>
                          <a:schemeClr val="tx2"/>
                        </a:solidFill>
                        <a:latin typeface="+mj-lt"/>
                      </a:endParaRPr>
                    </a:p>
                  </a:txBody>
                  <a:tcPr marL="89642" marR="89642" marT="44821" marB="44821"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000" dirty="0">
                          <a:solidFill>
                            <a:schemeClr val="tx2"/>
                          </a:solidFill>
                        </a:rPr>
                        <a:t>Schema On Read</a:t>
                      </a:r>
                      <a:endParaRPr lang="en-US" sz="2000" b="0" dirty="0">
                        <a:solidFill>
                          <a:schemeClr val="tx2"/>
                        </a:solidFill>
                        <a:latin typeface="+mj-lt"/>
                      </a:endParaRPr>
                    </a:p>
                  </a:txBody>
                  <a:tcPr marL="89642" marR="89642" marT="44821" marB="44821"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90457">
                <a:tc>
                  <a:txBody>
                    <a:bodyPr/>
                    <a:lstStyle/>
                    <a:p>
                      <a:pPr algn="r"/>
                      <a:r>
                        <a:rPr lang="en-US" sz="2500" dirty="0">
                          <a:solidFill>
                            <a:schemeClr val="accent3"/>
                          </a:solidFill>
                          <a:latin typeface="+mn-lt"/>
                        </a:rPr>
                        <a:t>Access</a:t>
                      </a:r>
                    </a:p>
                  </a:txBody>
                  <a:tcPr marL="89642" marR="89642" marT="44821" marB="44821" anchor="ctr">
                    <a:lnL w="952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000" dirty="0">
                          <a:solidFill>
                            <a:schemeClr val="tx2"/>
                          </a:solidFill>
                        </a:rPr>
                        <a:t>SQL</a:t>
                      </a:r>
                      <a:endParaRPr lang="en-US" sz="2000" b="0" dirty="0">
                        <a:solidFill>
                          <a:schemeClr val="tx2"/>
                        </a:solidFill>
                        <a:latin typeface="+mj-lt"/>
                      </a:endParaRPr>
                    </a:p>
                  </a:txBody>
                  <a:tcPr marL="89642" marR="89642" marT="44821" marB="44821"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4E4F8"/>
                    </a:solid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2000" dirty="0">
                          <a:solidFill>
                            <a:schemeClr val="tx2"/>
                          </a:solidFill>
                        </a:rPr>
                        <a:t>HiveQL</a:t>
                      </a:r>
                      <a:endParaRPr lang="en-US" sz="2000" b="0" dirty="0">
                        <a:solidFill>
                          <a:schemeClr val="tx2"/>
                        </a:solidFill>
                        <a:latin typeface="+mj-lt"/>
                      </a:endParaRPr>
                    </a:p>
                  </a:txBody>
                  <a:tcPr marL="89642" marR="89642" marT="44821" marB="44821"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4E4F8"/>
                    </a:solidFill>
                  </a:tcPr>
                </a:tc>
                <a:extLst>
                  <a:ext uri="{0D108BD9-81ED-4DB2-BD59-A6C34878D82A}">
                    <a16:rowId xmlns:a16="http://schemas.microsoft.com/office/drawing/2014/main" val="10002"/>
                  </a:ext>
                </a:extLst>
              </a:tr>
              <a:tr h="461307">
                <a:tc>
                  <a:txBody>
                    <a:bodyPr/>
                    <a:lstStyle/>
                    <a:p>
                      <a:pPr algn="r"/>
                      <a:r>
                        <a:rPr lang="en-US" sz="2500" dirty="0">
                          <a:solidFill>
                            <a:schemeClr val="accent3"/>
                          </a:solidFill>
                          <a:latin typeface="+mn-lt"/>
                        </a:rPr>
                        <a:t>Indexes</a:t>
                      </a:r>
                    </a:p>
                  </a:txBody>
                  <a:tcPr marL="89642" marR="89642" marT="44821" marB="44821" anchor="ctr">
                    <a:lnL w="952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000" dirty="0">
                          <a:solidFill>
                            <a:schemeClr val="tx2"/>
                          </a:solidFill>
                        </a:rPr>
                        <a:t>Yes</a:t>
                      </a:r>
                      <a:endParaRPr lang="en-US" sz="2000" b="0" dirty="0">
                        <a:solidFill>
                          <a:schemeClr val="tx2"/>
                        </a:solidFill>
                        <a:latin typeface="+mj-lt"/>
                      </a:endParaRPr>
                    </a:p>
                  </a:txBody>
                  <a:tcPr marL="89642" marR="89642" marT="44821" marB="44821"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000" dirty="0">
                          <a:solidFill>
                            <a:schemeClr val="tx2"/>
                          </a:solidFill>
                        </a:rPr>
                        <a:t>Yes </a:t>
                      </a:r>
                      <a:endParaRPr lang="en-US" sz="2000" b="0" dirty="0">
                        <a:solidFill>
                          <a:schemeClr val="tx2"/>
                        </a:solidFill>
                        <a:latin typeface="+mj-lt"/>
                      </a:endParaRPr>
                    </a:p>
                  </a:txBody>
                  <a:tcPr marL="89642" marR="89642" marT="44821" marB="44821"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61307">
                <a:tc>
                  <a:txBody>
                    <a:bodyPr/>
                    <a:lstStyle/>
                    <a:p>
                      <a:pPr algn="r"/>
                      <a:r>
                        <a:rPr lang="en-US" sz="2500" dirty="0">
                          <a:solidFill>
                            <a:schemeClr val="accent3"/>
                          </a:solidFill>
                          <a:latin typeface="+mn-lt"/>
                        </a:rPr>
                        <a:t>Updates</a:t>
                      </a:r>
                    </a:p>
                  </a:txBody>
                  <a:tcPr marL="89642" marR="89642" marT="44821" marB="44821" anchor="ctr">
                    <a:lnL w="952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000" dirty="0">
                          <a:solidFill>
                            <a:schemeClr val="tx2"/>
                          </a:solidFill>
                        </a:rPr>
                        <a:t>Yes</a:t>
                      </a:r>
                      <a:endParaRPr lang="en-US" sz="2000" b="0" dirty="0">
                        <a:solidFill>
                          <a:schemeClr val="tx2"/>
                        </a:solidFill>
                        <a:latin typeface="+mj-lt"/>
                      </a:endParaRPr>
                    </a:p>
                  </a:txBody>
                  <a:tcPr marL="89642" marR="89642" marT="44821" marB="44821"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4E4F8"/>
                    </a:solidFill>
                  </a:tcPr>
                </a:tc>
                <a:tc>
                  <a:txBody>
                    <a:bodyPr/>
                    <a:lstStyle/>
                    <a:p>
                      <a:pPr algn="ctr"/>
                      <a:r>
                        <a:rPr lang="en-US" sz="2000" dirty="0">
                          <a:solidFill>
                            <a:schemeClr val="tx2"/>
                          </a:solidFill>
                        </a:rPr>
                        <a:t>No </a:t>
                      </a:r>
                      <a:endParaRPr lang="en-US" sz="2000" b="0" dirty="0">
                        <a:solidFill>
                          <a:schemeClr val="tx2"/>
                        </a:solidFill>
                        <a:latin typeface="+mj-lt"/>
                      </a:endParaRPr>
                    </a:p>
                  </a:txBody>
                  <a:tcPr marL="89642" marR="89642" marT="44821" marB="44821"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4E4F8"/>
                    </a:solidFill>
                  </a:tcPr>
                </a:tc>
                <a:extLst>
                  <a:ext uri="{0D108BD9-81ED-4DB2-BD59-A6C34878D82A}">
                    <a16:rowId xmlns:a16="http://schemas.microsoft.com/office/drawing/2014/main" val="10004"/>
                  </a:ext>
                </a:extLst>
              </a:tr>
              <a:tr h="461307">
                <a:tc>
                  <a:txBody>
                    <a:bodyPr/>
                    <a:lstStyle/>
                    <a:p>
                      <a:pPr algn="r"/>
                      <a:r>
                        <a:rPr lang="en-US" sz="2500" dirty="0">
                          <a:solidFill>
                            <a:schemeClr val="accent3"/>
                          </a:solidFill>
                          <a:latin typeface="+mn-lt"/>
                        </a:rPr>
                        <a:t>Locking</a:t>
                      </a:r>
                    </a:p>
                  </a:txBody>
                  <a:tcPr marL="89642" marR="89642" marT="44821" marB="44821" anchor="ctr">
                    <a:lnL w="952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000" dirty="0">
                          <a:solidFill>
                            <a:schemeClr val="tx2"/>
                          </a:solidFill>
                        </a:rPr>
                        <a:t>Yes</a:t>
                      </a:r>
                      <a:endParaRPr lang="en-US" sz="2000" b="0" dirty="0">
                        <a:solidFill>
                          <a:schemeClr val="tx2"/>
                        </a:solidFill>
                        <a:latin typeface="+mj-lt"/>
                      </a:endParaRPr>
                    </a:p>
                  </a:txBody>
                  <a:tcPr marL="89642" marR="89642" marT="44821" marB="44821"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000" dirty="0">
                          <a:solidFill>
                            <a:schemeClr val="tx2"/>
                          </a:solidFill>
                        </a:rPr>
                        <a:t>Table and Partition</a:t>
                      </a:r>
                      <a:r>
                        <a:rPr lang="en-US" sz="2000" baseline="0" dirty="0">
                          <a:solidFill>
                            <a:schemeClr val="tx2"/>
                          </a:solidFill>
                        </a:rPr>
                        <a:t> </a:t>
                      </a:r>
                      <a:endParaRPr lang="en-US" sz="2000" b="0" dirty="0">
                        <a:solidFill>
                          <a:schemeClr val="tx2"/>
                        </a:solidFill>
                        <a:latin typeface="+mj-lt"/>
                      </a:endParaRPr>
                    </a:p>
                  </a:txBody>
                  <a:tcPr marL="89642" marR="89642" marT="44821" marB="44821"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461307">
                <a:tc>
                  <a:txBody>
                    <a:bodyPr/>
                    <a:lstStyle/>
                    <a:p>
                      <a:pPr algn="r"/>
                      <a:r>
                        <a:rPr lang="en-US" sz="2500" dirty="0">
                          <a:solidFill>
                            <a:schemeClr val="accent3"/>
                          </a:solidFill>
                          <a:latin typeface="+mn-lt"/>
                        </a:rPr>
                        <a:t>Referential</a:t>
                      </a:r>
                      <a:r>
                        <a:rPr lang="en-US" sz="2500" baseline="0" dirty="0">
                          <a:solidFill>
                            <a:schemeClr val="accent3"/>
                          </a:solidFill>
                          <a:latin typeface="+mn-lt"/>
                        </a:rPr>
                        <a:t> Integrity</a:t>
                      </a:r>
                      <a:endParaRPr lang="en-US" sz="2500" dirty="0">
                        <a:solidFill>
                          <a:schemeClr val="accent3"/>
                        </a:solidFill>
                        <a:latin typeface="+mn-lt"/>
                      </a:endParaRPr>
                    </a:p>
                  </a:txBody>
                  <a:tcPr marL="89642" marR="89642" marT="44821" marB="44821" anchor="ctr">
                    <a:lnL w="952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000" dirty="0">
                          <a:solidFill>
                            <a:schemeClr val="tx2"/>
                          </a:solidFill>
                        </a:rPr>
                        <a:t>Yes</a:t>
                      </a:r>
                      <a:endParaRPr lang="en-US" sz="2000" b="0" dirty="0">
                        <a:solidFill>
                          <a:schemeClr val="tx2"/>
                        </a:solidFill>
                        <a:latin typeface="+mj-lt"/>
                      </a:endParaRPr>
                    </a:p>
                  </a:txBody>
                  <a:tcPr marL="89642" marR="89642" marT="44821" marB="44821"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4E4F8"/>
                    </a:solidFill>
                  </a:tcPr>
                </a:tc>
                <a:tc>
                  <a:txBody>
                    <a:bodyPr/>
                    <a:lstStyle/>
                    <a:p>
                      <a:pPr algn="ctr"/>
                      <a:r>
                        <a:rPr lang="en-US" sz="2000" dirty="0">
                          <a:solidFill>
                            <a:schemeClr val="tx2"/>
                          </a:solidFill>
                        </a:rPr>
                        <a:t>No</a:t>
                      </a:r>
                      <a:endParaRPr lang="en-US" sz="2000" b="0" dirty="0">
                        <a:solidFill>
                          <a:schemeClr val="tx2"/>
                        </a:solidFill>
                        <a:latin typeface="+mj-lt"/>
                      </a:endParaRPr>
                    </a:p>
                  </a:txBody>
                  <a:tcPr marL="89642" marR="89642" marT="44821" marB="44821"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4E4F8"/>
                    </a:solidFill>
                  </a:tcPr>
                </a:tc>
                <a:extLst>
                  <a:ext uri="{0D108BD9-81ED-4DB2-BD59-A6C34878D82A}">
                    <a16:rowId xmlns:a16="http://schemas.microsoft.com/office/drawing/2014/main" val="10006"/>
                  </a:ext>
                </a:extLst>
              </a:tr>
              <a:tr h="461307">
                <a:tc>
                  <a:txBody>
                    <a:bodyPr/>
                    <a:lstStyle/>
                    <a:p>
                      <a:pPr algn="r"/>
                      <a:r>
                        <a:rPr lang="en-US" sz="2500" dirty="0">
                          <a:solidFill>
                            <a:schemeClr val="accent3"/>
                          </a:solidFill>
                          <a:latin typeface="+mn-lt"/>
                        </a:rPr>
                        <a:t>Query Optimization</a:t>
                      </a:r>
                    </a:p>
                  </a:txBody>
                  <a:tcPr marL="89642" marR="89642" marT="44821" marB="44821" anchor="ctr">
                    <a:lnL w="952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000" dirty="0">
                          <a:solidFill>
                            <a:schemeClr val="tx2"/>
                          </a:solidFill>
                        </a:rPr>
                        <a:t>Yes</a:t>
                      </a:r>
                      <a:endParaRPr lang="en-US" sz="2000" b="0" dirty="0">
                        <a:solidFill>
                          <a:schemeClr val="tx2"/>
                        </a:solidFill>
                        <a:latin typeface="+mj-lt"/>
                      </a:endParaRPr>
                    </a:p>
                  </a:txBody>
                  <a:tcPr marL="89642" marR="89642" marT="44821" marB="44821"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000" dirty="0">
                          <a:solidFill>
                            <a:schemeClr val="tx2"/>
                          </a:solidFill>
                        </a:rPr>
                        <a:t>No </a:t>
                      </a:r>
                      <a:endParaRPr lang="en-US" sz="2000" b="0" dirty="0">
                        <a:solidFill>
                          <a:schemeClr val="tx2"/>
                        </a:solidFill>
                        <a:latin typeface="+mj-lt"/>
                      </a:endParaRPr>
                    </a:p>
                  </a:txBody>
                  <a:tcPr marL="89642" marR="89642" marT="44821" marB="44821"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461307">
                <a:tc>
                  <a:txBody>
                    <a:bodyPr/>
                    <a:lstStyle/>
                    <a:p>
                      <a:pPr algn="r"/>
                      <a:r>
                        <a:rPr lang="en-US" sz="2500" dirty="0">
                          <a:solidFill>
                            <a:schemeClr val="accent3"/>
                          </a:solidFill>
                          <a:latin typeface="+mn-lt"/>
                        </a:rPr>
                        <a:t>Access</a:t>
                      </a:r>
                      <a:r>
                        <a:rPr lang="en-US" sz="2500" baseline="0" dirty="0">
                          <a:solidFill>
                            <a:schemeClr val="accent3"/>
                          </a:solidFill>
                          <a:latin typeface="+mn-lt"/>
                        </a:rPr>
                        <a:t> Pattern</a:t>
                      </a:r>
                      <a:endParaRPr lang="en-US" sz="2500" dirty="0">
                        <a:solidFill>
                          <a:schemeClr val="accent3"/>
                        </a:solidFill>
                        <a:latin typeface="+mn-lt"/>
                      </a:endParaRPr>
                    </a:p>
                  </a:txBody>
                  <a:tcPr marL="89642" marR="89642" marT="44821" marB="44821" anchor="ctr">
                    <a:lnL w="952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367" rtl="0" eaLnBrk="1" latinLnBrk="0" hangingPunct="1"/>
                      <a:r>
                        <a:rPr lang="en-US" sz="2000" kern="1200" dirty="0">
                          <a:solidFill>
                            <a:schemeClr val="tx2"/>
                          </a:solidFill>
                          <a:latin typeface="+mn-lt"/>
                          <a:ea typeface="+mn-ea"/>
                          <a:cs typeface="+mn-cs"/>
                        </a:rPr>
                        <a:t>Read and Write many times</a:t>
                      </a:r>
                    </a:p>
                  </a:txBody>
                  <a:tcPr marL="89642" marR="89642" marT="44821" marB="44821"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4E4F8"/>
                    </a:solidFill>
                  </a:tcPr>
                </a:tc>
                <a:tc>
                  <a:txBody>
                    <a:bodyPr/>
                    <a:lstStyle/>
                    <a:p>
                      <a:pPr marL="0" algn="ctr" defTabSz="914367" rtl="0" eaLnBrk="1" latinLnBrk="0" hangingPunct="1"/>
                      <a:r>
                        <a:rPr lang="en-US" sz="2000" kern="1200" dirty="0">
                          <a:solidFill>
                            <a:schemeClr val="tx2"/>
                          </a:solidFill>
                          <a:latin typeface="+mn-lt"/>
                          <a:ea typeface="+mn-ea"/>
                          <a:cs typeface="+mn-cs"/>
                        </a:rPr>
                        <a:t>Write</a:t>
                      </a:r>
                      <a:r>
                        <a:rPr lang="en-US" sz="2000" kern="1200" baseline="0" dirty="0">
                          <a:solidFill>
                            <a:schemeClr val="tx2"/>
                          </a:solidFill>
                          <a:latin typeface="+mn-lt"/>
                          <a:ea typeface="+mn-ea"/>
                          <a:cs typeface="+mn-cs"/>
                        </a:rPr>
                        <a:t> O</a:t>
                      </a:r>
                      <a:r>
                        <a:rPr lang="en-US" sz="2000" kern="1200" dirty="0">
                          <a:solidFill>
                            <a:schemeClr val="tx2"/>
                          </a:solidFill>
                          <a:latin typeface="+mn-lt"/>
                          <a:ea typeface="+mn-ea"/>
                          <a:cs typeface="+mn-cs"/>
                        </a:rPr>
                        <a:t>nce,</a:t>
                      </a:r>
                      <a:r>
                        <a:rPr lang="en-US" sz="2000" kern="1200" baseline="0" dirty="0">
                          <a:solidFill>
                            <a:schemeClr val="tx2"/>
                          </a:solidFill>
                          <a:latin typeface="+mn-lt"/>
                          <a:ea typeface="+mn-ea"/>
                          <a:cs typeface="+mn-cs"/>
                        </a:rPr>
                        <a:t> R</a:t>
                      </a:r>
                      <a:r>
                        <a:rPr lang="en-US" sz="2000" kern="1200" dirty="0">
                          <a:solidFill>
                            <a:schemeClr val="tx2"/>
                          </a:solidFill>
                          <a:latin typeface="+mn-lt"/>
                          <a:ea typeface="+mn-ea"/>
                          <a:cs typeface="+mn-cs"/>
                        </a:rPr>
                        <a:t>ead-many-times</a:t>
                      </a:r>
                    </a:p>
                  </a:txBody>
                  <a:tcPr marL="89642" marR="89642" marT="44821" marB="44821"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4E4F8"/>
                    </a:solidFill>
                  </a:tcPr>
                </a:tc>
                <a:extLst>
                  <a:ext uri="{0D108BD9-81ED-4DB2-BD59-A6C34878D82A}">
                    <a16:rowId xmlns:a16="http://schemas.microsoft.com/office/drawing/2014/main" val="3211025061"/>
                  </a:ext>
                </a:extLst>
              </a:tr>
              <a:tr h="461307">
                <a:tc>
                  <a:txBody>
                    <a:bodyPr/>
                    <a:lstStyle/>
                    <a:p>
                      <a:pPr algn="r"/>
                      <a:r>
                        <a:rPr lang="en-US" sz="2500" dirty="0">
                          <a:solidFill>
                            <a:schemeClr val="accent3"/>
                          </a:solidFill>
                          <a:latin typeface="+mn-lt"/>
                        </a:rPr>
                        <a:t>OLTP Applications</a:t>
                      </a:r>
                    </a:p>
                  </a:txBody>
                  <a:tcPr marL="89642" marR="89642" marT="44821" marB="44821" anchor="ctr">
                    <a:lnL w="952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367" rtl="0" eaLnBrk="1" latinLnBrk="0" hangingPunct="1"/>
                      <a:r>
                        <a:rPr lang="en-US" sz="2000" kern="1200" dirty="0">
                          <a:solidFill>
                            <a:schemeClr val="tx2"/>
                          </a:solidFill>
                          <a:latin typeface="+mn-lt"/>
                          <a:ea typeface="+mn-ea"/>
                          <a:cs typeface="+mn-cs"/>
                        </a:rPr>
                        <a:t>Yes</a:t>
                      </a:r>
                    </a:p>
                  </a:txBody>
                  <a:tcPr marL="89642" marR="89642" marT="44821" marB="44821"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367" rtl="0" eaLnBrk="1" latinLnBrk="0" hangingPunct="1"/>
                      <a:r>
                        <a:rPr lang="en-US" sz="2000" kern="1200" dirty="0">
                          <a:solidFill>
                            <a:schemeClr val="tx2"/>
                          </a:solidFill>
                          <a:latin typeface="+mn-lt"/>
                          <a:ea typeface="+mn-ea"/>
                          <a:cs typeface="+mn-cs"/>
                        </a:rPr>
                        <a:t>No</a:t>
                      </a:r>
                    </a:p>
                  </a:txBody>
                  <a:tcPr marL="89642" marR="89642" marT="44821" marB="44821"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93039640"/>
                  </a:ext>
                </a:extLst>
              </a:tr>
            </a:tbl>
          </a:graphicData>
        </a:graphic>
      </p:graphicFrame>
      <p:sp>
        <p:nvSpPr>
          <p:cNvPr id="4" name="Slide Number Placeholder 3"/>
          <p:cNvSpPr>
            <a:spLocks noGrp="1"/>
          </p:cNvSpPr>
          <p:nvPr>
            <p:ph type="sldNum" sz="quarter" idx="11"/>
          </p:nvPr>
        </p:nvSpPr>
        <p:spPr/>
        <p:txBody>
          <a:bodyPr/>
          <a:lstStyle/>
          <a:p>
            <a:pPr>
              <a:defRPr/>
            </a:pPr>
            <a:fld id="{F8A0AC42-AA1D-4944-8D96-660DE70C7E1B}" type="slidenum">
              <a:rPr lang="en-IN"/>
              <a:pPr>
                <a:defRPr/>
              </a:pPr>
              <a:t>41</a:t>
            </a:fld>
            <a:endParaRPr lang="en-IN" dirty="0"/>
          </a:p>
        </p:txBody>
      </p:sp>
    </p:spTree>
    <p:extLst>
      <p:ext uri="{BB962C8B-B14F-4D97-AF65-F5344CB8AC3E}">
        <p14:creationId xmlns:p14="http://schemas.microsoft.com/office/powerpoint/2010/main" val="786760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p:txBody>
          <a:bodyPr/>
          <a:lstStyle/>
          <a:p>
            <a:r>
              <a:rPr lang="en-US" dirty="0"/>
              <a:t>Recent Hive releases</a:t>
            </a:r>
          </a:p>
        </p:txBody>
      </p:sp>
      <p:graphicFrame>
        <p:nvGraphicFramePr>
          <p:cNvPr id="6" name="Table 5"/>
          <p:cNvGraphicFramePr>
            <a:graphicFrameLocks noGrp="1"/>
          </p:cNvGraphicFramePr>
          <p:nvPr>
            <p:extLst>
              <p:ext uri="{D42A27DB-BD31-4B8C-83A1-F6EECF244321}">
                <p14:modId xmlns:p14="http://schemas.microsoft.com/office/powerpoint/2010/main" val="3340001961"/>
              </p:ext>
            </p:extLst>
          </p:nvPr>
        </p:nvGraphicFramePr>
        <p:xfrm>
          <a:off x="451444" y="3568198"/>
          <a:ext cx="11316304" cy="2995347"/>
        </p:xfrm>
        <a:graphic>
          <a:graphicData uri="http://schemas.openxmlformats.org/drawingml/2006/table">
            <a:tbl>
              <a:tblPr firstRow="1" bandRow="1"/>
              <a:tblGrid>
                <a:gridCol w="2495995">
                  <a:extLst>
                    <a:ext uri="{9D8B030D-6E8A-4147-A177-3AD203B41FA5}">
                      <a16:colId xmlns:a16="http://schemas.microsoft.com/office/drawing/2014/main" val="20000"/>
                    </a:ext>
                  </a:extLst>
                </a:gridCol>
                <a:gridCol w="8820309">
                  <a:extLst>
                    <a:ext uri="{9D8B030D-6E8A-4147-A177-3AD203B41FA5}">
                      <a16:colId xmlns:a16="http://schemas.microsoft.com/office/drawing/2014/main" val="20001"/>
                    </a:ext>
                  </a:extLst>
                </a:gridCol>
              </a:tblGrid>
              <a:tr h="314738">
                <a:tc>
                  <a:txBody>
                    <a:bodyPr/>
                    <a:lstStyle/>
                    <a:p>
                      <a:pPr marL="0" algn="ctr" defTabSz="932742" rtl="0" eaLnBrk="1" latinLnBrk="0" hangingPunct="1"/>
                      <a:r>
                        <a:rPr lang="en-US" sz="1800" kern="1200" baseline="0" dirty="0">
                          <a:solidFill>
                            <a:schemeClr val="bg1"/>
                          </a:solidFill>
                          <a:latin typeface="+mn-lt"/>
                          <a:ea typeface="+mn-ea"/>
                          <a:cs typeface="+mn-cs"/>
                        </a:rPr>
                        <a:t>Apache Hive Version</a:t>
                      </a:r>
                    </a:p>
                  </a:txBody>
                  <a:tcPr marL="89642" marR="89642" marT="44821" marB="44821" anchor="ctr">
                    <a:lnL w="9525" cap="flat" cmpd="sng" algn="ctr">
                      <a:solidFill>
                        <a:schemeClr val="accent3"/>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US" sz="1800" baseline="0" dirty="0">
                          <a:solidFill>
                            <a:schemeClr val="bg1"/>
                          </a:solidFill>
                          <a:latin typeface="+mn-lt"/>
                        </a:rPr>
                        <a:t>RDBMS DW</a:t>
                      </a:r>
                      <a:endParaRPr lang="en-US" sz="1800" b="0" dirty="0">
                        <a:solidFill>
                          <a:schemeClr val="bg1"/>
                        </a:solidFill>
                        <a:latin typeface="+mn-lt"/>
                      </a:endParaRPr>
                    </a:p>
                  </a:txBody>
                  <a:tcPr marL="89642" marR="89642" marT="44821" marB="44821" anchor="ctr">
                    <a:lnL w="9525" cap="flat" cmpd="sng" algn="ctr">
                      <a:solidFill>
                        <a:schemeClr val="bg1"/>
                      </a:solidFill>
                      <a:prstDash val="solid"/>
                      <a:round/>
                      <a:headEnd type="none" w="med" len="med"/>
                      <a:tailEnd type="none" w="med" len="med"/>
                    </a:lnL>
                    <a:lnR w="9525" cap="flat" cmpd="sng" algn="ctr">
                      <a:solidFill>
                        <a:schemeClr val="accent3"/>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0000"/>
                  </a:ext>
                </a:extLst>
              </a:tr>
              <a:tr h="740736">
                <a:tc>
                  <a:txBody>
                    <a:bodyPr/>
                    <a:lstStyle/>
                    <a:p>
                      <a:pPr algn="ctr"/>
                      <a:r>
                        <a:rPr lang="en-US" sz="2000" dirty="0">
                          <a:solidFill>
                            <a:schemeClr val="accent3"/>
                          </a:solidFill>
                          <a:latin typeface="+mn-lt"/>
                        </a:rPr>
                        <a:t>1.2</a:t>
                      </a:r>
                    </a:p>
                  </a:txBody>
                  <a:tcPr marL="89642" marR="89642" marT="44821" marB="44821"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32742" rtl="0" eaLnBrk="1" latinLnBrk="0" hangingPunct="1">
                        <a:spcBef>
                          <a:spcPts val="100"/>
                        </a:spcBef>
                        <a:spcAft>
                          <a:spcPts val="100"/>
                        </a:spcAft>
                      </a:pPr>
                      <a:r>
                        <a:rPr lang="en-US" sz="1200" b="0" kern="1200" dirty="0">
                          <a:solidFill>
                            <a:schemeClr val="tx1">
                              <a:lumMod val="65000"/>
                              <a:lumOff val="35000"/>
                            </a:schemeClr>
                          </a:solidFill>
                          <a:latin typeface="+mn-lt"/>
                          <a:ea typeface="+mn-ea"/>
                          <a:cs typeface="+mn-cs"/>
                        </a:rPr>
                        <a:t>SQL</a:t>
                      </a:r>
                      <a:r>
                        <a:rPr lang="en-US" sz="1200" b="0" kern="1200" baseline="0" dirty="0">
                          <a:solidFill>
                            <a:schemeClr val="tx1">
                              <a:lumMod val="65000"/>
                              <a:lumOff val="35000"/>
                            </a:schemeClr>
                          </a:solidFill>
                          <a:latin typeface="+mn-lt"/>
                          <a:ea typeface="+mn-ea"/>
                          <a:cs typeface="+mn-cs"/>
                        </a:rPr>
                        <a:t> Enhancements</a:t>
                      </a:r>
                      <a:endParaRPr lang="en-US" sz="1200" b="0" i="0" kern="1200" dirty="0">
                        <a:solidFill>
                          <a:schemeClr val="tx1">
                            <a:lumMod val="65000"/>
                            <a:lumOff val="35000"/>
                          </a:schemeClr>
                        </a:solidFill>
                        <a:effectLst/>
                        <a:latin typeface="+mn-lt"/>
                        <a:ea typeface="+mn-ea"/>
                        <a:cs typeface="+mn-cs"/>
                      </a:endParaRPr>
                    </a:p>
                    <a:p>
                      <a:pPr marL="0" marR="0" indent="0" algn="l" defTabSz="932742" rtl="0" eaLnBrk="1" fontAlgn="auto" latinLnBrk="0" hangingPunct="1">
                        <a:lnSpc>
                          <a:spcPct val="100000"/>
                        </a:lnSpc>
                        <a:spcBef>
                          <a:spcPts val="100"/>
                        </a:spcBef>
                        <a:spcAft>
                          <a:spcPts val="100"/>
                        </a:spcAft>
                        <a:buClrTx/>
                        <a:buSzTx/>
                        <a:buFontTx/>
                        <a:buNone/>
                        <a:tabLst/>
                        <a:defRPr/>
                      </a:pPr>
                      <a:r>
                        <a:rPr lang="en-US" sz="1200" b="0" i="0" kern="1200" dirty="0">
                          <a:solidFill>
                            <a:schemeClr val="tx1">
                              <a:lumMod val="65000"/>
                              <a:lumOff val="35000"/>
                            </a:schemeClr>
                          </a:solidFill>
                          <a:effectLst/>
                          <a:latin typeface="+mn-lt"/>
                          <a:ea typeface="+mn-ea"/>
                          <a:cs typeface="+mn-cs"/>
                        </a:rPr>
                        <a:t>Performance and Optimizer Improvements:</a:t>
                      </a:r>
                      <a:r>
                        <a:rPr lang="en-US" sz="1200" b="0" i="0" kern="1200" baseline="0" dirty="0">
                          <a:solidFill>
                            <a:schemeClr val="tx1">
                              <a:lumMod val="65000"/>
                              <a:lumOff val="35000"/>
                            </a:schemeClr>
                          </a:solidFill>
                          <a:effectLst/>
                          <a:latin typeface="+mn-lt"/>
                          <a:ea typeface="+mn-ea"/>
                          <a:cs typeface="+mn-cs"/>
                        </a:rPr>
                        <a:t> </a:t>
                      </a:r>
                    </a:p>
                    <a:p>
                      <a:pPr marL="0" marR="0" indent="0" algn="l" defTabSz="932742" rtl="0" eaLnBrk="1" fontAlgn="auto" latinLnBrk="0" hangingPunct="1">
                        <a:lnSpc>
                          <a:spcPct val="100000"/>
                        </a:lnSpc>
                        <a:spcBef>
                          <a:spcPts val="100"/>
                        </a:spcBef>
                        <a:spcAft>
                          <a:spcPts val="100"/>
                        </a:spcAft>
                        <a:buClrTx/>
                        <a:buSzTx/>
                        <a:buFontTx/>
                        <a:buNone/>
                        <a:tabLst/>
                        <a:defRPr/>
                      </a:pPr>
                      <a:r>
                        <a:rPr lang="en-US" sz="1200" b="0" i="0" kern="1200" baseline="0" dirty="0">
                          <a:solidFill>
                            <a:schemeClr val="tx1">
                              <a:lumMod val="65000"/>
                              <a:lumOff val="35000"/>
                            </a:schemeClr>
                          </a:solidFill>
                          <a:effectLst/>
                          <a:latin typeface="+mn-lt"/>
                          <a:ea typeface="+mn-ea"/>
                          <a:cs typeface="+mn-cs"/>
                        </a:rPr>
                        <a:t>Security Improvements</a:t>
                      </a:r>
                      <a:endParaRPr lang="en-US" sz="1200" b="0" i="0" kern="1200" dirty="0">
                        <a:solidFill>
                          <a:schemeClr val="tx1">
                            <a:lumMod val="65000"/>
                            <a:lumOff val="35000"/>
                          </a:schemeClr>
                        </a:solidFill>
                        <a:effectLst/>
                        <a:latin typeface="+mn-lt"/>
                        <a:ea typeface="+mn-ea"/>
                        <a:cs typeface="+mn-cs"/>
                      </a:endParaRPr>
                    </a:p>
                  </a:txBody>
                  <a:tcPr marL="89642" marR="89642" marT="44821" marB="44821"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14573711"/>
                  </a:ext>
                </a:extLst>
              </a:tr>
              <a:tr h="595887">
                <a:tc>
                  <a:txBody>
                    <a:bodyPr/>
                    <a:lstStyle/>
                    <a:p>
                      <a:pPr algn="ctr"/>
                      <a:r>
                        <a:rPr lang="en-US" sz="2000" dirty="0">
                          <a:solidFill>
                            <a:schemeClr val="accent3"/>
                          </a:solidFill>
                          <a:latin typeface="+mn-lt"/>
                        </a:rPr>
                        <a:t>0.141 (1.0)</a:t>
                      </a:r>
                    </a:p>
                  </a:txBody>
                  <a:tcPr marL="89642" marR="89642" marT="44821" marB="44821"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32742" rtl="0" eaLnBrk="1" latinLnBrk="0" hangingPunct="1">
                        <a:spcBef>
                          <a:spcPts val="100"/>
                        </a:spcBef>
                        <a:spcAft>
                          <a:spcPts val="100"/>
                        </a:spcAft>
                      </a:pPr>
                      <a:r>
                        <a:rPr lang="en-US" sz="1200" kern="1200" dirty="0">
                          <a:solidFill>
                            <a:schemeClr val="tx2"/>
                          </a:solidFill>
                          <a:latin typeface="Segoe UI Semibold" panose="020B0702040204020203" pitchFamily="34" charset="0"/>
                          <a:ea typeface="+mn-ea"/>
                          <a:cs typeface="Segoe UI Semibold" panose="020B0702040204020203" pitchFamily="34" charset="0"/>
                        </a:rPr>
                        <a:t>Speed: </a:t>
                      </a:r>
                      <a:r>
                        <a:rPr lang="en-US" sz="1200" kern="1200" dirty="0">
                          <a:solidFill>
                            <a:schemeClr val="tx2"/>
                          </a:solidFill>
                          <a:latin typeface="+mn-lt"/>
                          <a:ea typeface="+mn-ea"/>
                          <a:cs typeface="+mn-cs"/>
                        </a:rPr>
                        <a:t>cost-based optimizer for star and bushy join queries</a:t>
                      </a:r>
                    </a:p>
                    <a:p>
                      <a:pPr marL="0" algn="l" defTabSz="932742" rtl="0" eaLnBrk="1" latinLnBrk="0" hangingPunct="1">
                        <a:spcBef>
                          <a:spcPts val="100"/>
                        </a:spcBef>
                        <a:spcAft>
                          <a:spcPts val="100"/>
                        </a:spcAft>
                      </a:pPr>
                      <a:r>
                        <a:rPr lang="en-US" sz="1200" kern="1200" dirty="0">
                          <a:solidFill>
                            <a:schemeClr val="tx2"/>
                          </a:solidFill>
                          <a:latin typeface="Segoe UI Semibold" panose="020B0702040204020203" pitchFamily="34" charset="0"/>
                          <a:ea typeface="+mn-ea"/>
                          <a:cs typeface="Segoe UI Semibold" panose="020B0702040204020203" pitchFamily="34" charset="0"/>
                        </a:rPr>
                        <a:t>Scale: </a:t>
                      </a:r>
                      <a:r>
                        <a:rPr lang="en-US" sz="1200" kern="1200" dirty="0" err="1">
                          <a:solidFill>
                            <a:schemeClr val="tx2"/>
                          </a:solidFill>
                          <a:latin typeface="+mn-lt"/>
                          <a:ea typeface="+mn-ea"/>
                          <a:cs typeface="+mn-cs"/>
                        </a:rPr>
                        <a:t>tempory</a:t>
                      </a:r>
                      <a:r>
                        <a:rPr lang="en-US" sz="1200" kern="1200" dirty="0">
                          <a:solidFill>
                            <a:schemeClr val="tx2"/>
                          </a:solidFill>
                          <a:latin typeface="+mn-lt"/>
                          <a:ea typeface="+mn-ea"/>
                          <a:cs typeface="+mn-cs"/>
                        </a:rPr>
                        <a:t> tables</a:t>
                      </a:r>
                    </a:p>
                    <a:p>
                      <a:pPr marL="0" algn="l" defTabSz="932742" rtl="0" eaLnBrk="1" latinLnBrk="0" hangingPunct="1">
                        <a:spcBef>
                          <a:spcPts val="100"/>
                        </a:spcBef>
                        <a:spcAft>
                          <a:spcPts val="100"/>
                        </a:spcAft>
                      </a:pPr>
                      <a:r>
                        <a:rPr lang="en-US" sz="1200" kern="1200" dirty="0">
                          <a:solidFill>
                            <a:schemeClr val="tx2"/>
                          </a:solidFill>
                          <a:latin typeface="Segoe UI Semibold" panose="020B0702040204020203" pitchFamily="34" charset="0"/>
                          <a:ea typeface="+mn-ea"/>
                          <a:cs typeface="Segoe UI Semibold" panose="020B0702040204020203" pitchFamily="34" charset="0"/>
                        </a:rPr>
                        <a:t>Scale: </a:t>
                      </a:r>
                      <a:r>
                        <a:rPr lang="en-US" sz="1200" kern="1200" dirty="0">
                          <a:solidFill>
                            <a:schemeClr val="tx2"/>
                          </a:solidFill>
                          <a:latin typeface="+mn-lt"/>
                          <a:ea typeface="+mn-ea"/>
                          <a:cs typeface="+mn-cs"/>
                        </a:rPr>
                        <a:t>transactions with </a:t>
                      </a:r>
                      <a:r>
                        <a:rPr lang="en-US" sz="1200" kern="1200" dirty="0" err="1">
                          <a:solidFill>
                            <a:schemeClr val="tx2"/>
                          </a:solidFill>
                          <a:latin typeface="+mn-lt"/>
                          <a:ea typeface="+mn-ea"/>
                          <a:cs typeface="+mn-cs"/>
                        </a:rPr>
                        <a:t>ACIDsemantics</a:t>
                      </a:r>
                      <a:endParaRPr lang="en-US" sz="1200" kern="1200" dirty="0">
                        <a:solidFill>
                          <a:schemeClr val="tx2"/>
                        </a:solidFill>
                        <a:latin typeface="+mn-lt"/>
                        <a:ea typeface="+mn-ea"/>
                        <a:cs typeface="+mn-cs"/>
                      </a:endParaRPr>
                    </a:p>
                  </a:txBody>
                  <a:tcPr marL="89642" marR="89642" marT="44821" marB="44821"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95887">
                <a:tc>
                  <a:txBody>
                    <a:bodyPr/>
                    <a:lstStyle/>
                    <a:p>
                      <a:pPr algn="ctr"/>
                      <a:r>
                        <a:rPr lang="en-US" sz="2000" dirty="0">
                          <a:solidFill>
                            <a:schemeClr val="accent3"/>
                          </a:solidFill>
                          <a:latin typeface="+mn-lt"/>
                        </a:rPr>
                        <a:t>0.13</a:t>
                      </a:r>
                    </a:p>
                  </a:txBody>
                  <a:tcPr marL="89642" marR="89642" marT="44821" marB="44821"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32742" rtl="0" eaLnBrk="1" latinLnBrk="0" hangingPunct="1">
                        <a:spcBef>
                          <a:spcPts val="100"/>
                        </a:spcBef>
                        <a:spcAft>
                          <a:spcPts val="100"/>
                        </a:spcAft>
                      </a:pPr>
                      <a:r>
                        <a:rPr lang="en-US" sz="1200" kern="1200" dirty="0">
                          <a:solidFill>
                            <a:schemeClr val="tx2"/>
                          </a:solidFill>
                          <a:latin typeface="Segoe UI Semibold" panose="020B0702040204020203" pitchFamily="34" charset="0"/>
                          <a:ea typeface="+mn-ea"/>
                          <a:cs typeface="Segoe UI Semibold" panose="020B0702040204020203" pitchFamily="34" charset="0"/>
                        </a:rPr>
                        <a:t>Speed: </a:t>
                      </a:r>
                      <a:r>
                        <a:rPr lang="en-US" sz="1200" kern="1200" dirty="0">
                          <a:solidFill>
                            <a:schemeClr val="tx2"/>
                          </a:solidFill>
                          <a:latin typeface="+mn-lt"/>
                          <a:ea typeface="+mn-ea"/>
                          <a:cs typeface="+mn-cs"/>
                        </a:rPr>
                        <a:t>Hive on Tez, </a:t>
                      </a:r>
                      <a:r>
                        <a:rPr lang="en-US" sz="1200" kern="1200" dirty="0" err="1">
                          <a:solidFill>
                            <a:schemeClr val="tx2"/>
                          </a:solidFill>
                          <a:latin typeface="+mn-lt"/>
                          <a:ea typeface="+mn-ea"/>
                          <a:cs typeface="+mn-cs"/>
                        </a:rPr>
                        <a:t>verctorize</a:t>
                      </a:r>
                      <a:r>
                        <a:rPr lang="en-US" sz="1200" kern="1200" dirty="0">
                          <a:solidFill>
                            <a:schemeClr val="tx2"/>
                          </a:solidFill>
                          <a:latin typeface="+mn-lt"/>
                          <a:ea typeface="+mn-ea"/>
                          <a:cs typeface="+mn-cs"/>
                        </a:rPr>
                        <a:t> query engine &amp; cost-based </a:t>
                      </a:r>
                      <a:r>
                        <a:rPr lang="en-US" sz="1200" kern="1200" dirty="0" err="1">
                          <a:solidFill>
                            <a:schemeClr val="tx2"/>
                          </a:solidFill>
                          <a:latin typeface="+mn-lt"/>
                          <a:ea typeface="+mn-ea"/>
                          <a:cs typeface="+mn-cs"/>
                        </a:rPr>
                        <a:t>optimer</a:t>
                      </a:r>
                      <a:endParaRPr lang="en-US" sz="1200" kern="1200" dirty="0">
                        <a:solidFill>
                          <a:schemeClr val="tx2"/>
                        </a:solidFill>
                        <a:latin typeface="+mn-lt"/>
                        <a:ea typeface="+mn-ea"/>
                        <a:cs typeface="+mn-cs"/>
                      </a:endParaRPr>
                    </a:p>
                    <a:p>
                      <a:pPr marL="0" algn="l" defTabSz="932742" rtl="0" eaLnBrk="1" latinLnBrk="0" hangingPunct="1">
                        <a:spcBef>
                          <a:spcPts val="100"/>
                        </a:spcBef>
                        <a:spcAft>
                          <a:spcPts val="100"/>
                        </a:spcAft>
                      </a:pPr>
                      <a:r>
                        <a:rPr lang="en-US" sz="1200" kern="1200" dirty="0">
                          <a:solidFill>
                            <a:schemeClr val="tx2"/>
                          </a:solidFill>
                          <a:latin typeface="Segoe UI Semibold" panose="020B0702040204020203" pitchFamily="34" charset="0"/>
                          <a:ea typeface="+mn-ea"/>
                          <a:cs typeface="Segoe UI Semibold" panose="020B0702040204020203" pitchFamily="34" charset="0"/>
                        </a:rPr>
                        <a:t>Scale: </a:t>
                      </a:r>
                      <a:r>
                        <a:rPr lang="en-US" sz="1200" kern="1200" dirty="0">
                          <a:solidFill>
                            <a:schemeClr val="tx2"/>
                          </a:solidFill>
                          <a:latin typeface="+mn-lt"/>
                          <a:ea typeface="+mn-ea"/>
                          <a:cs typeface="+mn-cs"/>
                        </a:rPr>
                        <a:t>dynamic partition loads and smaller hash tables</a:t>
                      </a:r>
                    </a:p>
                    <a:p>
                      <a:pPr marL="0" algn="l" defTabSz="932742" rtl="0" eaLnBrk="1" latinLnBrk="0" hangingPunct="1">
                        <a:spcBef>
                          <a:spcPts val="100"/>
                        </a:spcBef>
                        <a:spcAft>
                          <a:spcPts val="100"/>
                        </a:spcAft>
                      </a:pPr>
                      <a:r>
                        <a:rPr lang="en-US" sz="1200" kern="1200" dirty="0">
                          <a:solidFill>
                            <a:schemeClr val="tx2"/>
                          </a:solidFill>
                          <a:latin typeface="Segoe UI Semibold" panose="020B0702040204020203" pitchFamily="34" charset="0"/>
                          <a:ea typeface="+mn-ea"/>
                          <a:cs typeface="Segoe UI Semibold" panose="020B0702040204020203" pitchFamily="34" charset="0"/>
                        </a:rPr>
                        <a:t>SQL: </a:t>
                      </a:r>
                      <a:r>
                        <a:rPr lang="en-US" sz="1200" kern="1200" dirty="0">
                          <a:solidFill>
                            <a:schemeClr val="tx2"/>
                          </a:solidFill>
                          <a:latin typeface="+mn-lt"/>
                          <a:ea typeface="+mn-ea"/>
                          <a:cs typeface="+mn-cs"/>
                        </a:rPr>
                        <a:t>CHAR &amp; DECIMAL datatypes, subqueries for IN/NOT IN</a:t>
                      </a:r>
                    </a:p>
                  </a:txBody>
                  <a:tcPr marL="89642" marR="89642" marT="44821" marB="44821"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12485">
                <a:tc>
                  <a:txBody>
                    <a:bodyPr/>
                    <a:lstStyle/>
                    <a:p>
                      <a:pPr algn="ctr"/>
                      <a:r>
                        <a:rPr lang="en-US" sz="2000" dirty="0">
                          <a:solidFill>
                            <a:schemeClr val="accent3"/>
                          </a:solidFill>
                          <a:latin typeface="+mn-lt"/>
                        </a:rPr>
                        <a:t>0.12</a:t>
                      </a:r>
                    </a:p>
                  </a:txBody>
                  <a:tcPr marL="89642" marR="89642" marT="44821" marB="44821"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32742" rtl="0" eaLnBrk="1" latinLnBrk="0" hangingPunct="1">
                        <a:spcBef>
                          <a:spcPts val="100"/>
                        </a:spcBef>
                        <a:spcAft>
                          <a:spcPts val="100"/>
                        </a:spcAft>
                      </a:pPr>
                      <a:r>
                        <a:rPr lang="en-US" sz="1200" kern="1200" dirty="0">
                          <a:solidFill>
                            <a:schemeClr val="tx2"/>
                          </a:solidFill>
                          <a:latin typeface="Segoe UI Semibold" panose="020B0702040204020203" pitchFamily="34" charset="0"/>
                          <a:ea typeface="+mn-ea"/>
                          <a:cs typeface="Segoe UI Semibold" panose="020B0702040204020203" pitchFamily="34" charset="0"/>
                        </a:rPr>
                        <a:t>Speed: </a:t>
                      </a:r>
                      <a:r>
                        <a:rPr lang="en-US" sz="1200" kern="1200" dirty="0" err="1">
                          <a:solidFill>
                            <a:schemeClr val="tx2"/>
                          </a:solidFill>
                          <a:latin typeface="+mn-lt"/>
                          <a:ea typeface="+mn-ea"/>
                          <a:cs typeface="+mn-cs"/>
                        </a:rPr>
                        <a:t>Vectorized</a:t>
                      </a:r>
                      <a:r>
                        <a:rPr lang="en-US" sz="1200" kern="1200" dirty="0">
                          <a:solidFill>
                            <a:schemeClr val="tx2"/>
                          </a:solidFill>
                          <a:latin typeface="+mn-lt"/>
                          <a:ea typeface="+mn-ea"/>
                          <a:cs typeface="+mn-cs"/>
                        </a:rPr>
                        <a:t> query engine &amp; </a:t>
                      </a:r>
                      <a:r>
                        <a:rPr lang="en-US" sz="1200" kern="1200" dirty="0" err="1">
                          <a:solidFill>
                            <a:schemeClr val="tx2"/>
                          </a:solidFill>
                          <a:latin typeface="+mn-lt"/>
                          <a:ea typeface="+mn-ea"/>
                          <a:cs typeface="+mn-cs"/>
                        </a:rPr>
                        <a:t>ORCFile</a:t>
                      </a:r>
                      <a:r>
                        <a:rPr lang="en-US" sz="1200" kern="1200" dirty="0">
                          <a:solidFill>
                            <a:schemeClr val="tx2"/>
                          </a:solidFill>
                          <a:latin typeface="+mn-lt"/>
                          <a:ea typeface="+mn-ea"/>
                          <a:cs typeface="+mn-cs"/>
                        </a:rPr>
                        <a:t> predicate pushdown</a:t>
                      </a:r>
                    </a:p>
                    <a:p>
                      <a:pPr marL="0" algn="l" defTabSz="932742" rtl="0" eaLnBrk="1" latinLnBrk="0" hangingPunct="1">
                        <a:spcBef>
                          <a:spcPts val="100"/>
                        </a:spcBef>
                        <a:spcAft>
                          <a:spcPts val="100"/>
                        </a:spcAft>
                      </a:pPr>
                      <a:r>
                        <a:rPr lang="en-US" sz="1200" kern="1200" dirty="0">
                          <a:solidFill>
                            <a:schemeClr val="tx2"/>
                          </a:solidFill>
                          <a:latin typeface="Segoe UI Semibold" panose="020B0702040204020203" pitchFamily="34" charset="0"/>
                          <a:ea typeface="+mn-ea"/>
                          <a:cs typeface="Segoe UI Semibold" panose="020B0702040204020203" pitchFamily="34" charset="0"/>
                        </a:rPr>
                        <a:t>SQL: </a:t>
                      </a:r>
                      <a:r>
                        <a:rPr lang="en-US" sz="1200" kern="1200" dirty="0">
                          <a:solidFill>
                            <a:schemeClr val="tx2"/>
                          </a:solidFill>
                          <a:latin typeface="+mn-lt"/>
                          <a:ea typeface="+mn-ea"/>
                          <a:cs typeface="+mn-cs"/>
                        </a:rPr>
                        <a:t>Support for VARCHAR and DATE semantics, GROUP BY on </a:t>
                      </a:r>
                      <a:r>
                        <a:rPr lang="en-US" sz="1200" kern="1200" dirty="0" err="1">
                          <a:solidFill>
                            <a:schemeClr val="tx2"/>
                          </a:solidFill>
                          <a:latin typeface="+mn-lt"/>
                          <a:ea typeface="+mn-ea"/>
                          <a:cs typeface="+mn-cs"/>
                        </a:rPr>
                        <a:t>structs</a:t>
                      </a:r>
                      <a:r>
                        <a:rPr lang="en-US" sz="1200" kern="1200" dirty="0">
                          <a:solidFill>
                            <a:schemeClr val="tx2"/>
                          </a:solidFill>
                          <a:latin typeface="+mn-lt"/>
                          <a:ea typeface="+mn-ea"/>
                          <a:cs typeface="+mn-cs"/>
                        </a:rPr>
                        <a:t> and unions</a:t>
                      </a:r>
                    </a:p>
                  </a:txBody>
                  <a:tcPr marL="89642" marR="89642" marT="44821" marB="44821"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grpSp>
        <p:nvGrpSpPr>
          <p:cNvPr id="9" name="Group 8"/>
          <p:cNvGrpSpPr/>
          <p:nvPr/>
        </p:nvGrpSpPr>
        <p:grpSpPr>
          <a:xfrm>
            <a:off x="2469847" y="4338994"/>
            <a:ext cx="224932" cy="219617"/>
            <a:chOff x="306837" y="2966952"/>
            <a:chExt cx="1385600" cy="1352860"/>
          </a:xfrm>
        </p:grpSpPr>
        <p:sp>
          <p:nvSpPr>
            <p:cNvPr id="10" name="Freeform 9"/>
            <p:cNvSpPr/>
            <p:nvPr/>
          </p:nvSpPr>
          <p:spPr bwMode="auto">
            <a:xfrm>
              <a:off x="688501" y="3519487"/>
              <a:ext cx="752155" cy="800325"/>
            </a:xfrm>
            <a:custGeom>
              <a:avLst/>
              <a:gdLst>
                <a:gd name="connsiteX0" fmla="*/ 338138 w 728663"/>
                <a:gd name="connsiteY0" fmla="*/ 0 h 823912"/>
                <a:gd name="connsiteX1" fmla="*/ 73819 w 728663"/>
                <a:gd name="connsiteY1" fmla="*/ 97631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38138 w 728663"/>
                <a:gd name="connsiteY0" fmla="*/ 0 h 823912"/>
                <a:gd name="connsiteX1" fmla="*/ 35719 w 728663"/>
                <a:gd name="connsiteY1" fmla="*/ 73819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38138 w 728663"/>
                <a:gd name="connsiteY0" fmla="*/ 0 h 823912"/>
                <a:gd name="connsiteX1" fmla="*/ 97631 w 728663"/>
                <a:gd name="connsiteY1" fmla="*/ 66675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38138 w 728663"/>
                <a:gd name="connsiteY0" fmla="*/ 0 h 823912"/>
                <a:gd name="connsiteX1" fmla="*/ 97631 w 728663"/>
                <a:gd name="connsiteY1" fmla="*/ 66675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38138 w 728663"/>
                <a:gd name="connsiteY0" fmla="*/ 0 h 823912"/>
                <a:gd name="connsiteX1" fmla="*/ 97631 w 728663"/>
                <a:gd name="connsiteY1" fmla="*/ 66675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21470 w 711995"/>
                <a:gd name="connsiteY0" fmla="*/ 0 h 823912"/>
                <a:gd name="connsiteX1" fmla="*/ 80963 w 711995"/>
                <a:gd name="connsiteY1" fmla="*/ 66675 h 823912"/>
                <a:gd name="connsiteX2" fmla="*/ 0 w 711995"/>
                <a:gd name="connsiteY2" fmla="*/ 497681 h 823912"/>
                <a:gd name="connsiteX3" fmla="*/ 450057 w 711995"/>
                <a:gd name="connsiteY3" fmla="*/ 823912 h 823912"/>
                <a:gd name="connsiteX4" fmla="*/ 711995 w 711995"/>
                <a:gd name="connsiteY4" fmla="*/ 733425 h 823912"/>
                <a:gd name="connsiteX5" fmla="*/ 476251 w 711995"/>
                <a:gd name="connsiteY5" fmla="*/ 707231 h 823912"/>
                <a:gd name="connsiteX6" fmla="*/ 495301 w 711995"/>
                <a:gd name="connsiteY6" fmla="*/ 621506 h 823912"/>
                <a:gd name="connsiteX7" fmla="*/ 497682 w 711995"/>
                <a:gd name="connsiteY7" fmla="*/ 571500 h 823912"/>
                <a:gd name="connsiteX8" fmla="*/ 350045 w 711995"/>
                <a:gd name="connsiteY8" fmla="*/ 423862 h 823912"/>
                <a:gd name="connsiteX9" fmla="*/ 521495 w 711995"/>
                <a:gd name="connsiteY9" fmla="*/ 528637 h 823912"/>
                <a:gd name="connsiteX10" fmla="*/ 521495 w 711995"/>
                <a:gd name="connsiteY10" fmla="*/ 302418 h 823912"/>
                <a:gd name="connsiteX11" fmla="*/ 357189 w 711995"/>
                <a:gd name="connsiteY11" fmla="*/ 54768 h 823912"/>
                <a:gd name="connsiteX12" fmla="*/ 321470 w 711995"/>
                <a:gd name="connsiteY12" fmla="*/ 0 h 823912"/>
                <a:gd name="connsiteX0" fmla="*/ 347343 w 737868"/>
                <a:gd name="connsiteY0" fmla="*/ 0 h 823912"/>
                <a:gd name="connsiteX1" fmla="*/ 106836 w 737868"/>
                <a:gd name="connsiteY1" fmla="*/ 66675 h 823912"/>
                <a:gd name="connsiteX2" fmla="*/ 25873 w 737868"/>
                <a:gd name="connsiteY2" fmla="*/ 497681 h 823912"/>
                <a:gd name="connsiteX3" fmla="*/ 475930 w 737868"/>
                <a:gd name="connsiteY3" fmla="*/ 823912 h 823912"/>
                <a:gd name="connsiteX4" fmla="*/ 737868 w 737868"/>
                <a:gd name="connsiteY4" fmla="*/ 733425 h 823912"/>
                <a:gd name="connsiteX5" fmla="*/ 502124 w 737868"/>
                <a:gd name="connsiteY5" fmla="*/ 707231 h 823912"/>
                <a:gd name="connsiteX6" fmla="*/ 521174 w 737868"/>
                <a:gd name="connsiteY6" fmla="*/ 621506 h 823912"/>
                <a:gd name="connsiteX7" fmla="*/ 523555 w 737868"/>
                <a:gd name="connsiteY7" fmla="*/ 571500 h 823912"/>
                <a:gd name="connsiteX8" fmla="*/ 375918 w 737868"/>
                <a:gd name="connsiteY8" fmla="*/ 423862 h 823912"/>
                <a:gd name="connsiteX9" fmla="*/ 547368 w 737868"/>
                <a:gd name="connsiteY9" fmla="*/ 528637 h 823912"/>
                <a:gd name="connsiteX10" fmla="*/ 547368 w 737868"/>
                <a:gd name="connsiteY10" fmla="*/ 302418 h 823912"/>
                <a:gd name="connsiteX11" fmla="*/ 383062 w 737868"/>
                <a:gd name="connsiteY11" fmla="*/ 54768 h 823912"/>
                <a:gd name="connsiteX12" fmla="*/ 347343 w 737868"/>
                <a:gd name="connsiteY12" fmla="*/ 0 h 823912"/>
                <a:gd name="connsiteX0" fmla="*/ 347343 w 737868"/>
                <a:gd name="connsiteY0" fmla="*/ 0 h 823912"/>
                <a:gd name="connsiteX1" fmla="*/ 106836 w 737868"/>
                <a:gd name="connsiteY1" fmla="*/ 66675 h 823912"/>
                <a:gd name="connsiteX2" fmla="*/ 25873 w 737868"/>
                <a:gd name="connsiteY2" fmla="*/ 497681 h 823912"/>
                <a:gd name="connsiteX3" fmla="*/ 475930 w 737868"/>
                <a:gd name="connsiteY3" fmla="*/ 823912 h 823912"/>
                <a:gd name="connsiteX4" fmla="*/ 737868 w 737868"/>
                <a:gd name="connsiteY4" fmla="*/ 733425 h 823912"/>
                <a:gd name="connsiteX5" fmla="*/ 502124 w 737868"/>
                <a:gd name="connsiteY5" fmla="*/ 707231 h 823912"/>
                <a:gd name="connsiteX6" fmla="*/ 521174 w 737868"/>
                <a:gd name="connsiteY6" fmla="*/ 621506 h 823912"/>
                <a:gd name="connsiteX7" fmla="*/ 523555 w 737868"/>
                <a:gd name="connsiteY7" fmla="*/ 571500 h 823912"/>
                <a:gd name="connsiteX8" fmla="*/ 375918 w 737868"/>
                <a:gd name="connsiteY8" fmla="*/ 423862 h 823912"/>
                <a:gd name="connsiteX9" fmla="*/ 547368 w 737868"/>
                <a:gd name="connsiteY9" fmla="*/ 528637 h 823912"/>
                <a:gd name="connsiteX10" fmla="*/ 547368 w 737868"/>
                <a:gd name="connsiteY10" fmla="*/ 302418 h 823912"/>
                <a:gd name="connsiteX11" fmla="*/ 383062 w 737868"/>
                <a:gd name="connsiteY11" fmla="*/ 54768 h 823912"/>
                <a:gd name="connsiteX12" fmla="*/ 347343 w 737868"/>
                <a:gd name="connsiteY12" fmla="*/ 0 h 823912"/>
                <a:gd name="connsiteX0" fmla="*/ 347343 w 737868"/>
                <a:gd name="connsiteY0" fmla="*/ 0 h 795337"/>
                <a:gd name="connsiteX1" fmla="*/ 106836 w 737868"/>
                <a:gd name="connsiteY1" fmla="*/ 66675 h 795337"/>
                <a:gd name="connsiteX2" fmla="*/ 25873 w 737868"/>
                <a:gd name="connsiteY2" fmla="*/ 497681 h 795337"/>
                <a:gd name="connsiteX3" fmla="*/ 487836 w 737868"/>
                <a:gd name="connsiteY3" fmla="*/ 795337 h 795337"/>
                <a:gd name="connsiteX4" fmla="*/ 737868 w 737868"/>
                <a:gd name="connsiteY4" fmla="*/ 733425 h 795337"/>
                <a:gd name="connsiteX5" fmla="*/ 502124 w 737868"/>
                <a:gd name="connsiteY5" fmla="*/ 707231 h 795337"/>
                <a:gd name="connsiteX6" fmla="*/ 521174 w 737868"/>
                <a:gd name="connsiteY6" fmla="*/ 621506 h 795337"/>
                <a:gd name="connsiteX7" fmla="*/ 523555 w 737868"/>
                <a:gd name="connsiteY7" fmla="*/ 571500 h 795337"/>
                <a:gd name="connsiteX8" fmla="*/ 375918 w 737868"/>
                <a:gd name="connsiteY8" fmla="*/ 423862 h 795337"/>
                <a:gd name="connsiteX9" fmla="*/ 547368 w 737868"/>
                <a:gd name="connsiteY9" fmla="*/ 528637 h 795337"/>
                <a:gd name="connsiteX10" fmla="*/ 547368 w 737868"/>
                <a:gd name="connsiteY10" fmla="*/ 302418 h 795337"/>
                <a:gd name="connsiteX11" fmla="*/ 383062 w 737868"/>
                <a:gd name="connsiteY11" fmla="*/ 54768 h 795337"/>
                <a:gd name="connsiteX12" fmla="*/ 347343 w 737868"/>
                <a:gd name="connsiteY12" fmla="*/ 0 h 795337"/>
                <a:gd name="connsiteX0" fmla="*/ 347343 w 737868"/>
                <a:gd name="connsiteY0" fmla="*/ 0 h 800325"/>
                <a:gd name="connsiteX1" fmla="*/ 106836 w 737868"/>
                <a:gd name="connsiteY1" fmla="*/ 66675 h 800325"/>
                <a:gd name="connsiteX2" fmla="*/ 25873 w 737868"/>
                <a:gd name="connsiteY2" fmla="*/ 497681 h 800325"/>
                <a:gd name="connsiteX3" fmla="*/ 487836 w 737868"/>
                <a:gd name="connsiteY3" fmla="*/ 795337 h 800325"/>
                <a:gd name="connsiteX4" fmla="*/ 737868 w 737868"/>
                <a:gd name="connsiteY4" fmla="*/ 733425 h 800325"/>
                <a:gd name="connsiteX5" fmla="*/ 502124 w 737868"/>
                <a:gd name="connsiteY5" fmla="*/ 707231 h 800325"/>
                <a:gd name="connsiteX6" fmla="*/ 521174 w 737868"/>
                <a:gd name="connsiteY6" fmla="*/ 621506 h 800325"/>
                <a:gd name="connsiteX7" fmla="*/ 523555 w 737868"/>
                <a:gd name="connsiteY7" fmla="*/ 571500 h 800325"/>
                <a:gd name="connsiteX8" fmla="*/ 375918 w 737868"/>
                <a:gd name="connsiteY8" fmla="*/ 423862 h 800325"/>
                <a:gd name="connsiteX9" fmla="*/ 547368 w 737868"/>
                <a:gd name="connsiteY9" fmla="*/ 528637 h 800325"/>
                <a:gd name="connsiteX10" fmla="*/ 547368 w 737868"/>
                <a:gd name="connsiteY10" fmla="*/ 302418 h 800325"/>
                <a:gd name="connsiteX11" fmla="*/ 383062 w 737868"/>
                <a:gd name="connsiteY11" fmla="*/ 54768 h 800325"/>
                <a:gd name="connsiteX12" fmla="*/ 347343 w 737868"/>
                <a:gd name="connsiteY12" fmla="*/ 0 h 800325"/>
                <a:gd name="connsiteX0" fmla="*/ 347343 w 771205"/>
                <a:gd name="connsiteY0" fmla="*/ 0 h 800325"/>
                <a:gd name="connsiteX1" fmla="*/ 106836 w 771205"/>
                <a:gd name="connsiteY1" fmla="*/ 66675 h 800325"/>
                <a:gd name="connsiteX2" fmla="*/ 25873 w 771205"/>
                <a:gd name="connsiteY2" fmla="*/ 497681 h 800325"/>
                <a:gd name="connsiteX3" fmla="*/ 487836 w 771205"/>
                <a:gd name="connsiteY3" fmla="*/ 795337 h 800325"/>
                <a:gd name="connsiteX4" fmla="*/ 771205 w 771205"/>
                <a:gd name="connsiteY4" fmla="*/ 707232 h 800325"/>
                <a:gd name="connsiteX5" fmla="*/ 502124 w 771205"/>
                <a:gd name="connsiteY5" fmla="*/ 707231 h 800325"/>
                <a:gd name="connsiteX6" fmla="*/ 521174 w 771205"/>
                <a:gd name="connsiteY6" fmla="*/ 621506 h 800325"/>
                <a:gd name="connsiteX7" fmla="*/ 523555 w 771205"/>
                <a:gd name="connsiteY7" fmla="*/ 571500 h 800325"/>
                <a:gd name="connsiteX8" fmla="*/ 375918 w 771205"/>
                <a:gd name="connsiteY8" fmla="*/ 423862 h 800325"/>
                <a:gd name="connsiteX9" fmla="*/ 547368 w 771205"/>
                <a:gd name="connsiteY9" fmla="*/ 528637 h 800325"/>
                <a:gd name="connsiteX10" fmla="*/ 547368 w 771205"/>
                <a:gd name="connsiteY10" fmla="*/ 302418 h 800325"/>
                <a:gd name="connsiteX11" fmla="*/ 383062 w 771205"/>
                <a:gd name="connsiteY11" fmla="*/ 54768 h 800325"/>
                <a:gd name="connsiteX12" fmla="*/ 347343 w 771205"/>
                <a:gd name="connsiteY12" fmla="*/ 0 h 800325"/>
                <a:gd name="connsiteX0" fmla="*/ 347343 w 771205"/>
                <a:gd name="connsiteY0" fmla="*/ 0 h 800325"/>
                <a:gd name="connsiteX1" fmla="*/ 106836 w 771205"/>
                <a:gd name="connsiteY1" fmla="*/ 66675 h 800325"/>
                <a:gd name="connsiteX2" fmla="*/ 25873 w 771205"/>
                <a:gd name="connsiteY2" fmla="*/ 497681 h 800325"/>
                <a:gd name="connsiteX3" fmla="*/ 487836 w 771205"/>
                <a:gd name="connsiteY3" fmla="*/ 795337 h 800325"/>
                <a:gd name="connsiteX4" fmla="*/ 771205 w 771205"/>
                <a:gd name="connsiteY4" fmla="*/ 707232 h 800325"/>
                <a:gd name="connsiteX5" fmla="*/ 502124 w 771205"/>
                <a:gd name="connsiteY5" fmla="*/ 707231 h 800325"/>
                <a:gd name="connsiteX6" fmla="*/ 521174 w 771205"/>
                <a:gd name="connsiteY6" fmla="*/ 621506 h 800325"/>
                <a:gd name="connsiteX7" fmla="*/ 523555 w 771205"/>
                <a:gd name="connsiteY7" fmla="*/ 571500 h 800325"/>
                <a:gd name="connsiteX8" fmla="*/ 375918 w 771205"/>
                <a:gd name="connsiteY8" fmla="*/ 423862 h 800325"/>
                <a:gd name="connsiteX9" fmla="*/ 547368 w 771205"/>
                <a:gd name="connsiteY9" fmla="*/ 528637 h 800325"/>
                <a:gd name="connsiteX10" fmla="*/ 547368 w 771205"/>
                <a:gd name="connsiteY10" fmla="*/ 302418 h 800325"/>
                <a:gd name="connsiteX11" fmla="*/ 383062 w 771205"/>
                <a:gd name="connsiteY11" fmla="*/ 54768 h 800325"/>
                <a:gd name="connsiteX12" fmla="*/ 347343 w 77120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502124 w 752155"/>
                <a:gd name="connsiteY5" fmla="*/ 707231 h 800325"/>
                <a:gd name="connsiteX6" fmla="*/ 521174 w 752155"/>
                <a:gd name="connsiteY6" fmla="*/ 621506 h 800325"/>
                <a:gd name="connsiteX7" fmla="*/ 523555 w 752155"/>
                <a:gd name="connsiteY7" fmla="*/ 571500 h 800325"/>
                <a:gd name="connsiteX8" fmla="*/ 375918 w 752155"/>
                <a:gd name="connsiteY8" fmla="*/ 423862 h 800325"/>
                <a:gd name="connsiteX9" fmla="*/ 547368 w 752155"/>
                <a:gd name="connsiteY9" fmla="*/ 528637 h 800325"/>
                <a:gd name="connsiteX10" fmla="*/ 547368 w 752155"/>
                <a:gd name="connsiteY10" fmla="*/ 302418 h 800325"/>
                <a:gd name="connsiteX11" fmla="*/ 383062 w 752155"/>
                <a:gd name="connsiteY11" fmla="*/ 54768 h 800325"/>
                <a:gd name="connsiteX12" fmla="*/ 347343 w 75215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1174 w 752155"/>
                <a:gd name="connsiteY6" fmla="*/ 621506 h 800325"/>
                <a:gd name="connsiteX7" fmla="*/ 523555 w 752155"/>
                <a:gd name="connsiteY7" fmla="*/ 571500 h 800325"/>
                <a:gd name="connsiteX8" fmla="*/ 375918 w 752155"/>
                <a:gd name="connsiteY8" fmla="*/ 423862 h 800325"/>
                <a:gd name="connsiteX9" fmla="*/ 547368 w 752155"/>
                <a:gd name="connsiteY9" fmla="*/ 528637 h 800325"/>
                <a:gd name="connsiteX10" fmla="*/ 547368 w 752155"/>
                <a:gd name="connsiteY10" fmla="*/ 302418 h 800325"/>
                <a:gd name="connsiteX11" fmla="*/ 383062 w 752155"/>
                <a:gd name="connsiteY11" fmla="*/ 54768 h 800325"/>
                <a:gd name="connsiteX12" fmla="*/ 347343 w 75215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1174 w 752155"/>
                <a:gd name="connsiteY6" fmla="*/ 621506 h 800325"/>
                <a:gd name="connsiteX7" fmla="*/ 523555 w 752155"/>
                <a:gd name="connsiteY7" fmla="*/ 571500 h 800325"/>
                <a:gd name="connsiteX8" fmla="*/ 375918 w 752155"/>
                <a:gd name="connsiteY8" fmla="*/ 423862 h 800325"/>
                <a:gd name="connsiteX9" fmla="*/ 547368 w 752155"/>
                <a:gd name="connsiteY9" fmla="*/ 528637 h 800325"/>
                <a:gd name="connsiteX10" fmla="*/ 547368 w 752155"/>
                <a:gd name="connsiteY10" fmla="*/ 302418 h 800325"/>
                <a:gd name="connsiteX11" fmla="*/ 383062 w 752155"/>
                <a:gd name="connsiteY11" fmla="*/ 54768 h 800325"/>
                <a:gd name="connsiteX12" fmla="*/ 347343 w 75215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1174 w 752155"/>
                <a:gd name="connsiteY6" fmla="*/ 621506 h 800325"/>
                <a:gd name="connsiteX7" fmla="*/ 523555 w 752155"/>
                <a:gd name="connsiteY7" fmla="*/ 571500 h 800325"/>
                <a:gd name="connsiteX8" fmla="*/ 375918 w 752155"/>
                <a:gd name="connsiteY8" fmla="*/ 423862 h 800325"/>
                <a:gd name="connsiteX9" fmla="*/ 547368 w 752155"/>
                <a:gd name="connsiteY9" fmla="*/ 528637 h 800325"/>
                <a:gd name="connsiteX10" fmla="*/ 547368 w 752155"/>
                <a:gd name="connsiteY10" fmla="*/ 302418 h 800325"/>
                <a:gd name="connsiteX11" fmla="*/ 383062 w 752155"/>
                <a:gd name="connsiteY11" fmla="*/ 54768 h 800325"/>
                <a:gd name="connsiteX12" fmla="*/ 347343 w 75215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11649 w 752155"/>
                <a:gd name="connsiteY6" fmla="*/ 666751 h 800325"/>
                <a:gd name="connsiteX7" fmla="*/ 521174 w 752155"/>
                <a:gd name="connsiteY7" fmla="*/ 621506 h 800325"/>
                <a:gd name="connsiteX8" fmla="*/ 523555 w 752155"/>
                <a:gd name="connsiteY8" fmla="*/ 571500 h 800325"/>
                <a:gd name="connsiteX9" fmla="*/ 375918 w 752155"/>
                <a:gd name="connsiteY9" fmla="*/ 423862 h 800325"/>
                <a:gd name="connsiteX10" fmla="*/ 547368 w 752155"/>
                <a:gd name="connsiteY10" fmla="*/ 528637 h 800325"/>
                <a:gd name="connsiteX11" fmla="*/ 547368 w 752155"/>
                <a:gd name="connsiteY11" fmla="*/ 302418 h 800325"/>
                <a:gd name="connsiteX12" fmla="*/ 383062 w 752155"/>
                <a:gd name="connsiteY12" fmla="*/ 54768 h 800325"/>
                <a:gd name="connsiteX13" fmla="*/ 347343 w 752155"/>
                <a:gd name="connsiteY13"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3419 h 800325"/>
                <a:gd name="connsiteX7" fmla="*/ 521174 w 752155"/>
                <a:gd name="connsiteY7" fmla="*/ 621506 h 800325"/>
                <a:gd name="connsiteX8" fmla="*/ 523555 w 752155"/>
                <a:gd name="connsiteY8" fmla="*/ 571500 h 800325"/>
                <a:gd name="connsiteX9" fmla="*/ 375918 w 752155"/>
                <a:gd name="connsiteY9" fmla="*/ 423862 h 800325"/>
                <a:gd name="connsiteX10" fmla="*/ 547368 w 752155"/>
                <a:gd name="connsiteY10" fmla="*/ 528637 h 800325"/>
                <a:gd name="connsiteX11" fmla="*/ 547368 w 752155"/>
                <a:gd name="connsiteY11" fmla="*/ 302418 h 800325"/>
                <a:gd name="connsiteX12" fmla="*/ 383062 w 752155"/>
                <a:gd name="connsiteY12" fmla="*/ 54768 h 800325"/>
                <a:gd name="connsiteX13" fmla="*/ 347343 w 752155"/>
                <a:gd name="connsiteY13"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3419 h 800325"/>
                <a:gd name="connsiteX7" fmla="*/ 528318 w 752155"/>
                <a:gd name="connsiteY7" fmla="*/ 642938 h 800325"/>
                <a:gd name="connsiteX8" fmla="*/ 521174 w 752155"/>
                <a:gd name="connsiteY8" fmla="*/ 621506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3419 h 800325"/>
                <a:gd name="connsiteX7" fmla="*/ 387824 w 752155"/>
                <a:gd name="connsiteY7" fmla="*/ 614363 h 800325"/>
                <a:gd name="connsiteX8" fmla="*/ 521174 w 752155"/>
                <a:gd name="connsiteY8" fmla="*/ 621506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3419 h 800325"/>
                <a:gd name="connsiteX7" fmla="*/ 387824 w 752155"/>
                <a:gd name="connsiteY7" fmla="*/ 614363 h 800325"/>
                <a:gd name="connsiteX8" fmla="*/ 521174 w 752155"/>
                <a:gd name="connsiteY8" fmla="*/ 621506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1174 w 752155"/>
                <a:gd name="connsiteY8" fmla="*/ 621506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547368 w 752155"/>
                <a:gd name="connsiteY9" fmla="*/ 545306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537843 w 752155"/>
                <a:gd name="connsiteY9" fmla="*/ 578644 h 800325"/>
                <a:gd name="connsiteX10" fmla="*/ 547368 w 752155"/>
                <a:gd name="connsiteY10" fmla="*/ 545306 h 800325"/>
                <a:gd name="connsiteX11" fmla="*/ 375918 w 752155"/>
                <a:gd name="connsiteY11" fmla="*/ 423862 h 800325"/>
                <a:gd name="connsiteX12" fmla="*/ 547368 w 752155"/>
                <a:gd name="connsiteY12" fmla="*/ 528637 h 800325"/>
                <a:gd name="connsiteX13" fmla="*/ 547368 w 752155"/>
                <a:gd name="connsiteY13" fmla="*/ 302418 h 800325"/>
                <a:gd name="connsiteX14" fmla="*/ 383062 w 752155"/>
                <a:gd name="connsiteY14" fmla="*/ 54768 h 800325"/>
                <a:gd name="connsiteX15" fmla="*/ 347343 w 752155"/>
                <a:gd name="connsiteY15"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1630 w 752155"/>
                <a:gd name="connsiteY9" fmla="*/ 554831 h 800325"/>
                <a:gd name="connsiteX10" fmla="*/ 547368 w 752155"/>
                <a:gd name="connsiteY10" fmla="*/ 545306 h 800325"/>
                <a:gd name="connsiteX11" fmla="*/ 375918 w 752155"/>
                <a:gd name="connsiteY11" fmla="*/ 423862 h 800325"/>
                <a:gd name="connsiteX12" fmla="*/ 547368 w 752155"/>
                <a:gd name="connsiteY12" fmla="*/ 528637 h 800325"/>
                <a:gd name="connsiteX13" fmla="*/ 547368 w 752155"/>
                <a:gd name="connsiteY13" fmla="*/ 302418 h 800325"/>
                <a:gd name="connsiteX14" fmla="*/ 383062 w 752155"/>
                <a:gd name="connsiteY14" fmla="*/ 54768 h 800325"/>
                <a:gd name="connsiteX15" fmla="*/ 347343 w 752155"/>
                <a:gd name="connsiteY15"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1630 w 752155"/>
                <a:gd name="connsiteY9" fmla="*/ 554831 h 800325"/>
                <a:gd name="connsiteX10" fmla="*/ 447355 w 752155"/>
                <a:gd name="connsiteY10" fmla="*/ 552451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1630 w 752155"/>
                <a:gd name="connsiteY9" fmla="*/ 554831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99730 w 752155"/>
                <a:gd name="connsiteY12" fmla="*/ 428624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99730 w 752155"/>
                <a:gd name="connsiteY12" fmla="*/ 428624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99730 w 752155"/>
                <a:gd name="connsiteY12" fmla="*/ 428624 h 800325"/>
                <a:gd name="connsiteX13" fmla="*/ 533080 w 752155"/>
                <a:gd name="connsiteY13" fmla="*/ 435768 h 800325"/>
                <a:gd name="connsiteX14" fmla="*/ 547368 w 752155"/>
                <a:gd name="connsiteY14" fmla="*/ 302418 h 800325"/>
                <a:gd name="connsiteX15" fmla="*/ 383062 w 752155"/>
                <a:gd name="connsiteY15" fmla="*/ 54768 h 800325"/>
                <a:gd name="connsiteX16" fmla="*/ 347343 w 752155"/>
                <a:gd name="connsiteY16" fmla="*/ 0 h 800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52155" h="800325">
                  <a:moveTo>
                    <a:pt x="347343" y="0"/>
                  </a:moveTo>
                  <a:cubicBezTo>
                    <a:pt x="267174" y="22225"/>
                    <a:pt x="165574" y="11112"/>
                    <a:pt x="106836" y="66675"/>
                  </a:cubicBezTo>
                  <a:cubicBezTo>
                    <a:pt x="-11433" y="199230"/>
                    <a:pt x="-20164" y="298450"/>
                    <a:pt x="25873" y="497681"/>
                  </a:cubicBezTo>
                  <a:cubicBezTo>
                    <a:pt x="106835" y="742156"/>
                    <a:pt x="421161" y="822324"/>
                    <a:pt x="487836" y="795337"/>
                  </a:cubicBezTo>
                  <a:lnTo>
                    <a:pt x="752155" y="709613"/>
                  </a:lnTo>
                  <a:cubicBezTo>
                    <a:pt x="660079" y="719138"/>
                    <a:pt x="534668" y="731044"/>
                    <a:pt x="464024" y="695325"/>
                  </a:cubicBezTo>
                  <a:cubicBezTo>
                    <a:pt x="423940" y="688181"/>
                    <a:pt x="518793" y="698103"/>
                    <a:pt x="528318" y="685800"/>
                  </a:cubicBezTo>
                  <a:cubicBezTo>
                    <a:pt x="539034" y="677069"/>
                    <a:pt x="431878" y="688975"/>
                    <a:pt x="387824" y="614363"/>
                  </a:cubicBezTo>
                  <a:cubicBezTo>
                    <a:pt x="469976" y="611188"/>
                    <a:pt x="524349" y="619123"/>
                    <a:pt x="523555" y="607217"/>
                  </a:cubicBezTo>
                  <a:cubicBezTo>
                    <a:pt x="474343" y="604837"/>
                    <a:pt x="408461" y="600074"/>
                    <a:pt x="366392" y="557212"/>
                  </a:cubicBezTo>
                  <a:lnTo>
                    <a:pt x="383061" y="483395"/>
                  </a:lnTo>
                  <a:cubicBezTo>
                    <a:pt x="425923" y="532607"/>
                    <a:pt x="473550" y="553243"/>
                    <a:pt x="533080" y="559594"/>
                  </a:cubicBezTo>
                  <a:cubicBezTo>
                    <a:pt x="466405" y="540544"/>
                    <a:pt x="418779" y="488155"/>
                    <a:pt x="399730" y="428624"/>
                  </a:cubicBezTo>
                  <a:lnTo>
                    <a:pt x="533080" y="435768"/>
                  </a:lnTo>
                  <a:lnTo>
                    <a:pt x="547368" y="302418"/>
                  </a:lnTo>
                  <a:lnTo>
                    <a:pt x="383062" y="54768"/>
                  </a:lnTo>
                  <a:lnTo>
                    <a:pt x="347343" y="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IN" sz="1961" b="1" dirty="0">
                <a:solidFill>
                  <a:srgbClr val="FFFFFF"/>
                </a:solidFill>
                <a:latin typeface="Segoe UI Light"/>
                <a:ea typeface="Segoe UI" pitchFamily="34" charset="0"/>
                <a:cs typeface="Segoe UI" pitchFamily="34" charset="0"/>
              </a:endParaRPr>
            </a:p>
          </p:txBody>
        </p:sp>
        <p:grpSp>
          <p:nvGrpSpPr>
            <p:cNvPr id="11" name="Group 10"/>
            <p:cNvGrpSpPr/>
            <p:nvPr/>
          </p:nvGrpSpPr>
          <p:grpSpPr>
            <a:xfrm>
              <a:off x="306837" y="2966952"/>
              <a:ext cx="1385600" cy="1351044"/>
              <a:chOff x="1058398" y="3354141"/>
              <a:chExt cx="533724" cy="520412"/>
            </a:xfrm>
          </p:grpSpPr>
          <p:sp>
            <p:nvSpPr>
              <p:cNvPr id="12" name="Freeform 11"/>
              <p:cNvSpPr/>
              <p:nvPr/>
            </p:nvSpPr>
            <p:spPr bwMode="auto">
              <a:xfrm>
                <a:off x="1058398" y="3354142"/>
                <a:ext cx="533723" cy="415322"/>
              </a:xfrm>
              <a:custGeom>
                <a:avLst/>
                <a:gdLst>
                  <a:gd name="connsiteX0" fmla="*/ 528506 w 533723"/>
                  <a:gd name="connsiteY0" fmla="*/ 291832 h 418083"/>
                  <a:gd name="connsiteX1" fmla="*/ 510121 w 533723"/>
                  <a:gd name="connsiteY1" fmla="*/ 300446 h 418083"/>
                  <a:gd name="connsiteX2" fmla="*/ 500354 w 533723"/>
                  <a:gd name="connsiteY2" fmla="*/ 302312 h 418083"/>
                  <a:gd name="connsiteX3" fmla="*/ 489695 w 533723"/>
                  <a:gd name="connsiteY3" fmla="*/ 299159 h 418083"/>
                  <a:gd name="connsiteX4" fmla="*/ 490953 w 533723"/>
                  <a:gd name="connsiteY4" fmla="*/ 302242 h 418083"/>
                  <a:gd name="connsiteX5" fmla="*/ 490826 w 533723"/>
                  <a:gd name="connsiteY5" fmla="*/ 302554 h 418083"/>
                  <a:gd name="connsiteX6" fmla="*/ 497481 w 533723"/>
                  <a:gd name="connsiteY6" fmla="*/ 306188 h 418083"/>
                  <a:gd name="connsiteX7" fmla="*/ 505812 w 533723"/>
                  <a:gd name="connsiteY7" fmla="*/ 305901 h 418083"/>
                  <a:gd name="connsiteX8" fmla="*/ 523335 w 533723"/>
                  <a:gd name="connsiteY8" fmla="*/ 297575 h 418083"/>
                  <a:gd name="connsiteX9" fmla="*/ 528506 w 533723"/>
                  <a:gd name="connsiteY9" fmla="*/ 291832 h 418083"/>
                  <a:gd name="connsiteX10" fmla="*/ 459095 w 533723"/>
                  <a:gd name="connsiteY10" fmla="*/ 214354 h 418083"/>
                  <a:gd name="connsiteX11" fmla="*/ 470185 w 533723"/>
                  <a:gd name="connsiteY11" fmla="*/ 232917 h 418083"/>
                  <a:gd name="connsiteX12" fmla="*/ 469083 w 533723"/>
                  <a:gd name="connsiteY12" fmla="*/ 236710 h 418083"/>
                  <a:gd name="connsiteX13" fmla="*/ 465107 w 533723"/>
                  <a:gd name="connsiteY13" fmla="*/ 228628 h 418083"/>
                  <a:gd name="connsiteX14" fmla="*/ 462850 w 533723"/>
                  <a:gd name="connsiteY14" fmla="*/ 223907 h 418083"/>
                  <a:gd name="connsiteX15" fmla="*/ 461361 w 533723"/>
                  <a:gd name="connsiteY15" fmla="*/ 220754 h 418083"/>
                  <a:gd name="connsiteX16" fmla="*/ 458921 w 533723"/>
                  <a:gd name="connsiteY16" fmla="*/ 213862 h 418083"/>
                  <a:gd name="connsiteX17" fmla="*/ 459095 w 533723"/>
                  <a:gd name="connsiteY17" fmla="*/ 214354 h 418083"/>
                  <a:gd name="connsiteX18" fmla="*/ 458953 w 533723"/>
                  <a:gd name="connsiteY18" fmla="*/ 214116 h 418083"/>
                  <a:gd name="connsiteX19" fmla="*/ 231642 w 533723"/>
                  <a:gd name="connsiteY19" fmla="*/ 117869 h 418083"/>
                  <a:gd name="connsiteX20" fmla="*/ 245739 w 533723"/>
                  <a:gd name="connsiteY20" fmla="*/ 119960 h 418083"/>
                  <a:gd name="connsiteX21" fmla="*/ 247479 w 533723"/>
                  <a:gd name="connsiteY21" fmla="*/ 117948 h 418083"/>
                  <a:gd name="connsiteX22" fmla="*/ 241439 w 533723"/>
                  <a:gd name="connsiteY22" fmla="*/ 117896 h 418083"/>
                  <a:gd name="connsiteX23" fmla="*/ 231642 w 533723"/>
                  <a:gd name="connsiteY23" fmla="*/ 117869 h 418083"/>
                  <a:gd name="connsiteX24" fmla="*/ 393966 w 533723"/>
                  <a:gd name="connsiteY24" fmla="*/ 59548 h 418083"/>
                  <a:gd name="connsiteX25" fmla="*/ 394760 w 533723"/>
                  <a:gd name="connsiteY25" fmla="*/ 61641 h 418083"/>
                  <a:gd name="connsiteX26" fmla="*/ 396543 w 533723"/>
                  <a:gd name="connsiteY26" fmla="*/ 61922 h 418083"/>
                  <a:gd name="connsiteX27" fmla="*/ 135290 w 533723"/>
                  <a:gd name="connsiteY27" fmla="*/ 95 h 418083"/>
                  <a:gd name="connsiteX28" fmla="*/ 142002 w 533723"/>
                  <a:gd name="connsiteY28" fmla="*/ 118 h 418083"/>
                  <a:gd name="connsiteX29" fmla="*/ 184247 w 533723"/>
                  <a:gd name="connsiteY29" fmla="*/ 9888 h 418083"/>
                  <a:gd name="connsiteX30" fmla="*/ 237411 w 533723"/>
                  <a:gd name="connsiteY30" fmla="*/ 31727 h 418083"/>
                  <a:gd name="connsiteX31" fmla="*/ 273908 w 533723"/>
                  <a:gd name="connsiteY31" fmla="*/ 50693 h 418083"/>
                  <a:gd name="connsiteX32" fmla="*/ 300993 w 533723"/>
                  <a:gd name="connsiteY32" fmla="*/ 65241 h 418083"/>
                  <a:gd name="connsiteX33" fmla="*/ 313770 w 533723"/>
                  <a:gd name="connsiteY33" fmla="*/ 72415 h 418083"/>
                  <a:gd name="connsiteX34" fmla="*/ 317458 w 533723"/>
                  <a:gd name="connsiteY34" fmla="*/ 74704 h 418083"/>
                  <a:gd name="connsiteX35" fmla="*/ 321989 w 533723"/>
                  <a:gd name="connsiteY35" fmla="*/ 77518 h 418083"/>
                  <a:gd name="connsiteX36" fmla="*/ 328509 w 533723"/>
                  <a:gd name="connsiteY36" fmla="*/ 81728 h 418083"/>
                  <a:gd name="connsiteX37" fmla="*/ 329950 w 533723"/>
                  <a:gd name="connsiteY37" fmla="*/ 82770 h 418083"/>
                  <a:gd name="connsiteX38" fmla="*/ 322786 w 533723"/>
                  <a:gd name="connsiteY38" fmla="*/ 67357 h 418083"/>
                  <a:gd name="connsiteX39" fmla="*/ 318179 w 533723"/>
                  <a:gd name="connsiteY39" fmla="*/ 66024 h 418083"/>
                  <a:gd name="connsiteX40" fmla="*/ 315145 w 533723"/>
                  <a:gd name="connsiteY40" fmla="*/ 65146 h 418083"/>
                  <a:gd name="connsiteX41" fmla="*/ 315984 w 533723"/>
                  <a:gd name="connsiteY41" fmla="*/ 64282 h 418083"/>
                  <a:gd name="connsiteX42" fmla="*/ 336115 w 533723"/>
                  <a:gd name="connsiteY42" fmla="*/ 45493 h 418083"/>
                  <a:gd name="connsiteX43" fmla="*/ 339135 w 533723"/>
                  <a:gd name="connsiteY43" fmla="*/ 43303 h 418083"/>
                  <a:gd name="connsiteX44" fmla="*/ 344556 w 533723"/>
                  <a:gd name="connsiteY44" fmla="*/ 40552 h 418083"/>
                  <a:gd name="connsiteX45" fmla="*/ 348957 w 533723"/>
                  <a:gd name="connsiteY45" fmla="*/ 38760 h 418083"/>
                  <a:gd name="connsiteX46" fmla="*/ 368054 w 533723"/>
                  <a:gd name="connsiteY46" fmla="*/ 34807 h 418083"/>
                  <a:gd name="connsiteX47" fmla="*/ 382234 w 533723"/>
                  <a:gd name="connsiteY47" fmla="*/ 37952 h 418083"/>
                  <a:gd name="connsiteX48" fmla="*/ 390275 w 533723"/>
                  <a:gd name="connsiteY48" fmla="*/ 35652 h 418083"/>
                  <a:gd name="connsiteX49" fmla="*/ 390840 w 533723"/>
                  <a:gd name="connsiteY49" fmla="*/ 35749 h 418083"/>
                  <a:gd name="connsiteX50" fmla="*/ 391575 w 533723"/>
                  <a:gd name="connsiteY50" fmla="*/ 35894 h 418083"/>
                  <a:gd name="connsiteX51" fmla="*/ 391750 w 533723"/>
                  <a:gd name="connsiteY51" fmla="*/ 35955 h 418083"/>
                  <a:gd name="connsiteX52" fmla="*/ 392615 w 533723"/>
                  <a:gd name="connsiteY52" fmla="*/ 36327 h 418083"/>
                  <a:gd name="connsiteX53" fmla="*/ 393242 w 533723"/>
                  <a:gd name="connsiteY53" fmla="*/ 36306 h 418083"/>
                  <a:gd name="connsiteX54" fmla="*/ 393406 w 533723"/>
                  <a:gd name="connsiteY54" fmla="*/ 36317 h 418083"/>
                  <a:gd name="connsiteX55" fmla="*/ 397383 w 533723"/>
                  <a:gd name="connsiteY55" fmla="*/ 37341 h 418083"/>
                  <a:gd name="connsiteX56" fmla="*/ 408367 w 533723"/>
                  <a:gd name="connsiteY56" fmla="*/ 43126 h 418083"/>
                  <a:gd name="connsiteX57" fmla="*/ 459773 w 533723"/>
                  <a:gd name="connsiteY57" fmla="*/ 126491 h 418083"/>
                  <a:gd name="connsiteX58" fmla="*/ 441680 w 533723"/>
                  <a:gd name="connsiteY58" fmla="*/ 188008 h 418083"/>
                  <a:gd name="connsiteX59" fmla="*/ 442553 w 533723"/>
                  <a:gd name="connsiteY59" fmla="*/ 192637 h 418083"/>
                  <a:gd name="connsiteX60" fmla="*/ 443081 w 533723"/>
                  <a:gd name="connsiteY60" fmla="*/ 194875 h 418083"/>
                  <a:gd name="connsiteX61" fmla="*/ 451172 w 533723"/>
                  <a:gd name="connsiteY61" fmla="*/ 201092 h 418083"/>
                  <a:gd name="connsiteX62" fmla="*/ 458953 w 533723"/>
                  <a:gd name="connsiteY62" fmla="*/ 214116 h 418083"/>
                  <a:gd name="connsiteX63" fmla="*/ 459209 w 533723"/>
                  <a:gd name="connsiteY63" fmla="*/ 216161 h 418083"/>
                  <a:gd name="connsiteX64" fmla="*/ 460971 w 533723"/>
                  <a:gd name="connsiteY64" fmla="*/ 219929 h 418083"/>
                  <a:gd name="connsiteX65" fmla="*/ 461361 w 533723"/>
                  <a:gd name="connsiteY65" fmla="*/ 220754 h 418083"/>
                  <a:gd name="connsiteX66" fmla="*/ 470303 w 533723"/>
                  <a:gd name="connsiteY66" fmla="*/ 246015 h 418083"/>
                  <a:gd name="connsiteX67" fmla="*/ 469962 w 533723"/>
                  <a:gd name="connsiteY67" fmla="*/ 245448 h 418083"/>
                  <a:gd name="connsiteX68" fmla="*/ 468971 w 533723"/>
                  <a:gd name="connsiteY68" fmla="*/ 243799 h 418083"/>
                  <a:gd name="connsiteX69" fmla="*/ 464115 w 533723"/>
                  <a:gd name="connsiteY69" fmla="*/ 240660 h 418083"/>
                  <a:gd name="connsiteX70" fmla="*/ 457544 w 533723"/>
                  <a:gd name="connsiteY70" fmla="*/ 239804 h 418083"/>
                  <a:gd name="connsiteX71" fmla="*/ 463829 w 533723"/>
                  <a:gd name="connsiteY71" fmla="*/ 242086 h 418083"/>
                  <a:gd name="connsiteX72" fmla="*/ 469895 w 533723"/>
                  <a:gd name="connsiteY72" fmla="*/ 245979 h 418083"/>
                  <a:gd name="connsiteX73" fmla="*/ 470460 w 533723"/>
                  <a:gd name="connsiteY73" fmla="*/ 246460 h 418083"/>
                  <a:gd name="connsiteX74" fmla="*/ 485321 w 533723"/>
                  <a:gd name="connsiteY74" fmla="*/ 288443 h 418083"/>
                  <a:gd name="connsiteX75" fmla="*/ 485666 w 533723"/>
                  <a:gd name="connsiteY75" fmla="*/ 289289 h 418083"/>
                  <a:gd name="connsiteX76" fmla="*/ 485392 w 533723"/>
                  <a:gd name="connsiteY76" fmla="*/ 285754 h 418083"/>
                  <a:gd name="connsiteX77" fmla="*/ 485409 w 533723"/>
                  <a:gd name="connsiteY77" fmla="*/ 284254 h 418083"/>
                  <a:gd name="connsiteX78" fmla="*/ 485552 w 533723"/>
                  <a:gd name="connsiteY78" fmla="*/ 284634 h 418083"/>
                  <a:gd name="connsiteX79" fmla="*/ 487684 w 533723"/>
                  <a:gd name="connsiteY79" fmla="*/ 290297 h 418083"/>
                  <a:gd name="connsiteX80" fmla="*/ 487716 w 533723"/>
                  <a:gd name="connsiteY80" fmla="*/ 290381 h 418083"/>
                  <a:gd name="connsiteX81" fmla="*/ 487709 w 533723"/>
                  <a:gd name="connsiteY81" fmla="*/ 290382 h 418083"/>
                  <a:gd name="connsiteX82" fmla="*/ 486150 w 533723"/>
                  <a:gd name="connsiteY82" fmla="*/ 290474 h 418083"/>
                  <a:gd name="connsiteX83" fmla="*/ 488742 w 533723"/>
                  <a:gd name="connsiteY83" fmla="*/ 296824 h 418083"/>
                  <a:gd name="connsiteX84" fmla="*/ 494320 w 533723"/>
                  <a:gd name="connsiteY84" fmla="*/ 295556 h 418083"/>
                  <a:gd name="connsiteX85" fmla="*/ 512429 w 533723"/>
                  <a:gd name="connsiteY85" fmla="*/ 291820 h 418083"/>
                  <a:gd name="connsiteX86" fmla="*/ 519005 w 533723"/>
                  <a:gd name="connsiteY86" fmla="*/ 287509 h 418083"/>
                  <a:gd name="connsiteX87" fmla="*/ 520508 w 533723"/>
                  <a:gd name="connsiteY87" fmla="*/ 286839 h 418083"/>
                  <a:gd name="connsiteX88" fmla="*/ 522424 w 533723"/>
                  <a:gd name="connsiteY88" fmla="*/ 286502 h 418083"/>
                  <a:gd name="connsiteX89" fmla="*/ 523091 w 533723"/>
                  <a:gd name="connsiteY89" fmla="*/ 286385 h 418083"/>
                  <a:gd name="connsiteX90" fmla="*/ 525364 w 533723"/>
                  <a:gd name="connsiteY90" fmla="*/ 286646 h 418083"/>
                  <a:gd name="connsiteX91" fmla="*/ 533413 w 533723"/>
                  <a:gd name="connsiteY91" fmla="*/ 297855 h 418083"/>
                  <a:gd name="connsiteX92" fmla="*/ 530826 w 533723"/>
                  <a:gd name="connsiteY92" fmla="*/ 316249 h 418083"/>
                  <a:gd name="connsiteX93" fmla="*/ 530588 w 533723"/>
                  <a:gd name="connsiteY93" fmla="*/ 318085 h 418083"/>
                  <a:gd name="connsiteX94" fmla="*/ 530192 w 533723"/>
                  <a:gd name="connsiteY94" fmla="*/ 320320 h 418083"/>
                  <a:gd name="connsiteX95" fmla="*/ 529838 w 533723"/>
                  <a:gd name="connsiteY95" fmla="*/ 321637 h 418083"/>
                  <a:gd name="connsiteX96" fmla="*/ 526883 w 533723"/>
                  <a:gd name="connsiteY96" fmla="*/ 332653 h 418083"/>
                  <a:gd name="connsiteX97" fmla="*/ 524435 w 533723"/>
                  <a:gd name="connsiteY97" fmla="*/ 341781 h 418083"/>
                  <a:gd name="connsiteX98" fmla="*/ 519934 w 533723"/>
                  <a:gd name="connsiteY98" fmla="*/ 353045 h 418083"/>
                  <a:gd name="connsiteX99" fmla="*/ 493458 w 533723"/>
                  <a:gd name="connsiteY99" fmla="*/ 392987 h 418083"/>
                  <a:gd name="connsiteX100" fmla="*/ 421143 w 533723"/>
                  <a:gd name="connsiteY100" fmla="*/ 403455 h 418083"/>
                  <a:gd name="connsiteX101" fmla="*/ 416615 w 533723"/>
                  <a:gd name="connsiteY101" fmla="*/ 401105 h 418083"/>
                  <a:gd name="connsiteX102" fmla="*/ 415306 w 533723"/>
                  <a:gd name="connsiteY102" fmla="*/ 404311 h 418083"/>
                  <a:gd name="connsiteX103" fmla="*/ 382546 w 533723"/>
                  <a:gd name="connsiteY103" fmla="*/ 418083 h 418083"/>
                  <a:gd name="connsiteX104" fmla="*/ 364512 w 533723"/>
                  <a:gd name="connsiteY104" fmla="*/ 414388 h 418083"/>
                  <a:gd name="connsiteX105" fmla="*/ 362260 w 533723"/>
                  <a:gd name="connsiteY105" fmla="*/ 412847 h 418083"/>
                  <a:gd name="connsiteX106" fmla="*/ 359508 w 533723"/>
                  <a:gd name="connsiteY106" fmla="*/ 412530 h 418083"/>
                  <a:gd name="connsiteX107" fmla="*/ 354180 w 533723"/>
                  <a:gd name="connsiteY107" fmla="*/ 409493 h 418083"/>
                  <a:gd name="connsiteX108" fmla="*/ 351263 w 533723"/>
                  <a:gd name="connsiteY108" fmla="*/ 406931 h 418083"/>
                  <a:gd name="connsiteX109" fmla="*/ 351015 w 533723"/>
                  <a:gd name="connsiteY109" fmla="*/ 406713 h 418083"/>
                  <a:gd name="connsiteX110" fmla="*/ 348397 w 533723"/>
                  <a:gd name="connsiteY110" fmla="*/ 403432 h 418083"/>
                  <a:gd name="connsiteX111" fmla="*/ 347445 w 533723"/>
                  <a:gd name="connsiteY111" fmla="*/ 401927 h 418083"/>
                  <a:gd name="connsiteX112" fmla="*/ 345319 w 533723"/>
                  <a:gd name="connsiteY112" fmla="*/ 397536 h 418083"/>
                  <a:gd name="connsiteX113" fmla="*/ 344561 w 533723"/>
                  <a:gd name="connsiteY113" fmla="*/ 395286 h 418083"/>
                  <a:gd name="connsiteX114" fmla="*/ 335650 w 533723"/>
                  <a:gd name="connsiteY114" fmla="*/ 375455 h 418083"/>
                  <a:gd name="connsiteX115" fmla="*/ 322714 w 533723"/>
                  <a:gd name="connsiteY115" fmla="*/ 362234 h 418083"/>
                  <a:gd name="connsiteX116" fmla="*/ 319648 w 533723"/>
                  <a:gd name="connsiteY116" fmla="*/ 358159 h 418083"/>
                  <a:gd name="connsiteX117" fmla="*/ 319434 w 533723"/>
                  <a:gd name="connsiteY117" fmla="*/ 357823 h 418083"/>
                  <a:gd name="connsiteX118" fmla="*/ 314734 w 533723"/>
                  <a:gd name="connsiteY118" fmla="*/ 350455 h 418083"/>
                  <a:gd name="connsiteX119" fmla="*/ 319052 w 533723"/>
                  <a:gd name="connsiteY119" fmla="*/ 316733 h 418083"/>
                  <a:gd name="connsiteX120" fmla="*/ 323333 w 533723"/>
                  <a:gd name="connsiteY120" fmla="*/ 310656 h 418083"/>
                  <a:gd name="connsiteX121" fmla="*/ 320679 w 533723"/>
                  <a:gd name="connsiteY121" fmla="*/ 310837 h 418083"/>
                  <a:gd name="connsiteX122" fmla="*/ 316984 w 533723"/>
                  <a:gd name="connsiteY122" fmla="*/ 309959 h 418083"/>
                  <a:gd name="connsiteX123" fmla="*/ 278469 w 533723"/>
                  <a:gd name="connsiteY123" fmla="*/ 281787 h 418083"/>
                  <a:gd name="connsiteX124" fmla="*/ 279196 w 533723"/>
                  <a:gd name="connsiteY124" fmla="*/ 221148 h 418083"/>
                  <a:gd name="connsiteX125" fmla="*/ 281137 w 533723"/>
                  <a:gd name="connsiteY125" fmla="*/ 212759 h 418083"/>
                  <a:gd name="connsiteX126" fmla="*/ 280817 w 533723"/>
                  <a:gd name="connsiteY126" fmla="*/ 212855 h 418083"/>
                  <a:gd name="connsiteX127" fmla="*/ 280074 w 533723"/>
                  <a:gd name="connsiteY127" fmla="*/ 213019 h 418083"/>
                  <a:gd name="connsiteX128" fmla="*/ 208386 w 533723"/>
                  <a:gd name="connsiteY128" fmla="*/ 230868 h 418083"/>
                  <a:gd name="connsiteX129" fmla="*/ 129358 w 533723"/>
                  <a:gd name="connsiteY129" fmla="*/ 256155 h 418083"/>
                  <a:gd name="connsiteX130" fmla="*/ 76481 w 533723"/>
                  <a:gd name="connsiteY130" fmla="*/ 253856 h 418083"/>
                  <a:gd name="connsiteX131" fmla="*/ 56365 w 533723"/>
                  <a:gd name="connsiteY131" fmla="*/ 204718 h 418083"/>
                  <a:gd name="connsiteX132" fmla="*/ 6361 w 533723"/>
                  <a:gd name="connsiteY132" fmla="*/ 145234 h 418083"/>
                  <a:gd name="connsiteX133" fmla="*/ 4924 w 533723"/>
                  <a:gd name="connsiteY133" fmla="*/ 90923 h 418083"/>
                  <a:gd name="connsiteX134" fmla="*/ 26190 w 533723"/>
                  <a:gd name="connsiteY134" fmla="*/ 62762 h 418083"/>
                  <a:gd name="connsiteX135" fmla="*/ 51192 w 533723"/>
                  <a:gd name="connsiteY135" fmla="*/ 63624 h 418083"/>
                  <a:gd name="connsiteX136" fmla="*/ 92574 w 533723"/>
                  <a:gd name="connsiteY136" fmla="*/ 72245 h 418083"/>
                  <a:gd name="connsiteX137" fmla="*/ 148899 w 533723"/>
                  <a:gd name="connsiteY137" fmla="*/ 97533 h 418083"/>
                  <a:gd name="connsiteX138" fmla="*/ 100620 w 533723"/>
                  <a:gd name="connsiteY138" fmla="*/ 70233 h 418083"/>
                  <a:gd name="connsiteX139" fmla="*/ 68722 w 533723"/>
                  <a:gd name="connsiteY139" fmla="*/ 57877 h 418083"/>
                  <a:gd name="connsiteX140" fmla="*/ 95735 w 533723"/>
                  <a:gd name="connsiteY140" fmla="*/ 33739 h 418083"/>
                  <a:gd name="connsiteX141" fmla="*/ 118438 w 533723"/>
                  <a:gd name="connsiteY141" fmla="*/ 6440 h 418083"/>
                  <a:gd name="connsiteX142" fmla="*/ 135290 w 533723"/>
                  <a:gd name="connsiteY142" fmla="*/ 95 h 418083"/>
                  <a:gd name="connsiteX0" fmla="*/ 528506 w 533723"/>
                  <a:gd name="connsiteY0" fmla="*/ 291832 h 419386"/>
                  <a:gd name="connsiteX1" fmla="*/ 510121 w 533723"/>
                  <a:gd name="connsiteY1" fmla="*/ 300446 h 419386"/>
                  <a:gd name="connsiteX2" fmla="*/ 500354 w 533723"/>
                  <a:gd name="connsiteY2" fmla="*/ 302312 h 419386"/>
                  <a:gd name="connsiteX3" fmla="*/ 489695 w 533723"/>
                  <a:gd name="connsiteY3" fmla="*/ 299159 h 419386"/>
                  <a:gd name="connsiteX4" fmla="*/ 490953 w 533723"/>
                  <a:gd name="connsiteY4" fmla="*/ 302242 h 419386"/>
                  <a:gd name="connsiteX5" fmla="*/ 490826 w 533723"/>
                  <a:gd name="connsiteY5" fmla="*/ 302554 h 419386"/>
                  <a:gd name="connsiteX6" fmla="*/ 497481 w 533723"/>
                  <a:gd name="connsiteY6" fmla="*/ 306188 h 419386"/>
                  <a:gd name="connsiteX7" fmla="*/ 505812 w 533723"/>
                  <a:gd name="connsiteY7" fmla="*/ 305901 h 419386"/>
                  <a:gd name="connsiteX8" fmla="*/ 523335 w 533723"/>
                  <a:gd name="connsiteY8" fmla="*/ 297575 h 419386"/>
                  <a:gd name="connsiteX9" fmla="*/ 528506 w 533723"/>
                  <a:gd name="connsiteY9" fmla="*/ 291832 h 419386"/>
                  <a:gd name="connsiteX10" fmla="*/ 459095 w 533723"/>
                  <a:gd name="connsiteY10" fmla="*/ 214354 h 419386"/>
                  <a:gd name="connsiteX11" fmla="*/ 470185 w 533723"/>
                  <a:gd name="connsiteY11" fmla="*/ 232917 h 419386"/>
                  <a:gd name="connsiteX12" fmla="*/ 469083 w 533723"/>
                  <a:gd name="connsiteY12" fmla="*/ 236710 h 419386"/>
                  <a:gd name="connsiteX13" fmla="*/ 465107 w 533723"/>
                  <a:gd name="connsiteY13" fmla="*/ 228628 h 419386"/>
                  <a:gd name="connsiteX14" fmla="*/ 462850 w 533723"/>
                  <a:gd name="connsiteY14" fmla="*/ 223907 h 419386"/>
                  <a:gd name="connsiteX15" fmla="*/ 461361 w 533723"/>
                  <a:gd name="connsiteY15" fmla="*/ 220754 h 419386"/>
                  <a:gd name="connsiteX16" fmla="*/ 459095 w 533723"/>
                  <a:gd name="connsiteY16" fmla="*/ 214354 h 419386"/>
                  <a:gd name="connsiteX17" fmla="*/ 458921 w 533723"/>
                  <a:gd name="connsiteY17" fmla="*/ 213862 h 419386"/>
                  <a:gd name="connsiteX18" fmla="*/ 459095 w 533723"/>
                  <a:gd name="connsiteY18" fmla="*/ 214354 h 419386"/>
                  <a:gd name="connsiteX19" fmla="*/ 458953 w 533723"/>
                  <a:gd name="connsiteY19" fmla="*/ 214116 h 419386"/>
                  <a:gd name="connsiteX20" fmla="*/ 458921 w 533723"/>
                  <a:gd name="connsiteY20" fmla="*/ 213862 h 419386"/>
                  <a:gd name="connsiteX21" fmla="*/ 231642 w 533723"/>
                  <a:gd name="connsiteY21" fmla="*/ 117869 h 419386"/>
                  <a:gd name="connsiteX22" fmla="*/ 245739 w 533723"/>
                  <a:gd name="connsiteY22" fmla="*/ 119960 h 419386"/>
                  <a:gd name="connsiteX23" fmla="*/ 247479 w 533723"/>
                  <a:gd name="connsiteY23" fmla="*/ 117948 h 419386"/>
                  <a:gd name="connsiteX24" fmla="*/ 241439 w 533723"/>
                  <a:gd name="connsiteY24" fmla="*/ 117896 h 419386"/>
                  <a:gd name="connsiteX25" fmla="*/ 231642 w 533723"/>
                  <a:gd name="connsiteY25" fmla="*/ 117869 h 419386"/>
                  <a:gd name="connsiteX26" fmla="*/ 393966 w 533723"/>
                  <a:gd name="connsiteY26" fmla="*/ 59548 h 419386"/>
                  <a:gd name="connsiteX27" fmla="*/ 394760 w 533723"/>
                  <a:gd name="connsiteY27" fmla="*/ 61641 h 419386"/>
                  <a:gd name="connsiteX28" fmla="*/ 396543 w 533723"/>
                  <a:gd name="connsiteY28" fmla="*/ 61922 h 419386"/>
                  <a:gd name="connsiteX29" fmla="*/ 393966 w 533723"/>
                  <a:gd name="connsiteY29" fmla="*/ 59548 h 419386"/>
                  <a:gd name="connsiteX30" fmla="*/ 135290 w 533723"/>
                  <a:gd name="connsiteY30" fmla="*/ 95 h 419386"/>
                  <a:gd name="connsiteX31" fmla="*/ 142002 w 533723"/>
                  <a:gd name="connsiteY31" fmla="*/ 118 h 419386"/>
                  <a:gd name="connsiteX32" fmla="*/ 184247 w 533723"/>
                  <a:gd name="connsiteY32" fmla="*/ 9888 h 419386"/>
                  <a:gd name="connsiteX33" fmla="*/ 237411 w 533723"/>
                  <a:gd name="connsiteY33" fmla="*/ 31727 h 419386"/>
                  <a:gd name="connsiteX34" fmla="*/ 273908 w 533723"/>
                  <a:gd name="connsiteY34" fmla="*/ 50693 h 419386"/>
                  <a:gd name="connsiteX35" fmla="*/ 300993 w 533723"/>
                  <a:gd name="connsiteY35" fmla="*/ 65241 h 419386"/>
                  <a:gd name="connsiteX36" fmla="*/ 313770 w 533723"/>
                  <a:gd name="connsiteY36" fmla="*/ 72415 h 419386"/>
                  <a:gd name="connsiteX37" fmla="*/ 317458 w 533723"/>
                  <a:gd name="connsiteY37" fmla="*/ 74704 h 419386"/>
                  <a:gd name="connsiteX38" fmla="*/ 321989 w 533723"/>
                  <a:gd name="connsiteY38" fmla="*/ 77518 h 419386"/>
                  <a:gd name="connsiteX39" fmla="*/ 328509 w 533723"/>
                  <a:gd name="connsiteY39" fmla="*/ 81728 h 419386"/>
                  <a:gd name="connsiteX40" fmla="*/ 329950 w 533723"/>
                  <a:gd name="connsiteY40" fmla="*/ 82770 h 419386"/>
                  <a:gd name="connsiteX41" fmla="*/ 322786 w 533723"/>
                  <a:gd name="connsiteY41" fmla="*/ 67357 h 419386"/>
                  <a:gd name="connsiteX42" fmla="*/ 318179 w 533723"/>
                  <a:gd name="connsiteY42" fmla="*/ 66024 h 419386"/>
                  <a:gd name="connsiteX43" fmla="*/ 315145 w 533723"/>
                  <a:gd name="connsiteY43" fmla="*/ 65146 h 419386"/>
                  <a:gd name="connsiteX44" fmla="*/ 315984 w 533723"/>
                  <a:gd name="connsiteY44" fmla="*/ 64282 h 419386"/>
                  <a:gd name="connsiteX45" fmla="*/ 336115 w 533723"/>
                  <a:gd name="connsiteY45" fmla="*/ 45493 h 419386"/>
                  <a:gd name="connsiteX46" fmla="*/ 339135 w 533723"/>
                  <a:gd name="connsiteY46" fmla="*/ 43303 h 419386"/>
                  <a:gd name="connsiteX47" fmla="*/ 344556 w 533723"/>
                  <a:gd name="connsiteY47" fmla="*/ 40552 h 419386"/>
                  <a:gd name="connsiteX48" fmla="*/ 348957 w 533723"/>
                  <a:gd name="connsiteY48" fmla="*/ 38760 h 419386"/>
                  <a:gd name="connsiteX49" fmla="*/ 368054 w 533723"/>
                  <a:gd name="connsiteY49" fmla="*/ 34807 h 419386"/>
                  <a:gd name="connsiteX50" fmla="*/ 382234 w 533723"/>
                  <a:gd name="connsiteY50" fmla="*/ 37952 h 419386"/>
                  <a:gd name="connsiteX51" fmla="*/ 390275 w 533723"/>
                  <a:gd name="connsiteY51" fmla="*/ 35652 h 419386"/>
                  <a:gd name="connsiteX52" fmla="*/ 390840 w 533723"/>
                  <a:gd name="connsiteY52" fmla="*/ 35749 h 419386"/>
                  <a:gd name="connsiteX53" fmla="*/ 391575 w 533723"/>
                  <a:gd name="connsiteY53" fmla="*/ 35894 h 419386"/>
                  <a:gd name="connsiteX54" fmla="*/ 391750 w 533723"/>
                  <a:gd name="connsiteY54" fmla="*/ 35955 h 419386"/>
                  <a:gd name="connsiteX55" fmla="*/ 392615 w 533723"/>
                  <a:gd name="connsiteY55" fmla="*/ 36327 h 419386"/>
                  <a:gd name="connsiteX56" fmla="*/ 393242 w 533723"/>
                  <a:gd name="connsiteY56" fmla="*/ 36306 h 419386"/>
                  <a:gd name="connsiteX57" fmla="*/ 393406 w 533723"/>
                  <a:gd name="connsiteY57" fmla="*/ 36317 h 419386"/>
                  <a:gd name="connsiteX58" fmla="*/ 397383 w 533723"/>
                  <a:gd name="connsiteY58" fmla="*/ 37341 h 419386"/>
                  <a:gd name="connsiteX59" fmla="*/ 408367 w 533723"/>
                  <a:gd name="connsiteY59" fmla="*/ 43126 h 419386"/>
                  <a:gd name="connsiteX60" fmla="*/ 459773 w 533723"/>
                  <a:gd name="connsiteY60" fmla="*/ 126491 h 419386"/>
                  <a:gd name="connsiteX61" fmla="*/ 441680 w 533723"/>
                  <a:gd name="connsiteY61" fmla="*/ 188008 h 419386"/>
                  <a:gd name="connsiteX62" fmla="*/ 442553 w 533723"/>
                  <a:gd name="connsiteY62" fmla="*/ 192637 h 419386"/>
                  <a:gd name="connsiteX63" fmla="*/ 443081 w 533723"/>
                  <a:gd name="connsiteY63" fmla="*/ 194875 h 419386"/>
                  <a:gd name="connsiteX64" fmla="*/ 451172 w 533723"/>
                  <a:gd name="connsiteY64" fmla="*/ 201092 h 419386"/>
                  <a:gd name="connsiteX65" fmla="*/ 458953 w 533723"/>
                  <a:gd name="connsiteY65" fmla="*/ 214116 h 419386"/>
                  <a:gd name="connsiteX66" fmla="*/ 459209 w 533723"/>
                  <a:gd name="connsiteY66" fmla="*/ 216161 h 419386"/>
                  <a:gd name="connsiteX67" fmla="*/ 460971 w 533723"/>
                  <a:gd name="connsiteY67" fmla="*/ 219929 h 419386"/>
                  <a:gd name="connsiteX68" fmla="*/ 461361 w 533723"/>
                  <a:gd name="connsiteY68" fmla="*/ 220754 h 419386"/>
                  <a:gd name="connsiteX69" fmla="*/ 470303 w 533723"/>
                  <a:gd name="connsiteY69" fmla="*/ 246015 h 419386"/>
                  <a:gd name="connsiteX70" fmla="*/ 469962 w 533723"/>
                  <a:gd name="connsiteY70" fmla="*/ 245448 h 419386"/>
                  <a:gd name="connsiteX71" fmla="*/ 468971 w 533723"/>
                  <a:gd name="connsiteY71" fmla="*/ 243799 h 419386"/>
                  <a:gd name="connsiteX72" fmla="*/ 464115 w 533723"/>
                  <a:gd name="connsiteY72" fmla="*/ 240660 h 419386"/>
                  <a:gd name="connsiteX73" fmla="*/ 457544 w 533723"/>
                  <a:gd name="connsiteY73" fmla="*/ 239804 h 419386"/>
                  <a:gd name="connsiteX74" fmla="*/ 463829 w 533723"/>
                  <a:gd name="connsiteY74" fmla="*/ 242086 h 419386"/>
                  <a:gd name="connsiteX75" fmla="*/ 469895 w 533723"/>
                  <a:gd name="connsiteY75" fmla="*/ 245979 h 419386"/>
                  <a:gd name="connsiteX76" fmla="*/ 470460 w 533723"/>
                  <a:gd name="connsiteY76" fmla="*/ 246460 h 419386"/>
                  <a:gd name="connsiteX77" fmla="*/ 485321 w 533723"/>
                  <a:gd name="connsiteY77" fmla="*/ 288443 h 419386"/>
                  <a:gd name="connsiteX78" fmla="*/ 485666 w 533723"/>
                  <a:gd name="connsiteY78" fmla="*/ 289289 h 419386"/>
                  <a:gd name="connsiteX79" fmla="*/ 485392 w 533723"/>
                  <a:gd name="connsiteY79" fmla="*/ 285754 h 419386"/>
                  <a:gd name="connsiteX80" fmla="*/ 485409 w 533723"/>
                  <a:gd name="connsiteY80" fmla="*/ 284254 h 419386"/>
                  <a:gd name="connsiteX81" fmla="*/ 485552 w 533723"/>
                  <a:gd name="connsiteY81" fmla="*/ 284634 h 419386"/>
                  <a:gd name="connsiteX82" fmla="*/ 487684 w 533723"/>
                  <a:gd name="connsiteY82" fmla="*/ 290297 h 419386"/>
                  <a:gd name="connsiteX83" fmla="*/ 487716 w 533723"/>
                  <a:gd name="connsiteY83" fmla="*/ 290381 h 419386"/>
                  <a:gd name="connsiteX84" fmla="*/ 487709 w 533723"/>
                  <a:gd name="connsiteY84" fmla="*/ 290382 h 419386"/>
                  <a:gd name="connsiteX85" fmla="*/ 486150 w 533723"/>
                  <a:gd name="connsiteY85" fmla="*/ 290474 h 419386"/>
                  <a:gd name="connsiteX86" fmla="*/ 488742 w 533723"/>
                  <a:gd name="connsiteY86" fmla="*/ 296824 h 419386"/>
                  <a:gd name="connsiteX87" fmla="*/ 494320 w 533723"/>
                  <a:gd name="connsiteY87" fmla="*/ 295556 h 419386"/>
                  <a:gd name="connsiteX88" fmla="*/ 512429 w 533723"/>
                  <a:gd name="connsiteY88" fmla="*/ 291820 h 419386"/>
                  <a:gd name="connsiteX89" fmla="*/ 519005 w 533723"/>
                  <a:gd name="connsiteY89" fmla="*/ 287509 h 419386"/>
                  <a:gd name="connsiteX90" fmla="*/ 520508 w 533723"/>
                  <a:gd name="connsiteY90" fmla="*/ 286839 h 419386"/>
                  <a:gd name="connsiteX91" fmla="*/ 522424 w 533723"/>
                  <a:gd name="connsiteY91" fmla="*/ 286502 h 419386"/>
                  <a:gd name="connsiteX92" fmla="*/ 523091 w 533723"/>
                  <a:gd name="connsiteY92" fmla="*/ 286385 h 419386"/>
                  <a:gd name="connsiteX93" fmla="*/ 525364 w 533723"/>
                  <a:gd name="connsiteY93" fmla="*/ 286646 h 419386"/>
                  <a:gd name="connsiteX94" fmla="*/ 533413 w 533723"/>
                  <a:gd name="connsiteY94" fmla="*/ 297855 h 419386"/>
                  <a:gd name="connsiteX95" fmla="*/ 530826 w 533723"/>
                  <a:gd name="connsiteY95" fmla="*/ 316249 h 419386"/>
                  <a:gd name="connsiteX96" fmla="*/ 530588 w 533723"/>
                  <a:gd name="connsiteY96" fmla="*/ 318085 h 419386"/>
                  <a:gd name="connsiteX97" fmla="*/ 530192 w 533723"/>
                  <a:gd name="connsiteY97" fmla="*/ 320320 h 419386"/>
                  <a:gd name="connsiteX98" fmla="*/ 529838 w 533723"/>
                  <a:gd name="connsiteY98" fmla="*/ 321637 h 419386"/>
                  <a:gd name="connsiteX99" fmla="*/ 526883 w 533723"/>
                  <a:gd name="connsiteY99" fmla="*/ 332653 h 419386"/>
                  <a:gd name="connsiteX100" fmla="*/ 524435 w 533723"/>
                  <a:gd name="connsiteY100" fmla="*/ 341781 h 419386"/>
                  <a:gd name="connsiteX101" fmla="*/ 519934 w 533723"/>
                  <a:gd name="connsiteY101" fmla="*/ 353045 h 419386"/>
                  <a:gd name="connsiteX102" fmla="*/ 493458 w 533723"/>
                  <a:gd name="connsiteY102" fmla="*/ 392987 h 419386"/>
                  <a:gd name="connsiteX103" fmla="*/ 421143 w 533723"/>
                  <a:gd name="connsiteY103" fmla="*/ 403455 h 419386"/>
                  <a:gd name="connsiteX104" fmla="*/ 416615 w 533723"/>
                  <a:gd name="connsiteY104" fmla="*/ 401105 h 419386"/>
                  <a:gd name="connsiteX105" fmla="*/ 401019 w 533723"/>
                  <a:gd name="connsiteY105" fmla="*/ 392405 h 419386"/>
                  <a:gd name="connsiteX106" fmla="*/ 382546 w 533723"/>
                  <a:gd name="connsiteY106" fmla="*/ 418083 h 419386"/>
                  <a:gd name="connsiteX107" fmla="*/ 364512 w 533723"/>
                  <a:gd name="connsiteY107" fmla="*/ 414388 h 419386"/>
                  <a:gd name="connsiteX108" fmla="*/ 362260 w 533723"/>
                  <a:gd name="connsiteY108" fmla="*/ 412847 h 419386"/>
                  <a:gd name="connsiteX109" fmla="*/ 359508 w 533723"/>
                  <a:gd name="connsiteY109" fmla="*/ 412530 h 419386"/>
                  <a:gd name="connsiteX110" fmla="*/ 354180 w 533723"/>
                  <a:gd name="connsiteY110" fmla="*/ 409493 h 419386"/>
                  <a:gd name="connsiteX111" fmla="*/ 351263 w 533723"/>
                  <a:gd name="connsiteY111" fmla="*/ 406931 h 419386"/>
                  <a:gd name="connsiteX112" fmla="*/ 351015 w 533723"/>
                  <a:gd name="connsiteY112" fmla="*/ 406713 h 419386"/>
                  <a:gd name="connsiteX113" fmla="*/ 348397 w 533723"/>
                  <a:gd name="connsiteY113" fmla="*/ 403432 h 419386"/>
                  <a:gd name="connsiteX114" fmla="*/ 347445 w 533723"/>
                  <a:gd name="connsiteY114" fmla="*/ 401927 h 419386"/>
                  <a:gd name="connsiteX115" fmla="*/ 345319 w 533723"/>
                  <a:gd name="connsiteY115" fmla="*/ 397536 h 419386"/>
                  <a:gd name="connsiteX116" fmla="*/ 344561 w 533723"/>
                  <a:gd name="connsiteY116" fmla="*/ 395286 h 419386"/>
                  <a:gd name="connsiteX117" fmla="*/ 335650 w 533723"/>
                  <a:gd name="connsiteY117" fmla="*/ 375455 h 419386"/>
                  <a:gd name="connsiteX118" fmla="*/ 322714 w 533723"/>
                  <a:gd name="connsiteY118" fmla="*/ 362234 h 419386"/>
                  <a:gd name="connsiteX119" fmla="*/ 319648 w 533723"/>
                  <a:gd name="connsiteY119" fmla="*/ 358159 h 419386"/>
                  <a:gd name="connsiteX120" fmla="*/ 319434 w 533723"/>
                  <a:gd name="connsiteY120" fmla="*/ 357823 h 419386"/>
                  <a:gd name="connsiteX121" fmla="*/ 314734 w 533723"/>
                  <a:gd name="connsiteY121" fmla="*/ 350455 h 419386"/>
                  <a:gd name="connsiteX122" fmla="*/ 319052 w 533723"/>
                  <a:gd name="connsiteY122" fmla="*/ 316733 h 419386"/>
                  <a:gd name="connsiteX123" fmla="*/ 323333 w 533723"/>
                  <a:gd name="connsiteY123" fmla="*/ 310656 h 419386"/>
                  <a:gd name="connsiteX124" fmla="*/ 320679 w 533723"/>
                  <a:gd name="connsiteY124" fmla="*/ 310837 h 419386"/>
                  <a:gd name="connsiteX125" fmla="*/ 316984 w 533723"/>
                  <a:gd name="connsiteY125" fmla="*/ 309959 h 419386"/>
                  <a:gd name="connsiteX126" fmla="*/ 278469 w 533723"/>
                  <a:gd name="connsiteY126" fmla="*/ 281787 h 419386"/>
                  <a:gd name="connsiteX127" fmla="*/ 279196 w 533723"/>
                  <a:gd name="connsiteY127" fmla="*/ 221148 h 419386"/>
                  <a:gd name="connsiteX128" fmla="*/ 281137 w 533723"/>
                  <a:gd name="connsiteY128" fmla="*/ 212759 h 419386"/>
                  <a:gd name="connsiteX129" fmla="*/ 280817 w 533723"/>
                  <a:gd name="connsiteY129" fmla="*/ 212855 h 419386"/>
                  <a:gd name="connsiteX130" fmla="*/ 280074 w 533723"/>
                  <a:gd name="connsiteY130" fmla="*/ 213019 h 419386"/>
                  <a:gd name="connsiteX131" fmla="*/ 208386 w 533723"/>
                  <a:gd name="connsiteY131" fmla="*/ 230868 h 419386"/>
                  <a:gd name="connsiteX132" fmla="*/ 129358 w 533723"/>
                  <a:gd name="connsiteY132" fmla="*/ 256155 h 419386"/>
                  <a:gd name="connsiteX133" fmla="*/ 76481 w 533723"/>
                  <a:gd name="connsiteY133" fmla="*/ 253856 h 419386"/>
                  <a:gd name="connsiteX134" fmla="*/ 56365 w 533723"/>
                  <a:gd name="connsiteY134" fmla="*/ 204718 h 419386"/>
                  <a:gd name="connsiteX135" fmla="*/ 6361 w 533723"/>
                  <a:gd name="connsiteY135" fmla="*/ 145234 h 419386"/>
                  <a:gd name="connsiteX136" fmla="*/ 4924 w 533723"/>
                  <a:gd name="connsiteY136" fmla="*/ 90923 h 419386"/>
                  <a:gd name="connsiteX137" fmla="*/ 26190 w 533723"/>
                  <a:gd name="connsiteY137" fmla="*/ 62762 h 419386"/>
                  <a:gd name="connsiteX138" fmla="*/ 51192 w 533723"/>
                  <a:gd name="connsiteY138" fmla="*/ 63624 h 419386"/>
                  <a:gd name="connsiteX139" fmla="*/ 92574 w 533723"/>
                  <a:gd name="connsiteY139" fmla="*/ 72245 h 419386"/>
                  <a:gd name="connsiteX140" fmla="*/ 148899 w 533723"/>
                  <a:gd name="connsiteY140" fmla="*/ 97533 h 419386"/>
                  <a:gd name="connsiteX141" fmla="*/ 100620 w 533723"/>
                  <a:gd name="connsiteY141" fmla="*/ 70233 h 419386"/>
                  <a:gd name="connsiteX142" fmla="*/ 68722 w 533723"/>
                  <a:gd name="connsiteY142" fmla="*/ 57877 h 419386"/>
                  <a:gd name="connsiteX143" fmla="*/ 95735 w 533723"/>
                  <a:gd name="connsiteY143" fmla="*/ 33739 h 419386"/>
                  <a:gd name="connsiteX144" fmla="*/ 118438 w 533723"/>
                  <a:gd name="connsiteY144" fmla="*/ 6440 h 419386"/>
                  <a:gd name="connsiteX145" fmla="*/ 135290 w 533723"/>
                  <a:gd name="connsiteY145" fmla="*/ 95 h 419386"/>
                  <a:gd name="connsiteX0" fmla="*/ 528506 w 533723"/>
                  <a:gd name="connsiteY0" fmla="*/ 291832 h 415347"/>
                  <a:gd name="connsiteX1" fmla="*/ 510121 w 533723"/>
                  <a:gd name="connsiteY1" fmla="*/ 300446 h 415347"/>
                  <a:gd name="connsiteX2" fmla="*/ 500354 w 533723"/>
                  <a:gd name="connsiteY2" fmla="*/ 302312 h 415347"/>
                  <a:gd name="connsiteX3" fmla="*/ 489695 w 533723"/>
                  <a:gd name="connsiteY3" fmla="*/ 299159 h 415347"/>
                  <a:gd name="connsiteX4" fmla="*/ 490953 w 533723"/>
                  <a:gd name="connsiteY4" fmla="*/ 302242 h 415347"/>
                  <a:gd name="connsiteX5" fmla="*/ 490826 w 533723"/>
                  <a:gd name="connsiteY5" fmla="*/ 302554 h 415347"/>
                  <a:gd name="connsiteX6" fmla="*/ 497481 w 533723"/>
                  <a:gd name="connsiteY6" fmla="*/ 306188 h 415347"/>
                  <a:gd name="connsiteX7" fmla="*/ 505812 w 533723"/>
                  <a:gd name="connsiteY7" fmla="*/ 305901 h 415347"/>
                  <a:gd name="connsiteX8" fmla="*/ 523335 w 533723"/>
                  <a:gd name="connsiteY8" fmla="*/ 297575 h 415347"/>
                  <a:gd name="connsiteX9" fmla="*/ 528506 w 533723"/>
                  <a:gd name="connsiteY9" fmla="*/ 291832 h 415347"/>
                  <a:gd name="connsiteX10" fmla="*/ 459095 w 533723"/>
                  <a:gd name="connsiteY10" fmla="*/ 214354 h 415347"/>
                  <a:gd name="connsiteX11" fmla="*/ 470185 w 533723"/>
                  <a:gd name="connsiteY11" fmla="*/ 232917 h 415347"/>
                  <a:gd name="connsiteX12" fmla="*/ 469083 w 533723"/>
                  <a:gd name="connsiteY12" fmla="*/ 236710 h 415347"/>
                  <a:gd name="connsiteX13" fmla="*/ 465107 w 533723"/>
                  <a:gd name="connsiteY13" fmla="*/ 228628 h 415347"/>
                  <a:gd name="connsiteX14" fmla="*/ 462850 w 533723"/>
                  <a:gd name="connsiteY14" fmla="*/ 223907 h 415347"/>
                  <a:gd name="connsiteX15" fmla="*/ 461361 w 533723"/>
                  <a:gd name="connsiteY15" fmla="*/ 220754 h 415347"/>
                  <a:gd name="connsiteX16" fmla="*/ 459095 w 533723"/>
                  <a:gd name="connsiteY16" fmla="*/ 214354 h 415347"/>
                  <a:gd name="connsiteX17" fmla="*/ 458921 w 533723"/>
                  <a:gd name="connsiteY17" fmla="*/ 213862 h 415347"/>
                  <a:gd name="connsiteX18" fmla="*/ 459095 w 533723"/>
                  <a:gd name="connsiteY18" fmla="*/ 214354 h 415347"/>
                  <a:gd name="connsiteX19" fmla="*/ 458953 w 533723"/>
                  <a:gd name="connsiteY19" fmla="*/ 214116 h 415347"/>
                  <a:gd name="connsiteX20" fmla="*/ 458921 w 533723"/>
                  <a:gd name="connsiteY20" fmla="*/ 213862 h 415347"/>
                  <a:gd name="connsiteX21" fmla="*/ 231642 w 533723"/>
                  <a:gd name="connsiteY21" fmla="*/ 117869 h 415347"/>
                  <a:gd name="connsiteX22" fmla="*/ 245739 w 533723"/>
                  <a:gd name="connsiteY22" fmla="*/ 119960 h 415347"/>
                  <a:gd name="connsiteX23" fmla="*/ 247479 w 533723"/>
                  <a:gd name="connsiteY23" fmla="*/ 117948 h 415347"/>
                  <a:gd name="connsiteX24" fmla="*/ 241439 w 533723"/>
                  <a:gd name="connsiteY24" fmla="*/ 117896 h 415347"/>
                  <a:gd name="connsiteX25" fmla="*/ 231642 w 533723"/>
                  <a:gd name="connsiteY25" fmla="*/ 117869 h 415347"/>
                  <a:gd name="connsiteX26" fmla="*/ 393966 w 533723"/>
                  <a:gd name="connsiteY26" fmla="*/ 59548 h 415347"/>
                  <a:gd name="connsiteX27" fmla="*/ 394760 w 533723"/>
                  <a:gd name="connsiteY27" fmla="*/ 61641 h 415347"/>
                  <a:gd name="connsiteX28" fmla="*/ 396543 w 533723"/>
                  <a:gd name="connsiteY28" fmla="*/ 61922 h 415347"/>
                  <a:gd name="connsiteX29" fmla="*/ 393966 w 533723"/>
                  <a:gd name="connsiteY29" fmla="*/ 59548 h 415347"/>
                  <a:gd name="connsiteX30" fmla="*/ 135290 w 533723"/>
                  <a:gd name="connsiteY30" fmla="*/ 95 h 415347"/>
                  <a:gd name="connsiteX31" fmla="*/ 142002 w 533723"/>
                  <a:gd name="connsiteY31" fmla="*/ 118 h 415347"/>
                  <a:gd name="connsiteX32" fmla="*/ 184247 w 533723"/>
                  <a:gd name="connsiteY32" fmla="*/ 9888 h 415347"/>
                  <a:gd name="connsiteX33" fmla="*/ 237411 w 533723"/>
                  <a:gd name="connsiteY33" fmla="*/ 31727 h 415347"/>
                  <a:gd name="connsiteX34" fmla="*/ 273908 w 533723"/>
                  <a:gd name="connsiteY34" fmla="*/ 50693 h 415347"/>
                  <a:gd name="connsiteX35" fmla="*/ 300993 w 533723"/>
                  <a:gd name="connsiteY35" fmla="*/ 65241 h 415347"/>
                  <a:gd name="connsiteX36" fmla="*/ 313770 w 533723"/>
                  <a:gd name="connsiteY36" fmla="*/ 72415 h 415347"/>
                  <a:gd name="connsiteX37" fmla="*/ 317458 w 533723"/>
                  <a:gd name="connsiteY37" fmla="*/ 74704 h 415347"/>
                  <a:gd name="connsiteX38" fmla="*/ 321989 w 533723"/>
                  <a:gd name="connsiteY38" fmla="*/ 77518 h 415347"/>
                  <a:gd name="connsiteX39" fmla="*/ 328509 w 533723"/>
                  <a:gd name="connsiteY39" fmla="*/ 81728 h 415347"/>
                  <a:gd name="connsiteX40" fmla="*/ 329950 w 533723"/>
                  <a:gd name="connsiteY40" fmla="*/ 82770 h 415347"/>
                  <a:gd name="connsiteX41" fmla="*/ 322786 w 533723"/>
                  <a:gd name="connsiteY41" fmla="*/ 67357 h 415347"/>
                  <a:gd name="connsiteX42" fmla="*/ 318179 w 533723"/>
                  <a:gd name="connsiteY42" fmla="*/ 66024 h 415347"/>
                  <a:gd name="connsiteX43" fmla="*/ 315145 w 533723"/>
                  <a:gd name="connsiteY43" fmla="*/ 65146 h 415347"/>
                  <a:gd name="connsiteX44" fmla="*/ 315984 w 533723"/>
                  <a:gd name="connsiteY44" fmla="*/ 64282 h 415347"/>
                  <a:gd name="connsiteX45" fmla="*/ 336115 w 533723"/>
                  <a:gd name="connsiteY45" fmla="*/ 45493 h 415347"/>
                  <a:gd name="connsiteX46" fmla="*/ 339135 w 533723"/>
                  <a:gd name="connsiteY46" fmla="*/ 43303 h 415347"/>
                  <a:gd name="connsiteX47" fmla="*/ 344556 w 533723"/>
                  <a:gd name="connsiteY47" fmla="*/ 40552 h 415347"/>
                  <a:gd name="connsiteX48" fmla="*/ 348957 w 533723"/>
                  <a:gd name="connsiteY48" fmla="*/ 38760 h 415347"/>
                  <a:gd name="connsiteX49" fmla="*/ 368054 w 533723"/>
                  <a:gd name="connsiteY49" fmla="*/ 34807 h 415347"/>
                  <a:gd name="connsiteX50" fmla="*/ 382234 w 533723"/>
                  <a:gd name="connsiteY50" fmla="*/ 37952 h 415347"/>
                  <a:gd name="connsiteX51" fmla="*/ 390275 w 533723"/>
                  <a:gd name="connsiteY51" fmla="*/ 35652 h 415347"/>
                  <a:gd name="connsiteX52" fmla="*/ 390840 w 533723"/>
                  <a:gd name="connsiteY52" fmla="*/ 35749 h 415347"/>
                  <a:gd name="connsiteX53" fmla="*/ 391575 w 533723"/>
                  <a:gd name="connsiteY53" fmla="*/ 35894 h 415347"/>
                  <a:gd name="connsiteX54" fmla="*/ 391750 w 533723"/>
                  <a:gd name="connsiteY54" fmla="*/ 35955 h 415347"/>
                  <a:gd name="connsiteX55" fmla="*/ 392615 w 533723"/>
                  <a:gd name="connsiteY55" fmla="*/ 36327 h 415347"/>
                  <a:gd name="connsiteX56" fmla="*/ 393242 w 533723"/>
                  <a:gd name="connsiteY56" fmla="*/ 36306 h 415347"/>
                  <a:gd name="connsiteX57" fmla="*/ 393406 w 533723"/>
                  <a:gd name="connsiteY57" fmla="*/ 36317 h 415347"/>
                  <a:gd name="connsiteX58" fmla="*/ 397383 w 533723"/>
                  <a:gd name="connsiteY58" fmla="*/ 37341 h 415347"/>
                  <a:gd name="connsiteX59" fmla="*/ 408367 w 533723"/>
                  <a:gd name="connsiteY59" fmla="*/ 43126 h 415347"/>
                  <a:gd name="connsiteX60" fmla="*/ 459773 w 533723"/>
                  <a:gd name="connsiteY60" fmla="*/ 126491 h 415347"/>
                  <a:gd name="connsiteX61" fmla="*/ 441680 w 533723"/>
                  <a:gd name="connsiteY61" fmla="*/ 188008 h 415347"/>
                  <a:gd name="connsiteX62" fmla="*/ 442553 w 533723"/>
                  <a:gd name="connsiteY62" fmla="*/ 192637 h 415347"/>
                  <a:gd name="connsiteX63" fmla="*/ 443081 w 533723"/>
                  <a:gd name="connsiteY63" fmla="*/ 194875 h 415347"/>
                  <a:gd name="connsiteX64" fmla="*/ 451172 w 533723"/>
                  <a:gd name="connsiteY64" fmla="*/ 201092 h 415347"/>
                  <a:gd name="connsiteX65" fmla="*/ 458953 w 533723"/>
                  <a:gd name="connsiteY65" fmla="*/ 214116 h 415347"/>
                  <a:gd name="connsiteX66" fmla="*/ 459209 w 533723"/>
                  <a:gd name="connsiteY66" fmla="*/ 216161 h 415347"/>
                  <a:gd name="connsiteX67" fmla="*/ 460971 w 533723"/>
                  <a:gd name="connsiteY67" fmla="*/ 219929 h 415347"/>
                  <a:gd name="connsiteX68" fmla="*/ 461361 w 533723"/>
                  <a:gd name="connsiteY68" fmla="*/ 220754 h 415347"/>
                  <a:gd name="connsiteX69" fmla="*/ 470303 w 533723"/>
                  <a:gd name="connsiteY69" fmla="*/ 246015 h 415347"/>
                  <a:gd name="connsiteX70" fmla="*/ 469962 w 533723"/>
                  <a:gd name="connsiteY70" fmla="*/ 245448 h 415347"/>
                  <a:gd name="connsiteX71" fmla="*/ 468971 w 533723"/>
                  <a:gd name="connsiteY71" fmla="*/ 243799 h 415347"/>
                  <a:gd name="connsiteX72" fmla="*/ 464115 w 533723"/>
                  <a:gd name="connsiteY72" fmla="*/ 240660 h 415347"/>
                  <a:gd name="connsiteX73" fmla="*/ 457544 w 533723"/>
                  <a:gd name="connsiteY73" fmla="*/ 239804 h 415347"/>
                  <a:gd name="connsiteX74" fmla="*/ 463829 w 533723"/>
                  <a:gd name="connsiteY74" fmla="*/ 242086 h 415347"/>
                  <a:gd name="connsiteX75" fmla="*/ 469895 w 533723"/>
                  <a:gd name="connsiteY75" fmla="*/ 245979 h 415347"/>
                  <a:gd name="connsiteX76" fmla="*/ 470460 w 533723"/>
                  <a:gd name="connsiteY76" fmla="*/ 246460 h 415347"/>
                  <a:gd name="connsiteX77" fmla="*/ 485321 w 533723"/>
                  <a:gd name="connsiteY77" fmla="*/ 288443 h 415347"/>
                  <a:gd name="connsiteX78" fmla="*/ 485666 w 533723"/>
                  <a:gd name="connsiteY78" fmla="*/ 289289 h 415347"/>
                  <a:gd name="connsiteX79" fmla="*/ 485392 w 533723"/>
                  <a:gd name="connsiteY79" fmla="*/ 285754 h 415347"/>
                  <a:gd name="connsiteX80" fmla="*/ 485409 w 533723"/>
                  <a:gd name="connsiteY80" fmla="*/ 284254 h 415347"/>
                  <a:gd name="connsiteX81" fmla="*/ 485552 w 533723"/>
                  <a:gd name="connsiteY81" fmla="*/ 284634 h 415347"/>
                  <a:gd name="connsiteX82" fmla="*/ 487684 w 533723"/>
                  <a:gd name="connsiteY82" fmla="*/ 290297 h 415347"/>
                  <a:gd name="connsiteX83" fmla="*/ 487716 w 533723"/>
                  <a:gd name="connsiteY83" fmla="*/ 290381 h 415347"/>
                  <a:gd name="connsiteX84" fmla="*/ 487709 w 533723"/>
                  <a:gd name="connsiteY84" fmla="*/ 290382 h 415347"/>
                  <a:gd name="connsiteX85" fmla="*/ 486150 w 533723"/>
                  <a:gd name="connsiteY85" fmla="*/ 290474 h 415347"/>
                  <a:gd name="connsiteX86" fmla="*/ 488742 w 533723"/>
                  <a:gd name="connsiteY86" fmla="*/ 296824 h 415347"/>
                  <a:gd name="connsiteX87" fmla="*/ 494320 w 533723"/>
                  <a:gd name="connsiteY87" fmla="*/ 295556 h 415347"/>
                  <a:gd name="connsiteX88" fmla="*/ 512429 w 533723"/>
                  <a:gd name="connsiteY88" fmla="*/ 291820 h 415347"/>
                  <a:gd name="connsiteX89" fmla="*/ 519005 w 533723"/>
                  <a:gd name="connsiteY89" fmla="*/ 287509 h 415347"/>
                  <a:gd name="connsiteX90" fmla="*/ 520508 w 533723"/>
                  <a:gd name="connsiteY90" fmla="*/ 286839 h 415347"/>
                  <a:gd name="connsiteX91" fmla="*/ 522424 w 533723"/>
                  <a:gd name="connsiteY91" fmla="*/ 286502 h 415347"/>
                  <a:gd name="connsiteX92" fmla="*/ 523091 w 533723"/>
                  <a:gd name="connsiteY92" fmla="*/ 286385 h 415347"/>
                  <a:gd name="connsiteX93" fmla="*/ 525364 w 533723"/>
                  <a:gd name="connsiteY93" fmla="*/ 286646 h 415347"/>
                  <a:gd name="connsiteX94" fmla="*/ 533413 w 533723"/>
                  <a:gd name="connsiteY94" fmla="*/ 297855 h 415347"/>
                  <a:gd name="connsiteX95" fmla="*/ 530826 w 533723"/>
                  <a:gd name="connsiteY95" fmla="*/ 316249 h 415347"/>
                  <a:gd name="connsiteX96" fmla="*/ 530588 w 533723"/>
                  <a:gd name="connsiteY96" fmla="*/ 318085 h 415347"/>
                  <a:gd name="connsiteX97" fmla="*/ 530192 w 533723"/>
                  <a:gd name="connsiteY97" fmla="*/ 320320 h 415347"/>
                  <a:gd name="connsiteX98" fmla="*/ 529838 w 533723"/>
                  <a:gd name="connsiteY98" fmla="*/ 321637 h 415347"/>
                  <a:gd name="connsiteX99" fmla="*/ 526883 w 533723"/>
                  <a:gd name="connsiteY99" fmla="*/ 332653 h 415347"/>
                  <a:gd name="connsiteX100" fmla="*/ 524435 w 533723"/>
                  <a:gd name="connsiteY100" fmla="*/ 341781 h 415347"/>
                  <a:gd name="connsiteX101" fmla="*/ 519934 w 533723"/>
                  <a:gd name="connsiteY101" fmla="*/ 353045 h 415347"/>
                  <a:gd name="connsiteX102" fmla="*/ 493458 w 533723"/>
                  <a:gd name="connsiteY102" fmla="*/ 392987 h 415347"/>
                  <a:gd name="connsiteX103" fmla="*/ 421143 w 533723"/>
                  <a:gd name="connsiteY103" fmla="*/ 403455 h 415347"/>
                  <a:gd name="connsiteX104" fmla="*/ 416615 w 533723"/>
                  <a:gd name="connsiteY104" fmla="*/ 401105 h 415347"/>
                  <a:gd name="connsiteX105" fmla="*/ 401019 w 533723"/>
                  <a:gd name="connsiteY105" fmla="*/ 392405 h 415347"/>
                  <a:gd name="connsiteX106" fmla="*/ 381629 w 533723"/>
                  <a:gd name="connsiteY106" fmla="*/ 410745 h 415347"/>
                  <a:gd name="connsiteX107" fmla="*/ 364512 w 533723"/>
                  <a:gd name="connsiteY107" fmla="*/ 414388 h 415347"/>
                  <a:gd name="connsiteX108" fmla="*/ 362260 w 533723"/>
                  <a:gd name="connsiteY108" fmla="*/ 412847 h 415347"/>
                  <a:gd name="connsiteX109" fmla="*/ 359508 w 533723"/>
                  <a:gd name="connsiteY109" fmla="*/ 412530 h 415347"/>
                  <a:gd name="connsiteX110" fmla="*/ 354180 w 533723"/>
                  <a:gd name="connsiteY110" fmla="*/ 409493 h 415347"/>
                  <a:gd name="connsiteX111" fmla="*/ 351263 w 533723"/>
                  <a:gd name="connsiteY111" fmla="*/ 406931 h 415347"/>
                  <a:gd name="connsiteX112" fmla="*/ 351015 w 533723"/>
                  <a:gd name="connsiteY112" fmla="*/ 406713 h 415347"/>
                  <a:gd name="connsiteX113" fmla="*/ 348397 w 533723"/>
                  <a:gd name="connsiteY113" fmla="*/ 403432 h 415347"/>
                  <a:gd name="connsiteX114" fmla="*/ 347445 w 533723"/>
                  <a:gd name="connsiteY114" fmla="*/ 401927 h 415347"/>
                  <a:gd name="connsiteX115" fmla="*/ 345319 w 533723"/>
                  <a:gd name="connsiteY115" fmla="*/ 397536 h 415347"/>
                  <a:gd name="connsiteX116" fmla="*/ 344561 w 533723"/>
                  <a:gd name="connsiteY116" fmla="*/ 395286 h 415347"/>
                  <a:gd name="connsiteX117" fmla="*/ 335650 w 533723"/>
                  <a:gd name="connsiteY117" fmla="*/ 375455 h 415347"/>
                  <a:gd name="connsiteX118" fmla="*/ 322714 w 533723"/>
                  <a:gd name="connsiteY118" fmla="*/ 362234 h 415347"/>
                  <a:gd name="connsiteX119" fmla="*/ 319648 w 533723"/>
                  <a:gd name="connsiteY119" fmla="*/ 358159 h 415347"/>
                  <a:gd name="connsiteX120" fmla="*/ 319434 w 533723"/>
                  <a:gd name="connsiteY120" fmla="*/ 357823 h 415347"/>
                  <a:gd name="connsiteX121" fmla="*/ 314734 w 533723"/>
                  <a:gd name="connsiteY121" fmla="*/ 350455 h 415347"/>
                  <a:gd name="connsiteX122" fmla="*/ 319052 w 533723"/>
                  <a:gd name="connsiteY122" fmla="*/ 316733 h 415347"/>
                  <a:gd name="connsiteX123" fmla="*/ 323333 w 533723"/>
                  <a:gd name="connsiteY123" fmla="*/ 310656 h 415347"/>
                  <a:gd name="connsiteX124" fmla="*/ 320679 w 533723"/>
                  <a:gd name="connsiteY124" fmla="*/ 310837 h 415347"/>
                  <a:gd name="connsiteX125" fmla="*/ 316984 w 533723"/>
                  <a:gd name="connsiteY125" fmla="*/ 309959 h 415347"/>
                  <a:gd name="connsiteX126" fmla="*/ 278469 w 533723"/>
                  <a:gd name="connsiteY126" fmla="*/ 281787 h 415347"/>
                  <a:gd name="connsiteX127" fmla="*/ 279196 w 533723"/>
                  <a:gd name="connsiteY127" fmla="*/ 221148 h 415347"/>
                  <a:gd name="connsiteX128" fmla="*/ 281137 w 533723"/>
                  <a:gd name="connsiteY128" fmla="*/ 212759 h 415347"/>
                  <a:gd name="connsiteX129" fmla="*/ 280817 w 533723"/>
                  <a:gd name="connsiteY129" fmla="*/ 212855 h 415347"/>
                  <a:gd name="connsiteX130" fmla="*/ 280074 w 533723"/>
                  <a:gd name="connsiteY130" fmla="*/ 213019 h 415347"/>
                  <a:gd name="connsiteX131" fmla="*/ 208386 w 533723"/>
                  <a:gd name="connsiteY131" fmla="*/ 230868 h 415347"/>
                  <a:gd name="connsiteX132" fmla="*/ 129358 w 533723"/>
                  <a:gd name="connsiteY132" fmla="*/ 256155 h 415347"/>
                  <a:gd name="connsiteX133" fmla="*/ 76481 w 533723"/>
                  <a:gd name="connsiteY133" fmla="*/ 253856 h 415347"/>
                  <a:gd name="connsiteX134" fmla="*/ 56365 w 533723"/>
                  <a:gd name="connsiteY134" fmla="*/ 204718 h 415347"/>
                  <a:gd name="connsiteX135" fmla="*/ 6361 w 533723"/>
                  <a:gd name="connsiteY135" fmla="*/ 145234 h 415347"/>
                  <a:gd name="connsiteX136" fmla="*/ 4924 w 533723"/>
                  <a:gd name="connsiteY136" fmla="*/ 90923 h 415347"/>
                  <a:gd name="connsiteX137" fmla="*/ 26190 w 533723"/>
                  <a:gd name="connsiteY137" fmla="*/ 62762 h 415347"/>
                  <a:gd name="connsiteX138" fmla="*/ 51192 w 533723"/>
                  <a:gd name="connsiteY138" fmla="*/ 63624 h 415347"/>
                  <a:gd name="connsiteX139" fmla="*/ 92574 w 533723"/>
                  <a:gd name="connsiteY139" fmla="*/ 72245 h 415347"/>
                  <a:gd name="connsiteX140" fmla="*/ 148899 w 533723"/>
                  <a:gd name="connsiteY140" fmla="*/ 97533 h 415347"/>
                  <a:gd name="connsiteX141" fmla="*/ 100620 w 533723"/>
                  <a:gd name="connsiteY141" fmla="*/ 70233 h 415347"/>
                  <a:gd name="connsiteX142" fmla="*/ 68722 w 533723"/>
                  <a:gd name="connsiteY142" fmla="*/ 57877 h 415347"/>
                  <a:gd name="connsiteX143" fmla="*/ 95735 w 533723"/>
                  <a:gd name="connsiteY143" fmla="*/ 33739 h 415347"/>
                  <a:gd name="connsiteX144" fmla="*/ 118438 w 533723"/>
                  <a:gd name="connsiteY144" fmla="*/ 6440 h 415347"/>
                  <a:gd name="connsiteX145" fmla="*/ 135290 w 533723"/>
                  <a:gd name="connsiteY145" fmla="*/ 95 h 415347"/>
                  <a:gd name="connsiteX0" fmla="*/ 528506 w 533723"/>
                  <a:gd name="connsiteY0" fmla="*/ 291832 h 415322"/>
                  <a:gd name="connsiteX1" fmla="*/ 510121 w 533723"/>
                  <a:gd name="connsiteY1" fmla="*/ 300446 h 415322"/>
                  <a:gd name="connsiteX2" fmla="*/ 500354 w 533723"/>
                  <a:gd name="connsiteY2" fmla="*/ 302312 h 415322"/>
                  <a:gd name="connsiteX3" fmla="*/ 489695 w 533723"/>
                  <a:gd name="connsiteY3" fmla="*/ 299159 h 415322"/>
                  <a:gd name="connsiteX4" fmla="*/ 490953 w 533723"/>
                  <a:gd name="connsiteY4" fmla="*/ 302242 h 415322"/>
                  <a:gd name="connsiteX5" fmla="*/ 490826 w 533723"/>
                  <a:gd name="connsiteY5" fmla="*/ 302554 h 415322"/>
                  <a:gd name="connsiteX6" fmla="*/ 497481 w 533723"/>
                  <a:gd name="connsiteY6" fmla="*/ 306188 h 415322"/>
                  <a:gd name="connsiteX7" fmla="*/ 505812 w 533723"/>
                  <a:gd name="connsiteY7" fmla="*/ 305901 h 415322"/>
                  <a:gd name="connsiteX8" fmla="*/ 523335 w 533723"/>
                  <a:gd name="connsiteY8" fmla="*/ 297575 h 415322"/>
                  <a:gd name="connsiteX9" fmla="*/ 528506 w 533723"/>
                  <a:gd name="connsiteY9" fmla="*/ 291832 h 415322"/>
                  <a:gd name="connsiteX10" fmla="*/ 459095 w 533723"/>
                  <a:gd name="connsiteY10" fmla="*/ 214354 h 415322"/>
                  <a:gd name="connsiteX11" fmla="*/ 470185 w 533723"/>
                  <a:gd name="connsiteY11" fmla="*/ 232917 h 415322"/>
                  <a:gd name="connsiteX12" fmla="*/ 469083 w 533723"/>
                  <a:gd name="connsiteY12" fmla="*/ 236710 h 415322"/>
                  <a:gd name="connsiteX13" fmla="*/ 465107 w 533723"/>
                  <a:gd name="connsiteY13" fmla="*/ 228628 h 415322"/>
                  <a:gd name="connsiteX14" fmla="*/ 462850 w 533723"/>
                  <a:gd name="connsiteY14" fmla="*/ 223907 h 415322"/>
                  <a:gd name="connsiteX15" fmla="*/ 461361 w 533723"/>
                  <a:gd name="connsiteY15" fmla="*/ 220754 h 415322"/>
                  <a:gd name="connsiteX16" fmla="*/ 459095 w 533723"/>
                  <a:gd name="connsiteY16" fmla="*/ 214354 h 415322"/>
                  <a:gd name="connsiteX17" fmla="*/ 458921 w 533723"/>
                  <a:gd name="connsiteY17" fmla="*/ 213862 h 415322"/>
                  <a:gd name="connsiteX18" fmla="*/ 459095 w 533723"/>
                  <a:gd name="connsiteY18" fmla="*/ 214354 h 415322"/>
                  <a:gd name="connsiteX19" fmla="*/ 458953 w 533723"/>
                  <a:gd name="connsiteY19" fmla="*/ 214116 h 415322"/>
                  <a:gd name="connsiteX20" fmla="*/ 458921 w 533723"/>
                  <a:gd name="connsiteY20" fmla="*/ 213862 h 415322"/>
                  <a:gd name="connsiteX21" fmla="*/ 231642 w 533723"/>
                  <a:gd name="connsiteY21" fmla="*/ 117869 h 415322"/>
                  <a:gd name="connsiteX22" fmla="*/ 245739 w 533723"/>
                  <a:gd name="connsiteY22" fmla="*/ 119960 h 415322"/>
                  <a:gd name="connsiteX23" fmla="*/ 247479 w 533723"/>
                  <a:gd name="connsiteY23" fmla="*/ 117948 h 415322"/>
                  <a:gd name="connsiteX24" fmla="*/ 241439 w 533723"/>
                  <a:gd name="connsiteY24" fmla="*/ 117896 h 415322"/>
                  <a:gd name="connsiteX25" fmla="*/ 231642 w 533723"/>
                  <a:gd name="connsiteY25" fmla="*/ 117869 h 415322"/>
                  <a:gd name="connsiteX26" fmla="*/ 393966 w 533723"/>
                  <a:gd name="connsiteY26" fmla="*/ 59548 h 415322"/>
                  <a:gd name="connsiteX27" fmla="*/ 394760 w 533723"/>
                  <a:gd name="connsiteY27" fmla="*/ 61641 h 415322"/>
                  <a:gd name="connsiteX28" fmla="*/ 396543 w 533723"/>
                  <a:gd name="connsiteY28" fmla="*/ 61922 h 415322"/>
                  <a:gd name="connsiteX29" fmla="*/ 393966 w 533723"/>
                  <a:gd name="connsiteY29" fmla="*/ 59548 h 415322"/>
                  <a:gd name="connsiteX30" fmla="*/ 135290 w 533723"/>
                  <a:gd name="connsiteY30" fmla="*/ 95 h 415322"/>
                  <a:gd name="connsiteX31" fmla="*/ 142002 w 533723"/>
                  <a:gd name="connsiteY31" fmla="*/ 118 h 415322"/>
                  <a:gd name="connsiteX32" fmla="*/ 184247 w 533723"/>
                  <a:gd name="connsiteY32" fmla="*/ 9888 h 415322"/>
                  <a:gd name="connsiteX33" fmla="*/ 237411 w 533723"/>
                  <a:gd name="connsiteY33" fmla="*/ 31727 h 415322"/>
                  <a:gd name="connsiteX34" fmla="*/ 273908 w 533723"/>
                  <a:gd name="connsiteY34" fmla="*/ 50693 h 415322"/>
                  <a:gd name="connsiteX35" fmla="*/ 300993 w 533723"/>
                  <a:gd name="connsiteY35" fmla="*/ 65241 h 415322"/>
                  <a:gd name="connsiteX36" fmla="*/ 313770 w 533723"/>
                  <a:gd name="connsiteY36" fmla="*/ 72415 h 415322"/>
                  <a:gd name="connsiteX37" fmla="*/ 317458 w 533723"/>
                  <a:gd name="connsiteY37" fmla="*/ 74704 h 415322"/>
                  <a:gd name="connsiteX38" fmla="*/ 321989 w 533723"/>
                  <a:gd name="connsiteY38" fmla="*/ 77518 h 415322"/>
                  <a:gd name="connsiteX39" fmla="*/ 328509 w 533723"/>
                  <a:gd name="connsiteY39" fmla="*/ 81728 h 415322"/>
                  <a:gd name="connsiteX40" fmla="*/ 329950 w 533723"/>
                  <a:gd name="connsiteY40" fmla="*/ 82770 h 415322"/>
                  <a:gd name="connsiteX41" fmla="*/ 322786 w 533723"/>
                  <a:gd name="connsiteY41" fmla="*/ 67357 h 415322"/>
                  <a:gd name="connsiteX42" fmla="*/ 318179 w 533723"/>
                  <a:gd name="connsiteY42" fmla="*/ 66024 h 415322"/>
                  <a:gd name="connsiteX43" fmla="*/ 315145 w 533723"/>
                  <a:gd name="connsiteY43" fmla="*/ 65146 h 415322"/>
                  <a:gd name="connsiteX44" fmla="*/ 315984 w 533723"/>
                  <a:gd name="connsiteY44" fmla="*/ 64282 h 415322"/>
                  <a:gd name="connsiteX45" fmla="*/ 336115 w 533723"/>
                  <a:gd name="connsiteY45" fmla="*/ 45493 h 415322"/>
                  <a:gd name="connsiteX46" fmla="*/ 339135 w 533723"/>
                  <a:gd name="connsiteY46" fmla="*/ 43303 h 415322"/>
                  <a:gd name="connsiteX47" fmla="*/ 344556 w 533723"/>
                  <a:gd name="connsiteY47" fmla="*/ 40552 h 415322"/>
                  <a:gd name="connsiteX48" fmla="*/ 348957 w 533723"/>
                  <a:gd name="connsiteY48" fmla="*/ 38760 h 415322"/>
                  <a:gd name="connsiteX49" fmla="*/ 368054 w 533723"/>
                  <a:gd name="connsiteY49" fmla="*/ 34807 h 415322"/>
                  <a:gd name="connsiteX50" fmla="*/ 382234 w 533723"/>
                  <a:gd name="connsiteY50" fmla="*/ 37952 h 415322"/>
                  <a:gd name="connsiteX51" fmla="*/ 390275 w 533723"/>
                  <a:gd name="connsiteY51" fmla="*/ 35652 h 415322"/>
                  <a:gd name="connsiteX52" fmla="*/ 390840 w 533723"/>
                  <a:gd name="connsiteY52" fmla="*/ 35749 h 415322"/>
                  <a:gd name="connsiteX53" fmla="*/ 391575 w 533723"/>
                  <a:gd name="connsiteY53" fmla="*/ 35894 h 415322"/>
                  <a:gd name="connsiteX54" fmla="*/ 391750 w 533723"/>
                  <a:gd name="connsiteY54" fmla="*/ 35955 h 415322"/>
                  <a:gd name="connsiteX55" fmla="*/ 392615 w 533723"/>
                  <a:gd name="connsiteY55" fmla="*/ 36327 h 415322"/>
                  <a:gd name="connsiteX56" fmla="*/ 393242 w 533723"/>
                  <a:gd name="connsiteY56" fmla="*/ 36306 h 415322"/>
                  <a:gd name="connsiteX57" fmla="*/ 393406 w 533723"/>
                  <a:gd name="connsiteY57" fmla="*/ 36317 h 415322"/>
                  <a:gd name="connsiteX58" fmla="*/ 397383 w 533723"/>
                  <a:gd name="connsiteY58" fmla="*/ 37341 h 415322"/>
                  <a:gd name="connsiteX59" fmla="*/ 408367 w 533723"/>
                  <a:gd name="connsiteY59" fmla="*/ 43126 h 415322"/>
                  <a:gd name="connsiteX60" fmla="*/ 459773 w 533723"/>
                  <a:gd name="connsiteY60" fmla="*/ 126491 h 415322"/>
                  <a:gd name="connsiteX61" fmla="*/ 441680 w 533723"/>
                  <a:gd name="connsiteY61" fmla="*/ 188008 h 415322"/>
                  <a:gd name="connsiteX62" fmla="*/ 442553 w 533723"/>
                  <a:gd name="connsiteY62" fmla="*/ 192637 h 415322"/>
                  <a:gd name="connsiteX63" fmla="*/ 443081 w 533723"/>
                  <a:gd name="connsiteY63" fmla="*/ 194875 h 415322"/>
                  <a:gd name="connsiteX64" fmla="*/ 451172 w 533723"/>
                  <a:gd name="connsiteY64" fmla="*/ 201092 h 415322"/>
                  <a:gd name="connsiteX65" fmla="*/ 458953 w 533723"/>
                  <a:gd name="connsiteY65" fmla="*/ 214116 h 415322"/>
                  <a:gd name="connsiteX66" fmla="*/ 459209 w 533723"/>
                  <a:gd name="connsiteY66" fmla="*/ 216161 h 415322"/>
                  <a:gd name="connsiteX67" fmla="*/ 460971 w 533723"/>
                  <a:gd name="connsiteY67" fmla="*/ 219929 h 415322"/>
                  <a:gd name="connsiteX68" fmla="*/ 461361 w 533723"/>
                  <a:gd name="connsiteY68" fmla="*/ 220754 h 415322"/>
                  <a:gd name="connsiteX69" fmla="*/ 470303 w 533723"/>
                  <a:gd name="connsiteY69" fmla="*/ 246015 h 415322"/>
                  <a:gd name="connsiteX70" fmla="*/ 469962 w 533723"/>
                  <a:gd name="connsiteY70" fmla="*/ 245448 h 415322"/>
                  <a:gd name="connsiteX71" fmla="*/ 468971 w 533723"/>
                  <a:gd name="connsiteY71" fmla="*/ 243799 h 415322"/>
                  <a:gd name="connsiteX72" fmla="*/ 464115 w 533723"/>
                  <a:gd name="connsiteY72" fmla="*/ 240660 h 415322"/>
                  <a:gd name="connsiteX73" fmla="*/ 457544 w 533723"/>
                  <a:gd name="connsiteY73" fmla="*/ 239804 h 415322"/>
                  <a:gd name="connsiteX74" fmla="*/ 463829 w 533723"/>
                  <a:gd name="connsiteY74" fmla="*/ 242086 h 415322"/>
                  <a:gd name="connsiteX75" fmla="*/ 469895 w 533723"/>
                  <a:gd name="connsiteY75" fmla="*/ 245979 h 415322"/>
                  <a:gd name="connsiteX76" fmla="*/ 470460 w 533723"/>
                  <a:gd name="connsiteY76" fmla="*/ 246460 h 415322"/>
                  <a:gd name="connsiteX77" fmla="*/ 485321 w 533723"/>
                  <a:gd name="connsiteY77" fmla="*/ 288443 h 415322"/>
                  <a:gd name="connsiteX78" fmla="*/ 485666 w 533723"/>
                  <a:gd name="connsiteY78" fmla="*/ 289289 h 415322"/>
                  <a:gd name="connsiteX79" fmla="*/ 485392 w 533723"/>
                  <a:gd name="connsiteY79" fmla="*/ 285754 h 415322"/>
                  <a:gd name="connsiteX80" fmla="*/ 485409 w 533723"/>
                  <a:gd name="connsiteY80" fmla="*/ 284254 h 415322"/>
                  <a:gd name="connsiteX81" fmla="*/ 485552 w 533723"/>
                  <a:gd name="connsiteY81" fmla="*/ 284634 h 415322"/>
                  <a:gd name="connsiteX82" fmla="*/ 487684 w 533723"/>
                  <a:gd name="connsiteY82" fmla="*/ 290297 h 415322"/>
                  <a:gd name="connsiteX83" fmla="*/ 487716 w 533723"/>
                  <a:gd name="connsiteY83" fmla="*/ 290381 h 415322"/>
                  <a:gd name="connsiteX84" fmla="*/ 487709 w 533723"/>
                  <a:gd name="connsiteY84" fmla="*/ 290382 h 415322"/>
                  <a:gd name="connsiteX85" fmla="*/ 486150 w 533723"/>
                  <a:gd name="connsiteY85" fmla="*/ 290474 h 415322"/>
                  <a:gd name="connsiteX86" fmla="*/ 488742 w 533723"/>
                  <a:gd name="connsiteY86" fmla="*/ 296824 h 415322"/>
                  <a:gd name="connsiteX87" fmla="*/ 494320 w 533723"/>
                  <a:gd name="connsiteY87" fmla="*/ 295556 h 415322"/>
                  <a:gd name="connsiteX88" fmla="*/ 512429 w 533723"/>
                  <a:gd name="connsiteY88" fmla="*/ 291820 h 415322"/>
                  <a:gd name="connsiteX89" fmla="*/ 519005 w 533723"/>
                  <a:gd name="connsiteY89" fmla="*/ 287509 h 415322"/>
                  <a:gd name="connsiteX90" fmla="*/ 520508 w 533723"/>
                  <a:gd name="connsiteY90" fmla="*/ 286839 h 415322"/>
                  <a:gd name="connsiteX91" fmla="*/ 522424 w 533723"/>
                  <a:gd name="connsiteY91" fmla="*/ 286502 h 415322"/>
                  <a:gd name="connsiteX92" fmla="*/ 523091 w 533723"/>
                  <a:gd name="connsiteY92" fmla="*/ 286385 h 415322"/>
                  <a:gd name="connsiteX93" fmla="*/ 525364 w 533723"/>
                  <a:gd name="connsiteY93" fmla="*/ 286646 h 415322"/>
                  <a:gd name="connsiteX94" fmla="*/ 533413 w 533723"/>
                  <a:gd name="connsiteY94" fmla="*/ 297855 h 415322"/>
                  <a:gd name="connsiteX95" fmla="*/ 530826 w 533723"/>
                  <a:gd name="connsiteY95" fmla="*/ 316249 h 415322"/>
                  <a:gd name="connsiteX96" fmla="*/ 530588 w 533723"/>
                  <a:gd name="connsiteY96" fmla="*/ 318085 h 415322"/>
                  <a:gd name="connsiteX97" fmla="*/ 530192 w 533723"/>
                  <a:gd name="connsiteY97" fmla="*/ 320320 h 415322"/>
                  <a:gd name="connsiteX98" fmla="*/ 529838 w 533723"/>
                  <a:gd name="connsiteY98" fmla="*/ 321637 h 415322"/>
                  <a:gd name="connsiteX99" fmla="*/ 526883 w 533723"/>
                  <a:gd name="connsiteY99" fmla="*/ 332653 h 415322"/>
                  <a:gd name="connsiteX100" fmla="*/ 524435 w 533723"/>
                  <a:gd name="connsiteY100" fmla="*/ 341781 h 415322"/>
                  <a:gd name="connsiteX101" fmla="*/ 519934 w 533723"/>
                  <a:gd name="connsiteY101" fmla="*/ 353045 h 415322"/>
                  <a:gd name="connsiteX102" fmla="*/ 493458 w 533723"/>
                  <a:gd name="connsiteY102" fmla="*/ 392987 h 415322"/>
                  <a:gd name="connsiteX103" fmla="*/ 421143 w 533723"/>
                  <a:gd name="connsiteY103" fmla="*/ 403455 h 415322"/>
                  <a:gd name="connsiteX104" fmla="*/ 416615 w 533723"/>
                  <a:gd name="connsiteY104" fmla="*/ 401105 h 415322"/>
                  <a:gd name="connsiteX105" fmla="*/ 403771 w 533723"/>
                  <a:gd name="connsiteY105" fmla="*/ 393322 h 415322"/>
                  <a:gd name="connsiteX106" fmla="*/ 381629 w 533723"/>
                  <a:gd name="connsiteY106" fmla="*/ 410745 h 415322"/>
                  <a:gd name="connsiteX107" fmla="*/ 364512 w 533723"/>
                  <a:gd name="connsiteY107" fmla="*/ 414388 h 415322"/>
                  <a:gd name="connsiteX108" fmla="*/ 362260 w 533723"/>
                  <a:gd name="connsiteY108" fmla="*/ 412847 h 415322"/>
                  <a:gd name="connsiteX109" fmla="*/ 359508 w 533723"/>
                  <a:gd name="connsiteY109" fmla="*/ 412530 h 415322"/>
                  <a:gd name="connsiteX110" fmla="*/ 354180 w 533723"/>
                  <a:gd name="connsiteY110" fmla="*/ 409493 h 415322"/>
                  <a:gd name="connsiteX111" fmla="*/ 351263 w 533723"/>
                  <a:gd name="connsiteY111" fmla="*/ 406931 h 415322"/>
                  <a:gd name="connsiteX112" fmla="*/ 351015 w 533723"/>
                  <a:gd name="connsiteY112" fmla="*/ 406713 h 415322"/>
                  <a:gd name="connsiteX113" fmla="*/ 348397 w 533723"/>
                  <a:gd name="connsiteY113" fmla="*/ 403432 h 415322"/>
                  <a:gd name="connsiteX114" fmla="*/ 347445 w 533723"/>
                  <a:gd name="connsiteY114" fmla="*/ 401927 h 415322"/>
                  <a:gd name="connsiteX115" fmla="*/ 345319 w 533723"/>
                  <a:gd name="connsiteY115" fmla="*/ 397536 h 415322"/>
                  <a:gd name="connsiteX116" fmla="*/ 344561 w 533723"/>
                  <a:gd name="connsiteY116" fmla="*/ 395286 h 415322"/>
                  <a:gd name="connsiteX117" fmla="*/ 335650 w 533723"/>
                  <a:gd name="connsiteY117" fmla="*/ 375455 h 415322"/>
                  <a:gd name="connsiteX118" fmla="*/ 322714 w 533723"/>
                  <a:gd name="connsiteY118" fmla="*/ 362234 h 415322"/>
                  <a:gd name="connsiteX119" fmla="*/ 319648 w 533723"/>
                  <a:gd name="connsiteY119" fmla="*/ 358159 h 415322"/>
                  <a:gd name="connsiteX120" fmla="*/ 319434 w 533723"/>
                  <a:gd name="connsiteY120" fmla="*/ 357823 h 415322"/>
                  <a:gd name="connsiteX121" fmla="*/ 314734 w 533723"/>
                  <a:gd name="connsiteY121" fmla="*/ 350455 h 415322"/>
                  <a:gd name="connsiteX122" fmla="*/ 319052 w 533723"/>
                  <a:gd name="connsiteY122" fmla="*/ 316733 h 415322"/>
                  <a:gd name="connsiteX123" fmla="*/ 323333 w 533723"/>
                  <a:gd name="connsiteY123" fmla="*/ 310656 h 415322"/>
                  <a:gd name="connsiteX124" fmla="*/ 320679 w 533723"/>
                  <a:gd name="connsiteY124" fmla="*/ 310837 h 415322"/>
                  <a:gd name="connsiteX125" fmla="*/ 316984 w 533723"/>
                  <a:gd name="connsiteY125" fmla="*/ 309959 h 415322"/>
                  <a:gd name="connsiteX126" fmla="*/ 278469 w 533723"/>
                  <a:gd name="connsiteY126" fmla="*/ 281787 h 415322"/>
                  <a:gd name="connsiteX127" fmla="*/ 279196 w 533723"/>
                  <a:gd name="connsiteY127" fmla="*/ 221148 h 415322"/>
                  <a:gd name="connsiteX128" fmla="*/ 281137 w 533723"/>
                  <a:gd name="connsiteY128" fmla="*/ 212759 h 415322"/>
                  <a:gd name="connsiteX129" fmla="*/ 280817 w 533723"/>
                  <a:gd name="connsiteY129" fmla="*/ 212855 h 415322"/>
                  <a:gd name="connsiteX130" fmla="*/ 280074 w 533723"/>
                  <a:gd name="connsiteY130" fmla="*/ 213019 h 415322"/>
                  <a:gd name="connsiteX131" fmla="*/ 208386 w 533723"/>
                  <a:gd name="connsiteY131" fmla="*/ 230868 h 415322"/>
                  <a:gd name="connsiteX132" fmla="*/ 129358 w 533723"/>
                  <a:gd name="connsiteY132" fmla="*/ 256155 h 415322"/>
                  <a:gd name="connsiteX133" fmla="*/ 76481 w 533723"/>
                  <a:gd name="connsiteY133" fmla="*/ 253856 h 415322"/>
                  <a:gd name="connsiteX134" fmla="*/ 56365 w 533723"/>
                  <a:gd name="connsiteY134" fmla="*/ 204718 h 415322"/>
                  <a:gd name="connsiteX135" fmla="*/ 6361 w 533723"/>
                  <a:gd name="connsiteY135" fmla="*/ 145234 h 415322"/>
                  <a:gd name="connsiteX136" fmla="*/ 4924 w 533723"/>
                  <a:gd name="connsiteY136" fmla="*/ 90923 h 415322"/>
                  <a:gd name="connsiteX137" fmla="*/ 26190 w 533723"/>
                  <a:gd name="connsiteY137" fmla="*/ 62762 h 415322"/>
                  <a:gd name="connsiteX138" fmla="*/ 51192 w 533723"/>
                  <a:gd name="connsiteY138" fmla="*/ 63624 h 415322"/>
                  <a:gd name="connsiteX139" fmla="*/ 92574 w 533723"/>
                  <a:gd name="connsiteY139" fmla="*/ 72245 h 415322"/>
                  <a:gd name="connsiteX140" fmla="*/ 148899 w 533723"/>
                  <a:gd name="connsiteY140" fmla="*/ 97533 h 415322"/>
                  <a:gd name="connsiteX141" fmla="*/ 100620 w 533723"/>
                  <a:gd name="connsiteY141" fmla="*/ 70233 h 415322"/>
                  <a:gd name="connsiteX142" fmla="*/ 68722 w 533723"/>
                  <a:gd name="connsiteY142" fmla="*/ 57877 h 415322"/>
                  <a:gd name="connsiteX143" fmla="*/ 95735 w 533723"/>
                  <a:gd name="connsiteY143" fmla="*/ 33739 h 415322"/>
                  <a:gd name="connsiteX144" fmla="*/ 118438 w 533723"/>
                  <a:gd name="connsiteY144" fmla="*/ 6440 h 415322"/>
                  <a:gd name="connsiteX145" fmla="*/ 135290 w 533723"/>
                  <a:gd name="connsiteY145" fmla="*/ 95 h 415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533723" h="415322">
                    <a:moveTo>
                      <a:pt x="528506" y="291832"/>
                    </a:moveTo>
                    <a:cubicBezTo>
                      <a:pt x="528506" y="291832"/>
                      <a:pt x="516154" y="299584"/>
                      <a:pt x="510121" y="300446"/>
                    </a:cubicBezTo>
                    <a:cubicBezTo>
                      <a:pt x="507105" y="300877"/>
                      <a:pt x="504089" y="302097"/>
                      <a:pt x="500354" y="302312"/>
                    </a:cubicBezTo>
                    <a:lnTo>
                      <a:pt x="489695" y="299159"/>
                    </a:lnTo>
                    <a:lnTo>
                      <a:pt x="490953" y="302242"/>
                    </a:lnTo>
                    <a:cubicBezTo>
                      <a:pt x="490911" y="302346"/>
                      <a:pt x="490868" y="302450"/>
                      <a:pt x="490826" y="302554"/>
                    </a:cubicBezTo>
                    <a:lnTo>
                      <a:pt x="497481" y="306188"/>
                    </a:lnTo>
                    <a:cubicBezTo>
                      <a:pt x="502940" y="306475"/>
                      <a:pt x="505812" y="305901"/>
                      <a:pt x="505812" y="305901"/>
                    </a:cubicBezTo>
                    <a:cubicBezTo>
                      <a:pt x="517015" y="304465"/>
                      <a:pt x="521899" y="299010"/>
                      <a:pt x="523335" y="297575"/>
                    </a:cubicBezTo>
                    <a:cubicBezTo>
                      <a:pt x="525059" y="296426"/>
                      <a:pt x="528506" y="291832"/>
                      <a:pt x="528506" y="291832"/>
                    </a:cubicBezTo>
                    <a:close/>
                    <a:moveTo>
                      <a:pt x="459095" y="214354"/>
                    </a:moveTo>
                    <a:lnTo>
                      <a:pt x="470185" y="232917"/>
                    </a:lnTo>
                    <a:lnTo>
                      <a:pt x="469083" y="236710"/>
                    </a:lnTo>
                    <a:lnTo>
                      <a:pt x="465107" y="228628"/>
                    </a:lnTo>
                    <a:cubicBezTo>
                      <a:pt x="464316" y="226985"/>
                      <a:pt x="463551" y="225384"/>
                      <a:pt x="462850" y="223907"/>
                    </a:cubicBezTo>
                    <a:lnTo>
                      <a:pt x="461361" y="220754"/>
                    </a:lnTo>
                    <a:lnTo>
                      <a:pt x="459095" y="214354"/>
                    </a:lnTo>
                    <a:close/>
                    <a:moveTo>
                      <a:pt x="458921" y="213862"/>
                    </a:moveTo>
                    <a:lnTo>
                      <a:pt x="459095" y="214354"/>
                    </a:lnTo>
                    <a:lnTo>
                      <a:pt x="458953" y="214116"/>
                    </a:lnTo>
                    <a:cubicBezTo>
                      <a:pt x="458942" y="214031"/>
                      <a:pt x="458932" y="213947"/>
                      <a:pt x="458921" y="213862"/>
                    </a:cubicBezTo>
                    <a:close/>
                    <a:moveTo>
                      <a:pt x="231642" y="117869"/>
                    </a:moveTo>
                    <a:lnTo>
                      <a:pt x="245739" y="119960"/>
                    </a:lnTo>
                    <a:lnTo>
                      <a:pt x="247479" y="117948"/>
                    </a:lnTo>
                    <a:lnTo>
                      <a:pt x="241439" y="117896"/>
                    </a:lnTo>
                    <a:lnTo>
                      <a:pt x="231642" y="117869"/>
                    </a:lnTo>
                    <a:close/>
                    <a:moveTo>
                      <a:pt x="393966" y="59548"/>
                    </a:moveTo>
                    <a:lnTo>
                      <a:pt x="394760" y="61641"/>
                    </a:lnTo>
                    <a:lnTo>
                      <a:pt x="396543" y="61922"/>
                    </a:lnTo>
                    <a:lnTo>
                      <a:pt x="393966" y="59548"/>
                    </a:lnTo>
                    <a:close/>
                    <a:moveTo>
                      <a:pt x="135290" y="95"/>
                    </a:moveTo>
                    <a:cubicBezTo>
                      <a:pt x="137297" y="-44"/>
                      <a:pt x="139488" y="-26"/>
                      <a:pt x="142002" y="118"/>
                    </a:cubicBezTo>
                    <a:cubicBezTo>
                      <a:pt x="151773" y="692"/>
                      <a:pt x="171890" y="5290"/>
                      <a:pt x="184247" y="9888"/>
                    </a:cubicBezTo>
                    <a:cubicBezTo>
                      <a:pt x="196604" y="14198"/>
                      <a:pt x="225916" y="24831"/>
                      <a:pt x="237411" y="31727"/>
                    </a:cubicBezTo>
                    <a:cubicBezTo>
                      <a:pt x="250056" y="38911"/>
                      <a:pt x="261551" y="43509"/>
                      <a:pt x="273908" y="50693"/>
                    </a:cubicBezTo>
                    <a:cubicBezTo>
                      <a:pt x="280230" y="54285"/>
                      <a:pt x="290576" y="59601"/>
                      <a:pt x="300993" y="65241"/>
                    </a:cubicBezTo>
                    <a:lnTo>
                      <a:pt x="313770" y="72415"/>
                    </a:lnTo>
                    <a:lnTo>
                      <a:pt x="317458" y="74704"/>
                    </a:lnTo>
                    <a:lnTo>
                      <a:pt x="321989" y="77518"/>
                    </a:lnTo>
                    <a:lnTo>
                      <a:pt x="328509" y="81728"/>
                    </a:lnTo>
                    <a:lnTo>
                      <a:pt x="329950" y="82770"/>
                    </a:lnTo>
                    <a:lnTo>
                      <a:pt x="322786" y="67357"/>
                    </a:lnTo>
                    <a:lnTo>
                      <a:pt x="318179" y="66024"/>
                    </a:lnTo>
                    <a:lnTo>
                      <a:pt x="315145" y="65146"/>
                    </a:lnTo>
                    <a:lnTo>
                      <a:pt x="315984" y="64282"/>
                    </a:lnTo>
                    <a:cubicBezTo>
                      <a:pt x="319030" y="61163"/>
                      <a:pt x="328778" y="51321"/>
                      <a:pt x="336115" y="45493"/>
                    </a:cubicBezTo>
                    <a:lnTo>
                      <a:pt x="339135" y="43303"/>
                    </a:lnTo>
                    <a:lnTo>
                      <a:pt x="344556" y="40552"/>
                    </a:lnTo>
                    <a:lnTo>
                      <a:pt x="348957" y="38760"/>
                    </a:lnTo>
                    <a:cubicBezTo>
                      <a:pt x="353552" y="36748"/>
                      <a:pt x="359726" y="34376"/>
                      <a:pt x="368054" y="34807"/>
                    </a:cubicBezTo>
                    <a:cubicBezTo>
                      <a:pt x="372219" y="35023"/>
                      <a:pt x="376921" y="35939"/>
                      <a:pt x="382234" y="37952"/>
                    </a:cubicBezTo>
                    <a:cubicBezTo>
                      <a:pt x="403198" y="46001"/>
                      <a:pt x="390275" y="35652"/>
                      <a:pt x="390275" y="35652"/>
                    </a:cubicBezTo>
                    <a:cubicBezTo>
                      <a:pt x="390275" y="35652"/>
                      <a:pt x="390477" y="35683"/>
                      <a:pt x="390840" y="35749"/>
                    </a:cubicBezTo>
                    <a:lnTo>
                      <a:pt x="391575" y="35894"/>
                    </a:lnTo>
                    <a:lnTo>
                      <a:pt x="391750" y="35955"/>
                    </a:lnTo>
                    <a:cubicBezTo>
                      <a:pt x="392319" y="36184"/>
                      <a:pt x="392615" y="36327"/>
                      <a:pt x="392615" y="36327"/>
                    </a:cubicBezTo>
                    <a:cubicBezTo>
                      <a:pt x="392615" y="36327"/>
                      <a:pt x="392831" y="36305"/>
                      <a:pt x="393242" y="36306"/>
                    </a:cubicBezTo>
                    <a:lnTo>
                      <a:pt x="393406" y="36317"/>
                    </a:lnTo>
                    <a:lnTo>
                      <a:pt x="397383" y="37341"/>
                    </a:lnTo>
                    <a:cubicBezTo>
                      <a:pt x="401260" y="38527"/>
                      <a:pt x="405783" y="40395"/>
                      <a:pt x="408367" y="43126"/>
                    </a:cubicBezTo>
                    <a:cubicBezTo>
                      <a:pt x="413537" y="48875"/>
                      <a:pt x="463219" y="96019"/>
                      <a:pt x="459773" y="126491"/>
                    </a:cubicBezTo>
                    <a:cubicBezTo>
                      <a:pt x="457762" y="144888"/>
                      <a:pt x="440819" y="179671"/>
                      <a:pt x="441680" y="188008"/>
                    </a:cubicBezTo>
                    <a:cubicBezTo>
                      <a:pt x="441860" y="189266"/>
                      <a:pt x="442165" y="190853"/>
                      <a:pt x="442553" y="192637"/>
                    </a:cubicBezTo>
                    <a:lnTo>
                      <a:pt x="443081" y="194875"/>
                    </a:lnTo>
                    <a:lnTo>
                      <a:pt x="451172" y="201092"/>
                    </a:lnTo>
                    <a:lnTo>
                      <a:pt x="458953" y="214116"/>
                    </a:lnTo>
                    <a:cubicBezTo>
                      <a:pt x="459038" y="214798"/>
                      <a:pt x="459124" y="215479"/>
                      <a:pt x="459209" y="216161"/>
                    </a:cubicBezTo>
                    <a:cubicBezTo>
                      <a:pt x="459209" y="216161"/>
                      <a:pt x="459892" y="217634"/>
                      <a:pt x="460971" y="219929"/>
                    </a:cubicBezTo>
                    <a:lnTo>
                      <a:pt x="461361" y="220754"/>
                    </a:lnTo>
                    <a:lnTo>
                      <a:pt x="470303" y="246015"/>
                    </a:lnTo>
                    <a:lnTo>
                      <a:pt x="469962" y="245448"/>
                    </a:lnTo>
                    <a:lnTo>
                      <a:pt x="468971" y="243799"/>
                    </a:lnTo>
                    <a:cubicBezTo>
                      <a:pt x="468971" y="243799"/>
                      <a:pt x="466400" y="241516"/>
                      <a:pt x="464115" y="240660"/>
                    </a:cubicBezTo>
                    <a:cubicBezTo>
                      <a:pt x="461829" y="239518"/>
                      <a:pt x="457544" y="239804"/>
                      <a:pt x="457544" y="239804"/>
                    </a:cubicBezTo>
                    <a:cubicBezTo>
                      <a:pt x="457544" y="239804"/>
                      <a:pt x="461829" y="241516"/>
                      <a:pt x="463829" y="242086"/>
                    </a:cubicBezTo>
                    <a:cubicBezTo>
                      <a:pt x="465329" y="242300"/>
                      <a:pt x="468435" y="244762"/>
                      <a:pt x="469895" y="245979"/>
                    </a:cubicBezTo>
                    <a:lnTo>
                      <a:pt x="470460" y="246460"/>
                    </a:lnTo>
                    <a:lnTo>
                      <a:pt x="485321" y="288443"/>
                    </a:lnTo>
                    <a:lnTo>
                      <a:pt x="485666" y="289289"/>
                    </a:lnTo>
                    <a:cubicBezTo>
                      <a:pt x="485575" y="288111"/>
                      <a:pt x="485483" y="286932"/>
                      <a:pt x="485392" y="285754"/>
                    </a:cubicBezTo>
                    <a:cubicBezTo>
                      <a:pt x="485398" y="285254"/>
                      <a:pt x="485403" y="284754"/>
                      <a:pt x="485409" y="284254"/>
                    </a:cubicBezTo>
                    <a:cubicBezTo>
                      <a:pt x="485457" y="284381"/>
                      <a:pt x="485504" y="284507"/>
                      <a:pt x="485552" y="284634"/>
                    </a:cubicBezTo>
                    <a:lnTo>
                      <a:pt x="487684" y="290297"/>
                    </a:lnTo>
                    <a:cubicBezTo>
                      <a:pt x="487695" y="290325"/>
                      <a:pt x="487705" y="290353"/>
                      <a:pt x="487716" y="290381"/>
                    </a:cubicBezTo>
                    <a:cubicBezTo>
                      <a:pt x="487714" y="290381"/>
                      <a:pt x="487711" y="290382"/>
                      <a:pt x="487709" y="290382"/>
                    </a:cubicBezTo>
                    <a:lnTo>
                      <a:pt x="486150" y="290474"/>
                    </a:lnTo>
                    <a:lnTo>
                      <a:pt x="488742" y="296824"/>
                    </a:lnTo>
                    <a:lnTo>
                      <a:pt x="494320" y="295556"/>
                    </a:lnTo>
                    <a:cubicBezTo>
                      <a:pt x="500644" y="296131"/>
                      <a:pt x="506393" y="294406"/>
                      <a:pt x="512429" y="291820"/>
                    </a:cubicBezTo>
                    <a:cubicBezTo>
                      <a:pt x="515304" y="290526"/>
                      <a:pt x="517172" y="288730"/>
                      <a:pt x="519005" y="287509"/>
                    </a:cubicBezTo>
                    <a:lnTo>
                      <a:pt x="520508" y="286839"/>
                    </a:lnTo>
                    <a:lnTo>
                      <a:pt x="522424" y="286502"/>
                    </a:lnTo>
                    <a:lnTo>
                      <a:pt x="523091" y="286385"/>
                    </a:lnTo>
                    <a:lnTo>
                      <a:pt x="525364" y="286646"/>
                    </a:lnTo>
                    <a:cubicBezTo>
                      <a:pt x="530826" y="288371"/>
                      <a:pt x="531976" y="291532"/>
                      <a:pt x="533413" y="297855"/>
                    </a:cubicBezTo>
                    <a:cubicBezTo>
                      <a:pt x="534850" y="304178"/>
                      <a:pt x="530826" y="316249"/>
                      <a:pt x="530826" y="316249"/>
                    </a:cubicBezTo>
                    <a:cubicBezTo>
                      <a:pt x="530826" y="316249"/>
                      <a:pt x="530763" y="316891"/>
                      <a:pt x="530588" y="318085"/>
                    </a:cubicBezTo>
                    <a:lnTo>
                      <a:pt x="530192" y="320320"/>
                    </a:lnTo>
                    <a:lnTo>
                      <a:pt x="529838" y="321637"/>
                    </a:lnTo>
                    <a:lnTo>
                      <a:pt x="526883" y="332653"/>
                    </a:lnTo>
                    <a:lnTo>
                      <a:pt x="524435" y="341781"/>
                    </a:lnTo>
                    <a:lnTo>
                      <a:pt x="519934" y="353045"/>
                    </a:lnTo>
                    <a:cubicBezTo>
                      <a:pt x="514343" y="365490"/>
                      <a:pt x="505962" y="379622"/>
                      <a:pt x="493458" y="392987"/>
                    </a:cubicBezTo>
                    <a:cubicBezTo>
                      <a:pt x="468666" y="419716"/>
                      <a:pt x="437567" y="410878"/>
                      <a:pt x="421143" y="403455"/>
                    </a:cubicBezTo>
                    <a:lnTo>
                      <a:pt x="416615" y="401105"/>
                    </a:lnTo>
                    <a:cubicBezTo>
                      <a:pt x="416179" y="402174"/>
                      <a:pt x="404207" y="392253"/>
                      <a:pt x="403771" y="393322"/>
                    </a:cubicBezTo>
                    <a:cubicBezTo>
                      <a:pt x="395387" y="401831"/>
                      <a:pt x="388172" y="407234"/>
                      <a:pt x="381629" y="410745"/>
                    </a:cubicBezTo>
                    <a:cubicBezTo>
                      <a:pt x="375086" y="414256"/>
                      <a:pt x="370055" y="416767"/>
                      <a:pt x="364512" y="414388"/>
                    </a:cubicBezTo>
                    <a:lnTo>
                      <a:pt x="362260" y="412847"/>
                    </a:lnTo>
                    <a:lnTo>
                      <a:pt x="359508" y="412530"/>
                    </a:lnTo>
                    <a:lnTo>
                      <a:pt x="354180" y="409493"/>
                    </a:lnTo>
                    <a:lnTo>
                      <a:pt x="351263" y="406931"/>
                    </a:lnTo>
                    <a:lnTo>
                      <a:pt x="351015" y="406713"/>
                    </a:lnTo>
                    <a:lnTo>
                      <a:pt x="348397" y="403432"/>
                    </a:lnTo>
                    <a:lnTo>
                      <a:pt x="347445" y="401927"/>
                    </a:lnTo>
                    <a:lnTo>
                      <a:pt x="345319" y="397536"/>
                    </a:lnTo>
                    <a:cubicBezTo>
                      <a:pt x="344794" y="396166"/>
                      <a:pt x="344561" y="395286"/>
                      <a:pt x="344561" y="395286"/>
                    </a:cubicBezTo>
                    <a:lnTo>
                      <a:pt x="335650" y="375455"/>
                    </a:lnTo>
                    <a:cubicBezTo>
                      <a:pt x="335650" y="375455"/>
                      <a:pt x="327314" y="367408"/>
                      <a:pt x="322714" y="362234"/>
                    </a:cubicBezTo>
                    <a:lnTo>
                      <a:pt x="319648" y="358159"/>
                    </a:lnTo>
                    <a:lnTo>
                      <a:pt x="319434" y="357823"/>
                    </a:lnTo>
                    <a:lnTo>
                      <a:pt x="314734" y="350455"/>
                    </a:lnTo>
                    <a:cubicBezTo>
                      <a:pt x="314734" y="350455"/>
                      <a:pt x="310334" y="332411"/>
                      <a:pt x="319052" y="316733"/>
                    </a:cubicBezTo>
                    <a:lnTo>
                      <a:pt x="323333" y="310656"/>
                    </a:lnTo>
                    <a:lnTo>
                      <a:pt x="320679" y="310837"/>
                    </a:lnTo>
                    <a:cubicBezTo>
                      <a:pt x="319405" y="310763"/>
                      <a:pt x="318170" y="310498"/>
                      <a:pt x="316984" y="309959"/>
                    </a:cubicBezTo>
                    <a:cubicBezTo>
                      <a:pt x="307787" y="305647"/>
                      <a:pt x="281056" y="298172"/>
                      <a:pt x="278469" y="281787"/>
                    </a:cubicBezTo>
                    <a:cubicBezTo>
                      <a:pt x="276529" y="269497"/>
                      <a:pt x="275235" y="243140"/>
                      <a:pt x="279196" y="221148"/>
                    </a:cubicBezTo>
                    <a:lnTo>
                      <a:pt x="281137" y="212759"/>
                    </a:lnTo>
                    <a:lnTo>
                      <a:pt x="280817" y="212855"/>
                    </a:lnTo>
                    <a:lnTo>
                      <a:pt x="280074" y="213019"/>
                    </a:lnTo>
                    <a:cubicBezTo>
                      <a:pt x="269049" y="215467"/>
                      <a:pt x="223976" y="225587"/>
                      <a:pt x="208386" y="230868"/>
                    </a:cubicBezTo>
                    <a:cubicBezTo>
                      <a:pt x="190569" y="236902"/>
                      <a:pt x="148612" y="256155"/>
                      <a:pt x="129358" y="256155"/>
                    </a:cubicBezTo>
                    <a:cubicBezTo>
                      <a:pt x="102632" y="255868"/>
                      <a:pt x="76481" y="253856"/>
                      <a:pt x="76481" y="253856"/>
                    </a:cubicBezTo>
                    <a:cubicBezTo>
                      <a:pt x="76481" y="253856"/>
                      <a:pt x="66710" y="217649"/>
                      <a:pt x="56365" y="204718"/>
                    </a:cubicBezTo>
                    <a:cubicBezTo>
                      <a:pt x="45732" y="191787"/>
                      <a:pt x="12971" y="165062"/>
                      <a:pt x="6361" y="145234"/>
                    </a:cubicBezTo>
                    <a:cubicBezTo>
                      <a:pt x="39" y="125119"/>
                      <a:pt x="-3409" y="109027"/>
                      <a:pt x="4924" y="90923"/>
                    </a:cubicBezTo>
                    <a:cubicBezTo>
                      <a:pt x="12971" y="73107"/>
                      <a:pt x="26190" y="62762"/>
                      <a:pt x="26190" y="62762"/>
                    </a:cubicBezTo>
                    <a:lnTo>
                      <a:pt x="51192" y="63624"/>
                    </a:lnTo>
                    <a:cubicBezTo>
                      <a:pt x="62399" y="65061"/>
                      <a:pt x="80217" y="68222"/>
                      <a:pt x="92574" y="72245"/>
                    </a:cubicBezTo>
                    <a:cubicBezTo>
                      <a:pt x="104644" y="76268"/>
                      <a:pt x="148899" y="97533"/>
                      <a:pt x="148899" y="97533"/>
                    </a:cubicBezTo>
                    <a:lnTo>
                      <a:pt x="100620" y="70233"/>
                    </a:lnTo>
                    <a:lnTo>
                      <a:pt x="68722" y="57877"/>
                    </a:lnTo>
                    <a:cubicBezTo>
                      <a:pt x="68722" y="57877"/>
                      <a:pt x="82803" y="49544"/>
                      <a:pt x="95735" y="33739"/>
                    </a:cubicBezTo>
                    <a:cubicBezTo>
                      <a:pt x="108667" y="17934"/>
                      <a:pt x="109816" y="12187"/>
                      <a:pt x="118438" y="6440"/>
                    </a:cubicBezTo>
                    <a:cubicBezTo>
                      <a:pt x="124904" y="2345"/>
                      <a:pt x="129268" y="513"/>
                      <a:pt x="135290" y="95"/>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IN" sz="1961" b="1" dirty="0">
                  <a:solidFill>
                    <a:srgbClr val="FFFFFF"/>
                  </a:solidFill>
                  <a:latin typeface="Segoe UI Light"/>
                  <a:ea typeface="Segoe UI" pitchFamily="34" charset="0"/>
                  <a:cs typeface="Segoe UI" pitchFamily="34" charset="0"/>
                </a:endParaRPr>
              </a:p>
            </p:txBody>
          </p:sp>
          <p:sp>
            <p:nvSpPr>
              <p:cNvPr id="13" name="Freeform 12"/>
              <p:cNvSpPr>
                <a:spLocks/>
              </p:cNvSpPr>
              <p:nvPr/>
            </p:nvSpPr>
            <p:spPr bwMode="auto">
              <a:xfrm>
                <a:off x="1203881" y="3576757"/>
                <a:ext cx="290830" cy="297796"/>
              </a:xfrm>
              <a:custGeom>
                <a:avLst/>
                <a:gdLst>
                  <a:gd name="connsiteX0" fmla="*/ 1222186 w 2129049"/>
                  <a:gd name="connsiteY0" fmla="*/ 1839320 h 2180047"/>
                  <a:gd name="connsiteX1" fmla="*/ 1208400 w 2129049"/>
                  <a:gd name="connsiteY1" fmla="*/ 1841119 h 2180047"/>
                  <a:gd name="connsiteX2" fmla="*/ 1186099 w 2129049"/>
                  <a:gd name="connsiteY2" fmla="*/ 1843640 h 2180047"/>
                  <a:gd name="connsiteX3" fmla="*/ 1188379 w 2129049"/>
                  <a:gd name="connsiteY3" fmla="*/ 1844841 h 2180047"/>
                  <a:gd name="connsiteX4" fmla="*/ 1243194 w 2129049"/>
                  <a:gd name="connsiteY4" fmla="*/ 1939957 h 2180047"/>
                  <a:gd name="connsiteX5" fmla="*/ 1223702 w 2129049"/>
                  <a:gd name="connsiteY5" fmla="*/ 1853174 h 2180047"/>
                  <a:gd name="connsiteX6" fmla="*/ 1222569 w 2129049"/>
                  <a:gd name="connsiteY6" fmla="*/ 1839342 h 2180047"/>
                  <a:gd name="connsiteX7" fmla="*/ 441891 w 2129049"/>
                  <a:gd name="connsiteY7" fmla="*/ 1746105 h 2180047"/>
                  <a:gd name="connsiteX8" fmla="*/ 450977 w 2129049"/>
                  <a:gd name="connsiteY8" fmla="*/ 1757606 h 2180047"/>
                  <a:gd name="connsiteX9" fmla="*/ 707370 w 2129049"/>
                  <a:gd name="connsiteY9" fmla="*/ 1976776 h 2180047"/>
                  <a:gd name="connsiteX10" fmla="*/ 766453 w 2129049"/>
                  <a:gd name="connsiteY10" fmla="*/ 2010648 h 2180047"/>
                  <a:gd name="connsiteX11" fmla="*/ 831225 w 2129049"/>
                  <a:gd name="connsiteY11" fmla="*/ 2015356 h 2180047"/>
                  <a:gd name="connsiteX12" fmla="*/ 999836 w 2129049"/>
                  <a:gd name="connsiteY12" fmla="*/ 2014732 h 2180047"/>
                  <a:gd name="connsiteX13" fmla="*/ 1033552 w 2129049"/>
                  <a:gd name="connsiteY13" fmla="*/ 2011934 h 2180047"/>
                  <a:gd name="connsiteX14" fmla="*/ 1030508 w 2129049"/>
                  <a:gd name="connsiteY14" fmla="*/ 1991231 h 2180047"/>
                  <a:gd name="connsiteX15" fmla="*/ 1069280 w 2129049"/>
                  <a:gd name="connsiteY15" fmla="*/ 1869985 h 2180047"/>
                  <a:gd name="connsiteX16" fmla="*/ 1086998 w 2129049"/>
                  <a:gd name="connsiteY16" fmla="*/ 1852207 h 2180047"/>
                  <a:gd name="connsiteX17" fmla="*/ 1040249 w 2129049"/>
                  <a:gd name="connsiteY17" fmla="*/ 1855089 h 2180047"/>
                  <a:gd name="connsiteX18" fmla="*/ 700561 w 2129049"/>
                  <a:gd name="connsiteY18" fmla="*/ 1833012 h 2180047"/>
                  <a:gd name="connsiteX19" fmla="*/ 442094 w 2129049"/>
                  <a:gd name="connsiteY19" fmla="*/ 1746192 h 2180047"/>
                  <a:gd name="connsiteX20" fmla="*/ 1059954 w 2129049"/>
                  <a:gd name="connsiteY20" fmla="*/ 1504433 h 2180047"/>
                  <a:gd name="connsiteX21" fmla="*/ 1137935 w 2129049"/>
                  <a:gd name="connsiteY21" fmla="*/ 1553560 h 2180047"/>
                  <a:gd name="connsiteX22" fmla="*/ 1232714 w 2129049"/>
                  <a:gd name="connsiteY22" fmla="*/ 1597039 h 2180047"/>
                  <a:gd name="connsiteX23" fmla="*/ 1498003 w 2129049"/>
                  <a:gd name="connsiteY23" fmla="*/ 1620193 h 2180047"/>
                  <a:gd name="connsiteX24" fmla="*/ 1417995 w 2129049"/>
                  <a:gd name="connsiteY24" fmla="*/ 1660186 h 2180047"/>
                  <a:gd name="connsiteX25" fmla="*/ 1260085 w 2129049"/>
                  <a:gd name="connsiteY25" fmla="*/ 1660186 h 2180047"/>
                  <a:gd name="connsiteX26" fmla="*/ 1110597 w 2129049"/>
                  <a:gd name="connsiteY26" fmla="*/ 1640189 h 2180047"/>
                  <a:gd name="connsiteX27" fmla="*/ 1099046 w 2129049"/>
                  <a:gd name="connsiteY27" fmla="*/ 1638682 h 2180047"/>
                  <a:gd name="connsiteX28" fmla="*/ 251840 w 2129049"/>
                  <a:gd name="connsiteY28" fmla="*/ 316333 h 2180047"/>
                  <a:gd name="connsiteX29" fmla="*/ 246796 w 2129049"/>
                  <a:gd name="connsiteY29" fmla="*/ 329846 h 2180047"/>
                  <a:gd name="connsiteX30" fmla="*/ 161902 w 2129049"/>
                  <a:gd name="connsiteY30" fmla="*/ 686152 h 2180047"/>
                  <a:gd name="connsiteX31" fmla="*/ 163319 w 2129049"/>
                  <a:gd name="connsiteY31" fmla="*/ 765157 h 2180047"/>
                  <a:gd name="connsiteX32" fmla="*/ 168120 w 2129049"/>
                  <a:gd name="connsiteY32" fmla="*/ 772124 h 2180047"/>
                  <a:gd name="connsiteX33" fmla="*/ 462568 w 2129049"/>
                  <a:gd name="connsiteY33" fmla="*/ 1054574 h 2180047"/>
                  <a:gd name="connsiteX34" fmla="*/ 1083519 w 2129049"/>
                  <a:gd name="connsiteY34" fmla="*/ 1296666 h 2180047"/>
                  <a:gd name="connsiteX35" fmla="*/ 1112988 w 2129049"/>
                  <a:gd name="connsiteY35" fmla="*/ 1212460 h 2180047"/>
                  <a:gd name="connsiteX36" fmla="*/ 635171 w 2129049"/>
                  <a:gd name="connsiteY36" fmla="*/ 913528 h 2180047"/>
                  <a:gd name="connsiteX37" fmla="*/ 256327 w 2129049"/>
                  <a:gd name="connsiteY37" fmla="*/ 344726 h 2180047"/>
                  <a:gd name="connsiteX38" fmla="*/ 203697 w 2129049"/>
                  <a:gd name="connsiteY38" fmla="*/ 216555 h 2180047"/>
                  <a:gd name="connsiteX39" fmla="*/ 195507 w 2129049"/>
                  <a:gd name="connsiteY39" fmla="*/ 224152 h 2180047"/>
                  <a:gd name="connsiteX40" fmla="*/ 153435 w 2129049"/>
                  <a:gd name="connsiteY40" fmla="*/ 280530 h 2180047"/>
                  <a:gd name="connsiteX41" fmla="*/ 119142 w 2129049"/>
                  <a:gd name="connsiteY41" fmla="*/ 338248 h 2180047"/>
                  <a:gd name="connsiteX42" fmla="*/ 162420 w 2129049"/>
                  <a:gd name="connsiteY42" fmla="*/ 270250 h 2180047"/>
                  <a:gd name="connsiteX43" fmla="*/ 200473 w 2129049"/>
                  <a:gd name="connsiteY43" fmla="*/ 220227 h 2180047"/>
                  <a:gd name="connsiteX44" fmla="*/ 545326 w 2129049"/>
                  <a:gd name="connsiteY44" fmla="*/ 37476 h 2180047"/>
                  <a:gd name="connsiteX45" fmla="*/ 541800 w 2129049"/>
                  <a:gd name="connsiteY45" fmla="*/ 40991 h 2180047"/>
                  <a:gd name="connsiteX46" fmla="*/ 536701 w 2129049"/>
                  <a:gd name="connsiteY46" fmla="*/ 46149 h 2180047"/>
                  <a:gd name="connsiteX47" fmla="*/ 940947 w 2129049"/>
                  <a:gd name="connsiteY47" fmla="*/ 939893 h 2180047"/>
                  <a:gd name="connsiteX48" fmla="*/ 978333 w 2129049"/>
                  <a:gd name="connsiteY48" fmla="*/ 993267 h 2180047"/>
                  <a:gd name="connsiteX49" fmla="*/ 1095859 w 2129049"/>
                  <a:gd name="connsiteY49" fmla="*/ 1039243 h 2180047"/>
                  <a:gd name="connsiteX50" fmla="*/ 1131484 w 2129049"/>
                  <a:gd name="connsiteY50" fmla="*/ 1124187 h 2180047"/>
                  <a:gd name="connsiteX51" fmla="*/ 1146506 w 2129049"/>
                  <a:gd name="connsiteY51" fmla="*/ 1133109 h 2180047"/>
                  <a:gd name="connsiteX52" fmla="*/ 1148541 w 2129049"/>
                  <a:gd name="connsiteY52" fmla="*/ 1133748 h 2180047"/>
                  <a:gd name="connsiteX53" fmla="*/ 1141842 w 2129049"/>
                  <a:gd name="connsiteY53" fmla="*/ 1144915 h 2180047"/>
                  <a:gd name="connsiteX54" fmla="*/ 1141505 w 2129049"/>
                  <a:gd name="connsiteY54" fmla="*/ 1145660 h 2180047"/>
                  <a:gd name="connsiteX55" fmla="*/ 1187973 w 2129049"/>
                  <a:gd name="connsiteY55" fmla="*/ 1232630 h 2180047"/>
                  <a:gd name="connsiteX56" fmla="*/ 1289562 w 2129049"/>
                  <a:gd name="connsiteY56" fmla="*/ 1373921 h 2180047"/>
                  <a:gd name="connsiteX57" fmla="*/ 1531690 w 2129049"/>
                  <a:gd name="connsiteY57" fmla="*/ 1481270 h 2180047"/>
                  <a:gd name="connsiteX58" fmla="*/ 1426417 w 2129049"/>
                  <a:gd name="connsiteY58" fmla="*/ 1496004 h 2180047"/>
                  <a:gd name="connsiteX59" fmla="*/ 1194816 w 2129049"/>
                  <a:gd name="connsiteY59" fmla="*/ 1399179 h 2180047"/>
                  <a:gd name="connsiteX60" fmla="*/ 1145436 w 2129049"/>
                  <a:gd name="connsiteY60" fmla="*/ 1340670 h 2180047"/>
                  <a:gd name="connsiteX61" fmla="*/ 1091189 w 2129049"/>
                  <a:gd name="connsiteY61" fmla="*/ 1275923 h 2180047"/>
                  <a:gd name="connsiteX62" fmla="*/ 1064249 w 2129049"/>
                  <a:gd name="connsiteY62" fmla="*/ 1369079 h 2180047"/>
                  <a:gd name="connsiteX63" fmla="*/ 1046007 w 2129049"/>
                  <a:gd name="connsiteY63" fmla="*/ 1483657 h 2180047"/>
                  <a:gd name="connsiteX64" fmla="*/ 1046013 w 2129049"/>
                  <a:gd name="connsiteY64" fmla="*/ 1495461 h 2180047"/>
                  <a:gd name="connsiteX65" fmla="*/ 1012870 w 2129049"/>
                  <a:gd name="connsiteY65" fmla="*/ 1487283 h 2180047"/>
                  <a:gd name="connsiteX66" fmla="*/ 561761 w 2129049"/>
                  <a:gd name="connsiteY66" fmla="*/ 1355377 h 2180047"/>
                  <a:gd name="connsiteX67" fmla="*/ 245802 w 2129049"/>
                  <a:gd name="connsiteY67" fmla="*/ 1165644 h 2180047"/>
                  <a:gd name="connsiteX68" fmla="*/ 203985 w 2129049"/>
                  <a:gd name="connsiteY68" fmla="*/ 1132152 h 2180047"/>
                  <a:gd name="connsiteX69" fmla="*/ 234345 w 2129049"/>
                  <a:gd name="connsiteY69" fmla="*/ 1297625 h 2180047"/>
                  <a:gd name="connsiteX70" fmla="*/ 260418 w 2129049"/>
                  <a:gd name="connsiteY70" fmla="*/ 1401636 h 2180047"/>
                  <a:gd name="connsiteX71" fmla="*/ 276086 w 2129049"/>
                  <a:gd name="connsiteY71" fmla="*/ 1451374 h 2180047"/>
                  <a:gd name="connsiteX72" fmla="*/ 305709 w 2129049"/>
                  <a:gd name="connsiteY72" fmla="*/ 1466895 h 2180047"/>
                  <a:gd name="connsiteX73" fmla="*/ 561761 w 2129049"/>
                  <a:gd name="connsiteY73" fmla="*/ 1572001 h 2180047"/>
                  <a:gd name="connsiteX74" fmla="*/ 1106575 w 2129049"/>
                  <a:gd name="connsiteY74" fmla="*/ 1664539 h 2180047"/>
                  <a:gd name="connsiteX75" fmla="*/ 1106413 w 2129049"/>
                  <a:gd name="connsiteY75" fmla="*/ 1663981 h 2180047"/>
                  <a:gd name="connsiteX76" fmla="*/ 1109394 w 2129049"/>
                  <a:gd name="connsiteY76" fmla="*/ 1669032 h 2180047"/>
                  <a:gd name="connsiteX77" fmla="*/ 1145872 w 2129049"/>
                  <a:gd name="connsiteY77" fmla="*/ 1724864 h 2180047"/>
                  <a:gd name="connsiteX78" fmla="*/ 1151390 w 2129049"/>
                  <a:gd name="connsiteY78" fmla="*/ 1728726 h 2180047"/>
                  <a:gd name="connsiteX79" fmla="*/ 1244657 w 2129049"/>
                  <a:gd name="connsiteY79" fmla="*/ 1793994 h 2180047"/>
                  <a:gd name="connsiteX80" fmla="*/ 1255282 w 2129049"/>
                  <a:gd name="connsiteY80" fmla="*/ 1801430 h 2180047"/>
                  <a:gd name="connsiteX81" fmla="*/ 1259765 w 2129049"/>
                  <a:gd name="connsiteY81" fmla="*/ 1803273 h 2180047"/>
                  <a:gd name="connsiteX82" fmla="*/ 1262425 w 2129049"/>
                  <a:gd name="connsiteY82" fmla="*/ 1805592 h 2180047"/>
                  <a:gd name="connsiteX83" fmla="*/ 1274330 w 2129049"/>
                  <a:gd name="connsiteY83" fmla="*/ 1811179 h 2180047"/>
                  <a:gd name="connsiteX84" fmla="*/ 1470632 w 2129049"/>
                  <a:gd name="connsiteY84" fmla="*/ 1851731 h 2180047"/>
                  <a:gd name="connsiteX85" fmla="*/ 1337987 w 2129049"/>
                  <a:gd name="connsiteY85" fmla="*/ 1879094 h 2180047"/>
                  <a:gd name="connsiteX86" fmla="*/ 1331095 w 2129049"/>
                  <a:gd name="connsiteY86" fmla="*/ 1878426 h 2180047"/>
                  <a:gd name="connsiteX87" fmla="*/ 1337882 w 2129049"/>
                  <a:gd name="connsiteY87" fmla="*/ 1887387 h 2180047"/>
                  <a:gd name="connsiteX88" fmla="*/ 2129049 w 2129049"/>
                  <a:gd name="connsiteY88" fmla="*/ 1929443 h 2180047"/>
                  <a:gd name="connsiteX89" fmla="*/ 1413632 w 2129049"/>
                  <a:gd name="connsiteY89" fmla="*/ 2169166 h 2180047"/>
                  <a:gd name="connsiteX90" fmla="*/ 1301496 w 2129049"/>
                  <a:gd name="connsiteY90" fmla="*/ 2177335 h 2180047"/>
                  <a:gd name="connsiteX91" fmla="*/ 1281595 w 2129049"/>
                  <a:gd name="connsiteY91" fmla="*/ 2175656 h 2180047"/>
                  <a:gd name="connsiteX92" fmla="*/ 1272759 w 2129049"/>
                  <a:gd name="connsiteY92" fmla="*/ 2177928 h 2180047"/>
                  <a:gd name="connsiteX93" fmla="*/ 1063402 w 2129049"/>
                  <a:gd name="connsiteY93" fmla="*/ 2155016 h 2180047"/>
                  <a:gd name="connsiteX94" fmla="*/ 994039 w 2129049"/>
                  <a:gd name="connsiteY94" fmla="*/ 2133739 h 2180047"/>
                  <a:gd name="connsiteX95" fmla="*/ 954380 w 2129049"/>
                  <a:gd name="connsiteY95" fmla="*/ 2125140 h 2180047"/>
                  <a:gd name="connsiteX96" fmla="*/ 485181 w 2129049"/>
                  <a:gd name="connsiteY96" fmla="*/ 1869194 h 2180047"/>
                  <a:gd name="connsiteX97" fmla="*/ 424111 w 2129049"/>
                  <a:gd name="connsiteY97" fmla="*/ 1817746 h 2180047"/>
                  <a:gd name="connsiteX98" fmla="*/ 407264 w 2129049"/>
                  <a:gd name="connsiteY98" fmla="*/ 1804650 h 2180047"/>
                  <a:gd name="connsiteX99" fmla="*/ 400242 w 2129049"/>
                  <a:gd name="connsiteY99" fmla="*/ 1797638 h 2180047"/>
                  <a:gd name="connsiteX100" fmla="*/ 373060 w 2129049"/>
                  <a:gd name="connsiteY100" fmla="*/ 1774739 h 2180047"/>
                  <a:gd name="connsiteX101" fmla="*/ 178723 w 2129049"/>
                  <a:gd name="connsiteY101" fmla="*/ 1546546 h 2180047"/>
                  <a:gd name="connsiteX102" fmla="*/ 0 w 2129049"/>
                  <a:gd name="connsiteY102" fmla="*/ 780817 h 2180047"/>
                  <a:gd name="connsiteX103" fmla="*/ 75177 w 2129049"/>
                  <a:gd name="connsiteY103" fmla="*/ 424975 h 2180047"/>
                  <a:gd name="connsiteX104" fmla="*/ 118668 w 2129049"/>
                  <a:gd name="connsiteY104" fmla="*/ 339046 h 2180047"/>
                  <a:gd name="connsiteX105" fmla="*/ 116953 w 2129049"/>
                  <a:gd name="connsiteY105" fmla="*/ 341932 h 2180047"/>
                  <a:gd name="connsiteX106" fmla="*/ 93993 w 2129049"/>
                  <a:gd name="connsiteY106" fmla="*/ 385485 h 2180047"/>
                  <a:gd name="connsiteX107" fmla="*/ 93509 w 2129049"/>
                  <a:gd name="connsiteY107" fmla="*/ 386464 h 2180047"/>
                  <a:gd name="connsiteX108" fmla="*/ 95671 w 2129049"/>
                  <a:gd name="connsiteY108" fmla="*/ 380966 h 2180047"/>
                  <a:gd name="connsiteX109" fmla="*/ 182624 w 2129049"/>
                  <a:gd name="connsiteY109" fmla="*/ 235436 h 2180047"/>
                  <a:gd name="connsiteX110" fmla="*/ 478385 w 2129049"/>
                  <a:gd name="connsiteY110" fmla="*/ 56179 h 2180047"/>
                  <a:gd name="connsiteX111" fmla="*/ 999928 w 2129049"/>
                  <a:gd name="connsiteY111" fmla="*/ 0 h 2180047"/>
                  <a:gd name="connsiteX112" fmla="*/ 1676449 w 2129049"/>
                  <a:gd name="connsiteY112" fmla="*/ 525838 h 2180047"/>
                  <a:gd name="connsiteX113" fmla="*/ 1579666 w 2129049"/>
                  <a:gd name="connsiteY113" fmla="*/ 999319 h 2180047"/>
                  <a:gd name="connsiteX114" fmla="*/ 1467605 w 2129049"/>
                  <a:gd name="connsiteY114" fmla="*/ 1154947 h 2180047"/>
                  <a:gd name="connsiteX115" fmla="*/ 1464597 w 2129049"/>
                  <a:gd name="connsiteY115" fmla="*/ 1153889 h 2180047"/>
                  <a:gd name="connsiteX116" fmla="*/ 1452025 w 2129049"/>
                  <a:gd name="connsiteY116" fmla="*/ 1125910 h 2180047"/>
                  <a:gd name="connsiteX117" fmla="*/ 1421781 w 2129049"/>
                  <a:gd name="connsiteY117" fmla="*/ 1058603 h 2180047"/>
                  <a:gd name="connsiteX118" fmla="*/ 1327088 w 2129049"/>
                  <a:gd name="connsiteY118" fmla="*/ 961820 h 2180047"/>
                  <a:gd name="connsiteX119" fmla="*/ 1304643 w 2129049"/>
                  <a:gd name="connsiteY119" fmla="*/ 931982 h 2180047"/>
                  <a:gd name="connsiteX120" fmla="*/ 1303076 w 2129049"/>
                  <a:gd name="connsiteY120" fmla="*/ 929526 h 2180047"/>
                  <a:gd name="connsiteX121" fmla="*/ 1268667 w 2129049"/>
                  <a:gd name="connsiteY121" fmla="*/ 875590 h 2180047"/>
                  <a:gd name="connsiteX122" fmla="*/ 1300274 w 2129049"/>
                  <a:gd name="connsiteY122" fmla="*/ 628723 h 2180047"/>
                  <a:gd name="connsiteX123" fmla="*/ 1307563 w 2129049"/>
                  <a:gd name="connsiteY123" fmla="*/ 618378 h 2180047"/>
                  <a:gd name="connsiteX124" fmla="*/ 1298642 w 2129049"/>
                  <a:gd name="connsiteY124" fmla="*/ 596988 h 2180047"/>
                  <a:gd name="connsiteX125" fmla="*/ 1292154 w 2129049"/>
                  <a:gd name="connsiteY125" fmla="*/ 580800 h 2180047"/>
                  <a:gd name="connsiteX126" fmla="*/ 1285141 w 2129049"/>
                  <a:gd name="connsiteY126" fmla="*/ 579133 h 2180047"/>
                  <a:gd name="connsiteX127" fmla="*/ 1003184 w 2129049"/>
                  <a:gd name="connsiteY127" fmla="*/ 372896 h 2180047"/>
                  <a:gd name="connsiteX128" fmla="*/ 993448 w 2129049"/>
                  <a:gd name="connsiteY128" fmla="*/ 53615 h 2180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Lst>
                <a:rect l="l" t="t" r="r" b="b"/>
                <a:pathLst>
                  <a:path w="2129049" h="2180047">
                    <a:moveTo>
                      <a:pt x="1222186" y="1839320"/>
                    </a:moveTo>
                    <a:cubicBezTo>
                      <a:pt x="1222186" y="1839320"/>
                      <a:pt x="1217322" y="1840010"/>
                      <a:pt x="1208400" y="1841119"/>
                    </a:cubicBezTo>
                    <a:lnTo>
                      <a:pt x="1186099" y="1843640"/>
                    </a:lnTo>
                    <a:lnTo>
                      <a:pt x="1188379" y="1844841"/>
                    </a:lnTo>
                    <a:cubicBezTo>
                      <a:pt x="1208837" y="1862152"/>
                      <a:pt x="1227939" y="1892644"/>
                      <a:pt x="1243194" y="1939957"/>
                    </a:cubicBezTo>
                    <a:cubicBezTo>
                      <a:pt x="1232936" y="1903158"/>
                      <a:pt x="1226723" y="1874737"/>
                      <a:pt x="1223702" y="1853174"/>
                    </a:cubicBezTo>
                    <a:lnTo>
                      <a:pt x="1222569" y="1839342"/>
                    </a:lnTo>
                    <a:close/>
                    <a:moveTo>
                      <a:pt x="441891" y="1746105"/>
                    </a:moveTo>
                    <a:lnTo>
                      <a:pt x="450977" y="1757606"/>
                    </a:lnTo>
                    <a:cubicBezTo>
                      <a:pt x="523579" y="1840277"/>
                      <a:pt x="612111" y="1915885"/>
                      <a:pt x="707370" y="1976776"/>
                    </a:cubicBezTo>
                    <a:lnTo>
                      <a:pt x="766453" y="2010648"/>
                    </a:lnTo>
                    <a:lnTo>
                      <a:pt x="831225" y="2015356"/>
                    </a:lnTo>
                    <a:cubicBezTo>
                      <a:pt x="884464" y="2017808"/>
                      <a:pt x="942877" y="2017788"/>
                      <a:pt x="999836" y="2014732"/>
                    </a:cubicBezTo>
                    <a:lnTo>
                      <a:pt x="1033552" y="2011934"/>
                    </a:lnTo>
                    <a:lnTo>
                      <a:pt x="1030508" y="1991231"/>
                    </a:lnTo>
                    <a:cubicBezTo>
                      <a:pt x="1029673" y="1945751"/>
                      <a:pt x="1045399" y="1901238"/>
                      <a:pt x="1069280" y="1869985"/>
                    </a:cubicBezTo>
                    <a:lnTo>
                      <a:pt x="1086998" y="1852207"/>
                    </a:lnTo>
                    <a:lnTo>
                      <a:pt x="1040249" y="1855089"/>
                    </a:lnTo>
                    <a:cubicBezTo>
                      <a:pt x="936134" y="1859819"/>
                      <a:pt x="805728" y="1858242"/>
                      <a:pt x="700561" y="1833012"/>
                    </a:cubicBezTo>
                    <a:cubicBezTo>
                      <a:pt x="607620" y="1810016"/>
                      <a:pt x="515887" y="1776557"/>
                      <a:pt x="442094" y="1746192"/>
                    </a:cubicBezTo>
                    <a:close/>
                    <a:moveTo>
                      <a:pt x="1059954" y="1504433"/>
                    </a:moveTo>
                    <a:lnTo>
                      <a:pt x="1137935" y="1553560"/>
                    </a:lnTo>
                    <a:cubicBezTo>
                      <a:pt x="1171787" y="1572701"/>
                      <a:pt x="1204817" y="1588620"/>
                      <a:pt x="1232714" y="1597039"/>
                    </a:cubicBezTo>
                    <a:cubicBezTo>
                      <a:pt x="1361148" y="1634927"/>
                      <a:pt x="1457999" y="1643347"/>
                      <a:pt x="1498003" y="1620193"/>
                    </a:cubicBezTo>
                    <a:cubicBezTo>
                      <a:pt x="1498003" y="1620193"/>
                      <a:pt x="1462210" y="1649661"/>
                      <a:pt x="1417995" y="1660186"/>
                    </a:cubicBezTo>
                    <a:cubicBezTo>
                      <a:pt x="1373780" y="1668605"/>
                      <a:pt x="1319038" y="1668605"/>
                      <a:pt x="1260085" y="1660186"/>
                    </a:cubicBezTo>
                    <a:cubicBezTo>
                      <a:pt x="1230609" y="1655976"/>
                      <a:pt x="1166918" y="1647556"/>
                      <a:pt x="1110597" y="1640189"/>
                    </a:cubicBezTo>
                    <a:lnTo>
                      <a:pt x="1099046" y="1638682"/>
                    </a:lnTo>
                    <a:close/>
                    <a:moveTo>
                      <a:pt x="251840" y="316333"/>
                    </a:moveTo>
                    <a:lnTo>
                      <a:pt x="246796" y="329846"/>
                    </a:lnTo>
                    <a:cubicBezTo>
                      <a:pt x="205006" y="446862"/>
                      <a:pt x="162954" y="588333"/>
                      <a:pt x="161902" y="686152"/>
                    </a:cubicBezTo>
                    <a:lnTo>
                      <a:pt x="163319" y="765157"/>
                    </a:lnTo>
                    <a:lnTo>
                      <a:pt x="168120" y="772124"/>
                    </a:lnTo>
                    <a:cubicBezTo>
                      <a:pt x="237177" y="866056"/>
                      <a:pt x="334563" y="972605"/>
                      <a:pt x="462568" y="1054574"/>
                    </a:cubicBezTo>
                    <a:cubicBezTo>
                      <a:pt x="755152" y="1239827"/>
                      <a:pt x="1083519" y="1296666"/>
                      <a:pt x="1083519" y="1296666"/>
                    </a:cubicBezTo>
                    <a:cubicBezTo>
                      <a:pt x="1112988" y="1212460"/>
                      <a:pt x="1112988" y="1212460"/>
                      <a:pt x="1112988" y="1212460"/>
                    </a:cubicBezTo>
                    <a:cubicBezTo>
                      <a:pt x="1112988" y="1212460"/>
                      <a:pt x="1058260" y="1208250"/>
                      <a:pt x="635171" y="913528"/>
                    </a:cubicBezTo>
                    <a:cubicBezTo>
                      <a:pt x="372057" y="730643"/>
                      <a:pt x="286544" y="495129"/>
                      <a:pt x="256327" y="344726"/>
                    </a:cubicBezTo>
                    <a:close/>
                    <a:moveTo>
                      <a:pt x="203697" y="216555"/>
                    </a:moveTo>
                    <a:lnTo>
                      <a:pt x="195507" y="224152"/>
                    </a:lnTo>
                    <a:cubicBezTo>
                      <a:pt x="181433" y="239566"/>
                      <a:pt x="166968" y="259629"/>
                      <a:pt x="153435" y="280530"/>
                    </a:cubicBezTo>
                    <a:lnTo>
                      <a:pt x="119142" y="338248"/>
                    </a:lnTo>
                    <a:lnTo>
                      <a:pt x="162420" y="270250"/>
                    </a:lnTo>
                    <a:cubicBezTo>
                      <a:pt x="176342" y="250442"/>
                      <a:pt x="189335" y="233719"/>
                      <a:pt x="200473" y="220227"/>
                    </a:cubicBezTo>
                    <a:close/>
                    <a:moveTo>
                      <a:pt x="545326" y="37476"/>
                    </a:moveTo>
                    <a:lnTo>
                      <a:pt x="541800" y="40991"/>
                    </a:lnTo>
                    <a:cubicBezTo>
                      <a:pt x="538494" y="44318"/>
                      <a:pt x="536701" y="46149"/>
                      <a:pt x="536701" y="46149"/>
                    </a:cubicBezTo>
                    <a:cubicBezTo>
                      <a:pt x="536701" y="131636"/>
                      <a:pt x="760164" y="665826"/>
                      <a:pt x="940947" y="939893"/>
                    </a:cubicBezTo>
                    <a:lnTo>
                      <a:pt x="978333" y="993267"/>
                    </a:lnTo>
                    <a:lnTo>
                      <a:pt x="1095859" y="1039243"/>
                    </a:lnTo>
                    <a:lnTo>
                      <a:pt x="1131484" y="1124187"/>
                    </a:lnTo>
                    <a:lnTo>
                      <a:pt x="1146506" y="1133109"/>
                    </a:lnTo>
                    <a:lnTo>
                      <a:pt x="1148541" y="1133748"/>
                    </a:lnTo>
                    <a:lnTo>
                      <a:pt x="1141842" y="1144915"/>
                    </a:lnTo>
                    <a:lnTo>
                      <a:pt x="1141505" y="1145660"/>
                    </a:lnTo>
                    <a:lnTo>
                      <a:pt x="1187973" y="1232630"/>
                    </a:lnTo>
                    <a:cubicBezTo>
                      <a:pt x="1223766" y="1293409"/>
                      <a:pt x="1261138" y="1345505"/>
                      <a:pt x="1289562" y="1373921"/>
                    </a:cubicBezTo>
                    <a:cubicBezTo>
                      <a:pt x="1344304" y="1428648"/>
                      <a:pt x="1426417" y="1496004"/>
                      <a:pt x="1531690" y="1481270"/>
                    </a:cubicBezTo>
                    <a:cubicBezTo>
                      <a:pt x="1531690" y="1481270"/>
                      <a:pt x="1476948" y="1504424"/>
                      <a:pt x="1426417" y="1496004"/>
                    </a:cubicBezTo>
                    <a:cubicBezTo>
                      <a:pt x="1377991" y="1485480"/>
                      <a:pt x="1245347" y="1456011"/>
                      <a:pt x="1194816" y="1399179"/>
                    </a:cubicBezTo>
                    <a:cubicBezTo>
                      <a:pt x="1182709" y="1384971"/>
                      <a:pt x="1165076" y="1364054"/>
                      <a:pt x="1145436" y="1340670"/>
                    </a:cubicBezTo>
                    <a:lnTo>
                      <a:pt x="1091189" y="1275923"/>
                    </a:lnTo>
                    <a:lnTo>
                      <a:pt x="1064249" y="1369079"/>
                    </a:lnTo>
                    <a:cubicBezTo>
                      <a:pt x="1054868" y="1409695"/>
                      <a:pt x="1048279" y="1449238"/>
                      <a:pt x="1046007" y="1483657"/>
                    </a:cubicBezTo>
                    <a:lnTo>
                      <a:pt x="1046013" y="1495461"/>
                    </a:lnTo>
                    <a:lnTo>
                      <a:pt x="1012870" y="1487283"/>
                    </a:lnTo>
                    <a:cubicBezTo>
                      <a:pt x="926987" y="1465792"/>
                      <a:pt x="733725" y="1415316"/>
                      <a:pt x="561761" y="1355377"/>
                    </a:cubicBezTo>
                    <a:cubicBezTo>
                      <a:pt x="461449" y="1320412"/>
                      <a:pt x="345032" y="1242374"/>
                      <a:pt x="245802" y="1165644"/>
                    </a:cubicBezTo>
                    <a:lnTo>
                      <a:pt x="203985" y="1132152"/>
                    </a:lnTo>
                    <a:lnTo>
                      <a:pt x="234345" y="1297625"/>
                    </a:lnTo>
                    <a:cubicBezTo>
                      <a:pt x="242410" y="1333469"/>
                      <a:pt x="251108" y="1368352"/>
                      <a:pt x="260418" y="1401636"/>
                    </a:cubicBezTo>
                    <a:lnTo>
                      <a:pt x="276086" y="1451374"/>
                    </a:lnTo>
                    <a:lnTo>
                      <a:pt x="305709" y="1466895"/>
                    </a:lnTo>
                    <a:cubicBezTo>
                      <a:pt x="373741" y="1500727"/>
                      <a:pt x="458919" y="1537496"/>
                      <a:pt x="561761" y="1572001"/>
                    </a:cubicBezTo>
                    <a:cubicBezTo>
                      <a:pt x="875187" y="1675055"/>
                      <a:pt x="1106575" y="1664539"/>
                      <a:pt x="1106575" y="1664539"/>
                    </a:cubicBezTo>
                    <a:lnTo>
                      <a:pt x="1106413" y="1663981"/>
                    </a:lnTo>
                    <a:lnTo>
                      <a:pt x="1109394" y="1669032"/>
                    </a:lnTo>
                    <a:lnTo>
                      <a:pt x="1145872" y="1724864"/>
                    </a:lnTo>
                    <a:lnTo>
                      <a:pt x="1151390" y="1728726"/>
                    </a:lnTo>
                    <a:cubicBezTo>
                      <a:pt x="1204685" y="1766022"/>
                      <a:pt x="1231333" y="1784670"/>
                      <a:pt x="1244657" y="1793994"/>
                    </a:cubicBezTo>
                    <a:lnTo>
                      <a:pt x="1255282" y="1801430"/>
                    </a:lnTo>
                    <a:lnTo>
                      <a:pt x="1259765" y="1803273"/>
                    </a:lnTo>
                    <a:lnTo>
                      <a:pt x="1262425" y="1805592"/>
                    </a:lnTo>
                    <a:lnTo>
                      <a:pt x="1274330" y="1811179"/>
                    </a:lnTo>
                    <a:cubicBezTo>
                      <a:pt x="1306011" y="1825288"/>
                      <a:pt x="1380623" y="1853310"/>
                      <a:pt x="1470632" y="1851731"/>
                    </a:cubicBezTo>
                    <a:cubicBezTo>
                      <a:pt x="1470632" y="1851731"/>
                      <a:pt x="1375886" y="1881199"/>
                      <a:pt x="1337987" y="1879094"/>
                    </a:cubicBezTo>
                    <a:lnTo>
                      <a:pt x="1331095" y="1878426"/>
                    </a:lnTo>
                    <a:lnTo>
                      <a:pt x="1337882" y="1887387"/>
                    </a:lnTo>
                    <a:cubicBezTo>
                      <a:pt x="1419945" y="2013557"/>
                      <a:pt x="2129049" y="1929443"/>
                      <a:pt x="2129049" y="1929443"/>
                    </a:cubicBezTo>
                    <a:cubicBezTo>
                      <a:pt x="2129049" y="1929443"/>
                      <a:pt x="2129049" y="1929443"/>
                      <a:pt x="1413632" y="2169166"/>
                    </a:cubicBezTo>
                    <a:cubicBezTo>
                      <a:pt x="1372338" y="2174818"/>
                      <a:pt x="1335063" y="2177389"/>
                      <a:pt x="1301496" y="2177335"/>
                    </a:cubicBezTo>
                    <a:lnTo>
                      <a:pt x="1281595" y="2175656"/>
                    </a:lnTo>
                    <a:lnTo>
                      <a:pt x="1272759" y="2177928"/>
                    </a:lnTo>
                    <a:cubicBezTo>
                      <a:pt x="1225811" y="2184118"/>
                      <a:pt x="1152027" y="2176826"/>
                      <a:pt x="1063402" y="2155016"/>
                    </a:cubicBezTo>
                    <a:lnTo>
                      <a:pt x="994039" y="2133739"/>
                    </a:lnTo>
                    <a:lnTo>
                      <a:pt x="954380" y="2125140"/>
                    </a:lnTo>
                    <a:cubicBezTo>
                      <a:pt x="795130" y="2082053"/>
                      <a:pt x="625466" y="1978945"/>
                      <a:pt x="485181" y="1869194"/>
                    </a:cubicBezTo>
                    <a:lnTo>
                      <a:pt x="424111" y="1817746"/>
                    </a:lnTo>
                    <a:lnTo>
                      <a:pt x="407264" y="1804650"/>
                    </a:lnTo>
                    <a:lnTo>
                      <a:pt x="400242" y="1797638"/>
                    </a:lnTo>
                    <a:lnTo>
                      <a:pt x="373060" y="1774739"/>
                    </a:lnTo>
                    <a:cubicBezTo>
                      <a:pt x="269990" y="1681147"/>
                      <a:pt x="196858" y="1593878"/>
                      <a:pt x="178723" y="1546546"/>
                    </a:cubicBezTo>
                    <a:cubicBezTo>
                      <a:pt x="92516" y="1378254"/>
                      <a:pt x="0" y="1054291"/>
                      <a:pt x="0" y="780817"/>
                    </a:cubicBezTo>
                    <a:cubicBezTo>
                      <a:pt x="0" y="639609"/>
                      <a:pt x="33412" y="519701"/>
                      <a:pt x="75177" y="424975"/>
                    </a:cubicBezTo>
                    <a:lnTo>
                      <a:pt x="118668" y="339046"/>
                    </a:lnTo>
                    <a:lnTo>
                      <a:pt x="116953" y="341932"/>
                    </a:lnTo>
                    <a:cubicBezTo>
                      <a:pt x="106605" y="360695"/>
                      <a:pt x="98512" y="376484"/>
                      <a:pt x="93993" y="385485"/>
                    </a:cubicBezTo>
                    <a:lnTo>
                      <a:pt x="93509" y="386464"/>
                    </a:lnTo>
                    <a:lnTo>
                      <a:pt x="95671" y="380966"/>
                    </a:lnTo>
                    <a:cubicBezTo>
                      <a:pt x="123713" y="321057"/>
                      <a:pt x="154747" y="273315"/>
                      <a:pt x="182624" y="235436"/>
                    </a:cubicBezTo>
                    <a:cubicBezTo>
                      <a:pt x="241010" y="154155"/>
                      <a:pt x="355019" y="96548"/>
                      <a:pt x="478385" y="56179"/>
                    </a:cubicBezTo>
                    <a:close/>
                    <a:moveTo>
                      <a:pt x="999928" y="0"/>
                    </a:moveTo>
                    <a:lnTo>
                      <a:pt x="1676449" y="525838"/>
                    </a:lnTo>
                    <a:cubicBezTo>
                      <a:pt x="1676449" y="525838"/>
                      <a:pt x="1594394" y="780465"/>
                      <a:pt x="1579666" y="999319"/>
                    </a:cubicBezTo>
                    <a:cubicBezTo>
                      <a:pt x="1570461" y="1136103"/>
                      <a:pt x="1517697" y="1165202"/>
                      <a:pt x="1467605" y="1154947"/>
                    </a:cubicBezTo>
                    <a:lnTo>
                      <a:pt x="1464597" y="1153889"/>
                    </a:lnTo>
                    <a:lnTo>
                      <a:pt x="1452025" y="1125910"/>
                    </a:lnTo>
                    <a:cubicBezTo>
                      <a:pt x="1443951" y="1107940"/>
                      <a:pt x="1434013" y="1085824"/>
                      <a:pt x="1421781" y="1058603"/>
                    </a:cubicBezTo>
                    <a:cubicBezTo>
                      <a:pt x="1421781" y="1058603"/>
                      <a:pt x="1360757" y="999691"/>
                      <a:pt x="1327088" y="961820"/>
                    </a:cubicBezTo>
                    <a:lnTo>
                      <a:pt x="1304643" y="931982"/>
                    </a:lnTo>
                    <a:lnTo>
                      <a:pt x="1303076" y="929526"/>
                    </a:lnTo>
                    <a:cubicBezTo>
                      <a:pt x="1268667" y="875590"/>
                      <a:pt x="1268667" y="875590"/>
                      <a:pt x="1268667" y="875590"/>
                    </a:cubicBezTo>
                    <a:cubicBezTo>
                      <a:pt x="1268667" y="875590"/>
                      <a:pt x="1236457" y="743498"/>
                      <a:pt x="1300274" y="628723"/>
                    </a:cubicBezTo>
                    <a:lnTo>
                      <a:pt x="1307563" y="618378"/>
                    </a:lnTo>
                    <a:lnTo>
                      <a:pt x="1298642" y="596988"/>
                    </a:lnTo>
                    <a:lnTo>
                      <a:pt x="1292154" y="580800"/>
                    </a:lnTo>
                    <a:lnTo>
                      <a:pt x="1285141" y="579133"/>
                    </a:lnTo>
                    <a:cubicBezTo>
                      <a:pt x="1217808" y="547566"/>
                      <a:pt x="1022122" y="492850"/>
                      <a:pt x="1003184" y="372896"/>
                    </a:cubicBezTo>
                    <a:cubicBezTo>
                      <a:pt x="992533" y="305422"/>
                      <a:pt x="984544" y="180018"/>
                      <a:pt x="993448" y="53615"/>
                    </a:cubicBezTo>
                    <a:close/>
                  </a:path>
                </a:pathLst>
              </a:custGeom>
              <a:solidFill>
                <a:srgbClr val="FAED22"/>
              </a:solidFill>
              <a:ln w="3175" cap="flat">
                <a:solidFill>
                  <a:schemeClr val="tx1"/>
                </a:solidFill>
                <a:prstDash val="solid"/>
                <a:miter lim="800000"/>
                <a:headEnd/>
                <a:tailEnd/>
              </a:ln>
            </p:spPr>
            <p:txBody>
              <a:bodyPr vert="horz" wrap="square" lIns="89642" tIns="44821" rIns="89642" bIns="44821" numCol="1" anchor="t" anchorCtr="0" compatLnSpc="1">
                <a:prstTxWarp prst="textNoShape">
                  <a:avLst/>
                </a:prstTxWarp>
                <a:noAutofit/>
              </a:bodyPr>
              <a:lstStyle/>
              <a:p>
                <a:pPr defTabSz="914367"/>
                <a:endParaRPr lang="en-IN" sz="1765">
                  <a:solidFill>
                    <a:srgbClr val="000000"/>
                  </a:solidFill>
                </a:endParaRPr>
              </a:p>
            </p:txBody>
          </p:sp>
          <p:sp>
            <p:nvSpPr>
              <p:cNvPr id="14" name="Freeform 13"/>
              <p:cNvSpPr>
                <a:spLocks/>
              </p:cNvSpPr>
              <p:nvPr/>
            </p:nvSpPr>
            <p:spPr bwMode="auto">
              <a:xfrm>
                <a:off x="1058398" y="3354141"/>
                <a:ext cx="533724" cy="414349"/>
              </a:xfrm>
              <a:custGeom>
                <a:avLst/>
                <a:gdLst>
                  <a:gd name="connsiteX0" fmla="*/ 3283994 w 3907177"/>
                  <a:gd name="connsiteY0" fmla="*/ 2199606 h 3033282"/>
                  <a:gd name="connsiteX1" fmla="*/ 3216771 w 3907177"/>
                  <a:gd name="connsiteY1" fmla="*/ 2237508 h 3033282"/>
                  <a:gd name="connsiteX2" fmla="*/ 3176070 w 3907177"/>
                  <a:gd name="connsiteY2" fmla="*/ 2287254 h 3033282"/>
                  <a:gd name="connsiteX3" fmla="*/ 3157902 w 3907177"/>
                  <a:gd name="connsiteY3" fmla="*/ 2304911 h 3033282"/>
                  <a:gd name="connsiteX4" fmla="*/ 3148728 w 3907177"/>
                  <a:gd name="connsiteY4" fmla="*/ 2311436 h 3033282"/>
                  <a:gd name="connsiteX5" fmla="*/ 3136944 w 3907177"/>
                  <a:gd name="connsiteY5" fmla="*/ 2319628 h 3033282"/>
                  <a:gd name="connsiteX6" fmla="*/ 3154439 w 3907177"/>
                  <a:gd name="connsiteY6" fmla="*/ 2308277 h 3033282"/>
                  <a:gd name="connsiteX7" fmla="*/ 3157902 w 3907177"/>
                  <a:gd name="connsiteY7" fmla="*/ 2304911 h 3033282"/>
                  <a:gd name="connsiteX8" fmla="*/ 3176070 w 3907177"/>
                  <a:gd name="connsiteY8" fmla="*/ 2291992 h 3033282"/>
                  <a:gd name="connsiteX9" fmla="*/ 3229375 w 3907177"/>
                  <a:gd name="connsiteY9" fmla="*/ 2250142 h 3033282"/>
                  <a:gd name="connsiteX10" fmla="*/ 3317605 w 3907177"/>
                  <a:gd name="connsiteY10" fmla="*/ 2231191 h 3033282"/>
                  <a:gd name="connsiteX11" fmla="*/ 3378755 w 3907177"/>
                  <a:gd name="connsiteY11" fmla="*/ 2245404 h 3033282"/>
                  <a:gd name="connsiteX12" fmla="*/ 3382808 w 3907177"/>
                  <a:gd name="connsiteY12" fmla="*/ 2247161 h 3033282"/>
                  <a:gd name="connsiteX13" fmla="*/ 3351550 w 3907177"/>
                  <a:gd name="connsiteY13" fmla="*/ 2248260 h 3033282"/>
                  <a:gd name="connsiteX14" fmla="*/ 3315694 w 3907177"/>
                  <a:gd name="connsiteY14" fmla="*/ 2268558 h 3033282"/>
                  <a:gd name="connsiteX15" fmla="*/ 3248262 w 3907177"/>
                  <a:gd name="connsiteY15" fmla="*/ 2369622 h 3033282"/>
                  <a:gd name="connsiteX16" fmla="*/ 3195581 w 3907177"/>
                  <a:gd name="connsiteY16" fmla="*/ 2443314 h 3033282"/>
                  <a:gd name="connsiteX17" fmla="*/ 3288300 w 3907177"/>
                  <a:gd name="connsiteY17" fmla="*/ 2346462 h 3033282"/>
                  <a:gd name="connsiteX18" fmla="*/ 3334660 w 3907177"/>
                  <a:gd name="connsiteY18" fmla="*/ 2295930 h 3033282"/>
                  <a:gd name="connsiteX19" fmla="*/ 3404199 w 3907177"/>
                  <a:gd name="connsiteY19" fmla="*/ 2281191 h 3033282"/>
                  <a:gd name="connsiteX20" fmla="*/ 3442129 w 3907177"/>
                  <a:gd name="connsiteY20" fmla="*/ 2291719 h 3033282"/>
                  <a:gd name="connsiteX21" fmla="*/ 3448451 w 3907177"/>
                  <a:gd name="connsiteY21" fmla="*/ 2258031 h 3033282"/>
                  <a:gd name="connsiteX22" fmla="*/ 3432746 w 3907177"/>
                  <a:gd name="connsiteY22" fmla="*/ 2253458 h 3033282"/>
                  <a:gd name="connsiteX23" fmla="*/ 3399309 w 3907177"/>
                  <a:gd name="connsiteY23" fmla="*/ 2247403 h 3033282"/>
                  <a:gd name="connsiteX24" fmla="*/ 3406885 w 3907177"/>
                  <a:gd name="connsiteY24" fmla="*/ 2246720 h 3033282"/>
                  <a:gd name="connsiteX25" fmla="*/ 3422640 w 3907177"/>
                  <a:gd name="connsiteY25" fmla="*/ 2231191 h 3033282"/>
                  <a:gd name="connsiteX26" fmla="*/ 3370122 w 3907177"/>
                  <a:gd name="connsiteY26" fmla="*/ 2208029 h 3033282"/>
                  <a:gd name="connsiteX27" fmla="*/ 3283994 w 3907177"/>
                  <a:gd name="connsiteY27" fmla="*/ 2199606 h 3033282"/>
                  <a:gd name="connsiteX28" fmla="*/ 3868985 w 3907177"/>
                  <a:gd name="connsiteY28" fmla="*/ 2136388 h 3033282"/>
                  <a:gd name="connsiteX29" fmla="*/ 3734396 w 3907177"/>
                  <a:gd name="connsiteY29" fmla="*/ 2199444 h 3033282"/>
                  <a:gd name="connsiteX30" fmla="*/ 3559852 w 3907177"/>
                  <a:gd name="connsiteY30" fmla="*/ 2182629 h 3033282"/>
                  <a:gd name="connsiteX31" fmla="*/ 3641867 w 3907177"/>
                  <a:gd name="connsiteY31" fmla="*/ 2241481 h 3033282"/>
                  <a:gd name="connsiteX32" fmla="*/ 3702852 w 3907177"/>
                  <a:gd name="connsiteY32" fmla="*/ 2239379 h 3033282"/>
                  <a:gd name="connsiteX33" fmla="*/ 3831132 w 3907177"/>
                  <a:gd name="connsiteY33" fmla="*/ 2178425 h 3033282"/>
                  <a:gd name="connsiteX34" fmla="*/ 3868985 w 3907177"/>
                  <a:gd name="connsiteY34" fmla="*/ 2136388 h 3033282"/>
                  <a:gd name="connsiteX35" fmla="*/ 3385344 w 3907177"/>
                  <a:gd name="connsiteY35" fmla="*/ 2089937 h 3033282"/>
                  <a:gd name="connsiteX36" fmla="*/ 3403807 w 3907177"/>
                  <a:gd name="connsiteY36" fmla="*/ 2092045 h 3033282"/>
                  <a:gd name="connsiteX37" fmla="*/ 3420687 w 3907177"/>
                  <a:gd name="connsiteY37" fmla="*/ 2119439 h 3033282"/>
                  <a:gd name="connsiteX38" fmla="*/ 3410137 w 3907177"/>
                  <a:gd name="connsiteY38" fmla="*/ 2151048 h 3033282"/>
                  <a:gd name="connsiteX39" fmla="*/ 3380596 w 3907177"/>
                  <a:gd name="connsiteY39" fmla="*/ 2144726 h 3033282"/>
                  <a:gd name="connsiteX40" fmla="*/ 3353166 w 3907177"/>
                  <a:gd name="connsiteY40" fmla="*/ 2146834 h 3033282"/>
                  <a:gd name="connsiteX41" fmla="*/ 3353166 w 3907177"/>
                  <a:gd name="connsiteY41" fmla="*/ 2113117 h 3033282"/>
                  <a:gd name="connsiteX42" fmla="*/ 3370046 w 3907177"/>
                  <a:gd name="connsiteY42" fmla="*/ 2094152 h 3033282"/>
                  <a:gd name="connsiteX43" fmla="*/ 3385344 w 3907177"/>
                  <a:gd name="connsiteY43" fmla="*/ 2089937 h 3033282"/>
                  <a:gd name="connsiteX44" fmla="*/ 2921466 w 3907177"/>
                  <a:gd name="connsiteY44" fmla="*/ 1940074 h 3033282"/>
                  <a:gd name="connsiteX45" fmla="*/ 2876044 w 3907177"/>
                  <a:gd name="connsiteY45" fmla="*/ 1945069 h 3033282"/>
                  <a:gd name="connsiteX46" fmla="*/ 2796228 w 3907177"/>
                  <a:gd name="connsiteY46" fmla="*/ 1980818 h 3033282"/>
                  <a:gd name="connsiteX47" fmla="*/ 2716411 w 3907177"/>
                  <a:gd name="connsiteY47" fmla="*/ 2018670 h 3033282"/>
                  <a:gd name="connsiteX48" fmla="*/ 2773123 w 3907177"/>
                  <a:gd name="connsiteY48" fmla="*/ 2014464 h 3033282"/>
                  <a:gd name="connsiteX49" fmla="*/ 2813031 w 3907177"/>
                  <a:gd name="connsiteY49" fmla="*/ 2008155 h 3033282"/>
                  <a:gd name="connsiteX50" fmla="*/ 2810931 w 3907177"/>
                  <a:gd name="connsiteY50" fmla="*/ 2075448 h 3033282"/>
                  <a:gd name="connsiteX51" fmla="*/ 2825634 w 3907177"/>
                  <a:gd name="connsiteY51" fmla="*/ 2117505 h 3033282"/>
                  <a:gd name="connsiteX52" fmla="*/ 2817232 w 3907177"/>
                  <a:gd name="connsiteY52" fmla="*/ 2123814 h 3033282"/>
                  <a:gd name="connsiteX53" fmla="*/ 2773123 w 3907177"/>
                  <a:gd name="connsiteY53" fmla="*/ 2157460 h 3033282"/>
                  <a:gd name="connsiteX54" fmla="*/ 2848738 w 3907177"/>
                  <a:gd name="connsiteY54" fmla="*/ 2125917 h 3033282"/>
                  <a:gd name="connsiteX55" fmla="*/ 2941157 w 3907177"/>
                  <a:gd name="connsiteY55" fmla="*/ 2104888 h 3033282"/>
                  <a:gd name="connsiteX56" fmla="*/ 3111292 w 3907177"/>
                  <a:gd name="connsiteY56" fmla="*/ 2106991 h 3033282"/>
                  <a:gd name="connsiteX57" fmla="*/ 3056681 w 3907177"/>
                  <a:gd name="connsiteY57" fmla="*/ 2085962 h 3033282"/>
                  <a:gd name="connsiteX58" fmla="*/ 3016773 w 3907177"/>
                  <a:gd name="connsiteY58" fmla="*/ 2081756 h 3033282"/>
                  <a:gd name="connsiteX59" fmla="*/ 3023074 w 3907177"/>
                  <a:gd name="connsiteY59" fmla="*/ 2027081 h 3033282"/>
                  <a:gd name="connsiteX60" fmla="*/ 2995769 w 3907177"/>
                  <a:gd name="connsiteY60" fmla="*/ 1970303 h 3033282"/>
                  <a:gd name="connsiteX61" fmla="*/ 3018873 w 3907177"/>
                  <a:gd name="connsiteY61" fmla="*/ 1966098 h 3033282"/>
                  <a:gd name="connsiteX62" fmla="*/ 3065083 w 3907177"/>
                  <a:gd name="connsiteY62" fmla="*/ 1957686 h 3033282"/>
                  <a:gd name="connsiteX63" fmla="*/ 2968463 w 3907177"/>
                  <a:gd name="connsiteY63" fmla="*/ 1942966 h 3033282"/>
                  <a:gd name="connsiteX64" fmla="*/ 2921466 w 3907177"/>
                  <a:gd name="connsiteY64" fmla="*/ 1940074 h 3033282"/>
                  <a:gd name="connsiteX65" fmla="*/ 2882143 w 3907177"/>
                  <a:gd name="connsiteY65" fmla="*/ 1689578 h 3033282"/>
                  <a:gd name="connsiteX66" fmla="*/ 2779009 w 3907177"/>
                  <a:gd name="connsiteY66" fmla="*/ 1700880 h 3033282"/>
                  <a:gd name="connsiteX67" fmla="*/ 2720075 w 3907177"/>
                  <a:gd name="connsiteY67" fmla="*/ 1810222 h 3033282"/>
                  <a:gd name="connsiteX68" fmla="*/ 2806371 w 3907177"/>
                  <a:gd name="connsiteY68" fmla="*/ 1730318 h 3033282"/>
                  <a:gd name="connsiteX69" fmla="*/ 2953705 w 3907177"/>
                  <a:gd name="connsiteY69" fmla="*/ 1692469 h 3033282"/>
                  <a:gd name="connsiteX70" fmla="*/ 2882143 w 3907177"/>
                  <a:gd name="connsiteY70" fmla="*/ 1689578 h 3033282"/>
                  <a:gd name="connsiteX71" fmla="*/ 2751741 w 3907177"/>
                  <a:gd name="connsiteY71" fmla="*/ 1152523 h 3033282"/>
                  <a:gd name="connsiteX72" fmla="*/ 2752273 w 3907177"/>
                  <a:gd name="connsiteY72" fmla="*/ 1154187 h 3033282"/>
                  <a:gd name="connsiteX73" fmla="*/ 2764036 w 3907177"/>
                  <a:gd name="connsiteY73" fmla="*/ 1192874 h 3033282"/>
                  <a:gd name="connsiteX74" fmla="*/ 2787833 w 3907177"/>
                  <a:gd name="connsiteY74" fmla="*/ 1274009 h 3033282"/>
                  <a:gd name="connsiteX75" fmla="*/ 2819472 w 3907177"/>
                  <a:gd name="connsiteY75" fmla="*/ 1283014 h 3033282"/>
                  <a:gd name="connsiteX76" fmla="*/ 2820261 w 3907177"/>
                  <a:gd name="connsiteY76" fmla="*/ 1283258 h 3033282"/>
                  <a:gd name="connsiteX77" fmla="*/ 2825890 w 3907177"/>
                  <a:gd name="connsiteY77" fmla="*/ 1283302 h 3033282"/>
                  <a:gd name="connsiteX78" fmla="*/ 2903747 w 3907177"/>
                  <a:gd name="connsiteY78" fmla="*/ 1291542 h 3033282"/>
                  <a:gd name="connsiteX79" fmla="*/ 2899550 w 3907177"/>
                  <a:gd name="connsiteY79" fmla="*/ 1288295 h 3033282"/>
                  <a:gd name="connsiteX80" fmla="*/ 2806596 w 3907177"/>
                  <a:gd name="connsiteY80" fmla="*/ 1216396 h 3033282"/>
                  <a:gd name="connsiteX81" fmla="*/ 2775061 w 3907177"/>
                  <a:gd name="connsiteY81" fmla="*/ 1179930 h 3033282"/>
                  <a:gd name="connsiteX82" fmla="*/ 1695768 w 3907177"/>
                  <a:gd name="connsiteY82" fmla="*/ 862876 h 3033282"/>
                  <a:gd name="connsiteX83" fmla="*/ 2078780 w 3907177"/>
                  <a:gd name="connsiteY83" fmla="*/ 919680 h 3033282"/>
                  <a:gd name="connsiteX84" fmla="*/ 2177689 w 3907177"/>
                  <a:gd name="connsiteY84" fmla="*/ 938615 h 3033282"/>
                  <a:gd name="connsiteX85" fmla="*/ 2274495 w 3907177"/>
                  <a:gd name="connsiteY85" fmla="*/ 997523 h 3033282"/>
                  <a:gd name="connsiteX86" fmla="*/ 2192421 w 3907177"/>
                  <a:gd name="connsiteY86" fmla="*/ 984900 h 3033282"/>
                  <a:gd name="connsiteX87" fmla="*/ 2082989 w 3907177"/>
                  <a:gd name="connsiteY87" fmla="*/ 1031185 h 3033282"/>
                  <a:gd name="connsiteX88" fmla="*/ 2013542 w 3907177"/>
                  <a:gd name="connsiteY88" fmla="*/ 1064846 h 3033282"/>
                  <a:gd name="connsiteX89" fmla="*/ 2177689 w 3907177"/>
                  <a:gd name="connsiteY89" fmla="*/ 1060639 h 3033282"/>
                  <a:gd name="connsiteX90" fmla="*/ 2320793 w 3907177"/>
                  <a:gd name="connsiteY90" fmla="*/ 1102716 h 3033282"/>
                  <a:gd name="connsiteX91" fmla="*/ 2402867 w 3907177"/>
                  <a:gd name="connsiteY91" fmla="*/ 1193182 h 3033282"/>
                  <a:gd name="connsiteX92" fmla="*/ 2477977 w 3907177"/>
                  <a:gd name="connsiteY92" fmla="*/ 1304520 h 3033282"/>
                  <a:gd name="connsiteX93" fmla="*/ 2495231 w 3907177"/>
                  <a:gd name="connsiteY93" fmla="*/ 1302276 h 3033282"/>
                  <a:gd name="connsiteX94" fmla="*/ 2479203 w 3907177"/>
                  <a:gd name="connsiteY94" fmla="*/ 1263722 h 3033282"/>
                  <a:gd name="connsiteX95" fmla="*/ 2352360 w 3907177"/>
                  <a:gd name="connsiteY95" fmla="*/ 974380 h 3033282"/>
                  <a:gd name="connsiteX96" fmla="*/ 2194525 w 3907177"/>
                  <a:gd name="connsiteY96" fmla="*/ 875499 h 3033282"/>
                  <a:gd name="connsiteX97" fmla="*/ 1695768 w 3907177"/>
                  <a:gd name="connsiteY97" fmla="*/ 862876 h 3033282"/>
                  <a:gd name="connsiteX98" fmla="*/ 2884074 w 3907177"/>
                  <a:gd name="connsiteY98" fmla="*/ 435929 h 3033282"/>
                  <a:gd name="connsiteX99" fmla="*/ 2987291 w 3907177"/>
                  <a:gd name="connsiteY99" fmla="*/ 631716 h 3033282"/>
                  <a:gd name="connsiteX100" fmla="*/ 3130531 w 3907177"/>
                  <a:gd name="connsiteY100" fmla="*/ 1008552 h 3033282"/>
                  <a:gd name="connsiteX101" fmla="*/ 3063124 w 3907177"/>
                  <a:gd name="connsiteY101" fmla="*/ 682241 h 3033282"/>
                  <a:gd name="connsiteX102" fmla="*/ 2970440 w 3907177"/>
                  <a:gd name="connsiteY102" fmla="*/ 520138 h 3033282"/>
                  <a:gd name="connsiteX103" fmla="*/ 2884074 w 3907177"/>
                  <a:gd name="connsiteY103" fmla="*/ 435929 h 3033282"/>
                  <a:gd name="connsiteX104" fmla="*/ 990408 w 3907177"/>
                  <a:gd name="connsiteY104" fmla="*/ 698 h 3033282"/>
                  <a:gd name="connsiteX105" fmla="*/ 1039550 w 3907177"/>
                  <a:gd name="connsiteY105" fmla="*/ 863 h 3033282"/>
                  <a:gd name="connsiteX106" fmla="*/ 1348803 w 3907177"/>
                  <a:gd name="connsiteY106" fmla="*/ 72387 h 3033282"/>
                  <a:gd name="connsiteX107" fmla="*/ 1737998 w 3907177"/>
                  <a:gd name="connsiteY107" fmla="*/ 232264 h 3033282"/>
                  <a:gd name="connsiteX108" fmla="*/ 2005176 w 3907177"/>
                  <a:gd name="connsiteY108" fmla="*/ 371104 h 3033282"/>
                  <a:gd name="connsiteX109" fmla="*/ 2203455 w 3907177"/>
                  <a:gd name="connsiteY109" fmla="*/ 477601 h 3033282"/>
                  <a:gd name="connsiteX110" fmla="*/ 2296994 w 3907177"/>
                  <a:gd name="connsiteY110" fmla="*/ 530121 h 3033282"/>
                  <a:gd name="connsiteX111" fmla="*/ 2323986 w 3907177"/>
                  <a:gd name="connsiteY111" fmla="*/ 546882 h 3033282"/>
                  <a:gd name="connsiteX112" fmla="*/ 2357160 w 3907177"/>
                  <a:gd name="connsiteY112" fmla="*/ 567482 h 3033282"/>
                  <a:gd name="connsiteX113" fmla="*/ 2404890 w 3907177"/>
                  <a:gd name="connsiteY113" fmla="*/ 598298 h 3033282"/>
                  <a:gd name="connsiteX114" fmla="*/ 2415440 w 3907177"/>
                  <a:gd name="connsiteY114" fmla="*/ 605928 h 3033282"/>
                  <a:gd name="connsiteX115" fmla="*/ 2362991 w 3907177"/>
                  <a:gd name="connsiteY115" fmla="*/ 493093 h 3033282"/>
                  <a:gd name="connsiteX116" fmla="*/ 2329266 w 3907177"/>
                  <a:gd name="connsiteY116" fmla="*/ 483333 h 3033282"/>
                  <a:gd name="connsiteX117" fmla="*/ 2307060 w 3907177"/>
                  <a:gd name="connsiteY117" fmla="*/ 476906 h 3033282"/>
                  <a:gd name="connsiteX118" fmla="*/ 2313198 w 3907177"/>
                  <a:gd name="connsiteY118" fmla="*/ 470584 h 3033282"/>
                  <a:gd name="connsiteX119" fmla="*/ 2460566 w 3907177"/>
                  <a:gd name="connsiteY119" fmla="*/ 333037 h 3033282"/>
                  <a:gd name="connsiteX120" fmla="*/ 2482676 w 3907177"/>
                  <a:gd name="connsiteY120" fmla="*/ 317005 h 3033282"/>
                  <a:gd name="connsiteX121" fmla="*/ 2522361 w 3907177"/>
                  <a:gd name="connsiteY121" fmla="*/ 296868 h 3033282"/>
                  <a:gd name="connsiteX122" fmla="*/ 2554579 w 3907177"/>
                  <a:gd name="connsiteY122" fmla="*/ 283748 h 3033282"/>
                  <a:gd name="connsiteX123" fmla="*/ 2694384 w 3907177"/>
                  <a:gd name="connsiteY123" fmla="*/ 254812 h 3033282"/>
                  <a:gd name="connsiteX124" fmla="*/ 2798186 w 3907177"/>
                  <a:gd name="connsiteY124" fmla="*/ 277829 h 3033282"/>
                  <a:gd name="connsiteX125" fmla="*/ 2857052 w 3907177"/>
                  <a:gd name="connsiteY125" fmla="*/ 260994 h 3033282"/>
                  <a:gd name="connsiteX126" fmla="*/ 2861191 w 3907177"/>
                  <a:gd name="connsiteY126" fmla="*/ 261705 h 3033282"/>
                  <a:gd name="connsiteX127" fmla="*/ 2866568 w 3907177"/>
                  <a:gd name="connsiteY127" fmla="*/ 262766 h 3033282"/>
                  <a:gd name="connsiteX128" fmla="*/ 2867847 w 3907177"/>
                  <a:gd name="connsiteY128" fmla="*/ 263215 h 3033282"/>
                  <a:gd name="connsiteX129" fmla="*/ 2874182 w 3907177"/>
                  <a:gd name="connsiteY129" fmla="*/ 265939 h 3033282"/>
                  <a:gd name="connsiteX130" fmla="*/ 2878772 w 3907177"/>
                  <a:gd name="connsiteY130" fmla="*/ 265783 h 3033282"/>
                  <a:gd name="connsiteX131" fmla="*/ 2879970 w 3907177"/>
                  <a:gd name="connsiteY131" fmla="*/ 265863 h 3033282"/>
                  <a:gd name="connsiteX132" fmla="*/ 2909084 w 3907177"/>
                  <a:gd name="connsiteY132" fmla="*/ 273357 h 3033282"/>
                  <a:gd name="connsiteX133" fmla="*/ 2989498 w 3907177"/>
                  <a:gd name="connsiteY133" fmla="*/ 315709 h 3033282"/>
                  <a:gd name="connsiteX134" fmla="*/ 3365815 w 3907177"/>
                  <a:gd name="connsiteY134" fmla="*/ 925987 h 3033282"/>
                  <a:gd name="connsiteX135" fmla="*/ 3233368 w 3907177"/>
                  <a:gd name="connsiteY135" fmla="*/ 1376331 h 3033282"/>
                  <a:gd name="connsiteX136" fmla="*/ 3239761 w 3907177"/>
                  <a:gd name="connsiteY136" fmla="*/ 1410216 h 3033282"/>
                  <a:gd name="connsiteX137" fmla="*/ 3243622 w 3907177"/>
                  <a:gd name="connsiteY137" fmla="*/ 1426604 h 3033282"/>
                  <a:gd name="connsiteX138" fmla="*/ 3302854 w 3907177"/>
                  <a:gd name="connsiteY138" fmla="*/ 1472111 h 3033282"/>
                  <a:gd name="connsiteX139" fmla="*/ 3442037 w 3907177"/>
                  <a:gd name="connsiteY139" fmla="*/ 1705090 h 3033282"/>
                  <a:gd name="connsiteX140" fmla="*/ 3433973 w 3907177"/>
                  <a:gd name="connsiteY140" fmla="*/ 1732860 h 3033282"/>
                  <a:gd name="connsiteX141" fmla="*/ 3404867 w 3907177"/>
                  <a:gd name="connsiteY141" fmla="*/ 1673697 h 3033282"/>
                  <a:gd name="connsiteX142" fmla="*/ 3388345 w 3907177"/>
                  <a:gd name="connsiteY142" fmla="*/ 1639131 h 3033282"/>
                  <a:gd name="connsiteX143" fmla="*/ 3377441 w 3907177"/>
                  <a:gd name="connsiteY143" fmla="*/ 1616053 h 3033282"/>
                  <a:gd name="connsiteX144" fmla="*/ 3359581 w 3907177"/>
                  <a:gd name="connsiteY144" fmla="*/ 1565598 h 3033282"/>
                  <a:gd name="connsiteX145" fmla="*/ 3361687 w 3907177"/>
                  <a:gd name="connsiteY145" fmla="*/ 1582431 h 3033282"/>
                  <a:gd name="connsiteX146" fmla="*/ 3374588 w 3907177"/>
                  <a:gd name="connsiteY146" fmla="*/ 1610015 h 3033282"/>
                  <a:gd name="connsiteX147" fmla="*/ 3377441 w 3907177"/>
                  <a:gd name="connsiteY147" fmla="*/ 1616053 h 3033282"/>
                  <a:gd name="connsiteX148" fmla="*/ 3442901 w 3907177"/>
                  <a:gd name="connsiteY148" fmla="*/ 1800978 h 3033282"/>
                  <a:gd name="connsiteX149" fmla="*/ 3440408 w 3907177"/>
                  <a:gd name="connsiteY149" fmla="*/ 1796829 h 3033282"/>
                  <a:gd name="connsiteX150" fmla="*/ 3433154 w 3907177"/>
                  <a:gd name="connsiteY150" fmla="*/ 1784752 h 3033282"/>
                  <a:gd name="connsiteX151" fmla="*/ 3397602 w 3907177"/>
                  <a:gd name="connsiteY151" fmla="*/ 1761774 h 3033282"/>
                  <a:gd name="connsiteX152" fmla="*/ 3349501 w 3907177"/>
                  <a:gd name="connsiteY152" fmla="*/ 1755507 h 3033282"/>
                  <a:gd name="connsiteX153" fmla="*/ 3395510 w 3907177"/>
                  <a:gd name="connsiteY153" fmla="*/ 1772218 h 3033282"/>
                  <a:gd name="connsiteX154" fmla="*/ 3439918 w 3907177"/>
                  <a:gd name="connsiteY154" fmla="*/ 1800713 h 3033282"/>
                  <a:gd name="connsiteX155" fmla="*/ 3444055 w 3907177"/>
                  <a:gd name="connsiteY155" fmla="*/ 1804238 h 3033282"/>
                  <a:gd name="connsiteX156" fmla="*/ 3555468 w 3907177"/>
                  <a:gd name="connsiteY156" fmla="*/ 2118980 h 3033282"/>
                  <a:gd name="connsiteX157" fmla="*/ 3553362 w 3907177"/>
                  <a:gd name="connsiteY157" fmla="*/ 2091890 h 3033282"/>
                  <a:gd name="connsiteX158" fmla="*/ 3553487 w 3907177"/>
                  <a:gd name="connsiteY158" fmla="*/ 2080908 h 3033282"/>
                  <a:gd name="connsiteX159" fmla="*/ 3554536 w 3907177"/>
                  <a:gd name="connsiteY159" fmla="*/ 2083695 h 3033282"/>
                  <a:gd name="connsiteX160" fmla="*/ 3570142 w 3907177"/>
                  <a:gd name="connsiteY160" fmla="*/ 2125146 h 3033282"/>
                  <a:gd name="connsiteX161" fmla="*/ 3570375 w 3907177"/>
                  <a:gd name="connsiteY161" fmla="*/ 2125765 h 3033282"/>
                  <a:gd name="connsiteX162" fmla="*/ 3570326 w 3907177"/>
                  <a:gd name="connsiteY162" fmla="*/ 2125774 h 3033282"/>
                  <a:gd name="connsiteX163" fmla="*/ 3524755 w 3907177"/>
                  <a:gd name="connsiteY163" fmla="*/ 2128437 h 3033282"/>
                  <a:gd name="connsiteX164" fmla="*/ 3520991 w 3907177"/>
                  <a:gd name="connsiteY164" fmla="*/ 2130652 h 3033282"/>
                  <a:gd name="connsiteX165" fmla="*/ 3519898 w 3907177"/>
                  <a:gd name="connsiteY165" fmla="*/ 2125754 h 3033282"/>
                  <a:gd name="connsiteX166" fmla="*/ 3513061 w 3907177"/>
                  <a:gd name="connsiteY166" fmla="*/ 2102599 h 3033282"/>
                  <a:gd name="connsiteX167" fmla="*/ 3485716 w 3907177"/>
                  <a:gd name="connsiteY167" fmla="*/ 2058392 h 3033282"/>
                  <a:gd name="connsiteX168" fmla="*/ 3422611 w 3907177"/>
                  <a:gd name="connsiteY168" fmla="*/ 2039446 h 3033282"/>
                  <a:gd name="connsiteX169" fmla="*/ 3384747 w 3907177"/>
                  <a:gd name="connsiteY169" fmla="*/ 2043657 h 3033282"/>
                  <a:gd name="connsiteX170" fmla="*/ 3334263 w 3907177"/>
                  <a:gd name="connsiteY170" fmla="*/ 2031026 h 3033282"/>
                  <a:gd name="connsiteX171" fmla="*/ 3378437 w 3907177"/>
                  <a:gd name="connsiteY171" fmla="*/ 2058392 h 3033282"/>
                  <a:gd name="connsiteX172" fmla="*/ 3357402 w 3907177"/>
                  <a:gd name="connsiteY172" fmla="*/ 2092073 h 3033282"/>
                  <a:gd name="connsiteX173" fmla="*/ 3351091 w 3907177"/>
                  <a:gd name="connsiteY173" fmla="*/ 2140490 h 3033282"/>
                  <a:gd name="connsiteX174" fmla="*/ 3317435 w 3907177"/>
                  <a:gd name="connsiteY174" fmla="*/ 2140490 h 3033282"/>
                  <a:gd name="connsiteX175" fmla="*/ 3359505 w 3907177"/>
                  <a:gd name="connsiteY175" fmla="*/ 2155225 h 3033282"/>
                  <a:gd name="connsiteX176" fmla="*/ 3416300 w 3907177"/>
                  <a:gd name="connsiteY176" fmla="*/ 2180486 h 3033282"/>
                  <a:gd name="connsiteX177" fmla="*/ 3468953 w 3907177"/>
                  <a:gd name="connsiteY177" fmla="*/ 2204760 h 3033282"/>
                  <a:gd name="connsiteX178" fmla="*/ 3471183 w 3907177"/>
                  <a:gd name="connsiteY178" fmla="*/ 2205864 h 3033282"/>
                  <a:gd name="connsiteX179" fmla="*/ 3465112 w 3907177"/>
                  <a:gd name="connsiteY179" fmla="*/ 2222558 h 3033282"/>
                  <a:gd name="connsiteX180" fmla="*/ 3404088 w 3907177"/>
                  <a:gd name="connsiteY180" fmla="*/ 2397188 h 3033282"/>
                  <a:gd name="connsiteX181" fmla="*/ 3303083 w 3907177"/>
                  <a:gd name="connsiteY181" fmla="*/ 2544467 h 3033282"/>
                  <a:gd name="connsiteX182" fmla="*/ 3395671 w 3907177"/>
                  <a:gd name="connsiteY182" fmla="*/ 2456100 h 3033282"/>
                  <a:gd name="connsiteX183" fmla="*/ 3450382 w 3907177"/>
                  <a:gd name="connsiteY183" fmla="*/ 2386668 h 3033282"/>
                  <a:gd name="connsiteX184" fmla="*/ 3526136 w 3907177"/>
                  <a:gd name="connsiteY184" fmla="*/ 2184686 h 3033282"/>
                  <a:gd name="connsiteX185" fmla="*/ 3618725 w 3907177"/>
                  <a:gd name="connsiteY185" fmla="*/ 2163646 h 3033282"/>
                  <a:gd name="connsiteX186" fmla="*/ 3751294 w 3907177"/>
                  <a:gd name="connsiteY186" fmla="*/ 2136294 h 3033282"/>
                  <a:gd name="connsiteX187" fmla="*/ 3799430 w 3907177"/>
                  <a:gd name="connsiteY187" fmla="*/ 2104735 h 3033282"/>
                  <a:gd name="connsiteX188" fmla="*/ 3810437 w 3907177"/>
                  <a:gd name="connsiteY188" fmla="*/ 2099831 h 3033282"/>
                  <a:gd name="connsiteX189" fmla="*/ 3824461 w 3907177"/>
                  <a:gd name="connsiteY189" fmla="*/ 2097367 h 3033282"/>
                  <a:gd name="connsiteX190" fmla="*/ 3829342 w 3907177"/>
                  <a:gd name="connsiteY190" fmla="*/ 2096510 h 3033282"/>
                  <a:gd name="connsiteX191" fmla="*/ 3845987 w 3907177"/>
                  <a:gd name="connsiteY191" fmla="*/ 2098423 h 3033282"/>
                  <a:gd name="connsiteX192" fmla="*/ 3904907 w 3907177"/>
                  <a:gd name="connsiteY192" fmla="*/ 2180478 h 3033282"/>
                  <a:gd name="connsiteX193" fmla="*/ 3885968 w 3907177"/>
                  <a:gd name="connsiteY193" fmla="*/ 2315133 h 3033282"/>
                  <a:gd name="connsiteX194" fmla="*/ 3884225 w 3907177"/>
                  <a:gd name="connsiteY194" fmla="*/ 2328571 h 3033282"/>
                  <a:gd name="connsiteX195" fmla="*/ 3881324 w 3907177"/>
                  <a:gd name="connsiteY195" fmla="*/ 2344937 h 3033282"/>
                  <a:gd name="connsiteX196" fmla="*/ 3878738 w 3907177"/>
                  <a:gd name="connsiteY196" fmla="*/ 2354578 h 3033282"/>
                  <a:gd name="connsiteX197" fmla="*/ 3857107 w 3907177"/>
                  <a:gd name="connsiteY197" fmla="*/ 2435219 h 3033282"/>
                  <a:gd name="connsiteX198" fmla="*/ 3839183 w 3907177"/>
                  <a:gd name="connsiteY198" fmla="*/ 2502042 h 3033282"/>
                  <a:gd name="connsiteX199" fmla="*/ 3806236 w 3907177"/>
                  <a:gd name="connsiteY199" fmla="*/ 2584501 h 3033282"/>
                  <a:gd name="connsiteX200" fmla="*/ 3612412 w 3907177"/>
                  <a:gd name="connsiteY200" fmla="*/ 2876897 h 3033282"/>
                  <a:gd name="connsiteX201" fmla="*/ 3004275 w 3907177"/>
                  <a:gd name="connsiteY201" fmla="*/ 2912665 h 3033282"/>
                  <a:gd name="connsiteX202" fmla="*/ 2812785 w 3907177"/>
                  <a:gd name="connsiteY202" fmla="*/ 2759074 h 3033282"/>
                  <a:gd name="connsiteX203" fmla="*/ 2726510 w 3907177"/>
                  <a:gd name="connsiteY203" fmla="*/ 2651771 h 3033282"/>
                  <a:gd name="connsiteX204" fmla="*/ 2722301 w 3907177"/>
                  <a:gd name="connsiteY204" fmla="*/ 2655979 h 3033282"/>
                  <a:gd name="connsiteX205" fmla="*/ 2686529 w 3907177"/>
                  <a:gd name="connsiteY205" fmla="*/ 2750658 h 3033282"/>
                  <a:gd name="connsiteX206" fmla="*/ 2646547 w 3907177"/>
                  <a:gd name="connsiteY206" fmla="*/ 2799050 h 3033282"/>
                  <a:gd name="connsiteX207" fmla="*/ 2593940 w 3907177"/>
                  <a:gd name="connsiteY207" fmla="*/ 2887417 h 3033282"/>
                  <a:gd name="connsiteX208" fmla="*/ 2606566 w 3907177"/>
                  <a:gd name="connsiteY208" fmla="*/ 2963160 h 3033282"/>
                  <a:gd name="connsiteX209" fmla="*/ 2724406 w 3907177"/>
                  <a:gd name="connsiteY209" fmla="*/ 3001032 h 3033282"/>
                  <a:gd name="connsiteX210" fmla="*/ 2614983 w 3907177"/>
                  <a:gd name="connsiteY210" fmla="*/ 2916873 h 3033282"/>
                  <a:gd name="connsiteX211" fmla="*/ 2636026 w 3907177"/>
                  <a:gd name="connsiteY211" fmla="*/ 2931601 h 3033282"/>
                  <a:gd name="connsiteX212" fmla="*/ 2741240 w 3907177"/>
                  <a:gd name="connsiteY212" fmla="*/ 2975784 h 3033282"/>
                  <a:gd name="connsiteX213" fmla="*/ 2823307 w 3907177"/>
                  <a:gd name="connsiteY213" fmla="*/ 2935809 h 3033282"/>
                  <a:gd name="connsiteX214" fmla="*/ 2869601 w 3907177"/>
                  <a:gd name="connsiteY214" fmla="*/ 2874793 h 3033282"/>
                  <a:gd name="connsiteX215" fmla="*/ 2909582 w 3907177"/>
                  <a:gd name="connsiteY215" fmla="*/ 2914769 h 3033282"/>
                  <a:gd name="connsiteX216" fmla="*/ 2804368 w 3907177"/>
                  <a:gd name="connsiteY216" fmla="*/ 3009448 h 3033282"/>
                  <a:gd name="connsiteX217" fmla="*/ 2631817 w 3907177"/>
                  <a:gd name="connsiteY217" fmla="*/ 3019968 h 3033282"/>
                  <a:gd name="connsiteX218" fmla="*/ 2592812 w 3907177"/>
                  <a:gd name="connsiteY218" fmla="*/ 2997729 h 3033282"/>
                  <a:gd name="connsiteX219" fmla="*/ 2571463 w 3907177"/>
                  <a:gd name="connsiteY219" fmla="*/ 2978979 h 3033282"/>
                  <a:gd name="connsiteX220" fmla="*/ 2569646 w 3907177"/>
                  <a:gd name="connsiteY220" fmla="*/ 2977384 h 3033282"/>
                  <a:gd name="connsiteX221" fmla="*/ 2550477 w 3907177"/>
                  <a:gd name="connsiteY221" fmla="*/ 2953365 h 3033282"/>
                  <a:gd name="connsiteX222" fmla="*/ 2543509 w 3907177"/>
                  <a:gd name="connsiteY222" fmla="*/ 2942341 h 3033282"/>
                  <a:gd name="connsiteX223" fmla="*/ 2527951 w 3907177"/>
                  <a:gd name="connsiteY223" fmla="*/ 2910199 h 3033282"/>
                  <a:gd name="connsiteX224" fmla="*/ 2522395 w 3907177"/>
                  <a:gd name="connsiteY224" fmla="*/ 2893729 h 3033282"/>
                  <a:gd name="connsiteX225" fmla="*/ 2457162 w 3907177"/>
                  <a:gd name="connsiteY225" fmla="*/ 2748554 h 3033282"/>
                  <a:gd name="connsiteX226" fmla="*/ 2362469 w 3907177"/>
                  <a:gd name="connsiteY226" fmla="*/ 2651771 h 3033282"/>
                  <a:gd name="connsiteX227" fmla="*/ 2340024 w 3907177"/>
                  <a:gd name="connsiteY227" fmla="*/ 2621933 h 3033282"/>
                  <a:gd name="connsiteX228" fmla="*/ 2338457 w 3907177"/>
                  <a:gd name="connsiteY228" fmla="*/ 2619477 h 3033282"/>
                  <a:gd name="connsiteX229" fmla="*/ 2304048 w 3907177"/>
                  <a:gd name="connsiteY229" fmla="*/ 2565541 h 3033282"/>
                  <a:gd name="connsiteX230" fmla="*/ 2335655 w 3907177"/>
                  <a:gd name="connsiteY230" fmla="*/ 2318674 h 3033282"/>
                  <a:gd name="connsiteX231" fmla="*/ 2366996 w 3907177"/>
                  <a:gd name="connsiteY231" fmla="*/ 2274192 h 3033282"/>
                  <a:gd name="connsiteX232" fmla="*/ 2347572 w 3907177"/>
                  <a:gd name="connsiteY232" fmla="*/ 2275513 h 3033282"/>
                  <a:gd name="connsiteX233" fmla="*/ 2320522 w 3907177"/>
                  <a:gd name="connsiteY233" fmla="*/ 2269084 h 3033282"/>
                  <a:gd name="connsiteX234" fmla="*/ 2038565 w 3907177"/>
                  <a:gd name="connsiteY234" fmla="*/ 2062847 h 3033282"/>
                  <a:gd name="connsiteX235" fmla="*/ 2043892 w 3907177"/>
                  <a:gd name="connsiteY235" fmla="*/ 1618938 h 3033282"/>
                  <a:gd name="connsiteX236" fmla="*/ 2058099 w 3907177"/>
                  <a:gd name="connsiteY236" fmla="*/ 1557525 h 3033282"/>
                  <a:gd name="connsiteX237" fmla="*/ 2055755 w 3907177"/>
                  <a:gd name="connsiteY237" fmla="*/ 1558228 h 3033282"/>
                  <a:gd name="connsiteX238" fmla="*/ 2050316 w 3907177"/>
                  <a:gd name="connsiteY238" fmla="*/ 1559430 h 3033282"/>
                  <a:gd name="connsiteX239" fmla="*/ 1525518 w 3907177"/>
                  <a:gd name="connsiteY239" fmla="*/ 1690090 h 3033282"/>
                  <a:gd name="connsiteX240" fmla="*/ 946985 w 3907177"/>
                  <a:gd name="connsiteY240" fmla="*/ 1875211 h 3033282"/>
                  <a:gd name="connsiteX241" fmla="*/ 559893 w 3907177"/>
                  <a:gd name="connsiteY241" fmla="*/ 1858382 h 3033282"/>
                  <a:gd name="connsiteX242" fmla="*/ 412630 w 3907177"/>
                  <a:gd name="connsiteY242" fmla="*/ 1498659 h 3033282"/>
                  <a:gd name="connsiteX243" fmla="*/ 46576 w 3907177"/>
                  <a:gd name="connsiteY243" fmla="*/ 1063204 h 3033282"/>
                  <a:gd name="connsiteX244" fmla="*/ 36057 w 3907177"/>
                  <a:gd name="connsiteY244" fmla="*/ 665615 h 3033282"/>
                  <a:gd name="connsiteX245" fmla="*/ 191735 w 3907177"/>
                  <a:gd name="connsiteY245" fmla="*/ 459457 h 3033282"/>
                  <a:gd name="connsiteX246" fmla="*/ 374762 w 3907177"/>
                  <a:gd name="connsiteY246" fmla="*/ 465768 h 3033282"/>
                  <a:gd name="connsiteX247" fmla="*/ 677704 w 3907177"/>
                  <a:gd name="connsiteY247" fmla="*/ 528878 h 3033282"/>
                  <a:gd name="connsiteX248" fmla="*/ 1090040 w 3907177"/>
                  <a:gd name="connsiteY248" fmla="*/ 713999 h 3033282"/>
                  <a:gd name="connsiteX249" fmla="*/ 736609 w 3907177"/>
                  <a:gd name="connsiteY249" fmla="*/ 514152 h 3033282"/>
                  <a:gd name="connsiteX250" fmla="*/ 503092 w 3907177"/>
                  <a:gd name="connsiteY250" fmla="*/ 423695 h 3033282"/>
                  <a:gd name="connsiteX251" fmla="*/ 700845 w 3907177"/>
                  <a:gd name="connsiteY251" fmla="*/ 246989 h 3033282"/>
                  <a:gd name="connsiteX252" fmla="*/ 867042 w 3907177"/>
                  <a:gd name="connsiteY252" fmla="*/ 47143 h 3033282"/>
                  <a:gd name="connsiteX253" fmla="*/ 990408 w 3907177"/>
                  <a:gd name="connsiteY253" fmla="*/ 698 h 3033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Lst>
                <a:rect l="l" t="t" r="r" b="b"/>
                <a:pathLst>
                  <a:path w="3907177" h="3033282">
                    <a:moveTo>
                      <a:pt x="3283994" y="2199606"/>
                    </a:moveTo>
                    <a:cubicBezTo>
                      <a:pt x="3260886" y="2199606"/>
                      <a:pt x="3239879" y="2208029"/>
                      <a:pt x="3216771" y="2237508"/>
                    </a:cubicBezTo>
                    <a:cubicBezTo>
                      <a:pt x="3206268" y="2252247"/>
                      <a:pt x="3191038" y="2271198"/>
                      <a:pt x="3176070" y="2287254"/>
                    </a:cubicBezTo>
                    <a:lnTo>
                      <a:pt x="3157902" y="2304911"/>
                    </a:lnTo>
                    <a:lnTo>
                      <a:pt x="3148728" y="2311436"/>
                    </a:lnTo>
                    <a:cubicBezTo>
                      <a:pt x="3141540" y="2316470"/>
                      <a:pt x="3136944" y="2319628"/>
                      <a:pt x="3136944" y="2319628"/>
                    </a:cubicBezTo>
                    <a:cubicBezTo>
                      <a:pt x="3141671" y="2318049"/>
                      <a:pt x="3147710" y="2313969"/>
                      <a:pt x="3154439" y="2308277"/>
                    </a:cubicBezTo>
                    <a:lnTo>
                      <a:pt x="3157902" y="2304911"/>
                    </a:lnTo>
                    <a:lnTo>
                      <a:pt x="3176070" y="2291992"/>
                    </a:lnTo>
                    <a:cubicBezTo>
                      <a:pt x="3196815" y="2276989"/>
                      <a:pt x="3219922" y="2259617"/>
                      <a:pt x="3229375" y="2250142"/>
                    </a:cubicBezTo>
                    <a:cubicBezTo>
                      <a:pt x="3248282" y="2231191"/>
                      <a:pt x="3283994" y="2231191"/>
                      <a:pt x="3317605" y="2231191"/>
                    </a:cubicBezTo>
                    <a:cubicBezTo>
                      <a:pt x="3341238" y="2231191"/>
                      <a:pt x="3367234" y="2240666"/>
                      <a:pt x="3378755" y="2245404"/>
                    </a:cubicBezTo>
                    <a:lnTo>
                      <a:pt x="3382808" y="2247161"/>
                    </a:lnTo>
                    <a:lnTo>
                      <a:pt x="3351550" y="2248260"/>
                    </a:lnTo>
                    <a:cubicBezTo>
                      <a:pt x="3337425" y="2251320"/>
                      <a:pt x="3324650" y="2257505"/>
                      <a:pt x="3315694" y="2268558"/>
                    </a:cubicBezTo>
                    <a:cubicBezTo>
                      <a:pt x="3281978" y="2310668"/>
                      <a:pt x="3267228" y="2335934"/>
                      <a:pt x="3248262" y="2369622"/>
                    </a:cubicBezTo>
                    <a:cubicBezTo>
                      <a:pt x="3229297" y="2403310"/>
                      <a:pt x="3195581" y="2443314"/>
                      <a:pt x="3195581" y="2443314"/>
                    </a:cubicBezTo>
                    <a:cubicBezTo>
                      <a:pt x="3195581" y="2443314"/>
                      <a:pt x="3273549" y="2363305"/>
                      <a:pt x="3288300" y="2346462"/>
                    </a:cubicBezTo>
                    <a:cubicBezTo>
                      <a:pt x="3303051" y="2327512"/>
                      <a:pt x="3309372" y="2312774"/>
                      <a:pt x="3334660" y="2295930"/>
                    </a:cubicBezTo>
                    <a:cubicBezTo>
                      <a:pt x="3357839" y="2279086"/>
                      <a:pt x="3381019" y="2279086"/>
                      <a:pt x="3404199" y="2281191"/>
                    </a:cubicBezTo>
                    <a:cubicBezTo>
                      <a:pt x="3427378" y="2283297"/>
                      <a:pt x="3442129" y="2291719"/>
                      <a:pt x="3442129" y="2291719"/>
                    </a:cubicBezTo>
                    <a:lnTo>
                      <a:pt x="3448451" y="2258031"/>
                    </a:lnTo>
                    <a:cubicBezTo>
                      <a:pt x="3448451" y="2258031"/>
                      <a:pt x="3442393" y="2255926"/>
                      <a:pt x="3432746" y="2253458"/>
                    </a:cubicBezTo>
                    <a:lnTo>
                      <a:pt x="3399309" y="2247403"/>
                    </a:lnTo>
                    <a:lnTo>
                      <a:pt x="3406885" y="2246720"/>
                    </a:lnTo>
                    <a:cubicBezTo>
                      <a:pt x="3417388" y="2244878"/>
                      <a:pt x="3426842" y="2240666"/>
                      <a:pt x="3422640" y="2231191"/>
                    </a:cubicBezTo>
                    <a:cubicBezTo>
                      <a:pt x="3412137" y="2214346"/>
                      <a:pt x="3391130" y="2216451"/>
                      <a:pt x="3370122" y="2208029"/>
                    </a:cubicBezTo>
                    <a:cubicBezTo>
                      <a:pt x="3349115" y="2201712"/>
                      <a:pt x="3309202" y="2199606"/>
                      <a:pt x="3283994" y="2199606"/>
                    </a:cubicBezTo>
                    <a:close/>
                    <a:moveTo>
                      <a:pt x="3868985" y="2136388"/>
                    </a:moveTo>
                    <a:cubicBezTo>
                      <a:pt x="3868985" y="2136388"/>
                      <a:pt x="3778558" y="2193138"/>
                      <a:pt x="3734396" y="2199444"/>
                    </a:cubicBezTo>
                    <a:cubicBezTo>
                      <a:pt x="3690235" y="2205750"/>
                      <a:pt x="3646073" y="2235176"/>
                      <a:pt x="3559852" y="2182629"/>
                    </a:cubicBezTo>
                    <a:cubicBezTo>
                      <a:pt x="3555646" y="2180527"/>
                      <a:pt x="3604014" y="2239379"/>
                      <a:pt x="3641867" y="2241481"/>
                    </a:cubicBezTo>
                    <a:cubicBezTo>
                      <a:pt x="3681823" y="2243583"/>
                      <a:pt x="3702852" y="2239379"/>
                      <a:pt x="3702852" y="2239379"/>
                    </a:cubicBezTo>
                    <a:cubicBezTo>
                      <a:pt x="3784867" y="2228870"/>
                      <a:pt x="3820617" y="2188935"/>
                      <a:pt x="3831132" y="2178425"/>
                    </a:cubicBezTo>
                    <a:cubicBezTo>
                      <a:pt x="3843750" y="2170018"/>
                      <a:pt x="3868985" y="2136388"/>
                      <a:pt x="3868985" y="2136388"/>
                    </a:cubicBezTo>
                    <a:close/>
                    <a:moveTo>
                      <a:pt x="3385344" y="2089937"/>
                    </a:moveTo>
                    <a:cubicBezTo>
                      <a:pt x="3391674" y="2089411"/>
                      <a:pt x="3398532" y="2089937"/>
                      <a:pt x="3403807" y="2092045"/>
                    </a:cubicBezTo>
                    <a:cubicBezTo>
                      <a:pt x="3412247" y="2096259"/>
                      <a:pt x="3418577" y="2104688"/>
                      <a:pt x="3420687" y="2119439"/>
                    </a:cubicBezTo>
                    <a:cubicBezTo>
                      <a:pt x="3422797" y="2132083"/>
                      <a:pt x="3410137" y="2151048"/>
                      <a:pt x="3410137" y="2151048"/>
                    </a:cubicBezTo>
                    <a:cubicBezTo>
                      <a:pt x="3410137" y="2151048"/>
                      <a:pt x="3389037" y="2144726"/>
                      <a:pt x="3380596" y="2144726"/>
                    </a:cubicBezTo>
                    <a:cubicBezTo>
                      <a:pt x="3374266" y="2142619"/>
                      <a:pt x="3353166" y="2146834"/>
                      <a:pt x="3353166" y="2146834"/>
                    </a:cubicBezTo>
                    <a:lnTo>
                      <a:pt x="3353166" y="2113117"/>
                    </a:lnTo>
                    <a:cubicBezTo>
                      <a:pt x="3353166" y="2113117"/>
                      <a:pt x="3365826" y="2096259"/>
                      <a:pt x="3370046" y="2094152"/>
                    </a:cubicBezTo>
                    <a:cubicBezTo>
                      <a:pt x="3373211" y="2092045"/>
                      <a:pt x="3379014" y="2090464"/>
                      <a:pt x="3385344" y="2089937"/>
                    </a:cubicBezTo>
                    <a:close/>
                    <a:moveTo>
                      <a:pt x="2921466" y="1940074"/>
                    </a:moveTo>
                    <a:cubicBezTo>
                      <a:pt x="2903875" y="1940863"/>
                      <a:pt x="2886546" y="1942966"/>
                      <a:pt x="2876044" y="1945069"/>
                    </a:cubicBezTo>
                    <a:cubicBezTo>
                      <a:pt x="2857140" y="1951377"/>
                      <a:pt x="2819332" y="1968200"/>
                      <a:pt x="2796228" y="1980818"/>
                    </a:cubicBezTo>
                    <a:cubicBezTo>
                      <a:pt x="2773123" y="1995538"/>
                      <a:pt x="2716411" y="2018670"/>
                      <a:pt x="2716411" y="2018670"/>
                    </a:cubicBezTo>
                    <a:cubicBezTo>
                      <a:pt x="2716411" y="2018670"/>
                      <a:pt x="2756319" y="2016567"/>
                      <a:pt x="2773123" y="2014464"/>
                    </a:cubicBezTo>
                    <a:cubicBezTo>
                      <a:pt x="2789926" y="2014464"/>
                      <a:pt x="2813031" y="2008155"/>
                      <a:pt x="2813031" y="2008155"/>
                    </a:cubicBezTo>
                    <a:cubicBezTo>
                      <a:pt x="2813031" y="2008155"/>
                      <a:pt x="2802529" y="2046007"/>
                      <a:pt x="2810931" y="2075448"/>
                    </a:cubicBezTo>
                    <a:cubicBezTo>
                      <a:pt x="2817232" y="2102785"/>
                      <a:pt x="2825634" y="2117505"/>
                      <a:pt x="2825634" y="2117505"/>
                    </a:cubicBezTo>
                    <a:cubicBezTo>
                      <a:pt x="2825634" y="2117505"/>
                      <a:pt x="2825634" y="2119608"/>
                      <a:pt x="2817232" y="2123814"/>
                    </a:cubicBezTo>
                    <a:cubicBezTo>
                      <a:pt x="2810931" y="2125917"/>
                      <a:pt x="2773123" y="2157460"/>
                      <a:pt x="2773123" y="2157460"/>
                    </a:cubicBezTo>
                    <a:cubicBezTo>
                      <a:pt x="2773123" y="2157460"/>
                      <a:pt x="2831935" y="2132226"/>
                      <a:pt x="2848738" y="2125917"/>
                    </a:cubicBezTo>
                    <a:cubicBezTo>
                      <a:pt x="2865542" y="2121711"/>
                      <a:pt x="2901249" y="2113300"/>
                      <a:pt x="2941157" y="2104888"/>
                    </a:cubicBezTo>
                    <a:cubicBezTo>
                      <a:pt x="2981066" y="2096476"/>
                      <a:pt x="3111292" y="2106991"/>
                      <a:pt x="3111292" y="2106991"/>
                    </a:cubicBezTo>
                    <a:cubicBezTo>
                      <a:pt x="3111292" y="2106991"/>
                      <a:pt x="3073484" y="2092271"/>
                      <a:pt x="3056681" y="2085962"/>
                    </a:cubicBezTo>
                    <a:cubicBezTo>
                      <a:pt x="3039878" y="2081756"/>
                      <a:pt x="3016773" y="2081756"/>
                      <a:pt x="3016773" y="2081756"/>
                    </a:cubicBezTo>
                    <a:cubicBezTo>
                      <a:pt x="3016773" y="2081756"/>
                      <a:pt x="3029375" y="2052316"/>
                      <a:pt x="3023074" y="2027081"/>
                    </a:cubicBezTo>
                    <a:cubicBezTo>
                      <a:pt x="3016773" y="1999744"/>
                      <a:pt x="2995769" y="1970303"/>
                      <a:pt x="2995769" y="1970303"/>
                    </a:cubicBezTo>
                    <a:cubicBezTo>
                      <a:pt x="2995769" y="1970303"/>
                      <a:pt x="3002070" y="1966098"/>
                      <a:pt x="3018873" y="1966098"/>
                    </a:cubicBezTo>
                    <a:cubicBezTo>
                      <a:pt x="3035677" y="1963995"/>
                      <a:pt x="3065083" y="1957686"/>
                      <a:pt x="3065083" y="1957686"/>
                    </a:cubicBezTo>
                    <a:cubicBezTo>
                      <a:pt x="3065083" y="1957686"/>
                      <a:pt x="2991568" y="1949274"/>
                      <a:pt x="2968463" y="1942966"/>
                    </a:cubicBezTo>
                    <a:cubicBezTo>
                      <a:pt x="2956910" y="1939811"/>
                      <a:pt x="2939057" y="1939286"/>
                      <a:pt x="2921466" y="1940074"/>
                    </a:cubicBezTo>
                    <a:close/>
                    <a:moveTo>
                      <a:pt x="2882143" y="1689578"/>
                    </a:moveTo>
                    <a:cubicBezTo>
                      <a:pt x="2843731" y="1689315"/>
                      <a:pt x="2800057" y="1691418"/>
                      <a:pt x="2779009" y="1700880"/>
                    </a:cubicBezTo>
                    <a:cubicBezTo>
                      <a:pt x="2736913" y="1717702"/>
                      <a:pt x="2720075" y="1810222"/>
                      <a:pt x="2720075" y="1810222"/>
                    </a:cubicBezTo>
                    <a:cubicBezTo>
                      <a:pt x="2720075" y="1810222"/>
                      <a:pt x="2760066" y="1759756"/>
                      <a:pt x="2806371" y="1730318"/>
                    </a:cubicBezTo>
                    <a:cubicBezTo>
                      <a:pt x="2852676" y="1698777"/>
                      <a:pt x="2953705" y="1692469"/>
                      <a:pt x="2953705" y="1692469"/>
                    </a:cubicBezTo>
                    <a:cubicBezTo>
                      <a:pt x="2953705" y="1692469"/>
                      <a:pt x="2920555" y="1689840"/>
                      <a:pt x="2882143" y="1689578"/>
                    </a:cubicBezTo>
                    <a:close/>
                    <a:moveTo>
                      <a:pt x="2751741" y="1152523"/>
                    </a:moveTo>
                    <a:lnTo>
                      <a:pt x="2752273" y="1154187"/>
                    </a:lnTo>
                    <a:lnTo>
                      <a:pt x="2764036" y="1192874"/>
                    </a:lnTo>
                    <a:lnTo>
                      <a:pt x="2787833" y="1274009"/>
                    </a:lnTo>
                    <a:lnTo>
                      <a:pt x="2819472" y="1283014"/>
                    </a:lnTo>
                    <a:lnTo>
                      <a:pt x="2820261" y="1283258"/>
                    </a:lnTo>
                    <a:lnTo>
                      <a:pt x="2825890" y="1283302"/>
                    </a:lnTo>
                    <a:lnTo>
                      <a:pt x="2903747" y="1291542"/>
                    </a:lnTo>
                    <a:lnTo>
                      <a:pt x="2899550" y="1288295"/>
                    </a:lnTo>
                    <a:cubicBezTo>
                      <a:pt x="2806596" y="1216396"/>
                      <a:pt x="2806596" y="1216396"/>
                      <a:pt x="2806596" y="1216396"/>
                    </a:cubicBezTo>
                    <a:cubicBezTo>
                      <a:pt x="2806596" y="1216396"/>
                      <a:pt x="2794376" y="1202454"/>
                      <a:pt x="2775061" y="1179930"/>
                    </a:cubicBezTo>
                    <a:close/>
                    <a:moveTo>
                      <a:pt x="1695768" y="862876"/>
                    </a:moveTo>
                    <a:cubicBezTo>
                      <a:pt x="2078780" y="919680"/>
                      <a:pt x="2078780" y="919680"/>
                      <a:pt x="2078780" y="919680"/>
                    </a:cubicBezTo>
                    <a:cubicBezTo>
                      <a:pt x="2078780" y="919680"/>
                      <a:pt x="2137705" y="923888"/>
                      <a:pt x="2177689" y="938615"/>
                    </a:cubicBezTo>
                    <a:cubicBezTo>
                      <a:pt x="2217674" y="951238"/>
                      <a:pt x="2274495" y="997523"/>
                      <a:pt x="2274495" y="997523"/>
                    </a:cubicBezTo>
                    <a:cubicBezTo>
                      <a:pt x="2274495" y="997523"/>
                      <a:pt x="2226092" y="984900"/>
                      <a:pt x="2192421" y="984900"/>
                    </a:cubicBezTo>
                    <a:cubicBezTo>
                      <a:pt x="2160854" y="987004"/>
                      <a:pt x="2101929" y="1026977"/>
                      <a:pt x="2082989" y="1031185"/>
                    </a:cubicBezTo>
                    <a:cubicBezTo>
                      <a:pt x="2061944" y="1035392"/>
                      <a:pt x="2013542" y="1064846"/>
                      <a:pt x="2013542" y="1064846"/>
                    </a:cubicBezTo>
                    <a:cubicBezTo>
                      <a:pt x="2013542" y="1064846"/>
                      <a:pt x="2118765" y="1039600"/>
                      <a:pt x="2177689" y="1060639"/>
                    </a:cubicBezTo>
                    <a:cubicBezTo>
                      <a:pt x="2234510" y="1081677"/>
                      <a:pt x="2276599" y="1062742"/>
                      <a:pt x="2320793" y="1102716"/>
                    </a:cubicBezTo>
                    <a:cubicBezTo>
                      <a:pt x="2362882" y="1142689"/>
                      <a:pt x="2402867" y="1193182"/>
                      <a:pt x="2402867" y="1193182"/>
                    </a:cubicBezTo>
                    <a:lnTo>
                      <a:pt x="2477977" y="1304520"/>
                    </a:lnTo>
                    <a:lnTo>
                      <a:pt x="2495231" y="1302276"/>
                    </a:lnTo>
                    <a:lnTo>
                      <a:pt x="2479203" y="1263722"/>
                    </a:lnTo>
                    <a:cubicBezTo>
                      <a:pt x="2435552" y="1159125"/>
                      <a:pt x="2373405" y="1012512"/>
                      <a:pt x="2352360" y="974380"/>
                    </a:cubicBezTo>
                    <a:cubicBezTo>
                      <a:pt x="2320793" y="913369"/>
                      <a:pt x="2238719" y="886019"/>
                      <a:pt x="2194525" y="875499"/>
                    </a:cubicBezTo>
                    <a:cubicBezTo>
                      <a:pt x="2150331" y="862876"/>
                      <a:pt x="1695768" y="862876"/>
                      <a:pt x="1695768" y="862876"/>
                    </a:cubicBezTo>
                    <a:close/>
                    <a:moveTo>
                      <a:pt x="2884074" y="435929"/>
                    </a:moveTo>
                    <a:cubicBezTo>
                      <a:pt x="2884074" y="435929"/>
                      <a:pt x="2919884" y="555927"/>
                      <a:pt x="2987291" y="631716"/>
                    </a:cubicBezTo>
                    <a:cubicBezTo>
                      <a:pt x="3054698" y="705399"/>
                      <a:pt x="3130531" y="1008552"/>
                      <a:pt x="3130531" y="1008552"/>
                    </a:cubicBezTo>
                    <a:cubicBezTo>
                      <a:pt x="3130531" y="1008552"/>
                      <a:pt x="3115786" y="812766"/>
                      <a:pt x="3063124" y="682241"/>
                    </a:cubicBezTo>
                    <a:cubicBezTo>
                      <a:pt x="3063124" y="682241"/>
                      <a:pt x="2993611" y="549612"/>
                      <a:pt x="2970440" y="520138"/>
                    </a:cubicBezTo>
                    <a:cubicBezTo>
                      <a:pt x="2945162" y="490665"/>
                      <a:pt x="2884074" y="435929"/>
                      <a:pt x="2884074" y="435929"/>
                    </a:cubicBezTo>
                    <a:close/>
                    <a:moveTo>
                      <a:pt x="990408" y="698"/>
                    </a:moveTo>
                    <a:cubicBezTo>
                      <a:pt x="1005101" y="-321"/>
                      <a:pt x="1021142" y="-189"/>
                      <a:pt x="1039550" y="863"/>
                    </a:cubicBezTo>
                    <a:cubicBezTo>
                      <a:pt x="1111078" y="5070"/>
                      <a:pt x="1258341" y="38728"/>
                      <a:pt x="1348803" y="72387"/>
                    </a:cubicBezTo>
                    <a:cubicBezTo>
                      <a:pt x="1439264" y="103941"/>
                      <a:pt x="1653848" y="181776"/>
                      <a:pt x="1737998" y="232264"/>
                    </a:cubicBezTo>
                    <a:cubicBezTo>
                      <a:pt x="1830564" y="284855"/>
                      <a:pt x="1914714" y="318513"/>
                      <a:pt x="2005176" y="371104"/>
                    </a:cubicBezTo>
                    <a:cubicBezTo>
                      <a:pt x="2051459" y="397400"/>
                      <a:pt x="2127194" y="436317"/>
                      <a:pt x="2203455" y="477601"/>
                    </a:cubicBezTo>
                    <a:lnTo>
                      <a:pt x="2296994" y="530121"/>
                    </a:lnTo>
                    <a:lnTo>
                      <a:pt x="2323986" y="546882"/>
                    </a:lnTo>
                    <a:lnTo>
                      <a:pt x="2357160" y="567482"/>
                    </a:lnTo>
                    <a:lnTo>
                      <a:pt x="2404890" y="598298"/>
                    </a:lnTo>
                    <a:lnTo>
                      <a:pt x="2415440" y="605928"/>
                    </a:lnTo>
                    <a:lnTo>
                      <a:pt x="2362991" y="493093"/>
                    </a:lnTo>
                    <a:cubicBezTo>
                      <a:pt x="2362991" y="493093"/>
                      <a:pt x="2362991" y="493093"/>
                      <a:pt x="2329266" y="483333"/>
                    </a:cubicBezTo>
                    <a:lnTo>
                      <a:pt x="2307060" y="476906"/>
                    </a:lnTo>
                    <a:lnTo>
                      <a:pt x="2313198" y="470584"/>
                    </a:lnTo>
                    <a:cubicBezTo>
                      <a:pt x="2335494" y="447752"/>
                      <a:pt x="2406858" y="375701"/>
                      <a:pt x="2460566" y="333037"/>
                    </a:cubicBezTo>
                    <a:lnTo>
                      <a:pt x="2482676" y="317005"/>
                    </a:lnTo>
                    <a:lnTo>
                      <a:pt x="2522361" y="296868"/>
                    </a:lnTo>
                    <a:lnTo>
                      <a:pt x="2554579" y="283748"/>
                    </a:lnTo>
                    <a:cubicBezTo>
                      <a:pt x="2588217" y="269017"/>
                      <a:pt x="2633417" y="251656"/>
                      <a:pt x="2694384" y="254812"/>
                    </a:cubicBezTo>
                    <a:cubicBezTo>
                      <a:pt x="2724868" y="256391"/>
                      <a:pt x="2759293" y="263098"/>
                      <a:pt x="2798186" y="277829"/>
                    </a:cubicBezTo>
                    <a:cubicBezTo>
                      <a:pt x="2951656" y="336753"/>
                      <a:pt x="2857052" y="260994"/>
                      <a:pt x="2857052" y="260994"/>
                    </a:cubicBezTo>
                    <a:cubicBezTo>
                      <a:pt x="2857052" y="260994"/>
                      <a:pt x="2858530" y="261224"/>
                      <a:pt x="2861191" y="261705"/>
                    </a:cubicBezTo>
                    <a:lnTo>
                      <a:pt x="2866568" y="262766"/>
                    </a:lnTo>
                    <a:lnTo>
                      <a:pt x="2867847" y="263215"/>
                    </a:lnTo>
                    <a:cubicBezTo>
                      <a:pt x="2872013" y="264887"/>
                      <a:pt x="2874182" y="265939"/>
                      <a:pt x="2874182" y="265939"/>
                    </a:cubicBezTo>
                    <a:cubicBezTo>
                      <a:pt x="2874182" y="265939"/>
                      <a:pt x="2875760" y="265775"/>
                      <a:pt x="2878772" y="265783"/>
                    </a:cubicBezTo>
                    <a:lnTo>
                      <a:pt x="2879970" y="265863"/>
                    </a:lnTo>
                    <a:lnTo>
                      <a:pt x="2909084" y="273357"/>
                    </a:lnTo>
                    <a:cubicBezTo>
                      <a:pt x="2937466" y="282038"/>
                      <a:pt x="2970577" y="295717"/>
                      <a:pt x="2989498" y="315709"/>
                    </a:cubicBezTo>
                    <a:cubicBezTo>
                      <a:pt x="3027340" y="357797"/>
                      <a:pt x="3391043" y="702920"/>
                      <a:pt x="3365815" y="925987"/>
                    </a:cubicBezTo>
                    <a:cubicBezTo>
                      <a:pt x="3351098" y="1060670"/>
                      <a:pt x="3227061" y="1315303"/>
                      <a:pt x="3233368" y="1376331"/>
                    </a:cubicBezTo>
                    <a:cubicBezTo>
                      <a:pt x="3234682" y="1385538"/>
                      <a:pt x="3236920" y="1397159"/>
                      <a:pt x="3239761" y="1410216"/>
                    </a:cubicBezTo>
                    <a:lnTo>
                      <a:pt x="3243622" y="1426604"/>
                    </a:lnTo>
                    <a:lnTo>
                      <a:pt x="3302854" y="1472111"/>
                    </a:lnTo>
                    <a:cubicBezTo>
                      <a:pt x="3370331" y="1532754"/>
                      <a:pt x="3422311" y="1609600"/>
                      <a:pt x="3442037" y="1705090"/>
                    </a:cubicBezTo>
                    <a:lnTo>
                      <a:pt x="3433973" y="1732860"/>
                    </a:lnTo>
                    <a:lnTo>
                      <a:pt x="3404867" y="1673697"/>
                    </a:lnTo>
                    <a:cubicBezTo>
                      <a:pt x="3399074" y="1661664"/>
                      <a:pt x="3393479" y="1649944"/>
                      <a:pt x="3388345" y="1639131"/>
                    </a:cubicBezTo>
                    <a:lnTo>
                      <a:pt x="3377441" y="1616053"/>
                    </a:lnTo>
                    <a:lnTo>
                      <a:pt x="3359581" y="1565598"/>
                    </a:lnTo>
                    <a:cubicBezTo>
                      <a:pt x="3359581" y="1565598"/>
                      <a:pt x="3359581" y="1565598"/>
                      <a:pt x="3361687" y="1582431"/>
                    </a:cubicBezTo>
                    <a:cubicBezTo>
                      <a:pt x="3361687" y="1582431"/>
                      <a:pt x="3366690" y="1593215"/>
                      <a:pt x="3374588" y="1610015"/>
                    </a:cubicBezTo>
                    <a:lnTo>
                      <a:pt x="3377441" y="1616053"/>
                    </a:lnTo>
                    <a:lnTo>
                      <a:pt x="3442901" y="1800978"/>
                    </a:lnTo>
                    <a:lnTo>
                      <a:pt x="3440408" y="1796829"/>
                    </a:lnTo>
                    <a:cubicBezTo>
                      <a:pt x="3438644" y="1793891"/>
                      <a:pt x="3436291" y="1789974"/>
                      <a:pt x="3433154" y="1784752"/>
                    </a:cubicBezTo>
                    <a:cubicBezTo>
                      <a:pt x="3433154" y="1784752"/>
                      <a:pt x="3414332" y="1768041"/>
                      <a:pt x="3397602" y="1761774"/>
                    </a:cubicBezTo>
                    <a:cubicBezTo>
                      <a:pt x="3380871" y="1753418"/>
                      <a:pt x="3349501" y="1755507"/>
                      <a:pt x="3349501" y="1755507"/>
                    </a:cubicBezTo>
                    <a:cubicBezTo>
                      <a:pt x="3349501" y="1755507"/>
                      <a:pt x="3380871" y="1768041"/>
                      <a:pt x="3395510" y="1772218"/>
                    </a:cubicBezTo>
                    <a:cubicBezTo>
                      <a:pt x="3406489" y="1773785"/>
                      <a:pt x="3429233" y="1791802"/>
                      <a:pt x="3439918" y="1800713"/>
                    </a:cubicBezTo>
                    <a:lnTo>
                      <a:pt x="3444055" y="1804238"/>
                    </a:lnTo>
                    <a:lnTo>
                      <a:pt x="3555468" y="2118980"/>
                    </a:lnTo>
                    <a:cubicBezTo>
                      <a:pt x="3555468" y="2118980"/>
                      <a:pt x="3553888" y="2108460"/>
                      <a:pt x="3553362" y="2091890"/>
                    </a:cubicBezTo>
                    <a:lnTo>
                      <a:pt x="3553487" y="2080908"/>
                    </a:lnTo>
                    <a:lnTo>
                      <a:pt x="3554536" y="2083695"/>
                    </a:lnTo>
                    <a:cubicBezTo>
                      <a:pt x="3566426" y="2115277"/>
                      <a:pt x="3569399" y="2123172"/>
                      <a:pt x="3570142" y="2125146"/>
                    </a:cubicBezTo>
                    <a:lnTo>
                      <a:pt x="3570375" y="2125765"/>
                    </a:lnTo>
                    <a:lnTo>
                      <a:pt x="3570326" y="2125774"/>
                    </a:lnTo>
                    <a:cubicBezTo>
                      <a:pt x="3545075" y="2130508"/>
                      <a:pt x="3536395" y="2124591"/>
                      <a:pt x="3524755" y="2128437"/>
                    </a:cubicBezTo>
                    <a:lnTo>
                      <a:pt x="3520991" y="2130652"/>
                    </a:lnTo>
                    <a:lnTo>
                      <a:pt x="3519898" y="2125754"/>
                    </a:lnTo>
                    <a:cubicBezTo>
                      <a:pt x="3517794" y="2116808"/>
                      <a:pt x="3515165" y="2106809"/>
                      <a:pt x="3513061" y="2102599"/>
                    </a:cubicBezTo>
                    <a:cubicBezTo>
                      <a:pt x="3510958" y="2096283"/>
                      <a:pt x="3498337" y="2064707"/>
                      <a:pt x="3485716" y="2058392"/>
                    </a:cubicBezTo>
                    <a:cubicBezTo>
                      <a:pt x="3475198" y="2052077"/>
                      <a:pt x="3435232" y="2037341"/>
                      <a:pt x="3422611" y="2039446"/>
                    </a:cubicBezTo>
                    <a:cubicBezTo>
                      <a:pt x="3409989" y="2039446"/>
                      <a:pt x="3397368" y="2045762"/>
                      <a:pt x="3384747" y="2043657"/>
                    </a:cubicBezTo>
                    <a:cubicBezTo>
                      <a:pt x="3372126" y="2041551"/>
                      <a:pt x="3334263" y="2031026"/>
                      <a:pt x="3334263" y="2031026"/>
                    </a:cubicBezTo>
                    <a:cubicBezTo>
                      <a:pt x="3378437" y="2058392"/>
                      <a:pt x="3378437" y="2058392"/>
                      <a:pt x="3378437" y="2058392"/>
                    </a:cubicBezTo>
                    <a:cubicBezTo>
                      <a:pt x="3378437" y="2058392"/>
                      <a:pt x="3359505" y="2079443"/>
                      <a:pt x="3357402" y="2092073"/>
                    </a:cubicBezTo>
                    <a:cubicBezTo>
                      <a:pt x="3348988" y="2111019"/>
                      <a:pt x="3351091" y="2140490"/>
                      <a:pt x="3351091" y="2140490"/>
                    </a:cubicBezTo>
                    <a:cubicBezTo>
                      <a:pt x="3317435" y="2140490"/>
                      <a:pt x="3317435" y="2140490"/>
                      <a:pt x="3317435" y="2140490"/>
                    </a:cubicBezTo>
                    <a:cubicBezTo>
                      <a:pt x="3317435" y="2140490"/>
                      <a:pt x="3348988" y="2148910"/>
                      <a:pt x="3359505" y="2155225"/>
                    </a:cubicBezTo>
                    <a:cubicBezTo>
                      <a:pt x="3370023" y="2161541"/>
                      <a:pt x="3395265" y="2172066"/>
                      <a:pt x="3416300" y="2180486"/>
                    </a:cubicBezTo>
                    <a:cubicBezTo>
                      <a:pt x="3432076" y="2186801"/>
                      <a:pt x="3457318" y="2199037"/>
                      <a:pt x="3468953" y="2204760"/>
                    </a:cubicBezTo>
                    <a:lnTo>
                      <a:pt x="3471183" y="2205864"/>
                    </a:lnTo>
                    <a:lnTo>
                      <a:pt x="3465112" y="2222558"/>
                    </a:lnTo>
                    <a:cubicBezTo>
                      <a:pt x="3458799" y="2247805"/>
                      <a:pt x="3418818" y="2359317"/>
                      <a:pt x="3404088" y="2397188"/>
                    </a:cubicBezTo>
                    <a:cubicBezTo>
                      <a:pt x="3389358" y="2435060"/>
                      <a:pt x="3303083" y="2544467"/>
                      <a:pt x="3303083" y="2544467"/>
                    </a:cubicBezTo>
                    <a:cubicBezTo>
                      <a:pt x="3303083" y="2544467"/>
                      <a:pt x="3383045" y="2468724"/>
                      <a:pt x="3395671" y="2456100"/>
                    </a:cubicBezTo>
                    <a:cubicBezTo>
                      <a:pt x="3410401" y="2443476"/>
                      <a:pt x="3429339" y="2411916"/>
                      <a:pt x="3450382" y="2386668"/>
                    </a:cubicBezTo>
                    <a:cubicBezTo>
                      <a:pt x="3469321" y="2363525"/>
                      <a:pt x="3515615" y="2209934"/>
                      <a:pt x="3526136" y="2184686"/>
                    </a:cubicBezTo>
                    <a:cubicBezTo>
                      <a:pt x="3538762" y="2157334"/>
                      <a:pt x="3574535" y="2159438"/>
                      <a:pt x="3618725" y="2163646"/>
                    </a:cubicBezTo>
                    <a:cubicBezTo>
                      <a:pt x="3665019" y="2167854"/>
                      <a:pt x="3707104" y="2155230"/>
                      <a:pt x="3751294" y="2136294"/>
                    </a:cubicBezTo>
                    <a:cubicBezTo>
                      <a:pt x="3772337" y="2126826"/>
                      <a:pt x="3786015" y="2113676"/>
                      <a:pt x="3799430" y="2104735"/>
                    </a:cubicBezTo>
                    <a:lnTo>
                      <a:pt x="3810437" y="2099831"/>
                    </a:lnTo>
                    <a:lnTo>
                      <a:pt x="3824461" y="2097367"/>
                    </a:lnTo>
                    <a:lnTo>
                      <a:pt x="3829342" y="2096510"/>
                    </a:lnTo>
                    <a:lnTo>
                      <a:pt x="3845987" y="2098423"/>
                    </a:lnTo>
                    <a:cubicBezTo>
                      <a:pt x="3885968" y="2111046"/>
                      <a:pt x="3894385" y="2134190"/>
                      <a:pt x="3904907" y="2180478"/>
                    </a:cubicBezTo>
                    <a:cubicBezTo>
                      <a:pt x="3915428" y="2226766"/>
                      <a:pt x="3885968" y="2315133"/>
                      <a:pt x="3885968" y="2315133"/>
                    </a:cubicBezTo>
                    <a:cubicBezTo>
                      <a:pt x="3885968" y="2315133"/>
                      <a:pt x="3885508" y="2319834"/>
                      <a:pt x="3884225" y="2328571"/>
                    </a:cubicBezTo>
                    <a:lnTo>
                      <a:pt x="3881324" y="2344937"/>
                    </a:lnTo>
                    <a:lnTo>
                      <a:pt x="3878738" y="2354578"/>
                    </a:lnTo>
                    <a:cubicBezTo>
                      <a:pt x="3870987" y="2383473"/>
                      <a:pt x="3863790" y="2410304"/>
                      <a:pt x="3857107" y="2435219"/>
                    </a:cubicBezTo>
                    <a:lnTo>
                      <a:pt x="3839183" y="2502042"/>
                    </a:lnTo>
                    <a:lnTo>
                      <a:pt x="3806236" y="2584501"/>
                    </a:lnTo>
                    <a:cubicBezTo>
                      <a:pt x="3765301" y="2675605"/>
                      <a:pt x="3703948" y="2779062"/>
                      <a:pt x="3612412" y="2876897"/>
                    </a:cubicBezTo>
                    <a:cubicBezTo>
                      <a:pt x="3370419" y="3137791"/>
                      <a:pt x="3046360" y="2935809"/>
                      <a:pt x="3004275" y="2912665"/>
                    </a:cubicBezTo>
                    <a:cubicBezTo>
                      <a:pt x="2962189" y="2889521"/>
                      <a:pt x="2852767" y="2792738"/>
                      <a:pt x="2812785" y="2759074"/>
                    </a:cubicBezTo>
                    <a:cubicBezTo>
                      <a:pt x="2770700" y="2725410"/>
                      <a:pt x="2726510" y="2651771"/>
                      <a:pt x="2726510" y="2651771"/>
                    </a:cubicBezTo>
                    <a:cubicBezTo>
                      <a:pt x="2726510" y="2651771"/>
                      <a:pt x="2724406" y="2649667"/>
                      <a:pt x="2722301" y="2655979"/>
                    </a:cubicBezTo>
                    <a:cubicBezTo>
                      <a:pt x="2720197" y="2662291"/>
                      <a:pt x="2699154" y="2727514"/>
                      <a:pt x="2686529" y="2750658"/>
                    </a:cubicBezTo>
                    <a:cubicBezTo>
                      <a:pt x="2676007" y="2771698"/>
                      <a:pt x="2661277" y="2782218"/>
                      <a:pt x="2646547" y="2799050"/>
                    </a:cubicBezTo>
                    <a:cubicBezTo>
                      <a:pt x="2633922" y="2817986"/>
                      <a:pt x="2612879" y="2845337"/>
                      <a:pt x="2593940" y="2887417"/>
                    </a:cubicBezTo>
                    <a:cubicBezTo>
                      <a:pt x="2575002" y="2929497"/>
                      <a:pt x="2606566" y="2963160"/>
                      <a:pt x="2606566" y="2963160"/>
                    </a:cubicBezTo>
                    <a:cubicBezTo>
                      <a:pt x="2627609" y="2988408"/>
                      <a:pt x="2697050" y="3005240"/>
                      <a:pt x="2724406" y="3001032"/>
                    </a:cubicBezTo>
                    <a:cubicBezTo>
                      <a:pt x="2654964" y="2986304"/>
                      <a:pt x="2614983" y="2916873"/>
                      <a:pt x="2614983" y="2916873"/>
                    </a:cubicBezTo>
                    <a:cubicBezTo>
                      <a:pt x="2614983" y="2916873"/>
                      <a:pt x="2614983" y="2916873"/>
                      <a:pt x="2636026" y="2931601"/>
                    </a:cubicBezTo>
                    <a:cubicBezTo>
                      <a:pt x="2654964" y="2946329"/>
                      <a:pt x="2688633" y="2969472"/>
                      <a:pt x="2741240" y="2975784"/>
                    </a:cubicBezTo>
                    <a:cubicBezTo>
                      <a:pt x="2793847" y="2982096"/>
                      <a:pt x="2823307" y="2935809"/>
                      <a:pt x="2823307" y="2935809"/>
                    </a:cubicBezTo>
                    <a:cubicBezTo>
                      <a:pt x="2823307" y="2935809"/>
                      <a:pt x="2823307" y="2935809"/>
                      <a:pt x="2869601" y="2874793"/>
                    </a:cubicBezTo>
                    <a:cubicBezTo>
                      <a:pt x="2869601" y="2874793"/>
                      <a:pt x="2869601" y="2874793"/>
                      <a:pt x="2909582" y="2914769"/>
                    </a:cubicBezTo>
                    <a:cubicBezTo>
                      <a:pt x="2909582" y="2914769"/>
                      <a:pt x="2838037" y="2988408"/>
                      <a:pt x="2804368" y="3009448"/>
                    </a:cubicBezTo>
                    <a:cubicBezTo>
                      <a:pt x="2770700" y="3030488"/>
                      <a:pt x="2715988" y="3045216"/>
                      <a:pt x="2631817" y="3019968"/>
                    </a:cubicBezTo>
                    <a:lnTo>
                      <a:pt x="2592812" y="2997729"/>
                    </a:lnTo>
                    <a:lnTo>
                      <a:pt x="2571463" y="2978979"/>
                    </a:lnTo>
                    <a:lnTo>
                      <a:pt x="2569646" y="2977384"/>
                    </a:lnTo>
                    <a:lnTo>
                      <a:pt x="2550477" y="2953365"/>
                    </a:lnTo>
                    <a:lnTo>
                      <a:pt x="2543509" y="2942341"/>
                    </a:lnTo>
                    <a:lnTo>
                      <a:pt x="2527951" y="2910199"/>
                    </a:lnTo>
                    <a:cubicBezTo>
                      <a:pt x="2524104" y="2900173"/>
                      <a:pt x="2522395" y="2893729"/>
                      <a:pt x="2522395" y="2893729"/>
                    </a:cubicBezTo>
                    <a:cubicBezTo>
                      <a:pt x="2522395" y="2893729"/>
                      <a:pt x="2522395" y="2893729"/>
                      <a:pt x="2457162" y="2748554"/>
                    </a:cubicBezTo>
                    <a:cubicBezTo>
                      <a:pt x="2457162" y="2748554"/>
                      <a:pt x="2396138" y="2689642"/>
                      <a:pt x="2362469" y="2651771"/>
                    </a:cubicBezTo>
                    <a:lnTo>
                      <a:pt x="2340024" y="2621933"/>
                    </a:lnTo>
                    <a:lnTo>
                      <a:pt x="2338457" y="2619477"/>
                    </a:lnTo>
                    <a:cubicBezTo>
                      <a:pt x="2304048" y="2565541"/>
                      <a:pt x="2304048" y="2565541"/>
                      <a:pt x="2304048" y="2565541"/>
                    </a:cubicBezTo>
                    <a:cubicBezTo>
                      <a:pt x="2304048" y="2565541"/>
                      <a:pt x="2271838" y="2433449"/>
                      <a:pt x="2335655" y="2318674"/>
                    </a:cubicBezTo>
                    <a:lnTo>
                      <a:pt x="2366996" y="2274192"/>
                    </a:lnTo>
                    <a:lnTo>
                      <a:pt x="2347572" y="2275513"/>
                    </a:lnTo>
                    <a:cubicBezTo>
                      <a:pt x="2338243" y="2274970"/>
                      <a:pt x="2329202" y="2273030"/>
                      <a:pt x="2320522" y="2269084"/>
                    </a:cubicBezTo>
                    <a:cubicBezTo>
                      <a:pt x="2253189" y="2237517"/>
                      <a:pt x="2057503" y="2182801"/>
                      <a:pt x="2038565" y="2062847"/>
                    </a:cubicBezTo>
                    <a:cubicBezTo>
                      <a:pt x="2024363" y="1972882"/>
                      <a:pt x="2014894" y="1779929"/>
                      <a:pt x="2043892" y="1618938"/>
                    </a:cubicBezTo>
                    <a:lnTo>
                      <a:pt x="2058099" y="1557525"/>
                    </a:lnTo>
                    <a:lnTo>
                      <a:pt x="2055755" y="1558228"/>
                    </a:lnTo>
                    <a:lnTo>
                      <a:pt x="2050316" y="1559430"/>
                    </a:lnTo>
                    <a:cubicBezTo>
                      <a:pt x="1969609" y="1577348"/>
                      <a:pt x="1639648" y="1651436"/>
                      <a:pt x="1525518" y="1690090"/>
                    </a:cubicBezTo>
                    <a:cubicBezTo>
                      <a:pt x="1395085" y="1734267"/>
                      <a:pt x="1087937" y="1875211"/>
                      <a:pt x="946985" y="1875211"/>
                    </a:cubicBezTo>
                    <a:cubicBezTo>
                      <a:pt x="751335" y="1873108"/>
                      <a:pt x="559893" y="1858382"/>
                      <a:pt x="559893" y="1858382"/>
                    </a:cubicBezTo>
                    <a:cubicBezTo>
                      <a:pt x="559893" y="1858382"/>
                      <a:pt x="488365" y="1593323"/>
                      <a:pt x="412630" y="1498659"/>
                    </a:cubicBezTo>
                    <a:cubicBezTo>
                      <a:pt x="334791" y="1403995"/>
                      <a:pt x="94962" y="1208355"/>
                      <a:pt x="46576" y="1063204"/>
                    </a:cubicBezTo>
                    <a:cubicBezTo>
                      <a:pt x="293" y="915949"/>
                      <a:pt x="-24952" y="798144"/>
                      <a:pt x="36057" y="665615"/>
                    </a:cubicBezTo>
                    <a:cubicBezTo>
                      <a:pt x="94962" y="535189"/>
                      <a:pt x="191735" y="459457"/>
                      <a:pt x="191735" y="459457"/>
                    </a:cubicBezTo>
                    <a:cubicBezTo>
                      <a:pt x="191735" y="459457"/>
                      <a:pt x="294819" y="455250"/>
                      <a:pt x="374762" y="465768"/>
                    </a:cubicBezTo>
                    <a:cubicBezTo>
                      <a:pt x="456809" y="476287"/>
                      <a:pt x="587242" y="499427"/>
                      <a:pt x="677704" y="528878"/>
                    </a:cubicBezTo>
                    <a:cubicBezTo>
                      <a:pt x="766061" y="558329"/>
                      <a:pt x="1090040" y="713999"/>
                      <a:pt x="1090040" y="713999"/>
                    </a:cubicBezTo>
                    <a:cubicBezTo>
                      <a:pt x="736609" y="514152"/>
                      <a:pt x="736609" y="514152"/>
                      <a:pt x="736609" y="514152"/>
                    </a:cubicBezTo>
                    <a:cubicBezTo>
                      <a:pt x="503092" y="423695"/>
                      <a:pt x="503092" y="423695"/>
                      <a:pt x="503092" y="423695"/>
                    </a:cubicBezTo>
                    <a:cubicBezTo>
                      <a:pt x="503092" y="423695"/>
                      <a:pt x="606176" y="362690"/>
                      <a:pt x="700845" y="246989"/>
                    </a:cubicBezTo>
                    <a:cubicBezTo>
                      <a:pt x="795514" y="131289"/>
                      <a:pt x="803929" y="89216"/>
                      <a:pt x="867042" y="47143"/>
                    </a:cubicBezTo>
                    <a:cubicBezTo>
                      <a:pt x="914377" y="17166"/>
                      <a:pt x="946327" y="3755"/>
                      <a:pt x="990408" y="698"/>
                    </a:cubicBezTo>
                    <a:close/>
                  </a:path>
                </a:pathLst>
              </a:custGeom>
              <a:solidFill>
                <a:srgbClr val="FAED22"/>
              </a:solidFill>
              <a:ln w="3175">
                <a:solidFill>
                  <a:schemeClr val="tx1"/>
                </a:solidFill>
              </a:ln>
            </p:spPr>
            <p:txBody>
              <a:bodyPr vert="horz" wrap="square" lIns="89642" tIns="44821" rIns="89642" bIns="44821" numCol="1" anchor="t" anchorCtr="0" compatLnSpc="1">
                <a:prstTxWarp prst="textNoShape">
                  <a:avLst/>
                </a:prstTxWarp>
                <a:noAutofit/>
              </a:bodyPr>
              <a:lstStyle/>
              <a:p>
                <a:pPr defTabSz="914367"/>
                <a:endParaRPr lang="en-IN" sz="1765">
                  <a:solidFill>
                    <a:srgbClr val="000000"/>
                  </a:solidFill>
                </a:endParaRPr>
              </a:p>
            </p:txBody>
          </p:sp>
        </p:grpSp>
      </p:grpSp>
      <p:grpSp>
        <p:nvGrpSpPr>
          <p:cNvPr id="16" name="Group 15"/>
          <p:cNvGrpSpPr/>
          <p:nvPr/>
        </p:nvGrpSpPr>
        <p:grpSpPr>
          <a:xfrm>
            <a:off x="2469847" y="6317493"/>
            <a:ext cx="224932" cy="219617"/>
            <a:chOff x="306837" y="2966952"/>
            <a:chExt cx="1385600" cy="1352860"/>
          </a:xfrm>
        </p:grpSpPr>
        <p:sp>
          <p:nvSpPr>
            <p:cNvPr id="17" name="Freeform 16"/>
            <p:cNvSpPr/>
            <p:nvPr/>
          </p:nvSpPr>
          <p:spPr bwMode="auto">
            <a:xfrm>
              <a:off x="688501" y="3519487"/>
              <a:ext cx="752155" cy="800325"/>
            </a:xfrm>
            <a:custGeom>
              <a:avLst/>
              <a:gdLst>
                <a:gd name="connsiteX0" fmla="*/ 338138 w 728663"/>
                <a:gd name="connsiteY0" fmla="*/ 0 h 823912"/>
                <a:gd name="connsiteX1" fmla="*/ 73819 w 728663"/>
                <a:gd name="connsiteY1" fmla="*/ 97631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38138 w 728663"/>
                <a:gd name="connsiteY0" fmla="*/ 0 h 823912"/>
                <a:gd name="connsiteX1" fmla="*/ 35719 w 728663"/>
                <a:gd name="connsiteY1" fmla="*/ 73819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38138 w 728663"/>
                <a:gd name="connsiteY0" fmla="*/ 0 h 823912"/>
                <a:gd name="connsiteX1" fmla="*/ 97631 w 728663"/>
                <a:gd name="connsiteY1" fmla="*/ 66675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38138 w 728663"/>
                <a:gd name="connsiteY0" fmla="*/ 0 h 823912"/>
                <a:gd name="connsiteX1" fmla="*/ 97631 w 728663"/>
                <a:gd name="connsiteY1" fmla="*/ 66675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38138 w 728663"/>
                <a:gd name="connsiteY0" fmla="*/ 0 h 823912"/>
                <a:gd name="connsiteX1" fmla="*/ 97631 w 728663"/>
                <a:gd name="connsiteY1" fmla="*/ 66675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21470 w 711995"/>
                <a:gd name="connsiteY0" fmla="*/ 0 h 823912"/>
                <a:gd name="connsiteX1" fmla="*/ 80963 w 711995"/>
                <a:gd name="connsiteY1" fmla="*/ 66675 h 823912"/>
                <a:gd name="connsiteX2" fmla="*/ 0 w 711995"/>
                <a:gd name="connsiteY2" fmla="*/ 497681 h 823912"/>
                <a:gd name="connsiteX3" fmla="*/ 450057 w 711995"/>
                <a:gd name="connsiteY3" fmla="*/ 823912 h 823912"/>
                <a:gd name="connsiteX4" fmla="*/ 711995 w 711995"/>
                <a:gd name="connsiteY4" fmla="*/ 733425 h 823912"/>
                <a:gd name="connsiteX5" fmla="*/ 476251 w 711995"/>
                <a:gd name="connsiteY5" fmla="*/ 707231 h 823912"/>
                <a:gd name="connsiteX6" fmla="*/ 495301 w 711995"/>
                <a:gd name="connsiteY6" fmla="*/ 621506 h 823912"/>
                <a:gd name="connsiteX7" fmla="*/ 497682 w 711995"/>
                <a:gd name="connsiteY7" fmla="*/ 571500 h 823912"/>
                <a:gd name="connsiteX8" fmla="*/ 350045 w 711995"/>
                <a:gd name="connsiteY8" fmla="*/ 423862 h 823912"/>
                <a:gd name="connsiteX9" fmla="*/ 521495 w 711995"/>
                <a:gd name="connsiteY9" fmla="*/ 528637 h 823912"/>
                <a:gd name="connsiteX10" fmla="*/ 521495 w 711995"/>
                <a:gd name="connsiteY10" fmla="*/ 302418 h 823912"/>
                <a:gd name="connsiteX11" fmla="*/ 357189 w 711995"/>
                <a:gd name="connsiteY11" fmla="*/ 54768 h 823912"/>
                <a:gd name="connsiteX12" fmla="*/ 321470 w 711995"/>
                <a:gd name="connsiteY12" fmla="*/ 0 h 823912"/>
                <a:gd name="connsiteX0" fmla="*/ 347343 w 737868"/>
                <a:gd name="connsiteY0" fmla="*/ 0 h 823912"/>
                <a:gd name="connsiteX1" fmla="*/ 106836 w 737868"/>
                <a:gd name="connsiteY1" fmla="*/ 66675 h 823912"/>
                <a:gd name="connsiteX2" fmla="*/ 25873 w 737868"/>
                <a:gd name="connsiteY2" fmla="*/ 497681 h 823912"/>
                <a:gd name="connsiteX3" fmla="*/ 475930 w 737868"/>
                <a:gd name="connsiteY3" fmla="*/ 823912 h 823912"/>
                <a:gd name="connsiteX4" fmla="*/ 737868 w 737868"/>
                <a:gd name="connsiteY4" fmla="*/ 733425 h 823912"/>
                <a:gd name="connsiteX5" fmla="*/ 502124 w 737868"/>
                <a:gd name="connsiteY5" fmla="*/ 707231 h 823912"/>
                <a:gd name="connsiteX6" fmla="*/ 521174 w 737868"/>
                <a:gd name="connsiteY6" fmla="*/ 621506 h 823912"/>
                <a:gd name="connsiteX7" fmla="*/ 523555 w 737868"/>
                <a:gd name="connsiteY7" fmla="*/ 571500 h 823912"/>
                <a:gd name="connsiteX8" fmla="*/ 375918 w 737868"/>
                <a:gd name="connsiteY8" fmla="*/ 423862 h 823912"/>
                <a:gd name="connsiteX9" fmla="*/ 547368 w 737868"/>
                <a:gd name="connsiteY9" fmla="*/ 528637 h 823912"/>
                <a:gd name="connsiteX10" fmla="*/ 547368 w 737868"/>
                <a:gd name="connsiteY10" fmla="*/ 302418 h 823912"/>
                <a:gd name="connsiteX11" fmla="*/ 383062 w 737868"/>
                <a:gd name="connsiteY11" fmla="*/ 54768 h 823912"/>
                <a:gd name="connsiteX12" fmla="*/ 347343 w 737868"/>
                <a:gd name="connsiteY12" fmla="*/ 0 h 823912"/>
                <a:gd name="connsiteX0" fmla="*/ 347343 w 737868"/>
                <a:gd name="connsiteY0" fmla="*/ 0 h 823912"/>
                <a:gd name="connsiteX1" fmla="*/ 106836 w 737868"/>
                <a:gd name="connsiteY1" fmla="*/ 66675 h 823912"/>
                <a:gd name="connsiteX2" fmla="*/ 25873 w 737868"/>
                <a:gd name="connsiteY2" fmla="*/ 497681 h 823912"/>
                <a:gd name="connsiteX3" fmla="*/ 475930 w 737868"/>
                <a:gd name="connsiteY3" fmla="*/ 823912 h 823912"/>
                <a:gd name="connsiteX4" fmla="*/ 737868 w 737868"/>
                <a:gd name="connsiteY4" fmla="*/ 733425 h 823912"/>
                <a:gd name="connsiteX5" fmla="*/ 502124 w 737868"/>
                <a:gd name="connsiteY5" fmla="*/ 707231 h 823912"/>
                <a:gd name="connsiteX6" fmla="*/ 521174 w 737868"/>
                <a:gd name="connsiteY6" fmla="*/ 621506 h 823912"/>
                <a:gd name="connsiteX7" fmla="*/ 523555 w 737868"/>
                <a:gd name="connsiteY7" fmla="*/ 571500 h 823912"/>
                <a:gd name="connsiteX8" fmla="*/ 375918 w 737868"/>
                <a:gd name="connsiteY8" fmla="*/ 423862 h 823912"/>
                <a:gd name="connsiteX9" fmla="*/ 547368 w 737868"/>
                <a:gd name="connsiteY9" fmla="*/ 528637 h 823912"/>
                <a:gd name="connsiteX10" fmla="*/ 547368 w 737868"/>
                <a:gd name="connsiteY10" fmla="*/ 302418 h 823912"/>
                <a:gd name="connsiteX11" fmla="*/ 383062 w 737868"/>
                <a:gd name="connsiteY11" fmla="*/ 54768 h 823912"/>
                <a:gd name="connsiteX12" fmla="*/ 347343 w 737868"/>
                <a:gd name="connsiteY12" fmla="*/ 0 h 823912"/>
                <a:gd name="connsiteX0" fmla="*/ 347343 w 737868"/>
                <a:gd name="connsiteY0" fmla="*/ 0 h 795337"/>
                <a:gd name="connsiteX1" fmla="*/ 106836 w 737868"/>
                <a:gd name="connsiteY1" fmla="*/ 66675 h 795337"/>
                <a:gd name="connsiteX2" fmla="*/ 25873 w 737868"/>
                <a:gd name="connsiteY2" fmla="*/ 497681 h 795337"/>
                <a:gd name="connsiteX3" fmla="*/ 487836 w 737868"/>
                <a:gd name="connsiteY3" fmla="*/ 795337 h 795337"/>
                <a:gd name="connsiteX4" fmla="*/ 737868 w 737868"/>
                <a:gd name="connsiteY4" fmla="*/ 733425 h 795337"/>
                <a:gd name="connsiteX5" fmla="*/ 502124 w 737868"/>
                <a:gd name="connsiteY5" fmla="*/ 707231 h 795337"/>
                <a:gd name="connsiteX6" fmla="*/ 521174 w 737868"/>
                <a:gd name="connsiteY6" fmla="*/ 621506 h 795337"/>
                <a:gd name="connsiteX7" fmla="*/ 523555 w 737868"/>
                <a:gd name="connsiteY7" fmla="*/ 571500 h 795337"/>
                <a:gd name="connsiteX8" fmla="*/ 375918 w 737868"/>
                <a:gd name="connsiteY8" fmla="*/ 423862 h 795337"/>
                <a:gd name="connsiteX9" fmla="*/ 547368 w 737868"/>
                <a:gd name="connsiteY9" fmla="*/ 528637 h 795337"/>
                <a:gd name="connsiteX10" fmla="*/ 547368 w 737868"/>
                <a:gd name="connsiteY10" fmla="*/ 302418 h 795337"/>
                <a:gd name="connsiteX11" fmla="*/ 383062 w 737868"/>
                <a:gd name="connsiteY11" fmla="*/ 54768 h 795337"/>
                <a:gd name="connsiteX12" fmla="*/ 347343 w 737868"/>
                <a:gd name="connsiteY12" fmla="*/ 0 h 795337"/>
                <a:gd name="connsiteX0" fmla="*/ 347343 w 737868"/>
                <a:gd name="connsiteY0" fmla="*/ 0 h 800325"/>
                <a:gd name="connsiteX1" fmla="*/ 106836 w 737868"/>
                <a:gd name="connsiteY1" fmla="*/ 66675 h 800325"/>
                <a:gd name="connsiteX2" fmla="*/ 25873 w 737868"/>
                <a:gd name="connsiteY2" fmla="*/ 497681 h 800325"/>
                <a:gd name="connsiteX3" fmla="*/ 487836 w 737868"/>
                <a:gd name="connsiteY3" fmla="*/ 795337 h 800325"/>
                <a:gd name="connsiteX4" fmla="*/ 737868 w 737868"/>
                <a:gd name="connsiteY4" fmla="*/ 733425 h 800325"/>
                <a:gd name="connsiteX5" fmla="*/ 502124 w 737868"/>
                <a:gd name="connsiteY5" fmla="*/ 707231 h 800325"/>
                <a:gd name="connsiteX6" fmla="*/ 521174 w 737868"/>
                <a:gd name="connsiteY6" fmla="*/ 621506 h 800325"/>
                <a:gd name="connsiteX7" fmla="*/ 523555 w 737868"/>
                <a:gd name="connsiteY7" fmla="*/ 571500 h 800325"/>
                <a:gd name="connsiteX8" fmla="*/ 375918 w 737868"/>
                <a:gd name="connsiteY8" fmla="*/ 423862 h 800325"/>
                <a:gd name="connsiteX9" fmla="*/ 547368 w 737868"/>
                <a:gd name="connsiteY9" fmla="*/ 528637 h 800325"/>
                <a:gd name="connsiteX10" fmla="*/ 547368 w 737868"/>
                <a:gd name="connsiteY10" fmla="*/ 302418 h 800325"/>
                <a:gd name="connsiteX11" fmla="*/ 383062 w 737868"/>
                <a:gd name="connsiteY11" fmla="*/ 54768 h 800325"/>
                <a:gd name="connsiteX12" fmla="*/ 347343 w 737868"/>
                <a:gd name="connsiteY12" fmla="*/ 0 h 800325"/>
                <a:gd name="connsiteX0" fmla="*/ 347343 w 771205"/>
                <a:gd name="connsiteY0" fmla="*/ 0 h 800325"/>
                <a:gd name="connsiteX1" fmla="*/ 106836 w 771205"/>
                <a:gd name="connsiteY1" fmla="*/ 66675 h 800325"/>
                <a:gd name="connsiteX2" fmla="*/ 25873 w 771205"/>
                <a:gd name="connsiteY2" fmla="*/ 497681 h 800325"/>
                <a:gd name="connsiteX3" fmla="*/ 487836 w 771205"/>
                <a:gd name="connsiteY3" fmla="*/ 795337 h 800325"/>
                <a:gd name="connsiteX4" fmla="*/ 771205 w 771205"/>
                <a:gd name="connsiteY4" fmla="*/ 707232 h 800325"/>
                <a:gd name="connsiteX5" fmla="*/ 502124 w 771205"/>
                <a:gd name="connsiteY5" fmla="*/ 707231 h 800325"/>
                <a:gd name="connsiteX6" fmla="*/ 521174 w 771205"/>
                <a:gd name="connsiteY6" fmla="*/ 621506 h 800325"/>
                <a:gd name="connsiteX7" fmla="*/ 523555 w 771205"/>
                <a:gd name="connsiteY7" fmla="*/ 571500 h 800325"/>
                <a:gd name="connsiteX8" fmla="*/ 375918 w 771205"/>
                <a:gd name="connsiteY8" fmla="*/ 423862 h 800325"/>
                <a:gd name="connsiteX9" fmla="*/ 547368 w 771205"/>
                <a:gd name="connsiteY9" fmla="*/ 528637 h 800325"/>
                <a:gd name="connsiteX10" fmla="*/ 547368 w 771205"/>
                <a:gd name="connsiteY10" fmla="*/ 302418 h 800325"/>
                <a:gd name="connsiteX11" fmla="*/ 383062 w 771205"/>
                <a:gd name="connsiteY11" fmla="*/ 54768 h 800325"/>
                <a:gd name="connsiteX12" fmla="*/ 347343 w 771205"/>
                <a:gd name="connsiteY12" fmla="*/ 0 h 800325"/>
                <a:gd name="connsiteX0" fmla="*/ 347343 w 771205"/>
                <a:gd name="connsiteY0" fmla="*/ 0 h 800325"/>
                <a:gd name="connsiteX1" fmla="*/ 106836 w 771205"/>
                <a:gd name="connsiteY1" fmla="*/ 66675 h 800325"/>
                <a:gd name="connsiteX2" fmla="*/ 25873 w 771205"/>
                <a:gd name="connsiteY2" fmla="*/ 497681 h 800325"/>
                <a:gd name="connsiteX3" fmla="*/ 487836 w 771205"/>
                <a:gd name="connsiteY3" fmla="*/ 795337 h 800325"/>
                <a:gd name="connsiteX4" fmla="*/ 771205 w 771205"/>
                <a:gd name="connsiteY4" fmla="*/ 707232 h 800325"/>
                <a:gd name="connsiteX5" fmla="*/ 502124 w 771205"/>
                <a:gd name="connsiteY5" fmla="*/ 707231 h 800325"/>
                <a:gd name="connsiteX6" fmla="*/ 521174 w 771205"/>
                <a:gd name="connsiteY6" fmla="*/ 621506 h 800325"/>
                <a:gd name="connsiteX7" fmla="*/ 523555 w 771205"/>
                <a:gd name="connsiteY7" fmla="*/ 571500 h 800325"/>
                <a:gd name="connsiteX8" fmla="*/ 375918 w 771205"/>
                <a:gd name="connsiteY8" fmla="*/ 423862 h 800325"/>
                <a:gd name="connsiteX9" fmla="*/ 547368 w 771205"/>
                <a:gd name="connsiteY9" fmla="*/ 528637 h 800325"/>
                <a:gd name="connsiteX10" fmla="*/ 547368 w 771205"/>
                <a:gd name="connsiteY10" fmla="*/ 302418 h 800325"/>
                <a:gd name="connsiteX11" fmla="*/ 383062 w 771205"/>
                <a:gd name="connsiteY11" fmla="*/ 54768 h 800325"/>
                <a:gd name="connsiteX12" fmla="*/ 347343 w 77120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502124 w 752155"/>
                <a:gd name="connsiteY5" fmla="*/ 707231 h 800325"/>
                <a:gd name="connsiteX6" fmla="*/ 521174 w 752155"/>
                <a:gd name="connsiteY6" fmla="*/ 621506 h 800325"/>
                <a:gd name="connsiteX7" fmla="*/ 523555 w 752155"/>
                <a:gd name="connsiteY7" fmla="*/ 571500 h 800325"/>
                <a:gd name="connsiteX8" fmla="*/ 375918 w 752155"/>
                <a:gd name="connsiteY8" fmla="*/ 423862 h 800325"/>
                <a:gd name="connsiteX9" fmla="*/ 547368 w 752155"/>
                <a:gd name="connsiteY9" fmla="*/ 528637 h 800325"/>
                <a:gd name="connsiteX10" fmla="*/ 547368 w 752155"/>
                <a:gd name="connsiteY10" fmla="*/ 302418 h 800325"/>
                <a:gd name="connsiteX11" fmla="*/ 383062 w 752155"/>
                <a:gd name="connsiteY11" fmla="*/ 54768 h 800325"/>
                <a:gd name="connsiteX12" fmla="*/ 347343 w 75215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1174 w 752155"/>
                <a:gd name="connsiteY6" fmla="*/ 621506 h 800325"/>
                <a:gd name="connsiteX7" fmla="*/ 523555 w 752155"/>
                <a:gd name="connsiteY7" fmla="*/ 571500 h 800325"/>
                <a:gd name="connsiteX8" fmla="*/ 375918 w 752155"/>
                <a:gd name="connsiteY8" fmla="*/ 423862 h 800325"/>
                <a:gd name="connsiteX9" fmla="*/ 547368 w 752155"/>
                <a:gd name="connsiteY9" fmla="*/ 528637 h 800325"/>
                <a:gd name="connsiteX10" fmla="*/ 547368 w 752155"/>
                <a:gd name="connsiteY10" fmla="*/ 302418 h 800325"/>
                <a:gd name="connsiteX11" fmla="*/ 383062 w 752155"/>
                <a:gd name="connsiteY11" fmla="*/ 54768 h 800325"/>
                <a:gd name="connsiteX12" fmla="*/ 347343 w 75215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1174 w 752155"/>
                <a:gd name="connsiteY6" fmla="*/ 621506 h 800325"/>
                <a:gd name="connsiteX7" fmla="*/ 523555 w 752155"/>
                <a:gd name="connsiteY7" fmla="*/ 571500 h 800325"/>
                <a:gd name="connsiteX8" fmla="*/ 375918 w 752155"/>
                <a:gd name="connsiteY8" fmla="*/ 423862 h 800325"/>
                <a:gd name="connsiteX9" fmla="*/ 547368 w 752155"/>
                <a:gd name="connsiteY9" fmla="*/ 528637 h 800325"/>
                <a:gd name="connsiteX10" fmla="*/ 547368 w 752155"/>
                <a:gd name="connsiteY10" fmla="*/ 302418 h 800325"/>
                <a:gd name="connsiteX11" fmla="*/ 383062 w 752155"/>
                <a:gd name="connsiteY11" fmla="*/ 54768 h 800325"/>
                <a:gd name="connsiteX12" fmla="*/ 347343 w 75215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1174 w 752155"/>
                <a:gd name="connsiteY6" fmla="*/ 621506 h 800325"/>
                <a:gd name="connsiteX7" fmla="*/ 523555 w 752155"/>
                <a:gd name="connsiteY7" fmla="*/ 571500 h 800325"/>
                <a:gd name="connsiteX8" fmla="*/ 375918 w 752155"/>
                <a:gd name="connsiteY8" fmla="*/ 423862 h 800325"/>
                <a:gd name="connsiteX9" fmla="*/ 547368 w 752155"/>
                <a:gd name="connsiteY9" fmla="*/ 528637 h 800325"/>
                <a:gd name="connsiteX10" fmla="*/ 547368 w 752155"/>
                <a:gd name="connsiteY10" fmla="*/ 302418 h 800325"/>
                <a:gd name="connsiteX11" fmla="*/ 383062 w 752155"/>
                <a:gd name="connsiteY11" fmla="*/ 54768 h 800325"/>
                <a:gd name="connsiteX12" fmla="*/ 347343 w 75215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11649 w 752155"/>
                <a:gd name="connsiteY6" fmla="*/ 666751 h 800325"/>
                <a:gd name="connsiteX7" fmla="*/ 521174 w 752155"/>
                <a:gd name="connsiteY7" fmla="*/ 621506 h 800325"/>
                <a:gd name="connsiteX8" fmla="*/ 523555 w 752155"/>
                <a:gd name="connsiteY8" fmla="*/ 571500 h 800325"/>
                <a:gd name="connsiteX9" fmla="*/ 375918 w 752155"/>
                <a:gd name="connsiteY9" fmla="*/ 423862 h 800325"/>
                <a:gd name="connsiteX10" fmla="*/ 547368 w 752155"/>
                <a:gd name="connsiteY10" fmla="*/ 528637 h 800325"/>
                <a:gd name="connsiteX11" fmla="*/ 547368 w 752155"/>
                <a:gd name="connsiteY11" fmla="*/ 302418 h 800325"/>
                <a:gd name="connsiteX12" fmla="*/ 383062 w 752155"/>
                <a:gd name="connsiteY12" fmla="*/ 54768 h 800325"/>
                <a:gd name="connsiteX13" fmla="*/ 347343 w 752155"/>
                <a:gd name="connsiteY13"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3419 h 800325"/>
                <a:gd name="connsiteX7" fmla="*/ 521174 w 752155"/>
                <a:gd name="connsiteY7" fmla="*/ 621506 h 800325"/>
                <a:gd name="connsiteX8" fmla="*/ 523555 w 752155"/>
                <a:gd name="connsiteY8" fmla="*/ 571500 h 800325"/>
                <a:gd name="connsiteX9" fmla="*/ 375918 w 752155"/>
                <a:gd name="connsiteY9" fmla="*/ 423862 h 800325"/>
                <a:gd name="connsiteX10" fmla="*/ 547368 w 752155"/>
                <a:gd name="connsiteY10" fmla="*/ 528637 h 800325"/>
                <a:gd name="connsiteX11" fmla="*/ 547368 w 752155"/>
                <a:gd name="connsiteY11" fmla="*/ 302418 h 800325"/>
                <a:gd name="connsiteX12" fmla="*/ 383062 w 752155"/>
                <a:gd name="connsiteY12" fmla="*/ 54768 h 800325"/>
                <a:gd name="connsiteX13" fmla="*/ 347343 w 752155"/>
                <a:gd name="connsiteY13"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3419 h 800325"/>
                <a:gd name="connsiteX7" fmla="*/ 528318 w 752155"/>
                <a:gd name="connsiteY7" fmla="*/ 642938 h 800325"/>
                <a:gd name="connsiteX8" fmla="*/ 521174 w 752155"/>
                <a:gd name="connsiteY8" fmla="*/ 621506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3419 h 800325"/>
                <a:gd name="connsiteX7" fmla="*/ 387824 w 752155"/>
                <a:gd name="connsiteY7" fmla="*/ 614363 h 800325"/>
                <a:gd name="connsiteX8" fmla="*/ 521174 w 752155"/>
                <a:gd name="connsiteY8" fmla="*/ 621506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3419 h 800325"/>
                <a:gd name="connsiteX7" fmla="*/ 387824 w 752155"/>
                <a:gd name="connsiteY7" fmla="*/ 614363 h 800325"/>
                <a:gd name="connsiteX8" fmla="*/ 521174 w 752155"/>
                <a:gd name="connsiteY8" fmla="*/ 621506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1174 w 752155"/>
                <a:gd name="connsiteY8" fmla="*/ 621506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547368 w 752155"/>
                <a:gd name="connsiteY9" fmla="*/ 545306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537843 w 752155"/>
                <a:gd name="connsiteY9" fmla="*/ 578644 h 800325"/>
                <a:gd name="connsiteX10" fmla="*/ 547368 w 752155"/>
                <a:gd name="connsiteY10" fmla="*/ 545306 h 800325"/>
                <a:gd name="connsiteX11" fmla="*/ 375918 w 752155"/>
                <a:gd name="connsiteY11" fmla="*/ 423862 h 800325"/>
                <a:gd name="connsiteX12" fmla="*/ 547368 w 752155"/>
                <a:gd name="connsiteY12" fmla="*/ 528637 h 800325"/>
                <a:gd name="connsiteX13" fmla="*/ 547368 w 752155"/>
                <a:gd name="connsiteY13" fmla="*/ 302418 h 800325"/>
                <a:gd name="connsiteX14" fmla="*/ 383062 w 752155"/>
                <a:gd name="connsiteY14" fmla="*/ 54768 h 800325"/>
                <a:gd name="connsiteX15" fmla="*/ 347343 w 752155"/>
                <a:gd name="connsiteY15"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1630 w 752155"/>
                <a:gd name="connsiteY9" fmla="*/ 554831 h 800325"/>
                <a:gd name="connsiteX10" fmla="*/ 547368 w 752155"/>
                <a:gd name="connsiteY10" fmla="*/ 545306 h 800325"/>
                <a:gd name="connsiteX11" fmla="*/ 375918 w 752155"/>
                <a:gd name="connsiteY11" fmla="*/ 423862 h 800325"/>
                <a:gd name="connsiteX12" fmla="*/ 547368 w 752155"/>
                <a:gd name="connsiteY12" fmla="*/ 528637 h 800325"/>
                <a:gd name="connsiteX13" fmla="*/ 547368 w 752155"/>
                <a:gd name="connsiteY13" fmla="*/ 302418 h 800325"/>
                <a:gd name="connsiteX14" fmla="*/ 383062 w 752155"/>
                <a:gd name="connsiteY14" fmla="*/ 54768 h 800325"/>
                <a:gd name="connsiteX15" fmla="*/ 347343 w 752155"/>
                <a:gd name="connsiteY15"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1630 w 752155"/>
                <a:gd name="connsiteY9" fmla="*/ 554831 h 800325"/>
                <a:gd name="connsiteX10" fmla="*/ 447355 w 752155"/>
                <a:gd name="connsiteY10" fmla="*/ 552451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1630 w 752155"/>
                <a:gd name="connsiteY9" fmla="*/ 554831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99730 w 752155"/>
                <a:gd name="connsiteY12" fmla="*/ 428624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99730 w 752155"/>
                <a:gd name="connsiteY12" fmla="*/ 428624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99730 w 752155"/>
                <a:gd name="connsiteY12" fmla="*/ 428624 h 800325"/>
                <a:gd name="connsiteX13" fmla="*/ 533080 w 752155"/>
                <a:gd name="connsiteY13" fmla="*/ 435768 h 800325"/>
                <a:gd name="connsiteX14" fmla="*/ 547368 w 752155"/>
                <a:gd name="connsiteY14" fmla="*/ 302418 h 800325"/>
                <a:gd name="connsiteX15" fmla="*/ 383062 w 752155"/>
                <a:gd name="connsiteY15" fmla="*/ 54768 h 800325"/>
                <a:gd name="connsiteX16" fmla="*/ 347343 w 752155"/>
                <a:gd name="connsiteY16" fmla="*/ 0 h 800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52155" h="800325">
                  <a:moveTo>
                    <a:pt x="347343" y="0"/>
                  </a:moveTo>
                  <a:cubicBezTo>
                    <a:pt x="267174" y="22225"/>
                    <a:pt x="165574" y="11112"/>
                    <a:pt x="106836" y="66675"/>
                  </a:cubicBezTo>
                  <a:cubicBezTo>
                    <a:pt x="-11433" y="199230"/>
                    <a:pt x="-20164" y="298450"/>
                    <a:pt x="25873" y="497681"/>
                  </a:cubicBezTo>
                  <a:cubicBezTo>
                    <a:pt x="106835" y="742156"/>
                    <a:pt x="421161" y="822324"/>
                    <a:pt x="487836" y="795337"/>
                  </a:cubicBezTo>
                  <a:lnTo>
                    <a:pt x="752155" y="709613"/>
                  </a:lnTo>
                  <a:cubicBezTo>
                    <a:pt x="660079" y="719138"/>
                    <a:pt x="534668" y="731044"/>
                    <a:pt x="464024" y="695325"/>
                  </a:cubicBezTo>
                  <a:cubicBezTo>
                    <a:pt x="423940" y="688181"/>
                    <a:pt x="518793" y="698103"/>
                    <a:pt x="528318" y="685800"/>
                  </a:cubicBezTo>
                  <a:cubicBezTo>
                    <a:pt x="539034" y="677069"/>
                    <a:pt x="431878" y="688975"/>
                    <a:pt x="387824" y="614363"/>
                  </a:cubicBezTo>
                  <a:cubicBezTo>
                    <a:pt x="469976" y="611188"/>
                    <a:pt x="524349" y="619123"/>
                    <a:pt x="523555" y="607217"/>
                  </a:cubicBezTo>
                  <a:cubicBezTo>
                    <a:pt x="474343" y="604837"/>
                    <a:pt x="408461" y="600074"/>
                    <a:pt x="366392" y="557212"/>
                  </a:cubicBezTo>
                  <a:lnTo>
                    <a:pt x="383061" y="483395"/>
                  </a:lnTo>
                  <a:cubicBezTo>
                    <a:pt x="425923" y="532607"/>
                    <a:pt x="473550" y="553243"/>
                    <a:pt x="533080" y="559594"/>
                  </a:cubicBezTo>
                  <a:cubicBezTo>
                    <a:pt x="466405" y="540544"/>
                    <a:pt x="418779" y="488155"/>
                    <a:pt x="399730" y="428624"/>
                  </a:cubicBezTo>
                  <a:lnTo>
                    <a:pt x="533080" y="435768"/>
                  </a:lnTo>
                  <a:lnTo>
                    <a:pt x="547368" y="302418"/>
                  </a:lnTo>
                  <a:lnTo>
                    <a:pt x="383062" y="54768"/>
                  </a:lnTo>
                  <a:lnTo>
                    <a:pt x="347343" y="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IN" sz="1961" b="1" dirty="0">
                <a:solidFill>
                  <a:srgbClr val="FFFFFF"/>
                </a:solidFill>
                <a:latin typeface="Segoe UI Light"/>
                <a:ea typeface="Segoe UI" pitchFamily="34" charset="0"/>
                <a:cs typeface="Segoe UI" pitchFamily="34" charset="0"/>
              </a:endParaRPr>
            </a:p>
          </p:txBody>
        </p:sp>
        <p:grpSp>
          <p:nvGrpSpPr>
            <p:cNvPr id="18" name="Group 17"/>
            <p:cNvGrpSpPr/>
            <p:nvPr/>
          </p:nvGrpSpPr>
          <p:grpSpPr>
            <a:xfrm>
              <a:off x="306837" y="2966952"/>
              <a:ext cx="1385600" cy="1351044"/>
              <a:chOff x="1058398" y="3354141"/>
              <a:chExt cx="533724" cy="520412"/>
            </a:xfrm>
          </p:grpSpPr>
          <p:sp>
            <p:nvSpPr>
              <p:cNvPr id="19" name="Freeform 18"/>
              <p:cNvSpPr/>
              <p:nvPr/>
            </p:nvSpPr>
            <p:spPr bwMode="auto">
              <a:xfrm>
                <a:off x="1058398" y="3354142"/>
                <a:ext cx="533723" cy="415322"/>
              </a:xfrm>
              <a:custGeom>
                <a:avLst/>
                <a:gdLst>
                  <a:gd name="connsiteX0" fmla="*/ 528506 w 533723"/>
                  <a:gd name="connsiteY0" fmla="*/ 291832 h 418083"/>
                  <a:gd name="connsiteX1" fmla="*/ 510121 w 533723"/>
                  <a:gd name="connsiteY1" fmla="*/ 300446 h 418083"/>
                  <a:gd name="connsiteX2" fmla="*/ 500354 w 533723"/>
                  <a:gd name="connsiteY2" fmla="*/ 302312 h 418083"/>
                  <a:gd name="connsiteX3" fmla="*/ 489695 w 533723"/>
                  <a:gd name="connsiteY3" fmla="*/ 299159 h 418083"/>
                  <a:gd name="connsiteX4" fmla="*/ 490953 w 533723"/>
                  <a:gd name="connsiteY4" fmla="*/ 302242 h 418083"/>
                  <a:gd name="connsiteX5" fmla="*/ 490826 w 533723"/>
                  <a:gd name="connsiteY5" fmla="*/ 302554 h 418083"/>
                  <a:gd name="connsiteX6" fmla="*/ 497481 w 533723"/>
                  <a:gd name="connsiteY6" fmla="*/ 306188 h 418083"/>
                  <a:gd name="connsiteX7" fmla="*/ 505812 w 533723"/>
                  <a:gd name="connsiteY7" fmla="*/ 305901 h 418083"/>
                  <a:gd name="connsiteX8" fmla="*/ 523335 w 533723"/>
                  <a:gd name="connsiteY8" fmla="*/ 297575 h 418083"/>
                  <a:gd name="connsiteX9" fmla="*/ 528506 w 533723"/>
                  <a:gd name="connsiteY9" fmla="*/ 291832 h 418083"/>
                  <a:gd name="connsiteX10" fmla="*/ 459095 w 533723"/>
                  <a:gd name="connsiteY10" fmla="*/ 214354 h 418083"/>
                  <a:gd name="connsiteX11" fmla="*/ 470185 w 533723"/>
                  <a:gd name="connsiteY11" fmla="*/ 232917 h 418083"/>
                  <a:gd name="connsiteX12" fmla="*/ 469083 w 533723"/>
                  <a:gd name="connsiteY12" fmla="*/ 236710 h 418083"/>
                  <a:gd name="connsiteX13" fmla="*/ 465107 w 533723"/>
                  <a:gd name="connsiteY13" fmla="*/ 228628 h 418083"/>
                  <a:gd name="connsiteX14" fmla="*/ 462850 w 533723"/>
                  <a:gd name="connsiteY14" fmla="*/ 223907 h 418083"/>
                  <a:gd name="connsiteX15" fmla="*/ 461361 w 533723"/>
                  <a:gd name="connsiteY15" fmla="*/ 220754 h 418083"/>
                  <a:gd name="connsiteX16" fmla="*/ 458921 w 533723"/>
                  <a:gd name="connsiteY16" fmla="*/ 213862 h 418083"/>
                  <a:gd name="connsiteX17" fmla="*/ 459095 w 533723"/>
                  <a:gd name="connsiteY17" fmla="*/ 214354 h 418083"/>
                  <a:gd name="connsiteX18" fmla="*/ 458953 w 533723"/>
                  <a:gd name="connsiteY18" fmla="*/ 214116 h 418083"/>
                  <a:gd name="connsiteX19" fmla="*/ 231642 w 533723"/>
                  <a:gd name="connsiteY19" fmla="*/ 117869 h 418083"/>
                  <a:gd name="connsiteX20" fmla="*/ 245739 w 533723"/>
                  <a:gd name="connsiteY20" fmla="*/ 119960 h 418083"/>
                  <a:gd name="connsiteX21" fmla="*/ 247479 w 533723"/>
                  <a:gd name="connsiteY21" fmla="*/ 117948 h 418083"/>
                  <a:gd name="connsiteX22" fmla="*/ 241439 w 533723"/>
                  <a:gd name="connsiteY22" fmla="*/ 117896 h 418083"/>
                  <a:gd name="connsiteX23" fmla="*/ 231642 w 533723"/>
                  <a:gd name="connsiteY23" fmla="*/ 117869 h 418083"/>
                  <a:gd name="connsiteX24" fmla="*/ 393966 w 533723"/>
                  <a:gd name="connsiteY24" fmla="*/ 59548 h 418083"/>
                  <a:gd name="connsiteX25" fmla="*/ 394760 w 533723"/>
                  <a:gd name="connsiteY25" fmla="*/ 61641 h 418083"/>
                  <a:gd name="connsiteX26" fmla="*/ 396543 w 533723"/>
                  <a:gd name="connsiteY26" fmla="*/ 61922 h 418083"/>
                  <a:gd name="connsiteX27" fmla="*/ 135290 w 533723"/>
                  <a:gd name="connsiteY27" fmla="*/ 95 h 418083"/>
                  <a:gd name="connsiteX28" fmla="*/ 142002 w 533723"/>
                  <a:gd name="connsiteY28" fmla="*/ 118 h 418083"/>
                  <a:gd name="connsiteX29" fmla="*/ 184247 w 533723"/>
                  <a:gd name="connsiteY29" fmla="*/ 9888 h 418083"/>
                  <a:gd name="connsiteX30" fmla="*/ 237411 w 533723"/>
                  <a:gd name="connsiteY30" fmla="*/ 31727 h 418083"/>
                  <a:gd name="connsiteX31" fmla="*/ 273908 w 533723"/>
                  <a:gd name="connsiteY31" fmla="*/ 50693 h 418083"/>
                  <a:gd name="connsiteX32" fmla="*/ 300993 w 533723"/>
                  <a:gd name="connsiteY32" fmla="*/ 65241 h 418083"/>
                  <a:gd name="connsiteX33" fmla="*/ 313770 w 533723"/>
                  <a:gd name="connsiteY33" fmla="*/ 72415 h 418083"/>
                  <a:gd name="connsiteX34" fmla="*/ 317458 w 533723"/>
                  <a:gd name="connsiteY34" fmla="*/ 74704 h 418083"/>
                  <a:gd name="connsiteX35" fmla="*/ 321989 w 533723"/>
                  <a:gd name="connsiteY35" fmla="*/ 77518 h 418083"/>
                  <a:gd name="connsiteX36" fmla="*/ 328509 w 533723"/>
                  <a:gd name="connsiteY36" fmla="*/ 81728 h 418083"/>
                  <a:gd name="connsiteX37" fmla="*/ 329950 w 533723"/>
                  <a:gd name="connsiteY37" fmla="*/ 82770 h 418083"/>
                  <a:gd name="connsiteX38" fmla="*/ 322786 w 533723"/>
                  <a:gd name="connsiteY38" fmla="*/ 67357 h 418083"/>
                  <a:gd name="connsiteX39" fmla="*/ 318179 w 533723"/>
                  <a:gd name="connsiteY39" fmla="*/ 66024 h 418083"/>
                  <a:gd name="connsiteX40" fmla="*/ 315145 w 533723"/>
                  <a:gd name="connsiteY40" fmla="*/ 65146 h 418083"/>
                  <a:gd name="connsiteX41" fmla="*/ 315984 w 533723"/>
                  <a:gd name="connsiteY41" fmla="*/ 64282 h 418083"/>
                  <a:gd name="connsiteX42" fmla="*/ 336115 w 533723"/>
                  <a:gd name="connsiteY42" fmla="*/ 45493 h 418083"/>
                  <a:gd name="connsiteX43" fmla="*/ 339135 w 533723"/>
                  <a:gd name="connsiteY43" fmla="*/ 43303 h 418083"/>
                  <a:gd name="connsiteX44" fmla="*/ 344556 w 533723"/>
                  <a:gd name="connsiteY44" fmla="*/ 40552 h 418083"/>
                  <a:gd name="connsiteX45" fmla="*/ 348957 w 533723"/>
                  <a:gd name="connsiteY45" fmla="*/ 38760 h 418083"/>
                  <a:gd name="connsiteX46" fmla="*/ 368054 w 533723"/>
                  <a:gd name="connsiteY46" fmla="*/ 34807 h 418083"/>
                  <a:gd name="connsiteX47" fmla="*/ 382234 w 533723"/>
                  <a:gd name="connsiteY47" fmla="*/ 37952 h 418083"/>
                  <a:gd name="connsiteX48" fmla="*/ 390275 w 533723"/>
                  <a:gd name="connsiteY48" fmla="*/ 35652 h 418083"/>
                  <a:gd name="connsiteX49" fmla="*/ 390840 w 533723"/>
                  <a:gd name="connsiteY49" fmla="*/ 35749 h 418083"/>
                  <a:gd name="connsiteX50" fmla="*/ 391575 w 533723"/>
                  <a:gd name="connsiteY50" fmla="*/ 35894 h 418083"/>
                  <a:gd name="connsiteX51" fmla="*/ 391750 w 533723"/>
                  <a:gd name="connsiteY51" fmla="*/ 35955 h 418083"/>
                  <a:gd name="connsiteX52" fmla="*/ 392615 w 533723"/>
                  <a:gd name="connsiteY52" fmla="*/ 36327 h 418083"/>
                  <a:gd name="connsiteX53" fmla="*/ 393242 w 533723"/>
                  <a:gd name="connsiteY53" fmla="*/ 36306 h 418083"/>
                  <a:gd name="connsiteX54" fmla="*/ 393406 w 533723"/>
                  <a:gd name="connsiteY54" fmla="*/ 36317 h 418083"/>
                  <a:gd name="connsiteX55" fmla="*/ 397383 w 533723"/>
                  <a:gd name="connsiteY55" fmla="*/ 37341 h 418083"/>
                  <a:gd name="connsiteX56" fmla="*/ 408367 w 533723"/>
                  <a:gd name="connsiteY56" fmla="*/ 43126 h 418083"/>
                  <a:gd name="connsiteX57" fmla="*/ 459773 w 533723"/>
                  <a:gd name="connsiteY57" fmla="*/ 126491 h 418083"/>
                  <a:gd name="connsiteX58" fmla="*/ 441680 w 533723"/>
                  <a:gd name="connsiteY58" fmla="*/ 188008 h 418083"/>
                  <a:gd name="connsiteX59" fmla="*/ 442553 w 533723"/>
                  <a:gd name="connsiteY59" fmla="*/ 192637 h 418083"/>
                  <a:gd name="connsiteX60" fmla="*/ 443081 w 533723"/>
                  <a:gd name="connsiteY60" fmla="*/ 194875 h 418083"/>
                  <a:gd name="connsiteX61" fmla="*/ 451172 w 533723"/>
                  <a:gd name="connsiteY61" fmla="*/ 201092 h 418083"/>
                  <a:gd name="connsiteX62" fmla="*/ 458953 w 533723"/>
                  <a:gd name="connsiteY62" fmla="*/ 214116 h 418083"/>
                  <a:gd name="connsiteX63" fmla="*/ 459209 w 533723"/>
                  <a:gd name="connsiteY63" fmla="*/ 216161 h 418083"/>
                  <a:gd name="connsiteX64" fmla="*/ 460971 w 533723"/>
                  <a:gd name="connsiteY64" fmla="*/ 219929 h 418083"/>
                  <a:gd name="connsiteX65" fmla="*/ 461361 w 533723"/>
                  <a:gd name="connsiteY65" fmla="*/ 220754 h 418083"/>
                  <a:gd name="connsiteX66" fmla="*/ 470303 w 533723"/>
                  <a:gd name="connsiteY66" fmla="*/ 246015 h 418083"/>
                  <a:gd name="connsiteX67" fmla="*/ 469962 w 533723"/>
                  <a:gd name="connsiteY67" fmla="*/ 245448 h 418083"/>
                  <a:gd name="connsiteX68" fmla="*/ 468971 w 533723"/>
                  <a:gd name="connsiteY68" fmla="*/ 243799 h 418083"/>
                  <a:gd name="connsiteX69" fmla="*/ 464115 w 533723"/>
                  <a:gd name="connsiteY69" fmla="*/ 240660 h 418083"/>
                  <a:gd name="connsiteX70" fmla="*/ 457544 w 533723"/>
                  <a:gd name="connsiteY70" fmla="*/ 239804 h 418083"/>
                  <a:gd name="connsiteX71" fmla="*/ 463829 w 533723"/>
                  <a:gd name="connsiteY71" fmla="*/ 242086 h 418083"/>
                  <a:gd name="connsiteX72" fmla="*/ 469895 w 533723"/>
                  <a:gd name="connsiteY72" fmla="*/ 245979 h 418083"/>
                  <a:gd name="connsiteX73" fmla="*/ 470460 w 533723"/>
                  <a:gd name="connsiteY73" fmla="*/ 246460 h 418083"/>
                  <a:gd name="connsiteX74" fmla="*/ 485321 w 533723"/>
                  <a:gd name="connsiteY74" fmla="*/ 288443 h 418083"/>
                  <a:gd name="connsiteX75" fmla="*/ 485666 w 533723"/>
                  <a:gd name="connsiteY75" fmla="*/ 289289 h 418083"/>
                  <a:gd name="connsiteX76" fmla="*/ 485392 w 533723"/>
                  <a:gd name="connsiteY76" fmla="*/ 285754 h 418083"/>
                  <a:gd name="connsiteX77" fmla="*/ 485409 w 533723"/>
                  <a:gd name="connsiteY77" fmla="*/ 284254 h 418083"/>
                  <a:gd name="connsiteX78" fmla="*/ 485552 w 533723"/>
                  <a:gd name="connsiteY78" fmla="*/ 284634 h 418083"/>
                  <a:gd name="connsiteX79" fmla="*/ 487684 w 533723"/>
                  <a:gd name="connsiteY79" fmla="*/ 290297 h 418083"/>
                  <a:gd name="connsiteX80" fmla="*/ 487716 w 533723"/>
                  <a:gd name="connsiteY80" fmla="*/ 290381 h 418083"/>
                  <a:gd name="connsiteX81" fmla="*/ 487709 w 533723"/>
                  <a:gd name="connsiteY81" fmla="*/ 290382 h 418083"/>
                  <a:gd name="connsiteX82" fmla="*/ 486150 w 533723"/>
                  <a:gd name="connsiteY82" fmla="*/ 290474 h 418083"/>
                  <a:gd name="connsiteX83" fmla="*/ 488742 w 533723"/>
                  <a:gd name="connsiteY83" fmla="*/ 296824 h 418083"/>
                  <a:gd name="connsiteX84" fmla="*/ 494320 w 533723"/>
                  <a:gd name="connsiteY84" fmla="*/ 295556 h 418083"/>
                  <a:gd name="connsiteX85" fmla="*/ 512429 w 533723"/>
                  <a:gd name="connsiteY85" fmla="*/ 291820 h 418083"/>
                  <a:gd name="connsiteX86" fmla="*/ 519005 w 533723"/>
                  <a:gd name="connsiteY86" fmla="*/ 287509 h 418083"/>
                  <a:gd name="connsiteX87" fmla="*/ 520508 w 533723"/>
                  <a:gd name="connsiteY87" fmla="*/ 286839 h 418083"/>
                  <a:gd name="connsiteX88" fmla="*/ 522424 w 533723"/>
                  <a:gd name="connsiteY88" fmla="*/ 286502 h 418083"/>
                  <a:gd name="connsiteX89" fmla="*/ 523091 w 533723"/>
                  <a:gd name="connsiteY89" fmla="*/ 286385 h 418083"/>
                  <a:gd name="connsiteX90" fmla="*/ 525364 w 533723"/>
                  <a:gd name="connsiteY90" fmla="*/ 286646 h 418083"/>
                  <a:gd name="connsiteX91" fmla="*/ 533413 w 533723"/>
                  <a:gd name="connsiteY91" fmla="*/ 297855 h 418083"/>
                  <a:gd name="connsiteX92" fmla="*/ 530826 w 533723"/>
                  <a:gd name="connsiteY92" fmla="*/ 316249 h 418083"/>
                  <a:gd name="connsiteX93" fmla="*/ 530588 w 533723"/>
                  <a:gd name="connsiteY93" fmla="*/ 318085 h 418083"/>
                  <a:gd name="connsiteX94" fmla="*/ 530192 w 533723"/>
                  <a:gd name="connsiteY94" fmla="*/ 320320 h 418083"/>
                  <a:gd name="connsiteX95" fmla="*/ 529838 w 533723"/>
                  <a:gd name="connsiteY95" fmla="*/ 321637 h 418083"/>
                  <a:gd name="connsiteX96" fmla="*/ 526883 w 533723"/>
                  <a:gd name="connsiteY96" fmla="*/ 332653 h 418083"/>
                  <a:gd name="connsiteX97" fmla="*/ 524435 w 533723"/>
                  <a:gd name="connsiteY97" fmla="*/ 341781 h 418083"/>
                  <a:gd name="connsiteX98" fmla="*/ 519934 w 533723"/>
                  <a:gd name="connsiteY98" fmla="*/ 353045 h 418083"/>
                  <a:gd name="connsiteX99" fmla="*/ 493458 w 533723"/>
                  <a:gd name="connsiteY99" fmla="*/ 392987 h 418083"/>
                  <a:gd name="connsiteX100" fmla="*/ 421143 w 533723"/>
                  <a:gd name="connsiteY100" fmla="*/ 403455 h 418083"/>
                  <a:gd name="connsiteX101" fmla="*/ 416615 w 533723"/>
                  <a:gd name="connsiteY101" fmla="*/ 401105 h 418083"/>
                  <a:gd name="connsiteX102" fmla="*/ 415306 w 533723"/>
                  <a:gd name="connsiteY102" fmla="*/ 404311 h 418083"/>
                  <a:gd name="connsiteX103" fmla="*/ 382546 w 533723"/>
                  <a:gd name="connsiteY103" fmla="*/ 418083 h 418083"/>
                  <a:gd name="connsiteX104" fmla="*/ 364512 w 533723"/>
                  <a:gd name="connsiteY104" fmla="*/ 414388 h 418083"/>
                  <a:gd name="connsiteX105" fmla="*/ 362260 w 533723"/>
                  <a:gd name="connsiteY105" fmla="*/ 412847 h 418083"/>
                  <a:gd name="connsiteX106" fmla="*/ 359508 w 533723"/>
                  <a:gd name="connsiteY106" fmla="*/ 412530 h 418083"/>
                  <a:gd name="connsiteX107" fmla="*/ 354180 w 533723"/>
                  <a:gd name="connsiteY107" fmla="*/ 409493 h 418083"/>
                  <a:gd name="connsiteX108" fmla="*/ 351263 w 533723"/>
                  <a:gd name="connsiteY108" fmla="*/ 406931 h 418083"/>
                  <a:gd name="connsiteX109" fmla="*/ 351015 w 533723"/>
                  <a:gd name="connsiteY109" fmla="*/ 406713 h 418083"/>
                  <a:gd name="connsiteX110" fmla="*/ 348397 w 533723"/>
                  <a:gd name="connsiteY110" fmla="*/ 403432 h 418083"/>
                  <a:gd name="connsiteX111" fmla="*/ 347445 w 533723"/>
                  <a:gd name="connsiteY111" fmla="*/ 401927 h 418083"/>
                  <a:gd name="connsiteX112" fmla="*/ 345319 w 533723"/>
                  <a:gd name="connsiteY112" fmla="*/ 397536 h 418083"/>
                  <a:gd name="connsiteX113" fmla="*/ 344561 w 533723"/>
                  <a:gd name="connsiteY113" fmla="*/ 395286 h 418083"/>
                  <a:gd name="connsiteX114" fmla="*/ 335650 w 533723"/>
                  <a:gd name="connsiteY114" fmla="*/ 375455 h 418083"/>
                  <a:gd name="connsiteX115" fmla="*/ 322714 w 533723"/>
                  <a:gd name="connsiteY115" fmla="*/ 362234 h 418083"/>
                  <a:gd name="connsiteX116" fmla="*/ 319648 w 533723"/>
                  <a:gd name="connsiteY116" fmla="*/ 358159 h 418083"/>
                  <a:gd name="connsiteX117" fmla="*/ 319434 w 533723"/>
                  <a:gd name="connsiteY117" fmla="*/ 357823 h 418083"/>
                  <a:gd name="connsiteX118" fmla="*/ 314734 w 533723"/>
                  <a:gd name="connsiteY118" fmla="*/ 350455 h 418083"/>
                  <a:gd name="connsiteX119" fmla="*/ 319052 w 533723"/>
                  <a:gd name="connsiteY119" fmla="*/ 316733 h 418083"/>
                  <a:gd name="connsiteX120" fmla="*/ 323333 w 533723"/>
                  <a:gd name="connsiteY120" fmla="*/ 310656 h 418083"/>
                  <a:gd name="connsiteX121" fmla="*/ 320679 w 533723"/>
                  <a:gd name="connsiteY121" fmla="*/ 310837 h 418083"/>
                  <a:gd name="connsiteX122" fmla="*/ 316984 w 533723"/>
                  <a:gd name="connsiteY122" fmla="*/ 309959 h 418083"/>
                  <a:gd name="connsiteX123" fmla="*/ 278469 w 533723"/>
                  <a:gd name="connsiteY123" fmla="*/ 281787 h 418083"/>
                  <a:gd name="connsiteX124" fmla="*/ 279196 w 533723"/>
                  <a:gd name="connsiteY124" fmla="*/ 221148 h 418083"/>
                  <a:gd name="connsiteX125" fmla="*/ 281137 w 533723"/>
                  <a:gd name="connsiteY125" fmla="*/ 212759 h 418083"/>
                  <a:gd name="connsiteX126" fmla="*/ 280817 w 533723"/>
                  <a:gd name="connsiteY126" fmla="*/ 212855 h 418083"/>
                  <a:gd name="connsiteX127" fmla="*/ 280074 w 533723"/>
                  <a:gd name="connsiteY127" fmla="*/ 213019 h 418083"/>
                  <a:gd name="connsiteX128" fmla="*/ 208386 w 533723"/>
                  <a:gd name="connsiteY128" fmla="*/ 230868 h 418083"/>
                  <a:gd name="connsiteX129" fmla="*/ 129358 w 533723"/>
                  <a:gd name="connsiteY129" fmla="*/ 256155 h 418083"/>
                  <a:gd name="connsiteX130" fmla="*/ 76481 w 533723"/>
                  <a:gd name="connsiteY130" fmla="*/ 253856 h 418083"/>
                  <a:gd name="connsiteX131" fmla="*/ 56365 w 533723"/>
                  <a:gd name="connsiteY131" fmla="*/ 204718 h 418083"/>
                  <a:gd name="connsiteX132" fmla="*/ 6361 w 533723"/>
                  <a:gd name="connsiteY132" fmla="*/ 145234 h 418083"/>
                  <a:gd name="connsiteX133" fmla="*/ 4924 w 533723"/>
                  <a:gd name="connsiteY133" fmla="*/ 90923 h 418083"/>
                  <a:gd name="connsiteX134" fmla="*/ 26190 w 533723"/>
                  <a:gd name="connsiteY134" fmla="*/ 62762 h 418083"/>
                  <a:gd name="connsiteX135" fmla="*/ 51192 w 533723"/>
                  <a:gd name="connsiteY135" fmla="*/ 63624 h 418083"/>
                  <a:gd name="connsiteX136" fmla="*/ 92574 w 533723"/>
                  <a:gd name="connsiteY136" fmla="*/ 72245 h 418083"/>
                  <a:gd name="connsiteX137" fmla="*/ 148899 w 533723"/>
                  <a:gd name="connsiteY137" fmla="*/ 97533 h 418083"/>
                  <a:gd name="connsiteX138" fmla="*/ 100620 w 533723"/>
                  <a:gd name="connsiteY138" fmla="*/ 70233 h 418083"/>
                  <a:gd name="connsiteX139" fmla="*/ 68722 w 533723"/>
                  <a:gd name="connsiteY139" fmla="*/ 57877 h 418083"/>
                  <a:gd name="connsiteX140" fmla="*/ 95735 w 533723"/>
                  <a:gd name="connsiteY140" fmla="*/ 33739 h 418083"/>
                  <a:gd name="connsiteX141" fmla="*/ 118438 w 533723"/>
                  <a:gd name="connsiteY141" fmla="*/ 6440 h 418083"/>
                  <a:gd name="connsiteX142" fmla="*/ 135290 w 533723"/>
                  <a:gd name="connsiteY142" fmla="*/ 95 h 418083"/>
                  <a:gd name="connsiteX0" fmla="*/ 528506 w 533723"/>
                  <a:gd name="connsiteY0" fmla="*/ 291832 h 419386"/>
                  <a:gd name="connsiteX1" fmla="*/ 510121 w 533723"/>
                  <a:gd name="connsiteY1" fmla="*/ 300446 h 419386"/>
                  <a:gd name="connsiteX2" fmla="*/ 500354 w 533723"/>
                  <a:gd name="connsiteY2" fmla="*/ 302312 h 419386"/>
                  <a:gd name="connsiteX3" fmla="*/ 489695 w 533723"/>
                  <a:gd name="connsiteY3" fmla="*/ 299159 h 419386"/>
                  <a:gd name="connsiteX4" fmla="*/ 490953 w 533723"/>
                  <a:gd name="connsiteY4" fmla="*/ 302242 h 419386"/>
                  <a:gd name="connsiteX5" fmla="*/ 490826 w 533723"/>
                  <a:gd name="connsiteY5" fmla="*/ 302554 h 419386"/>
                  <a:gd name="connsiteX6" fmla="*/ 497481 w 533723"/>
                  <a:gd name="connsiteY6" fmla="*/ 306188 h 419386"/>
                  <a:gd name="connsiteX7" fmla="*/ 505812 w 533723"/>
                  <a:gd name="connsiteY7" fmla="*/ 305901 h 419386"/>
                  <a:gd name="connsiteX8" fmla="*/ 523335 w 533723"/>
                  <a:gd name="connsiteY8" fmla="*/ 297575 h 419386"/>
                  <a:gd name="connsiteX9" fmla="*/ 528506 w 533723"/>
                  <a:gd name="connsiteY9" fmla="*/ 291832 h 419386"/>
                  <a:gd name="connsiteX10" fmla="*/ 459095 w 533723"/>
                  <a:gd name="connsiteY10" fmla="*/ 214354 h 419386"/>
                  <a:gd name="connsiteX11" fmla="*/ 470185 w 533723"/>
                  <a:gd name="connsiteY11" fmla="*/ 232917 h 419386"/>
                  <a:gd name="connsiteX12" fmla="*/ 469083 w 533723"/>
                  <a:gd name="connsiteY12" fmla="*/ 236710 h 419386"/>
                  <a:gd name="connsiteX13" fmla="*/ 465107 w 533723"/>
                  <a:gd name="connsiteY13" fmla="*/ 228628 h 419386"/>
                  <a:gd name="connsiteX14" fmla="*/ 462850 w 533723"/>
                  <a:gd name="connsiteY14" fmla="*/ 223907 h 419386"/>
                  <a:gd name="connsiteX15" fmla="*/ 461361 w 533723"/>
                  <a:gd name="connsiteY15" fmla="*/ 220754 h 419386"/>
                  <a:gd name="connsiteX16" fmla="*/ 459095 w 533723"/>
                  <a:gd name="connsiteY16" fmla="*/ 214354 h 419386"/>
                  <a:gd name="connsiteX17" fmla="*/ 458921 w 533723"/>
                  <a:gd name="connsiteY17" fmla="*/ 213862 h 419386"/>
                  <a:gd name="connsiteX18" fmla="*/ 459095 w 533723"/>
                  <a:gd name="connsiteY18" fmla="*/ 214354 h 419386"/>
                  <a:gd name="connsiteX19" fmla="*/ 458953 w 533723"/>
                  <a:gd name="connsiteY19" fmla="*/ 214116 h 419386"/>
                  <a:gd name="connsiteX20" fmla="*/ 458921 w 533723"/>
                  <a:gd name="connsiteY20" fmla="*/ 213862 h 419386"/>
                  <a:gd name="connsiteX21" fmla="*/ 231642 w 533723"/>
                  <a:gd name="connsiteY21" fmla="*/ 117869 h 419386"/>
                  <a:gd name="connsiteX22" fmla="*/ 245739 w 533723"/>
                  <a:gd name="connsiteY22" fmla="*/ 119960 h 419386"/>
                  <a:gd name="connsiteX23" fmla="*/ 247479 w 533723"/>
                  <a:gd name="connsiteY23" fmla="*/ 117948 h 419386"/>
                  <a:gd name="connsiteX24" fmla="*/ 241439 w 533723"/>
                  <a:gd name="connsiteY24" fmla="*/ 117896 h 419386"/>
                  <a:gd name="connsiteX25" fmla="*/ 231642 w 533723"/>
                  <a:gd name="connsiteY25" fmla="*/ 117869 h 419386"/>
                  <a:gd name="connsiteX26" fmla="*/ 393966 w 533723"/>
                  <a:gd name="connsiteY26" fmla="*/ 59548 h 419386"/>
                  <a:gd name="connsiteX27" fmla="*/ 394760 w 533723"/>
                  <a:gd name="connsiteY27" fmla="*/ 61641 h 419386"/>
                  <a:gd name="connsiteX28" fmla="*/ 396543 w 533723"/>
                  <a:gd name="connsiteY28" fmla="*/ 61922 h 419386"/>
                  <a:gd name="connsiteX29" fmla="*/ 393966 w 533723"/>
                  <a:gd name="connsiteY29" fmla="*/ 59548 h 419386"/>
                  <a:gd name="connsiteX30" fmla="*/ 135290 w 533723"/>
                  <a:gd name="connsiteY30" fmla="*/ 95 h 419386"/>
                  <a:gd name="connsiteX31" fmla="*/ 142002 w 533723"/>
                  <a:gd name="connsiteY31" fmla="*/ 118 h 419386"/>
                  <a:gd name="connsiteX32" fmla="*/ 184247 w 533723"/>
                  <a:gd name="connsiteY32" fmla="*/ 9888 h 419386"/>
                  <a:gd name="connsiteX33" fmla="*/ 237411 w 533723"/>
                  <a:gd name="connsiteY33" fmla="*/ 31727 h 419386"/>
                  <a:gd name="connsiteX34" fmla="*/ 273908 w 533723"/>
                  <a:gd name="connsiteY34" fmla="*/ 50693 h 419386"/>
                  <a:gd name="connsiteX35" fmla="*/ 300993 w 533723"/>
                  <a:gd name="connsiteY35" fmla="*/ 65241 h 419386"/>
                  <a:gd name="connsiteX36" fmla="*/ 313770 w 533723"/>
                  <a:gd name="connsiteY36" fmla="*/ 72415 h 419386"/>
                  <a:gd name="connsiteX37" fmla="*/ 317458 w 533723"/>
                  <a:gd name="connsiteY37" fmla="*/ 74704 h 419386"/>
                  <a:gd name="connsiteX38" fmla="*/ 321989 w 533723"/>
                  <a:gd name="connsiteY38" fmla="*/ 77518 h 419386"/>
                  <a:gd name="connsiteX39" fmla="*/ 328509 w 533723"/>
                  <a:gd name="connsiteY39" fmla="*/ 81728 h 419386"/>
                  <a:gd name="connsiteX40" fmla="*/ 329950 w 533723"/>
                  <a:gd name="connsiteY40" fmla="*/ 82770 h 419386"/>
                  <a:gd name="connsiteX41" fmla="*/ 322786 w 533723"/>
                  <a:gd name="connsiteY41" fmla="*/ 67357 h 419386"/>
                  <a:gd name="connsiteX42" fmla="*/ 318179 w 533723"/>
                  <a:gd name="connsiteY42" fmla="*/ 66024 h 419386"/>
                  <a:gd name="connsiteX43" fmla="*/ 315145 w 533723"/>
                  <a:gd name="connsiteY43" fmla="*/ 65146 h 419386"/>
                  <a:gd name="connsiteX44" fmla="*/ 315984 w 533723"/>
                  <a:gd name="connsiteY44" fmla="*/ 64282 h 419386"/>
                  <a:gd name="connsiteX45" fmla="*/ 336115 w 533723"/>
                  <a:gd name="connsiteY45" fmla="*/ 45493 h 419386"/>
                  <a:gd name="connsiteX46" fmla="*/ 339135 w 533723"/>
                  <a:gd name="connsiteY46" fmla="*/ 43303 h 419386"/>
                  <a:gd name="connsiteX47" fmla="*/ 344556 w 533723"/>
                  <a:gd name="connsiteY47" fmla="*/ 40552 h 419386"/>
                  <a:gd name="connsiteX48" fmla="*/ 348957 w 533723"/>
                  <a:gd name="connsiteY48" fmla="*/ 38760 h 419386"/>
                  <a:gd name="connsiteX49" fmla="*/ 368054 w 533723"/>
                  <a:gd name="connsiteY49" fmla="*/ 34807 h 419386"/>
                  <a:gd name="connsiteX50" fmla="*/ 382234 w 533723"/>
                  <a:gd name="connsiteY50" fmla="*/ 37952 h 419386"/>
                  <a:gd name="connsiteX51" fmla="*/ 390275 w 533723"/>
                  <a:gd name="connsiteY51" fmla="*/ 35652 h 419386"/>
                  <a:gd name="connsiteX52" fmla="*/ 390840 w 533723"/>
                  <a:gd name="connsiteY52" fmla="*/ 35749 h 419386"/>
                  <a:gd name="connsiteX53" fmla="*/ 391575 w 533723"/>
                  <a:gd name="connsiteY53" fmla="*/ 35894 h 419386"/>
                  <a:gd name="connsiteX54" fmla="*/ 391750 w 533723"/>
                  <a:gd name="connsiteY54" fmla="*/ 35955 h 419386"/>
                  <a:gd name="connsiteX55" fmla="*/ 392615 w 533723"/>
                  <a:gd name="connsiteY55" fmla="*/ 36327 h 419386"/>
                  <a:gd name="connsiteX56" fmla="*/ 393242 w 533723"/>
                  <a:gd name="connsiteY56" fmla="*/ 36306 h 419386"/>
                  <a:gd name="connsiteX57" fmla="*/ 393406 w 533723"/>
                  <a:gd name="connsiteY57" fmla="*/ 36317 h 419386"/>
                  <a:gd name="connsiteX58" fmla="*/ 397383 w 533723"/>
                  <a:gd name="connsiteY58" fmla="*/ 37341 h 419386"/>
                  <a:gd name="connsiteX59" fmla="*/ 408367 w 533723"/>
                  <a:gd name="connsiteY59" fmla="*/ 43126 h 419386"/>
                  <a:gd name="connsiteX60" fmla="*/ 459773 w 533723"/>
                  <a:gd name="connsiteY60" fmla="*/ 126491 h 419386"/>
                  <a:gd name="connsiteX61" fmla="*/ 441680 w 533723"/>
                  <a:gd name="connsiteY61" fmla="*/ 188008 h 419386"/>
                  <a:gd name="connsiteX62" fmla="*/ 442553 w 533723"/>
                  <a:gd name="connsiteY62" fmla="*/ 192637 h 419386"/>
                  <a:gd name="connsiteX63" fmla="*/ 443081 w 533723"/>
                  <a:gd name="connsiteY63" fmla="*/ 194875 h 419386"/>
                  <a:gd name="connsiteX64" fmla="*/ 451172 w 533723"/>
                  <a:gd name="connsiteY64" fmla="*/ 201092 h 419386"/>
                  <a:gd name="connsiteX65" fmla="*/ 458953 w 533723"/>
                  <a:gd name="connsiteY65" fmla="*/ 214116 h 419386"/>
                  <a:gd name="connsiteX66" fmla="*/ 459209 w 533723"/>
                  <a:gd name="connsiteY66" fmla="*/ 216161 h 419386"/>
                  <a:gd name="connsiteX67" fmla="*/ 460971 w 533723"/>
                  <a:gd name="connsiteY67" fmla="*/ 219929 h 419386"/>
                  <a:gd name="connsiteX68" fmla="*/ 461361 w 533723"/>
                  <a:gd name="connsiteY68" fmla="*/ 220754 h 419386"/>
                  <a:gd name="connsiteX69" fmla="*/ 470303 w 533723"/>
                  <a:gd name="connsiteY69" fmla="*/ 246015 h 419386"/>
                  <a:gd name="connsiteX70" fmla="*/ 469962 w 533723"/>
                  <a:gd name="connsiteY70" fmla="*/ 245448 h 419386"/>
                  <a:gd name="connsiteX71" fmla="*/ 468971 w 533723"/>
                  <a:gd name="connsiteY71" fmla="*/ 243799 h 419386"/>
                  <a:gd name="connsiteX72" fmla="*/ 464115 w 533723"/>
                  <a:gd name="connsiteY72" fmla="*/ 240660 h 419386"/>
                  <a:gd name="connsiteX73" fmla="*/ 457544 w 533723"/>
                  <a:gd name="connsiteY73" fmla="*/ 239804 h 419386"/>
                  <a:gd name="connsiteX74" fmla="*/ 463829 w 533723"/>
                  <a:gd name="connsiteY74" fmla="*/ 242086 h 419386"/>
                  <a:gd name="connsiteX75" fmla="*/ 469895 w 533723"/>
                  <a:gd name="connsiteY75" fmla="*/ 245979 h 419386"/>
                  <a:gd name="connsiteX76" fmla="*/ 470460 w 533723"/>
                  <a:gd name="connsiteY76" fmla="*/ 246460 h 419386"/>
                  <a:gd name="connsiteX77" fmla="*/ 485321 w 533723"/>
                  <a:gd name="connsiteY77" fmla="*/ 288443 h 419386"/>
                  <a:gd name="connsiteX78" fmla="*/ 485666 w 533723"/>
                  <a:gd name="connsiteY78" fmla="*/ 289289 h 419386"/>
                  <a:gd name="connsiteX79" fmla="*/ 485392 w 533723"/>
                  <a:gd name="connsiteY79" fmla="*/ 285754 h 419386"/>
                  <a:gd name="connsiteX80" fmla="*/ 485409 w 533723"/>
                  <a:gd name="connsiteY80" fmla="*/ 284254 h 419386"/>
                  <a:gd name="connsiteX81" fmla="*/ 485552 w 533723"/>
                  <a:gd name="connsiteY81" fmla="*/ 284634 h 419386"/>
                  <a:gd name="connsiteX82" fmla="*/ 487684 w 533723"/>
                  <a:gd name="connsiteY82" fmla="*/ 290297 h 419386"/>
                  <a:gd name="connsiteX83" fmla="*/ 487716 w 533723"/>
                  <a:gd name="connsiteY83" fmla="*/ 290381 h 419386"/>
                  <a:gd name="connsiteX84" fmla="*/ 487709 w 533723"/>
                  <a:gd name="connsiteY84" fmla="*/ 290382 h 419386"/>
                  <a:gd name="connsiteX85" fmla="*/ 486150 w 533723"/>
                  <a:gd name="connsiteY85" fmla="*/ 290474 h 419386"/>
                  <a:gd name="connsiteX86" fmla="*/ 488742 w 533723"/>
                  <a:gd name="connsiteY86" fmla="*/ 296824 h 419386"/>
                  <a:gd name="connsiteX87" fmla="*/ 494320 w 533723"/>
                  <a:gd name="connsiteY87" fmla="*/ 295556 h 419386"/>
                  <a:gd name="connsiteX88" fmla="*/ 512429 w 533723"/>
                  <a:gd name="connsiteY88" fmla="*/ 291820 h 419386"/>
                  <a:gd name="connsiteX89" fmla="*/ 519005 w 533723"/>
                  <a:gd name="connsiteY89" fmla="*/ 287509 h 419386"/>
                  <a:gd name="connsiteX90" fmla="*/ 520508 w 533723"/>
                  <a:gd name="connsiteY90" fmla="*/ 286839 h 419386"/>
                  <a:gd name="connsiteX91" fmla="*/ 522424 w 533723"/>
                  <a:gd name="connsiteY91" fmla="*/ 286502 h 419386"/>
                  <a:gd name="connsiteX92" fmla="*/ 523091 w 533723"/>
                  <a:gd name="connsiteY92" fmla="*/ 286385 h 419386"/>
                  <a:gd name="connsiteX93" fmla="*/ 525364 w 533723"/>
                  <a:gd name="connsiteY93" fmla="*/ 286646 h 419386"/>
                  <a:gd name="connsiteX94" fmla="*/ 533413 w 533723"/>
                  <a:gd name="connsiteY94" fmla="*/ 297855 h 419386"/>
                  <a:gd name="connsiteX95" fmla="*/ 530826 w 533723"/>
                  <a:gd name="connsiteY95" fmla="*/ 316249 h 419386"/>
                  <a:gd name="connsiteX96" fmla="*/ 530588 w 533723"/>
                  <a:gd name="connsiteY96" fmla="*/ 318085 h 419386"/>
                  <a:gd name="connsiteX97" fmla="*/ 530192 w 533723"/>
                  <a:gd name="connsiteY97" fmla="*/ 320320 h 419386"/>
                  <a:gd name="connsiteX98" fmla="*/ 529838 w 533723"/>
                  <a:gd name="connsiteY98" fmla="*/ 321637 h 419386"/>
                  <a:gd name="connsiteX99" fmla="*/ 526883 w 533723"/>
                  <a:gd name="connsiteY99" fmla="*/ 332653 h 419386"/>
                  <a:gd name="connsiteX100" fmla="*/ 524435 w 533723"/>
                  <a:gd name="connsiteY100" fmla="*/ 341781 h 419386"/>
                  <a:gd name="connsiteX101" fmla="*/ 519934 w 533723"/>
                  <a:gd name="connsiteY101" fmla="*/ 353045 h 419386"/>
                  <a:gd name="connsiteX102" fmla="*/ 493458 w 533723"/>
                  <a:gd name="connsiteY102" fmla="*/ 392987 h 419386"/>
                  <a:gd name="connsiteX103" fmla="*/ 421143 w 533723"/>
                  <a:gd name="connsiteY103" fmla="*/ 403455 h 419386"/>
                  <a:gd name="connsiteX104" fmla="*/ 416615 w 533723"/>
                  <a:gd name="connsiteY104" fmla="*/ 401105 h 419386"/>
                  <a:gd name="connsiteX105" fmla="*/ 401019 w 533723"/>
                  <a:gd name="connsiteY105" fmla="*/ 392405 h 419386"/>
                  <a:gd name="connsiteX106" fmla="*/ 382546 w 533723"/>
                  <a:gd name="connsiteY106" fmla="*/ 418083 h 419386"/>
                  <a:gd name="connsiteX107" fmla="*/ 364512 w 533723"/>
                  <a:gd name="connsiteY107" fmla="*/ 414388 h 419386"/>
                  <a:gd name="connsiteX108" fmla="*/ 362260 w 533723"/>
                  <a:gd name="connsiteY108" fmla="*/ 412847 h 419386"/>
                  <a:gd name="connsiteX109" fmla="*/ 359508 w 533723"/>
                  <a:gd name="connsiteY109" fmla="*/ 412530 h 419386"/>
                  <a:gd name="connsiteX110" fmla="*/ 354180 w 533723"/>
                  <a:gd name="connsiteY110" fmla="*/ 409493 h 419386"/>
                  <a:gd name="connsiteX111" fmla="*/ 351263 w 533723"/>
                  <a:gd name="connsiteY111" fmla="*/ 406931 h 419386"/>
                  <a:gd name="connsiteX112" fmla="*/ 351015 w 533723"/>
                  <a:gd name="connsiteY112" fmla="*/ 406713 h 419386"/>
                  <a:gd name="connsiteX113" fmla="*/ 348397 w 533723"/>
                  <a:gd name="connsiteY113" fmla="*/ 403432 h 419386"/>
                  <a:gd name="connsiteX114" fmla="*/ 347445 w 533723"/>
                  <a:gd name="connsiteY114" fmla="*/ 401927 h 419386"/>
                  <a:gd name="connsiteX115" fmla="*/ 345319 w 533723"/>
                  <a:gd name="connsiteY115" fmla="*/ 397536 h 419386"/>
                  <a:gd name="connsiteX116" fmla="*/ 344561 w 533723"/>
                  <a:gd name="connsiteY116" fmla="*/ 395286 h 419386"/>
                  <a:gd name="connsiteX117" fmla="*/ 335650 w 533723"/>
                  <a:gd name="connsiteY117" fmla="*/ 375455 h 419386"/>
                  <a:gd name="connsiteX118" fmla="*/ 322714 w 533723"/>
                  <a:gd name="connsiteY118" fmla="*/ 362234 h 419386"/>
                  <a:gd name="connsiteX119" fmla="*/ 319648 w 533723"/>
                  <a:gd name="connsiteY119" fmla="*/ 358159 h 419386"/>
                  <a:gd name="connsiteX120" fmla="*/ 319434 w 533723"/>
                  <a:gd name="connsiteY120" fmla="*/ 357823 h 419386"/>
                  <a:gd name="connsiteX121" fmla="*/ 314734 w 533723"/>
                  <a:gd name="connsiteY121" fmla="*/ 350455 h 419386"/>
                  <a:gd name="connsiteX122" fmla="*/ 319052 w 533723"/>
                  <a:gd name="connsiteY122" fmla="*/ 316733 h 419386"/>
                  <a:gd name="connsiteX123" fmla="*/ 323333 w 533723"/>
                  <a:gd name="connsiteY123" fmla="*/ 310656 h 419386"/>
                  <a:gd name="connsiteX124" fmla="*/ 320679 w 533723"/>
                  <a:gd name="connsiteY124" fmla="*/ 310837 h 419386"/>
                  <a:gd name="connsiteX125" fmla="*/ 316984 w 533723"/>
                  <a:gd name="connsiteY125" fmla="*/ 309959 h 419386"/>
                  <a:gd name="connsiteX126" fmla="*/ 278469 w 533723"/>
                  <a:gd name="connsiteY126" fmla="*/ 281787 h 419386"/>
                  <a:gd name="connsiteX127" fmla="*/ 279196 w 533723"/>
                  <a:gd name="connsiteY127" fmla="*/ 221148 h 419386"/>
                  <a:gd name="connsiteX128" fmla="*/ 281137 w 533723"/>
                  <a:gd name="connsiteY128" fmla="*/ 212759 h 419386"/>
                  <a:gd name="connsiteX129" fmla="*/ 280817 w 533723"/>
                  <a:gd name="connsiteY129" fmla="*/ 212855 h 419386"/>
                  <a:gd name="connsiteX130" fmla="*/ 280074 w 533723"/>
                  <a:gd name="connsiteY130" fmla="*/ 213019 h 419386"/>
                  <a:gd name="connsiteX131" fmla="*/ 208386 w 533723"/>
                  <a:gd name="connsiteY131" fmla="*/ 230868 h 419386"/>
                  <a:gd name="connsiteX132" fmla="*/ 129358 w 533723"/>
                  <a:gd name="connsiteY132" fmla="*/ 256155 h 419386"/>
                  <a:gd name="connsiteX133" fmla="*/ 76481 w 533723"/>
                  <a:gd name="connsiteY133" fmla="*/ 253856 h 419386"/>
                  <a:gd name="connsiteX134" fmla="*/ 56365 w 533723"/>
                  <a:gd name="connsiteY134" fmla="*/ 204718 h 419386"/>
                  <a:gd name="connsiteX135" fmla="*/ 6361 w 533723"/>
                  <a:gd name="connsiteY135" fmla="*/ 145234 h 419386"/>
                  <a:gd name="connsiteX136" fmla="*/ 4924 w 533723"/>
                  <a:gd name="connsiteY136" fmla="*/ 90923 h 419386"/>
                  <a:gd name="connsiteX137" fmla="*/ 26190 w 533723"/>
                  <a:gd name="connsiteY137" fmla="*/ 62762 h 419386"/>
                  <a:gd name="connsiteX138" fmla="*/ 51192 w 533723"/>
                  <a:gd name="connsiteY138" fmla="*/ 63624 h 419386"/>
                  <a:gd name="connsiteX139" fmla="*/ 92574 w 533723"/>
                  <a:gd name="connsiteY139" fmla="*/ 72245 h 419386"/>
                  <a:gd name="connsiteX140" fmla="*/ 148899 w 533723"/>
                  <a:gd name="connsiteY140" fmla="*/ 97533 h 419386"/>
                  <a:gd name="connsiteX141" fmla="*/ 100620 w 533723"/>
                  <a:gd name="connsiteY141" fmla="*/ 70233 h 419386"/>
                  <a:gd name="connsiteX142" fmla="*/ 68722 w 533723"/>
                  <a:gd name="connsiteY142" fmla="*/ 57877 h 419386"/>
                  <a:gd name="connsiteX143" fmla="*/ 95735 w 533723"/>
                  <a:gd name="connsiteY143" fmla="*/ 33739 h 419386"/>
                  <a:gd name="connsiteX144" fmla="*/ 118438 w 533723"/>
                  <a:gd name="connsiteY144" fmla="*/ 6440 h 419386"/>
                  <a:gd name="connsiteX145" fmla="*/ 135290 w 533723"/>
                  <a:gd name="connsiteY145" fmla="*/ 95 h 419386"/>
                  <a:gd name="connsiteX0" fmla="*/ 528506 w 533723"/>
                  <a:gd name="connsiteY0" fmla="*/ 291832 h 415347"/>
                  <a:gd name="connsiteX1" fmla="*/ 510121 w 533723"/>
                  <a:gd name="connsiteY1" fmla="*/ 300446 h 415347"/>
                  <a:gd name="connsiteX2" fmla="*/ 500354 w 533723"/>
                  <a:gd name="connsiteY2" fmla="*/ 302312 h 415347"/>
                  <a:gd name="connsiteX3" fmla="*/ 489695 w 533723"/>
                  <a:gd name="connsiteY3" fmla="*/ 299159 h 415347"/>
                  <a:gd name="connsiteX4" fmla="*/ 490953 w 533723"/>
                  <a:gd name="connsiteY4" fmla="*/ 302242 h 415347"/>
                  <a:gd name="connsiteX5" fmla="*/ 490826 w 533723"/>
                  <a:gd name="connsiteY5" fmla="*/ 302554 h 415347"/>
                  <a:gd name="connsiteX6" fmla="*/ 497481 w 533723"/>
                  <a:gd name="connsiteY6" fmla="*/ 306188 h 415347"/>
                  <a:gd name="connsiteX7" fmla="*/ 505812 w 533723"/>
                  <a:gd name="connsiteY7" fmla="*/ 305901 h 415347"/>
                  <a:gd name="connsiteX8" fmla="*/ 523335 w 533723"/>
                  <a:gd name="connsiteY8" fmla="*/ 297575 h 415347"/>
                  <a:gd name="connsiteX9" fmla="*/ 528506 w 533723"/>
                  <a:gd name="connsiteY9" fmla="*/ 291832 h 415347"/>
                  <a:gd name="connsiteX10" fmla="*/ 459095 w 533723"/>
                  <a:gd name="connsiteY10" fmla="*/ 214354 h 415347"/>
                  <a:gd name="connsiteX11" fmla="*/ 470185 w 533723"/>
                  <a:gd name="connsiteY11" fmla="*/ 232917 h 415347"/>
                  <a:gd name="connsiteX12" fmla="*/ 469083 w 533723"/>
                  <a:gd name="connsiteY12" fmla="*/ 236710 h 415347"/>
                  <a:gd name="connsiteX13" fmla="*/ 465107 w 533723"/>
                  <a:gd name="connsiteY13" fmla="*/ 228628 h 415347"/>
                  <a:gd name="connsiteX14" fmla="*/ 462850 w 533723"/>
                  <a:gd name="connsiteY14" fmla="*/ 223907 h 415347"/>
                  <a:gd name="connsiteX15" fmla="*/ 461361 w 533723"/>
                  <a:gd name="connsiteY15" fmla="*/ 220754 h 415347"/>
                  <a:gd name="connsiteX16" fmla="*/ 459095 w 533723"/>
                  <a:gd name="connsiteY16" fmla="*/ 214354 h 415347"/>
                  <a:gd name="connsiteX17" fmla="*/ 458921 w 533723"/>
                  <a:gd name="connsiteY17" fmla="*/ 213862 h 415347"/>
                  <a:gd name="connsiteX18" fmla="*/ 459095 w 533723"/>
                  <a:gd name="connsiteY18" fmla="*/ 214354 h 415347"/>
                  <a:gd name="connsiteX19" fmla="*/ 458953 w 533723"/>
                  <a:gd name="connsiteY19" fmla="*/ 214116 h 415347"/>
                  <a:gd name="connsiteX20" fmla="*/ 458921 w 533723"/>
                  <a:gd name="connsiteY20" fmla="*/ 213862 h 415347"/>
                  <a:gd name="connsiteX21" fmla="*/ 231642 w 533723"/>
                  <a:gd name="connsiteY21" fmla="*/ 117869 h 415347"/>
                  <a:gd name="connsiteX22" fmla="*/ 245739 w 533723"/>
                  <a:gd name="connsiteY22" fmla="*/ 119960 h 415347"/>
                  <a:gd name="connsiteX23" fmla="*/ 247479 w 533723"/>
                  <a:gd name="connsiteY23" fmla="*/ 117948 h 415347"/>
                  <a:gd name="connsiteX24" fmla="*/ 241439 w 533723"/>
                  <a:gd name="connsiteY24" fmla="*/ 117896 h 415347"/>
                  <a:gd name="connsiteX25" fmla="*/ 231642 w 533723"/>
                  <a:gd name="connsiteY25" fmla="*/ 117869 h 415347"/>
                  <a:gd name="connsiteX26" fmla="*/ 393966 w 533723"/>
                  <a:gd name="connsiteY26" fmla="*/ 59548 h 415347"/>
                  <a:gd name="connsiteX27" fmla="*/ 394760 w 533723"/>
                  <a:gd name="connsiteY27" fmla="*/ 61641 h 415347"/>
                  <a:gd name="connsiteX28" fmla="*/ 396543 w 533723"/>
                  <a:gd name="connsiteY28" fmla="*/ 61922 h 415347"/>
                  <a:gd name="connsiteX29" fmla="*/ 393966 w 533723"/>
                  <a:gd name="connsiteY29" fmla="*/ 59548 h 415347"/>
                  <a:gd name="connsiteX30" fmla="*/ 135290 w 533723"/>
                  <a:gd name="connsiteY30" fmla="*/ 95 h 415347"/>
                  <a:gd name="connsiteX31" fmla="*/ 142002 w 533723"/>
                  <a:gd name="connsiteY31" fmla="*/ 118 h 415347"/>
                  <a:gd name="connsiteX32" fmla="*/ 184247 w 533723"/>
                  <a:gd name="connsiteY32" fmla="*/ 9888 h 415347"/>
                  <a:gd name="connsiteX33" fmla="*/ 237411 w 533723"/>
                  <a:gd name="connsiteY33" fmla="*/ 31727 h 415347"/>
                  <a:gd name="connsiteX34" fmla="*/ 273908 w 533723"/>
                  <a:gd name="connsiteY34" fmla="*/ 50693 h 415347"/>
                  <a:gd name="connsiteX35" fmla="*/ 300993 w 533723"/>
                  <a:gd name="connsiteY35" fmla="*/ 65241 h 415347"/>
                  <a:gd name="connsiteX36" fmla="*/ 313770 w 533723"/>
                  <a:gd name="connsiteY36" fmla="*/ 72415 h 415347"/>
                  <a:gd name="connsiteX37" fmla="*/ 317458 w 533723"/>
                  <a:gd name="connsiteY37" fmla="*/ 74704 h 415347"/>
                  <a:gd name="connsiteX38" fmla="*/ 321989 w 533723"/>
                  <a:gd name="connsiteY38" fmla="*/ 77518 h 415347"/>
                  <a:gd name="connsiteX39" fmla="*/ 328509 w 533723"/>
                  <a:gd name="connsiteY39" fmla="*/ 81728 h 415347"/>
                  <a:gd name="connsiteX40" fmla="*/ 329950 w 533723"/>
                  <a:gd name="connsiteY40" fmla="*/ 82770 h 415347"/>
                  <a:gd name="connsiteX41" fmla="*/ 322786 w 533723"/>
                  <a:gd name="connsiteY41" fmla="*/ 67357 h 415347"/>
                  <a:gd name="connsiteX42" fmla="*/ 318179 w 533723"/>
                  <a:gd name="connsiteY42" fmla="*/ 66024 h 415347"/>
                  <a:gd name="connsiteX43" fmla="*/ 315145 w 533723"/>
                  <a:gd name="connsiteY43" fmla="*/ 65146 h 415347"/>
                  <a:gd name="connsiteX44" fmla="*/ 315984 w 533723"/>
                  <a:gd name="connsiteY44" fmla="*/ 64282 h 415347"/>
                  <a:gd name="connsiteX45" fmla="*/ 336115 w 533723"/>
                  <a:gd name="connsiteY45" fmla="*/ 45493 h 415347"/>
                  <a:gd name="connsiteX46" fmla="*/ 339135 w 533723"/>
                  <a:gd name="connsiteY46" fmla="*/ 43303 h 415347"/>
                  <a:gd name="connsiteX47" fmla="*/ 344556 w 533723"/>
                  <a:gd name="connsiteY47" fmla="*/ 40552 h 415347"/>
                  <a:gd name="connsiteX48" fmla="*/ 348957 w 533723"/>
                  <a:gd name="connsiteY48" fmla="*/ 38760 h 415347"/>
                  <a:gd name="connsiteX49" fmla="*/ 368054 w 533723"/>
                  <a:gd name="connsiteY49" fmla="*/ 34807 h 415347"/>
                  <a:gd name="connsiteX50" fmla="*/ 382234 w 533723"/>
                  <a:gd name="connsiteY50" fmla="*/ 37952 h 415347"/>
                  <a:gd name="connsiteX51" fmla="*/ 390275 w 533723"/>
                  <a:gd name="connsiteY51" fmla="*/ 35652 h 415347"/>
                  <a:gd name="connsiteX52" fmla="*/ 390840 w 533723"/>
                  <a:gd name="connsiteY52" fmla="*/ 35749 h 415347"/>
                  <a:gd name="connsiteX53" fmla="*/ 391575 w 533723"/>
                  <a:gd name="connsiteY53" fmla="*/ 35894 h 415347"/>
                  <a:gd name="connsiteX54" fmla="*/ 391750 w 533723"/>
                  <a:gd name="connsiteY54" fmla="*/ 35955 h 415347"/>
                  <a:gd name="connsiteX55" fmla="*/ 392615 w 533723"/>
                  <a:gd name="connsiteY55" fmla="*/ 36327 h 415347"/>
                  <a:gd name="connsiteX56" fmla="*/ 393242 w 533723"/>
                  <a:gd name="connsiteY56" fmla="*/ 36306 h 415347"/>
                  <a:gd name="connsiteX57" fmla="*/ 393406 w 533723"/>
                  <a:gd name="connsiteY57" fmla="*/ 36317 h 415347"/>
                  <a:gd name="connsiteX58" fmla="*/ 397383 w 533723"/>
                  <a:gd name="connsiteY58" fmla="*/ 37341 h 415347"/>
                  <a:gd name="connsiteX59" fmla="*/ 408367 w 533723"/>
                  <a:gd name="connsiteY59" fmla="*/ 43126 h 415347"/>
                  <a:gd name="connsiteX60" fmla="*/ 459773 w 533723"/>
                  <a:gd name="connsiteY60" fmla="*/ 126491 h 415347"/>
                  <a:gd name="connsiteX61" fmla="*/ 441680 w 533723"/>
                  <a:gd name="connsiteY61" fmla="*/ 188008 h 415347"/>
                  <a:gd name="connsiteX62" fmla="*/ 442553 w 533723"/>
                  <a:gd name="connsiteY62" fmla="*/ 192637 h 415347"/>
                  <a:gd name="connsiteX63" fmla="*/ 443081 w 533723"/>
                  <a:gd name="connsiteY63" fmla="*/ 194875 h 415347"/>
                  <a:gd name="connsiteX64" fmla="*/ 451172 w 533723"/>
                  <a:gd name="connsiteY64" fmla="*/ 201092 h 415347"/>
                  <a:gd name="connsiteX65" fmla="*/ 458953 w 533723"/>
                  <a:gd name="connsiteY65" fmla="*/ 214116 h 415347"/>
                  <a:gd name="connsiteX66" fmla="*/ 459209 w 533723"/>
                  <a:gd name="connsiteY66" fmla="*/ 216161 h 415347"/>
                  <a:gd name="connsiteX67" fmla="*/ 460971 w 533723"/>
                  <a:gd name="connsiteY67" fmla="*/ 219929 h 415347"/>
                  <a:gd name="connsiteX68" fmla="*/ 461361 w 533723"/>
                  <a:gd name="connsiteY68" fmla="*/ 220754 h 415347"/>
                  <a:gd name="connsiteX69" fmla="*/ 470303 w 533723"/>
                  <a:gd name="connsiteY69" fmla="*/ 246015 h 415347"/>
                  <a:gd name="connsiteX70" fmla="*/ 469962 w 533723"/>
                  <a:gd name="connsiteY70" fmla="*/ 245448 h 415347"/>
                  <a:gd name="connsiteX71" fmla="*/ 468971 w 533723"/>
                  <a:gd name="connsiteY71" fmla="*/ 243799 h 415347"/>
                  <a:gd name="connsiteX72" fmla="*/ 464115 w 533723"/>
                  <a:gd name="connsiteY72" fmla="*/ 240660 h 415347"/>
                  <a:gd name="connsiteX73" fmla="*/ 457544 w 533723"/>
                  <a:gd name="connsiteY73" fmla="*/ 239804 h 415347"/>
                  <a:gd name="connsiteX74" fmla="*/ 463829 w 533723"/>
                  <a:gd name="connsiteY74" fmla="*/ 242086 h 415347"/>
                  <a:gd name="connsiteX75" fmla="*/ 469895 w 533723"/>
                  <a:gd name="connsiteY75" fmla="*/ 245979 h 415347"/>
                  <a:gd name="connsiteX76" fmla="*/ 470460 w 533723"/>
                  <a:gd name="connsiteY76" fmla="*/ 246460 h 415347"/>
                  <a:gd name="connsiteX77" fmla="*/ 485321 w 533723"/>
                  <a:gd name="connsiteY77" fmla="*/ 288443 h 415347"/>
                  <a:gd name="connsiteX78" fmla="*/ 485666 w 533723"/>
                  <a:gd name="connsiteY78" fmla="*/ 289289 h 415347"/>
                  <a:gd name="connsiteX79" fmla="*/ 485392 w 533723"/>
                  <a:gd name="connsiteY79" fmla="*/ 285754 h 415347"/>
                  <a:gd name="connsiteX80" fmla="*/ 485409 w 533723"/>
                  <a:gd name="connsiteY80" fmla="*/ 284254 h 415347"/>
                  <a:gd name="connsiteX81" fmla="*/ 485552 w 533723"/>
                  <a:gd name="connsiteY81" fmla="*/ 284634 h 415347"/>
                  <a:gd name="connsiteX82" fmla="*/ 487684 w 533723"/>
                  <a:gd name="connsiteY82" fmla="*/ 290297 h 415347"/>
                  <a:gd name="connsiteX83" fmla="*/ 487716 w 533723"/>
                  <a:gd name="connsiteY83" fmla="*/ 290381 h 415347"/>
                  <a:gd name="connsiteX84" fmla="*/ 487709 w 533723"/>
                  <a:gd name="connsiteY84" fmla="*/ 290382 h 415347"/>
                  <a:gd name="connsiteX85" fmla="*/ 486150 w 533723"/>
                  <a:gd name="connsiteY85" fmla="*/ 290474 h 415347"/>
                  <a:gd name="connsiteX86" fmla="*/ 488742 w 533723"/>
                  <a:gd name="connsiteY86" fmla="*/ 296824 h 415347"/>
                  <a:gd name="connsiteX87" fmla="*/ 494320 w 533723"/>
                  <a:gd name="connsiteY87" fmla="*/ 295556 h 415347"/>
                  <a:gd name="connsiteX88" fmla="*/ 512429 w 533723"/>
                  <a:gd name="connsiteY88" fmla="*/ 291820 h 415347"/>
                  <a:gd name="connsiteX89" fmla="*/ 519005 w 533723"/>
                  <a:gd name="connsiteY89" fmla="*/ 287509 h 415347"/>
                  <a:gd name="connsiteX90" fmla="*/ 520508 w 533723"/>
                  <a:gd name="connsiteY90" fmla="*/ 286839 h 415347"/>
                  <a:gd name="connsiteX91" fmla="*/ 522424 w 533723"/>
                  <a:gd name="connsiteY91" fmla="*/ 286502 h 415347"/>
                  <a:gd name="connsiteX92" fmla="*/ 523091 w 533723"/>
                  <a:gd name="connsiteY92" fmla="*/ 286385 h 415347"/>
                  <a:gd name="connsiteX93" fmla="*/ 525364 w 533723"/>
                  <a:gd name="connsiteY93" fmla="*/ 286646 h 415347"/>
                  <a:gd name="connsiteX94" fmla="*/ 533413 w 533723"/>
                  <a:gd name="connsiteY94" fmla="*/ 297855 h 415347"/>
                  <a:gd name="connsiteX95" fmla="*/ 530826 w 533723"/>
                  <a:gd name="connsiteY95" fmla="*/ 316249 h 415347"/>
                  <a:gd name="connsiteX96" fmla="*/ 530588 w 533723"/>
                  <a:gd name="connsiteY96" fmla="*/ 318085 h 415347"/>
                  <a:gd name="connsiteX97" fmla="*/ 530192 w 533723"/>
                  <a:gd name="connsiteY97" fmla="*/ 320320 h 415347"/>
                  <a:gd name="connsiteX98" fmla="*/ 529838 w 533723"/>
                  <a:gd name="connsiteY98" fmla="*/ 321637 h 415347"/>
                  <a:gd name="connsiteX99" fmla="*/ 526883 w 533723"/>
                  <a:gd name="connsiteY99" fmla="*/ 332653 h 415347"/>
                  <a:gd name="connsiteX100" fmla="*/ 524435 w 533723"/>
                  <a:gd name="connsiteY100" fmla="*/ 341781 h 415347"/>
                  <a:gd name="connsiteX101" fmla="*/ 519934 w 533723"/>
                  <a:gd name="connsiteY101" fmla="*/ 353045 h 415347"/>
                  <a:gd name="connsiteX102" fmla="*/ 493458 w 533723"/>
                  <a:gd name="connsiteY102" fmla="*/ 392987 h 415347"/>
                  <a:gd name="connsiteX103" fmla="*/ 421143 w 533723"/>
                  <a:gd name="connsiteY103" fmla="*/ 403455 h 415347"/>
                  <a:gd name="connsiteX104" fmla="*/ 416615 w 533723"/>
                  <a:gd name="connsiteY104" fmla="*/ 401105 h 415347"/>
                  <a:gd name="connsiteX105" fmla="*/ 401019 w 533723"/>
                  <a:gd name="connsiteY105" fmla="*/ 392405 h 415347"/>
                  <a:gd name="connsiteX106" fmla="*/ 381629 w 533723"/>
                  <a:gd name="connsiteY106" fmla="*/ 410745 h 415347"/>
                  <a:gd name="connsiteX107" fmla="*/ 364512 w 533723"/>
                  <a:gd name="connsiteY107" fmla="*/ 414388 h 415347"/>
                  <a:gd name="connsiteX108" fmla="*/ 362260 w 533723"/>
                  <a:gd name="connsiteY108" fmla="*/ 412847 h 415347"/>
                  <a:gd name="connsiteX109" fmla="*/ 359508 w 533723"/>
                  <a:gd name="connsiteY109" fmla="*/ 412530 h 415347"/>
                  <a:gd name="connsiteX110" fmla="*/ 354180 w 533723"/>
                  <a:gd name="connsiteY110" fmla="*/ 409493 h 415347"/>
                  <a:gd name="connsiteX111" fmla="*/ 351263 w 533723"/>
                  <a:gd name="connsiteY111" fmla="*/ 406931 h 415347"/>
                  <a:gd name="connsiteX112" fmla="*/ 351015 w 533723"/>
                  <a:gd name="connsiteY112" fmla="*/ 406713 h 415347"/>
                  <a:gd name="connsiteX113" fmla="*/ 348397 w 533723"/>
                  <a:gd name="connsiteY113" fmla="*/ 403432 h 415347"/>
                  <a:gd name="connsiteX114" fmla="*/ 347445 w 533723"/>
                  <a:gd name="connsiteY114" fmla="*/ 401927 h 415347"/>
                  <a:gd name="connsiteX115" fmla="*/ 345319 w 533723"/>
                  <a:gd name="connsiteY115" fmla="*/ 397536 h 415347"/>
                  <a:gd name="connsiteX116" fmla="*/ 344561 w 533723"/>
                  <a:gd name="connsiteY116" fmla="*/ 395286 h 415347"/>
                  <a:gd name="connsiteX117" fmla="*/ 335650 w 533723"/>
                  <a:gd name="connsiteY117" fmla="*/ 375455 h 415347"/>
                  <a:gd name="connsiteX118" fmla="*/ 322714 w 533723"/>
                  <a:gd name="connsiteY118" fmla="*/ 362234 h 415347"/>
                  <a:gd name="connsiteX119" fmla="*/ 319648 w 533723"/>
                  <a:gd name="connsiteY119" fmla="*/ 358159 h 415347"/>
                  <a:gd name="connsiteX120" fmla="*/ 319434 w 533723"/>
                  <a:gd name="connsiteY120" fmla="*/ 357823 h 415347"/>
                  <a:gd name="connsiteX121" fmla="*/ 314734 w 533723"/>
                  <a:gd name="connsiteY121" fmla="*/ 350455 h 415347"/>
                  <a:gd name="connsiteX122" fmla="*/ 319052 w 533723"/>
                  <a:gd name="connsiteY122" fmla="*/ 316733 h 415347"/>
                  <a:gd name="connsiteX123" fmla="*/ 323333 w 533723"/>
                  <a:gd name="connsiteY123" fmla="*/ 310656 h 415347"/>
                  <a:gd name="connsiteX124" fmla="*/ 320679 w 533723"/>
                  <a:gd name="connsiteY124" fmla="*/ 310837 h 415347"/>
                  <a:gd name="connsiteX125" fmla="*/ 316984 w 533723"/>
                  <a:gd name="connsiteY125" fmla="*/ 309959 h 415347"/>
                  <a:gd name="connsiteX126" fmla="*/ 278469 w 533723"/>
                  <a:gd name="connsiteY126" fmla="*/ 281787 h 415347"/>
                  <a:gd name="connsiteX127" fmla="*/ 279196 w 533723"/>
                  <a:gd name="connsiteY127" fmla="*/ 221148 h 415347"/>
                  <a:gd name="connsiteX128" fmla="*/ 281137 w 533723"/>
                  <a:gd name="connsiteY128" fmla="*/ 212759 h 415347"/>
                  <a:gd name="connsiteX129" fmla="*/ 280817 w 533723"/>
                  <a:gd name="connsiteY129" fmla="*/ 212855 h 415347"/>
                  <a:gd name="connsiteX130" fmla="*/ 280074 w 533723"/>
                  <a:gd name="connsiteY130" fmla="*/ 213019 h 415347"/>
                  <a:gd name="connsiteX131" fmla="*/ 208386 w 533723"/>
                  <a:gd name="connsiteY131" fmla="*/ 230868 h 415347"/>
                  <a:gd name="connsiteX132" fmla="*/ 129358 w 533723"/>
                  <a:gd name="connsiteY132" fmla="*/ 256155 h 415347"/>
                  <a:gd name="connsiteX133" fmla="*/ 76481 w 533723"/>
                  <a:gd name="connsiteY133" fmla="*/ 253856 h 415347"/>
                  <a:gd name="connsiteX134" fmla="*/ 56365 w 533723"/>
                  <a:gd name="connsiteY134" fmla="*/ 204718 h 415347"/>
                  <a:gd name="connsiteX135" fmla="*/ 6361 w 533723"/>
                  <a:gd name="connsiteY135" fmla="*/ 145234 h 415347"/>
                  <a:gd name="connsiteX136" fmla="*/ 4924 w 533723"/>
                  <a:gd name="connsiteY136" fmla="*/ 90923 h 415347"/>
                  <a:gd name="connsiteX137" fmla="*/ 26190 w 533723"/>
                  <a:gd name="connsiteY137" fmla="*/ 62762 h 415347"/>
                  <a:gd name="connsiteX138" fmla="*/ 51192 w 533723"/>
                  <a:gd name="connsiteY138" fmla="*/ 63624 h 415347"/>
                  <a:gd name="connsiteX139" fmla="*/ 92574 w 533723"/>
                  <a:gd name="connsiteY139" fmla="*/ 72245 h 415347"/>
                  <a:gd name="connsiteX140" fmla="*/ 148899 w 533723"/>
                  <a:gd name="connsiteY140" fmla="*/ 97533 h 415347"/>
                  <a:gd name="connsiteX141" fmla="*/ 100620 w 533723"/>
                  <a:gd name="connsiteY141" fmla="*/ 70233 h 415347"/>
                  <a:gd name="connsiteX142" fmla="*/ 68722 w 533723"/>
                  <a:gd name="connsiteY142" fmla="*/ 57877 h 415347"/>
                  <a:gd name="connsiteX143" fmla="*/ 95735 w 533723"/>
                  <a:gd name="connsiteY143" fmla="*/ 33739 h 415347"/>
                  <a:gd name="connsiteX144" fmla="*/ 118438 w 533723"/>
                  <a:gd name="connsiteY144" fmla="*/ 6440 h 415347"/>
                  <a:gd name="connsiteX145" fmla="*/ 135290 w 533723"/>
                  <a:gd name="connsiteY145" fmla="*/ 95 h 415347"/>
                  <a:gd name="connsiteX0" fmla="*/ 528506 w 533723"/>
                  <a:gd name="connsiteY0" fmla="*/ 291832 h 415322"/>
                  <a:gd name="connsiteX1" fmla="*/ 510121 w 533723"/>
                  <a:gd name="connsiteY1" fmla="*/ 300446 h 415322"/>
                  <a:gd name="connsiteX2" fmla="*/ 500354 w 533723"/>
                  <a:gd name="connsiteY2" fmla="*/ 302312 h 415322"/>
                  <a:gd name="connsiteX3" fmla="*/ 489695 w 533723"/>
                  <a:gd name="connsiteY3" fmla="*/ 299159 h 415322"/>
                  <a:gd name="connsiteX4" fmla="*/ 490953 w 533723"/>
                  <a:gd name="connsiteY4" fmla="*/ 302242 h 415322"/>
                  <a:gd name="connsiteX5" fmla="*/ 490826 w 533723"/>
                  <a:gd name="connsiteY5" fmla="*/ 302554 h 415322"/>
                  <a:gd name="connsiteX6" fmla="*/ 497481 w 533723"/>
                  <a:gd name="connsiteY6" fmla="*/ 306188 h 415322"/>
                  <a:gd name="connsiteX7" fmla="*/ 505812 w 533723"/>
                  <a:gd name="connsiteY7" fmla="*/ 305901 h 415322"/>
                  <a:gd name="connsiteX8" fmla="*/ 523335 w 533723"/>
                  <a:gd name="connsiteY8" fmla="*/ 297575 h 415322"/>
                  <a:gd name="connsiteX9" fmla="*/ 528506 w 533723"/>
                  <a:gd name="connsiteY9" fmla="*/ 291832 h 415322"/>
                  <a:gd name="connsiteX10" fmla="*/ 459095 w 533723"/>
                  <a:gd name="connsiteY10" fmla="*/ 214354 h 415322"/>
                  <a:gd name="connsiteX11" fmla="*/ 470185 w 533723"/>
                  <a:gd name="connsiteY11" fmla="*/ 232917 h 415322"/>
                  <a:gd name="connsiteX12" fmla="*/ 469083 w 533723"/>
                  <a:gd name="connsiteY12" fmla="*/ 236710 h 415322"/>
                  <a:gd name="connsiteX13" fmla="*/ 465107 w 533723"/>
                  <a:gd name="connsiteY13" fmla="*/ 228628 h 415322"/>
                  <a:gd name="connsiteX14" fmla="*/ 462850 w 533723"/>
                  <a:gd name="connsiteY14" fmla="*/ 223907 h 415322"/>
                  <a:gd name="connsiteX15" fmla="*/ 461361 w 533723"/>
                  <a:gd name="connsiteY15" fmla="*/ 220754 h 415322"/>
                  <a:gd name="connsiteX16" fmla="*/ 459095 w 533723"/>
                  <a:gd name="connsiteY16" fmla="*/ 214354 h 415322"/>
                  <a:gd name="connsiteX17" fmla="*/ 458921 w 533723"/>
                  <a:gd name="connsiteY17" fmla="*/ 213862 h 415322"/>
                  <a:gd name="connsiteX18" fmla="*/ 459095 w 533723"/>
                  <a:gd name="connsiteY18" fmla="*/ 214354 h 415322"/>
                  <a:gd name="connsiteX19" fmla="*/ 458953 w 533723"/>
                  <a:gd name="connsiteY19" fmla="*/ 214116 h 415322"/>
                  <a:gd name="connsiteX20" fmla="*/ 458921 w 533723"/>
                  <a:gd name="connsiteY20" fmla="*/ 213862 h 415322"/>
                  <a:gd name="connsiteX21" fmla="*/ 231642 w 533723"/>
                  <a:gd name="connsiteY21" fmla="*/ 117869 h 415322"/>
                  <a:gd name="connsiteX22" fmla="*/ 245739 w 533723"/>
                  <a:gd name="connsiteY22" fmla="*/ 119960 h 415322"/>
                  <a:gd name="connsiteX23" fmla="*/ 247479 w 533723"/>
                  <a:gd name="connsiteY23" fmla="*/ 117948 h 415322"/>
                  <a:gd name="connsiteX24" fmla="*/ 241439 w 533723"/>
                  <a:gd name="connsiteY24" fmla="*/ 117896 h 415322"/>
                  <a:gd name="connsiteX25" fmla="*/ 231642 w 533723"/>
                  <a:gd name="connsiteY25" fmla="*/ 117869 h 415322"/>
                  <a:gd name="connsiteX26" fmla="*/ 393966 w 533723"/>
                  <a:gd name="connsiteY26" fmla="*/ 59548 h 415322"/>
                  <a:gd name="connsiteX27" fmla="*/ 394760 w 533723"/>
                  <a:gd name="connsiteY27" fmla="*/ 61641 h 415322"/>
                  <a:gd name="connsiteX28" fmla="*/ 396543 w 533723"/>
                  <a:gd name="connsiteY28" fmla="*/ 61922 h 415322"/>
                  <a:gd name="connsiteX29" fmla="*/ 393966 w 533723"/>
                  <a:gd name="connsiteY29" fmla="*/ 59548 h 415322"/>
                  <a:gd name="connsiteX30" fmla="*/ 135290 w 533723"/>
                  <a:gd name="connsiteY30" fmla="*/ 95 h 415322"/>
                  <a:gd name="connsiteX31" fmla="*/ 142002 w 533723"/>
                  <a:gd name="connsiteY31" fmla="*/ 118 h 415322"/>
                  <a:gd name="connsiteX32" fmla="*/ 184247 w 533723"/>
                  <a:gd name="connsiteY32" fmla="*/ 9888 h 415322"/>
                  <a:gd name="connsiteX33" fmla="*/ 237411 w 533723"/>
                  <a:gd name="connsiteY33" fmla="*/ 31727 h 415322"/>
                  <a:gd name="connsiteX34" fmla="*/ 273908 w 533723"/>
                  <a:gd name="connsiteY34" fmla="*/ 50693 h 415322"/>
                  <a:gd name="connsiteX35" fmla="*/ 300993 w 533723"/>
                  <a:gd name="connsiteY35" fmla="*/ 65241 h 415322"/>
                  <a:gd name="connsiteX36" fmla="*/ 313770 w 533723"/>
                  <a:gd name="connsiteY36" fmla="*/ 72415 h 415322"/>
                  <a:gd name="connsiteX37" fmla="*/ 317458 w 533723"/>
                  <a:gd name="connsiteY37" fmla="*/ 74704 h 415322"/>
                  <a:gd name="connsiteX38" fmla="*/ 321989 w 533723"/>
                  <a:gd name="connsiteY38" fmla="*/ 77518 h 415322"/>
                  <a:gd name="connsiteX39" fmla="*/ 328509 w 533723"/>
                  <a:gd name="connsiteY39" fmla="*/ 81728 h 415322"/>
                  <a:gd name="connsiteX40" fmla="*/ 329950 w 533723"/>
                  <a:gd name="connsiteY40" fmla="*/ 82770 h 415322"/>
                  <a:gd name="connsiteX41" fmla="*/ 322786 w 533723"/>
                  <a:gd name="connsiteY41" fmla="*/ 67357 h 415322"/>
                  <a:gd name="connsiteX42" fmla="*/ 318179 w 533723"/>
                  <a:gd name="connsiteY42" fmla="*/ 66024 h 415322"/>
                  <a:gd name="connsiteX43" fmla="*/ 315145 w 533723"/>
                  <a:gd name="connsiteY43" fmla="*/ 65146 h 415322"/>
                  <a:gd name="connsiteX44" fmla="*/ 315984 w 533723"/>
                  <a:gd name="connsiteY44" fmla="*/ 64282 h 415322"/>
                  <a:gd name="connsiteX45" fmla="*/ 336115 w 533723"/>
                  <a:gd name="connsiteY45" fmla="*/ 45493 h 415322"/>
                  <a:gd name="connsiteX46" fmla="*/ 339135 w 533723"/>
                  <a:gd name="connsiteY46" fmla="*/ 43303 h 415322"/>
                  <a:gd name="connsiteX47" fmla="*/ 344556 w 533723"/>
                  <a:gd name="connsiteY47" fmla="*/ 40552 h 415322"/>
                  <a:gd name="connsiteX48" fmla="*/ 348957 w 533723"/>
                  <a:gd name="connsiteY48" fmla="*/ 38760 h 415322"/>
                  <a:gd name="connsiteX49" fmla="*/ 368054 w 533723"/>
                  <a:gd name="connsiteY49" fmla="*/ 34807 h 415322"/>
                  <a:gd name="connsiteX50" fmla="*/ 382234 w 533723"/>
                  <a:gd name="connsiteY50" fmla="*/ 37952 h 415322"/>
                  <a:gd name="connsiteX51" fmla="*/ 390275 w 533723"/>
                  <a:gd name="connsiteY51" fmla="*/ 35652 h 415322"/>
                  <a:gd name="connsiteX52" fmla="*/ 390840 w 533723"/>
                  <a:gd name="connsiteY52" fmla="*/ 35749 h 415322"/>
                  <a:gd name="connsiteX53" fmla="*/ 391575 w 533723"/>
                  <a:gd name="connsiteY53" fmla="*/ 35894 h 415322"/>
                  <a:gd name="connsiteX54" fmla="*/ 391750 w 533723"/>
                  <a:gd name="connsiteY54" fmla="*/ 35955 h 415322"/>
                  <a:gd name="connsiteX55" fmla="*/ 392615 w 533723"/>
                  <a:gd name="connsiteY55" fmla="*/ 36327 h 415322"/>
                  <a:gd name="connsiteX56" fmla="*/ 393242 w 533723"/>
                  <a:gd name="connsiteY56" fmla="*/ 36306 h 415322"/>
                  <a:gd name="connsiteX57" fmla="*/ 393406 w 533723"/>
                  <a:gd name="connsiteY57" fmla="*/ 36317 h 415322"/>
                  <a:gd name="connsiteX58" fmla="*/ 397383 w 533723"/>
                  <a:gd name="connsiteY58" fmla="*/ 37341 h 415322"/>
                  <a:gd name="connsiteX59" fmla="*/ 408367 w 533723"/>
                  <a:gd name="connsiteY59" fmla="*/ 43126 h 415322"/>
                  <a:gd name="connsiteX60" fmla="*/ 459773 w 533723"/>
                  <a:gd name="connsiteY60" fmla="*/ 126491 h 415322"/>
                  <a:gd name="connsiteX61" fmla="*/ 441680 w 533723"/>
                  <a:gd name="connsiteY61" fmla="*/ 188008 h 415322"/>
                  <a:gd name="connsiteX62" fmla="*/ 442553 w 533723"/>
                  <a:gd name="connsiteY62" fmla="*/ 192637 h 415322"/>
                  <a:gd name="connsiteX63" fmla="*/ 443081 w 533723"/>
                  <a:gd name="connsiteY63" fmla="*/ 194875 h 415322"/>
                  <a:gd name="connsiteX64" fmla="*/ 451172 w 533723"/>
                  <a:gd name="connsiteY64" fmla="*/ 201092 h 415322"/>
                  <a:gd name="connsiteX65" fmla="*/ 458953 w 533723"/>
                  <a:gd name="connsiteY65" fmla="*/ 214116 h 415322"/>
                  <a:gd name="connsiteX66" fmla="*/ 459209 w 533723"/>
                  <a:gd name="connsiteY66" fmla="*/ 216161 h 415322"/>
                  <a:gd name="connsiteX67" fmla="*/ 460971 w 533723"/>
                  <a:gd name="connsiteY67" fmla="*/ 219929 h 415322"/>
                  <a:gd name="connsiteX68" fmla="*/ 461361 w 533723"/>
                  <a:gd name="connsiteY68" fmla="*/ 220754 h 415322"/>
                  <a:gd name="connsiteX69" fmla="*/ 470303 w 533723"/>
                  <a:gd name="connsiteY69" fmla="*/ 246015 h 415322"/>
                  <a:gd name="connsiteX70" fmla="*/ 469962 w 533723"/>
                  <a:gd name="connsiteY70" fmla="*/ 245448 h 415322"/>
                  <a:gd name="connsiteX71" fmla="*/ 468971 w 533723"/>
                  <a:gd name="connsiteY71" fmla="*/ 243799 h 415322"/>
                  <a:gd name="connsiteX72" fmla="*/ 464115 w 533723"/>
                  <a:gd name="connsiteY72" fmla="*/ 240660 h 415322"/>
                  <a:gd name="connsiteX73" fmla="*/ 457544 w 533723"/>
                  <a:gd name="connsiteY73" fmla="*/ 239804 h 415322"/>
                  <a:gd name="connsiteX74" fmla="*/ 463829 w 533723"/>
                  <a:gd name="connsiteY74" fmla="*/ 242086 h 415322"/>
                  <a:gd name="connsiteX75" fmla="*/ 469895 w 533723"/>
                  <a:gd name="connsiteY75" fmla="*/ 245979 h 415322"/>
                  <a:gd name="connsiteX76" fmla="*/ 470460 w 533723"/>
                  <a:gd name="connsiteY76" fmla="*/ 246460 h 415322"/>
                  <a:gd name="connsiteX77" fmla="*/ 485321 w 533723"/>
                  <a:gd name="connsiteY77" fmla="*/ 288443 h 415322"/>
                  <a:gd name="connsiteX78" fmla="*/ 485666 w 533723"/>
                  <a:gd name="connsiteY78" fmla="*/ 289289 h 415322"/>
                  <a:gd name="connsiteX79" fmla="*/ 485392 w 533723"/>
                  <a:gd name="connsiteY79" fmla="*/ 285754 h 415322"/>
                  <a:gd name="connsiteX80" fmla="*/ 485409 w 533723"/>
                  <a:gd name="connsiteY80" fmla="*/ 284254 h 415322"/>
                  <a:gd name="connsiteX81" fmla="*/ 485552 w 533723"/>
                  <a:gd name="connsiteY81" fmla="*/ 284634 h 415322"/>
                  <a:gd name="connsiteX82" fmla="*/ 487684 w 533723"/>
                  <a:gd name="connsiteY82" fmla="*/ 290297 h 415322"/>
                  <a:gd name="connsiteX83" fmla="*/ 487716 w 533723"/>
                  <a:gd name="connsiteY83" fmla="*/ 290381 h 415322"/>
                  <a:gd name="connsiteX84" fmla="*/ 487709 w 533723"/>
                  <a:gd name="connsiteY84" fmla="*/ 290382 h 415322"/>
                  <a:gd name="connsiteX85" fmla="*/ 486150 w 533723"/>
                  <a:gd name="connsiteY85" fmla="*/ 290474 h 415322"/>
                  <a:gd name="connsiteX86" fmla="*/ 488742 w 533723"/>
                  <a:gd name="connsiteY86" fmla="*/ 296824 h 415322"/>
                  <a:gd name="connsiteX87" fmla="*/ 494320 w 533723"/>
                  <a:gd name="connsiteY87" fmla="*/ 295556 h 415322"/>
                  <a:gd name="connsiteX88" fmla="*/ 512429 w 533723"/>
                  <a:gd name="connsiteY88" fmla="*/ 291820 h 415322"/>
                  <a:gd name="connsiteX89" fmla="*/ 519005 w 533723"/>
                  <a:gd name="connsiteY89" fmla="*/ 287509 h 415322"/>
                  <a:gd name="connsiteX90" fmla="*/ 520508 w 533723"/>
                  <a:gd name="connsiteY90" fmla="*/ 286839 h 415322"/>
                  <a:gd name="connsiteX91" fmla="*/ 522424 w 533723"/>
                  <a:gd name="connsiteY91" fmla="*/ 286502 h 415322"/>
                  <a:gd name="connsiteX92" fmla="*/ 523091 w 533723"/>
                  <a:gd name="connsiteY92" fmla="*/ 286385 h 415322"/>
                  <a:gd name="connsiteX93" fmla="*/ 525364 w 533723"/>
                  <a:gd name="connsiteY93" fmla="*/ 286646 h 415322"/>
                  <a:gd name="connsiteX94" fmla="*/ 533413 w 533723"/>
                  <a:gd name="connsiteY94" fmla="*/ 297855 h 415322"/>
                  <a:gd name="connsiteX95" fmla="*/ 530826 w 533723"/>
                  <a:gd name="connsiteY95" fmla="*/ 316249 h 415322"/>
                  <a:gd name="connsiteX96" fmla="*/ 530588 w 533723"/>
                  <a:gd name="connsiteY96" fmla="*/ 318085 h 415322"/>
                  <a:gd name="connsiteX97" fmla="*/ 530192 w 533723"/>
                  <a:gd name="connsiteY97" fmla="*/ 320320 h 415322"/>
                  <a:gd name="connsiteX98" fmla="*/ 529838 w 533723"/>
                  <a:gd name="connsiteY98" fmla="*/ 321637 h 415322"/>
                  <a:gd name="connsiteX99" fmla="*/ 526883 w 533723"/>
                  <a:gd name="connsiteY99" fmla="*/ 332653 h 415322"/>
                  <a:gd name="connsiteX100" fmla="*/ 524435 w 533723"/>
                  <a:gd name="connsiteY100" fmla="*/ 341781 h 415322"/>
                  <a:gd name="connsiteX101" fmla="*/ 519934 w 533723"/>
                  <a:gd name="connsiteY101" fmla="*/ 353045 h 415322"/>
                  <a:gd name="connsiteX102" fmla="*/ 493458 w 533723"/>
                  <a:gd name="connsiteY102" fmla="*/ 392987 h 415322"/>
                  <a:gd name="connsiteX103" fmla="*/ 421143 w 533723"/>
                  <a:gd name="connsiteY103" fmla="*/ 403455 h 415322"/>
                  <a:gd name="connsiteX104" fmla="*/ 416615 w 533723"/>
                  <a:gd name="connsiteY104" fmla="*/ 401105 h 415322"/>
                  <a:gd name="connsiteX105" fmla="*/ 403771 w 533723"/>
                  <a:gd name="connsiteY105" fmla="*/ 393322 h 415322"/>
                  <a:gd name="connsiteX106" fmla="*/ 381629 w 533723"/>
                  <a:gd name="connsiteY106" fmla="*/ 410745 h 415322"/>
                  <a:gd name="connsiteX107" fmla="*/ 364512 w 533723"/>
                  <a:gd name="connsiteY107" fmla="*/ 414388 h 415322"/>
                  <a:gd name="connsiteX108" fmla="*/ 362260 w 533723"/>
                  <a:gd name="connsiteY108" fmla="*/ 412847 h 415322"/>
                  <a:gd name="connsiteX109" fmla="*/ 359508 w 533723"/>
                  <a:gd name="connsiteY109" fmla="*/ 412530 h 415322"/>
                  <a:gd name="connsiteX110" fmla="*/ 354180 w 533723"/>
                  <a:gd name="connsiteY110" fmla="*/ 409493 h 415322"/>
                  <a:gd name="connsiteX111" fmla="*/ 351263 w 533723"/>
                  <a:gd name="connsiteY111" fmla="*/ 406931 h 415322"/>
                  <a:gd name="connsiteX112" fmla="*/ 351015 w 533723"/>
                  <a:gd name="connsiteY112" fmla="*/ 406713 h 415322"/>
                  <a:gd name="connsiteX113" fmla="*/ 348397 w 533723"/>
                  <a:gd name="connsiteY113" fmla="*/ 403432 h 415322"/>
                  <a:gd name="connsiteX114" fmla="*/ 347445 w 533723"/>
                  <a:gd name="connsiteY114" fmla="*/ 401927 h 415322"/>
                  <a:gd name="connsiteX115" fmla="*/ 345319 w 533723"/>
                  <a:gd name="connsiteY115" fmla="*/ 397536 h 415322"/>
                  <a:gd name="connsiteX116" fmla="*/ 344561 w 533723"/>
                  <a:gd name="connsiteY116" fmla="*/ 395286 h 415322"/>
                  <a:gd name="connsiteX117" fmla="*/ 335650 w 533723"/>
                  <a:gd name="connsiteY117" fmla="*/ 375455 h 415322"/>
                  <a:gd name="connsiteX118" fmla="*/ 322714 w 533723"/>
                  <a:gd name="connsiteY118" fmla="*/ 362234 h 415322"/>
                  <a:gd name="connsiteX119" fmla="*/ 319648 w 533723"/>
                  <a:gd name="connsiteY119" fmla="*/ 358159 h 415322"/>
                  <a:gd name="connsiteX120" fmla="*/ 319434 w 533723"/>
                  <a:gd name="connsiteY120" fmla="*/ 357823 h 415322"/>
                  <a:gd name="connsiteX121" fmla="*/ 314734 w 533723"/>
                  <a:gd name="connsiteY121" fmla="*/ 350455 h 415322"/>
                  <a:gd name="connsiteX122" fmla="*/ 319052 w 533723"/>
                  <a:gd name="connsiteY122" fmla="*/ 316733 h 415322"/>
                  <a:gd name="connsiteX123" fmla="*/ 323333 w 533723"/>
                  <a:gd name="connsiteY123" fmla="*/ 310656 h 415322"/>
                  <a:gd name="connsiteX124" fmla="*/ 320679 w 533723"/>
                  <a:gd name="connsiteY124" fmla="*/ 310837 h 415322"/>
                  <a:gd name="connsiteX125" fmla="*/ 316984 w 533723"/>
                  <a:gd name="connsiteY125" fmla="*/ 309959 h 415322"/>
                  <a:gd name="connsiteX126" fmla="*/ 278469 w 533723"/>
                  <a:gd name="connsiteY126" fmla="*/ 281787 h 415322"/>
                  <a:gd name="connsiteX127" fmla="*/ 279196 w 533723"/>
                  <a:gd name="connsiteY127" fmla="*/ 221148 h 415322"/>
                  <a:gd name="connsiteX128" fmla="*/ 281137 w 533723"/>
                  <a:gd name="connsiteY128" fmla="*/ 212759 h 415322"/>
                  <a:gd name="connsiteX129" fmla="*/ 280817 w 533723"/>
                  <a:gd name="connsiteY129" fmla="*/ 212855 h 415322"/>
                  <a:gd name="connsiteX130" fmla="*/ 280074 w 533723"/>
                  <a:gd name="connsiteY130" fmla="*/ 213019 h 415322"/>
                  <a:gd name="connsiteX131" fmla="*/ 208386 w 533723"/>
                  <a:gd name="connsiteY131" fmla="*/ 230868 h 415322"/>
                  <a:gd name="connsiteX132" fmla="*/ 129358 w 533723"/>
                  <a:gd name="connsiteY132" fmla="*/ 256155 h 415322"/>
                  <a:gd name="connsiteX133" fmla="*/ 76481 w 533723"/>
                  <a:gd name="connsiteY133" fmla="*/ 253856 h 415322"/>
                  <a:gd name="connsiteX134" fmla="*/ 56365 w 533723"/>
                  <a:gd name="connsiteY134" fmla="*/ 204718 h 415322"/>
                  <a:gd name="connsiteX135" fmla="*/ 6361 w 533723"/>
                  <a:gd name="connsiteY135" fmla="*/ 145234 h 415322"/>
                  <a:gd name="connsiteX136" fmla="*/ 4924 w 533723"/>
                  <a:gd name="connsiteY136" fmla="*/ 90923 h 415322"/>
                  <a:gd name="connsiteX137" fmla="*/ 26190 w 533723"/>
                  <a:gd name="connsiteY137" fmla="*/ 62762 h 415322"/>
                  <a:gd name="connsiteX138" fmla="*/ 51192 w 533723"/>
                  <a:gd name="connsiteY138" fmla="*/ 63624 h 415322"/>
                  <a:gd name="connsiteX139" fmla="*/ 92574 w 533723"/>
                  <a:gd name="connsiteY139" fmla="*/ 72245 h 415322"/>
                  <a:gd name="connsiteX140" fmla="*/ 148899 w 533723"/>
                  <a:gd name="connsiteY140" fmla="*/ 97533 h 415322"/>
                  <a:gd name="connsiteX141" fmla="*/ 100620 w 533723"/>
                  <a:gd name="connsiteY141" fmla="*/ 70233 h 415322"/>
                  <a:gd name="connsiteX142" fmla="*/ 68722 w 533723"/>
                  <a:gd name="connsiteY142" fmla="*/ 57877 h 415322"/>
                  <a:gd name="connsiteX143" fmla="*/ 95735 w 533723"/>
                  <a:gd name="connsiteY143" fmla="*/ 33739 h 415322"/>
                  <a:gd name="connsiteX144" fmla="*/ 118438 w 533723"/>
                  <a:gd name="connsiteY144" fmla="*/ 6440 h 415322"/>
                  <a:gd name="connsiteX145" fmla="*/ 135290 w 533723"/>
                  <a:gd name="connsiteY145" fmla="*/ 95 h 415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533723" h="415322">
                    <a:moveTo>
                      <a:pt x="528506" y="291832"/>
                    </a:moveTo>
                    <a:cubicBezTo>
                      <a:pt x="528506" y="291832"/>
                      <a:pt x="516154" y="299584"/>
                      <a:pt x="510121" y="300446"/>
                    </a:cubicBezTo>
                    <a:cubicBezTo>
                      <a:pt x="507105" y="300877"/>
                      <a:pt x="504089" y="302097"/>
                      <a:pt x="500354" y="302312"/>
                    </a:cubicBezTo>
                    <a:lnTo>
                      <a:pt x="489695" y="299159"/>
                    </a:lnTo>
                    <a:lnTo>
                      <a:pt x="490953" y="302242"/>
                    </a:lnTo>
                    <a:cubicBezTo>
                      <a:pt x="490911" y="302346"/>
                      <a:pt x="490868" y="302450"/>
                      <a:pt x="490826" y="302554"/>
                    </a:cubicBezTo>
                    <a:lnTo>
                      <a:pt x="497481" y="306188"/>
                    </a:lnTo>
                    <a:cubicBezTo>
                      <a:pt x="502940" y="306475"/>
                      <a:pt x="505812" y="305901"/>
                      <a:pt x="505812" y="305901"/>
                    </a:cubicBezTo>
                    <a:cubicBezTo>
                      <a:pt x="517015" y="304465"/>
                      <a:pt x="521899" y="299010"/>
                      <a:pt x="523335" y="297575"/>
                    </a:cubicBezTo>
                    <a:cubicBezTo>
                      <a:pt x="525059" y="296426"/>
                      <a:pt x="528506" y="291832"/>
                      <a:pt x="528506" y="291832"/>
                    </a:cubicBezTo>
                    <a:close/>
                    <a:moveTo>
                      <a:pt x="459095" y="214354"/>
                    </a:moveTo>
                    <a:lnTo>
                      <a:pt x="470185" y="232917"/>
                    </a:lnTo>
                    <a:lnTo>
                      <a:pt x="469083" y="236710"/>
                    </a:lnTo>
                    <a:lnTo>
                      <a:pt x="465107" y="228628"/>
                    </a:lnTo>
                    <a:cubicBezTo>
                      <a:pt x="464316" y="226985"/>
                      <a:pt x="463551" y="225384"/>
                      <a:pt x="462850" y="223907"/>
                    </a:cubicBezTo>
                    <a:lnTo>
                      <a:pt x="461361" y="220754"/>
                    </a:lnTo>
                    <a:lnTo>
                      <a:pt x="459095" y="214354"/>
                    </a:lnTo>
                    <a:close/>
                    <a:moveTo>
                      <a:pt x="458921" y="213862"/>
                    </a:moveTo>
                    <a:lnTo>
                      <a:pt x="459095" y="214354"/>
                    </a:lnTo>
                    <a:lnTo>
                      <a:pt x="458953" y="214116"/>
                    </a:lnTo>
                    <a:cubicBezTo>
                      <a:pt x="458942" y="214031"/>
                      <a:pt x="458932" y="213947"/>
                      <a:pt x="458921" y="213862"/>
                    </a:cubicBezTo>
                    <a:close/>
                    <a:moveTo>
                      <a:pt x="231642" y="117869"/>
                    </a:moveTo>
                    <a:lnTo>
                      <a:pt x="245739" y="119960"/>
                    </a:lnTo>
                    <a:lnTo>
                      <a:pt x="247479" y="117948"/>
                    </a:lnTo>
                    <a:lnTo>
                      <a:pt x="241439" y="117896"/>
                    </a:lnTo>
                    <a:lnTo>
                      <a:pt x="231642" y="117869"/>
                    </a:lnTo>
                    <a:close/>
                    <a:moveTo>
                      <a:pt x="393966" y="59548"/>
                    </a:moveTo>
                    <a:lnTo>
                      <a:pt x="394760" y="61641"/>
                    </a:lnTo>
                    <a:lnTo>
                      <a:pt x="396543" y="61922"/>
                    </a:lnTo>
                    <a:lnTo>
                      <a:pt x="393966" y="59548"/>
                    </a:lnTo>
                    <a:close/>
                    <a:moveTo>
                      <a:pt x="135290" y="95"/>
                    </a:moveTo>
                    <a:cubicBezTo>
                      <a:pt x="137297" y="-44"/>
                      <a:pt x="139488" y="-26"/>
                      <a:pt x="142002" y="118"/>
                    </a:cubicBezTo>
                    <a:cubicBezTo>
                      <a:pt x="151773" y="692"/>
                      <a:pt x="171890" y="5290"/>
                      <a:pt x="184247" y="9888"/>
                    </a:cubicBezTo>
                    <a:cubicBezTo>
                      <a:pt x="196604" y="14198"/>
                      <a:pt x="225916" y="24831"/>
                      <a:pt x="237411" y="31727"/>
                    </a:cubicBezTo>
                    <a:cubicBezTo>
                      <a:pt x="250056" y="38911"/>
                      <a:pt x="261551" y="43509"/>
                      <a:pt x="273908" y="50693"/>
                    </a:cubicBezTo>
                    <a:cubicBezTo>
                      <a:pt x="280230" y="54285"/>
                      <a:pt x="290576" y="59601"/>
                      <a:pt x="300993" y="65241"/>
                    </a:cubicBezTo>
                    <a:lnTo>
                      <a:pt x="313770" y="72415"/>
                    </a:lnTo>
                    <a:lnTo>
                      <a:pt x="317458" y="74704"/>
                    </a:lnTo>
                    <a:lnTo>
                      <a:pt x="321989" y="77518"/>
                    </a:lnTo>
                    <a:lnTo>
                      <a:pt x="328509" y="81728"/>
                    </a:lnTo>
                    <a:lnTo>
                      <a:pt x="329950" y="82770"/>
                    </a:lnTo>
                    <a:lnTo>
                      <a:pt x="322786" y="67357"/>
                    </a:lnTo>
                    <a:lnTo>
                      <a:pt x="318179" y="66024"/>
                    </a:lnTo>
                    <a:lnTo>
                      <a:pt x="315145" y="65146"/>
                    </a:lnTo>
                    <a:lnTo>
                      <a:pt x="315984" y="64282"/>
                    </a:lnTo>
                    <a:cubicBezTo>
                      <a:pt x="319030" y="61163"/>
                      <a:pt x="328778" y="51321"/>
                      <a:pt x="336115" y="45493"/>
                    </a:cubicBezTo>
                    <a:lnTo>
                      <a:pt x="339135" y="43303"/>
                    </a:lnTo>
                    <a:lnTo>
                      <a:pt x="344556" y="40552"/>
                    </a:lnTo>
                    <a:lnTo>
                      <a:pt x="348957" y="38760"/>
                    </a:lnTo>
                    <a:cubicBezTo>
                      <a:pt x="353552" y="36748"/>
                      <a:pt x="359726" y="34376"/>
                      <a:pt x="368054" y="34807"/>
                    </a:cubicBezTo>
                    <a:cubicBezTo>
                      <a:pt x="372219" y="35023"/>
                      <a:pt x="376921" y="35939"/>
                      <a:pt x="382234" y="37952"/>
                    </a:cubicBezTo>
                    <a:cubicBezTo>
                      <a:pt x="403198" y="46001"/>
                      <a:pt x="390275" y="35652"/>
                      <a:pt x="390275" y="35652"/>
                    </a:cubicBezTo>
                    <a:cubicBezTo>
                      <a:pt x="390275" y="35652"/>
                      <a:pt x="390477" y="35683"/>
                      <a:pt x="390840" y="35749"/>
                    </a:cubicBezTo>
                    <a:lnTo>
                      <a:pt x="391575" y="35894"/>
                    </a:lnTo>
                    <a:lnTo>
                      <a:pt x="391750" y="35955"/>
                    </a:lnTo>
                    <a:cubicBezTo>
                      <a:pt x="392319" y="36184"/>
                      <a:pt x="392615" y="36327"/>
                      <a:pt x="392615" y="36327"/>
                    </a:cubicBezTo>
                    <a:cubicBezTo>
                      <a:pt x="392615" y="36327"/>
                      <a:pt x="392831" y="36305"/>
                      <a:pt x="393242" y="36306"/>
                    </a:cubicBezTo>
                    <a:lnTo>
                      <a:pt x="393406" y="36317"/>
                    </a:lnTo>
                    <a:lnTo>
                      <a:pt x="397383" y="37341"/>
                    </a:lnTo>
                    <a:cubicBezTo>
                      <a:pt x="401260" y="38527"/>
                      <a:pt x="405783" y="40395"/>
                      <a:pt x="408367" y="43126"/>
                    </a:cubicBezTo>
                    <a:cubicBezTo>
                      <a:pt x="413537" y="48875"/>
                      <a:pt x="463219" y="96019"/>
                      <a:pt x="459773" y="126491"/>
                    </a:cubicBezTo>
                    <a:cubicBezTo>
                      <a:pt x="457762" y="144888"/>
                      <a:pt x="440819" y="179671"/>
                      <a:pt x="441680" y="188008"/>
                    </a:cubicBezTo>
                    <a:cubicBezTo>
                      <a:pt x="441860" y="189266"/>
                      <a:pt x="442165" y="190853"/>
                      <a:pt x="442553" y="192637"/>
                    </a:cubicBezTo>
                    <a:lnTo>
                      <a:pt x="443081" y="194875"/>
                    </a:lnTo>
                    <a:lnTo>
                      <a:pt x="451172" y="201092"/>
                    </a:lnTo>
                    <a:lnTo>
                      <a:pt x="458953" y="214116"/>
                    </a:lnTo>
                    <a:cubicBezTo>
                      <a:pt x="459038" y="214798"/>
                      <a:pt x="459124" y="215479"/>
                      <a:pt x="459209" y="216161"/>
                    </a:cubicBezTo>
                    <a:cubicBezTo>
                      <a:pt x="459209" y="216161"/>
                      <a:pt x="459892" y="217634"/>
                      <a:pt x="460971" y="219929"/>
                    </a:cubicBezTo>
                    <a:lnTo>
                      <a:pt x="461361" y="220754"/>
                    </a:lnTo>
                    <a:lnTo>
                      <a:pt x="470303" y="246015"/>
                    </a:lnTo>
                    <a:lnTo>
                      <a:pt x="469962" y="245448"/>
                    </a:lnTo>
                    <a:lnTo>
                      <a:pt x="468971" y="243799"/>
                    </a:lnTo>
                    <a:cubicBezTo>
                      <a:pt x="468971" y="243799"/>
                      <a:pt x="466400" y="241516"/>
                      <a:pt x="464115" y="240660"/>
                    </a:cubicBezTo>
                    <a:cubicBezTo>
                      <a:pt x="461829" y="239518"/>
                      <a:pt x="457544" y="239804"/>
                      <a:pt x="457544" y="239804"/>
                    </a:cubicBezTo>
                    <a:cubicBezTo>
                      <a:pt x="457544" y="239804"/>
                      <a:pt x="461829" y="241516"/>
                      <a:pt x="463829" y="242086"/>
                    </a:cubicBezTo>
                    <a:cubicBezTo>
                      <a:pt x="465329" y="242300"/>
                      <a:pt x="468435" y="244762"/>
                      <a:pt x="469895" y="245979"/>
                    </a:cubicBezTo>
                    <a:lnTo>
                      <a:pt x="470460" y="246460"/>
                    </a:lnTo>
                    <a:lnTo>
                      <a:pt x="485321" y="288443"/>
                    </a:lnTo>
                    <a:lnTo>
                      <a:pt x="485666" y="289289"/>
                    </a:lnTo>
                    <a:cubicBezTo>
                      <a:pt x="485575" y="288111"/>
                      <a:pt x="485483" y="286932"/>
                      <a:pt x="485392" y="285754"/>
                    </a:cubicBezTo>
                    <a:cubicBezTo>
                      <a:pt x="485398" y="285254"/>
                      <a:pt x="485403" y="284754"/>
                      <a:pt x="485409" y="284254"/>
                    </a:cubicBezTo>
                    <a:cubicBezTo>
                      <a:pt x="485457" y="284381"/>
                      <a:pt x="485504" y="284507"/>
                      <a:pt x="485552" y="284634"/>
                    </a:cubicBezTo>
                    <a:lnTo>
                      <a:pt x="487684" y="290297"/>
                    </a:lnTo>
                    <a:cubicBezTo>
                      <a:pt x="487695" y="290325"/>
                      <a:pt x="487705" y="290353"/>
                      <a:pt x="487716" y="290381"/>
                    </a:cubicBezTo>
                    <a:cubicBezTo>
                      <a:pt x="487714" y="290381"/>
                      <a:pt x="487711" y="290382"/>
                      <a:pt x="487709" y="290382"/>
                    </a:cubicBezTo>
                    <a:lnTo>
                      <a:pt x="486150" y="290474"/>
                    </a:lnTo>
                    <a:lnTo>
                      <a:pt x="488742" y="296824"/>
                    </a:lnTo>
                    <a:lnTo>
                      <a:pt x="494320" y="295556"/>
                    </a:lnTo>
                    <a:cubicBezTo>
                      <a:pt x="500644" y="296131"/>
                      <a:pt x="506393" y="294406"/>
                      <a:pt x="512429" y="291820"/>
                    </a:cubicBezTo>
                    <a:cubicBezTo>
                      <a:pt x="515304" y="290526"/>
                      <a:pt x="517172" y="288730"/>
                      <a:pt x="519005" y="287509"/>
                    </a:cubicBezTo>
                    <a:lnTo>
                      <a:pt x="520508" y="286839"/>
                    </a:lnTo>
                    <a:lnTo>
                      <a:pt x="522424" y="286502"/>
                    </a:lnTo>
                    <a:lnTo>
                      <a:pt x="523091" y="286385"/>
                    </a:lnTo>
                    <a:lnTo>
                      <a:pt x="525364" y="286646"/>
                    </a:lnTo>
                    <a:cubicBezTo>
                      <a:pt x="530826" y="288371"/>
                      <a:pt x="531976" y="291532"/>
                      <a:pt x="533413" y="297855"/>
                    </a:cubicBezTo>
                    <a:cubicBezTo>
                      <a:pt x="534850" y="304178"/>
                      <a:pt x="530826" y="316249"/>
                      <a:pt x="530826" y="316249"/>
                    </a:cubicBezTo>
                    <a:cubicBezTo>
                      <a:pt x="530826" y="316249"/>
                      <a:pt x="530763" y="316891"/>
                      <a:pt x="530588" y="318085"/>
                    </a:cubicBezTo>
                    <a:lnTo>
                      <a:pt x="530192" y="320320"/>
                    </a:lnTo>
                    <a:lnTo>
                      <a:pt x="529838" y="321637"/>
                    </a:lnTo>
                    <a:lnTo>
                      <a:pt x="526883" y="332653"/>
                    </a:lnTo>
                    <a:lnTo>
                      <a:pt x="524435" y="341781"/>
                    </a:lnTo>
                    <a:lnTo>
                      <a:pt x="519934" y="353045"/>
                    </a:lnTo>
                    <a:cubicBezTo>
                      <a:pt x="514343" y="365490"/>
                      <a:pt x="505962" y="379622"/>
                      <a:pt x="493458" y="392987"/>
                    </a:cubicBezTo>
                    <a:cubicBezTo>
                      <a:pt x="468666" y="419716"/>
                      <a:pt x="437567" y="410878"/>
                      <a:pt x="421143" y="403455"/>
                    </a:cubicBezTo>
                    <a:lnTo>
                      <a:pt x="416615" y="401105"/>
                    </a:lnTo>
                    <a:cubicBezTo>
                      <a:pt x="416179" y="402174"/>
                      <a:pt x="404207" y="392253"/>
                      <a:pt x="403771" y="393322"/>
                    </a:cubicBezTo>
                    <a:cubicBezTo>
                      <a:pt x="395387" y="401831"/>
                      <a:pt x="388172" y="407234"/>
                      <a:pt x="381629" y="410745"/>
                    </a:cubicBezTo>
                    <a:cubicBezTo>
                      <a:pt x="375086" y="414256"/>
                      <a:pt x="370055" y="416767"/>
                      <a:pt x="364512" y="414388"/>
                    </a:cubicBezTo>
                    <a:lnTo>
                      <a:pt x="362260" y="412847"/>
                    </a:lnTo>
                    <a:lnTo>
                      <a:pt x="359508" y="412530"/>
                    </a:lnTo>
                    <a:lnTo>
                      <a:pt x="354180" y="409493"/>
                    </a:lnTo>
                    <a:lnTo>
                      <a:pt x="351263" y="406931"/>
                    </a:lnTo>
                    <a:lnTo>
                      <a:pt x="351015" y="406713"/>
                    </a:lnTo>
                    <a:lnTo>
                      <a:pt x="348397" y="403432"/>
                    </a:lnTo>
                    <a:lnTo>
                      <a:pt x="347445" y="401927"/>
                    </a:lnTo>
                    <a:lnTo>
                      <a:pt x="345319" y="397536"/>
                    </a:lnTo>
                    <a:cubicBezTo>
                      <a:pt x="344794" y="396166"/>
                      <a:pt x="344561" y="395286"/>
                      <a:pt x="344561" y="395286"/>
                    </a:cubicBezTo>
                    <a:lnTo>
                      <a:pt x="335650" y="375455"/>
                    </a:lnTo>
                    <a:cubicBezTo>
                      <a:pt x="335650" y="375455"/>
                      <a:pt x="327314" y="367408"/>
                      <a:pt x="322714" y="362234"/>
                    </a:cubicBezTo>
                    <a:lnTo>
                      <a:pt x="319648" y="358159"/>
                    </a:lnTo>
                    <a:lnTo>
                      <a:pt x="319434" y="357823"/>
                    </a:lnTo>
                    <a:lnTo>
                      <a:pt x="314734" y="350455"/>
                    </a:lnTo>
                    <a:cubicBezTo>
                      <a:pt x="314734" y="350455"/>
                      <a:pt x="310334" y="332411"/>
                      <a:pt x="319052" y="316733"/>
                    </a:cubicBezTo>
                    <a:lnTo>
                      <a:pt x="323333" y="310656"/>
                    </a:lnTo>
                    <a:lnTo>
                      <a:pt x="320679" y="310837"/>
                    </a:lnTo>
                    <a:cubicBezTo>
                      <a:pt x="319405" y="310763"/>
                      <a:pt x="318170" y="310498"/>
                      <a:pt x="316984" y="309959"/>
                    </a:cubicBezTo>
                    <a:cubicBezTo>
                      <a:pt x="307787" y="305647"/>
                      <a:pt x="281056" y="298172"/>
                      <a:pt x="278469" y="281787"/>
                    </a:cubicBezTo>
                    <a:cubicBezTo>
                      <a:pt x="276529" y="269497"/>
                      <a:pt x="275235" y="243140"/>
                      <a:pt x="279196" y="221148"/>
                    </a:cubicBezTo>
                    <a:lnTo>
                      <a:pt x="281137" y="212759"/>
                    </a:lnTo>
                    <a:lnTo>
                      <a:pt x="280817" y="212855"/>
                    </a:lnTo>
                    <a:lnTo>
                      <a:pt x="280074" y="213019"/>
                    </a:lnTo>
                    <a:cubicBezTo>
                      <a:pt x="269049" y="215467"/>
                      <a:pt x="223976" y="225587"/>
                      <a:pt x="208386" y="230868"/>
                    </a:cubicBezTo>
                    <a:cubicBezTo>
                      <a:pt x="190569" y="236902"/>
                      <a:pt x="148612" y="256155"/>
                      <a:pt x="129358" y="256155"/>
                    </a:cubicBezTo>
                    <a:cubicBezTo>
                      <a:pt x="102632" y="255868"/>
                      <a:pt x="76481" y="253856"/>
                      <a:pt x="76481" y="253856"/>
                    </a:cubicBezTo>
                    <a:cubicBezTo>
                      <a:pt x="76481" y="253856"/>
                      <a:pt x="66710" y="217649"/>
                      <a:pt x="56365" y="204718"/>
                    </a:cubicBezTo>
                    <a:cubicBezTo>
                      <a:pt x="45732" y="191787"/>
                      <a:pt x="12971" y="165062"/>
                      <a:pt x="6361" y="145234"/>
                    </a:cubicBezTo>
                    <a:cubicBezTo>
                      <a:pt x="39" y="125119"/>
                      <a:pt x="-3409" y="109027"/>
                      <a:pt x="4924" y="90923"/>
                    </a:cubicBezTo>
                    <a:cubicBezTo>
                      <a:pt x="12971" y="73107"/>
                      <a:pt x="26190" y="62762"/>
                      <a:pt x="26190" y="62762"/>
                    </a:cubicBezTo>
                    <a:lnTo>
                      <a:pt x="51192" y="63624"/>
                    </a:lnTo>
                    <a:cubicBezTo>
                      <a:pt x="62399" y="65061"/>
                      <a:pt x="80217" y="68222"/>
                      <a:pt x="92574" y="72245"/>
                    </a:cubicBezTo>
                    <a:cubicBezTo>
                      <a:pt x="104644" y="76268"/>
                      <a:pt x="148899" y="97533"/>
                      <a:pt x="148899" y="97533"/>
                    </a:cubicBezTo>
                    <a:lnTo>
                      <a:pt x="100620" y="70233"/>
                    </a:lnTo>
                    <a:lnTo>
                      <a:pt x="68722" y="57877"/>
                    </a:lnTo>
                    <a:cubicBezTo>
                      <a:pt x="68722" y="57877"/>
                      <a:pt x="82803" y="49544"/>
                      <a:pt x="95735" y="33739"/>
                    </a:cubicBezTo>
                    <a:cubicBezTo>
                      <a:pt x="108667" y="17934"/>
                      <a:pt x="109816" y="12187"/>
                      <a:pt x="118438" y="6440"/>
                    </a:cubicBezTo>
                    <a:cubicBezTo>
                      <a:pt x="124904" y="2345"/>
                      <a:pt x="129268" y="513"/>
                      <a:pt x="135290" y="95"/>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IN" sz="1961" b="1" dirty="0">
                  <a:solidFill>
                    <a:srgbClr val="FFFFFF"/>
                  </a:solidFill>
                  <a:latin typeface="Segoe UI Light"/>
                  <a:ea typeface="Segoe UI" pitchFamily="34" charset="0"/>
                  <a:cs typeface="Segoe UI" pitchFamily="34" charset="0"/>
                </a:endParaRPr>
              </a:p>
            </p:txBody>
          </p:sp>
          <p:sp>
            <p:nvSpPr>
              <p:cNvPr id="20" name="Freeform 19"/>
              <p:cNvSpPr>
                <a:spLocks/>
              </p:cNvSpPr>
              <p:nvPr/>
            </p:nvSpPr>
            <p:spPr bwMode="auto">
              <a:xfrm>
                <a:off x="1203881" y="3576757"/>
                <a:ext cx="290830" cy="297796"/>
              </a:xfrm>
              <a:custGeom>
                <a:avLst/>
                <a:gdLst>
                  <a:gd name="connsiteX0" fmla="*/ 1222186 w 2129049"/>
                  <a:gd name="connsiteY0" fmla="*/ 1839320 h 2180047"/>
                  <a:gd name="connsiteX1" fmla="*/ 1208400 w 2129049"/>
                  <a:gd name="connsiteY1" fmla="*/ 1841119 h 2180047"/>
                  <a:gd name="connsiteX2" fmla="*/ 1186099 w 2129049"/>
                  <a:gd name="connsiteY2" fmla="*/ 1843640 h 2180047"/>
                  <a:gd name="connsiteX3" fmla="*/ 1188379 w 2129049"/>
                  <a:gd name="connsiteY3" fmla="*/ 1844841 h 2180047"/>
                  <a:gd name="connsiteX4" fmla="*/ 1243194 w 2129049"/>
                  <a:gd name="connsiteY4" fmla="*/ 1939957 h 2180047"/>
                  <a:gd name="connsiteX5" fmla="*/ 1223702 w 2129049"/>
                  <a:gd name="connsiteY5" fmla="*/ 1853174 h 2180047"/>
                  <a:gd name="connsiteX6" fmla="*/ 1222569 w 2129049"/>
                  <a:gd name="connsiteY6" fmla="*/ 1839342 h 2180047"/>
                  <a:gd name="connsiteX7" fmla="*/ 441891 w 2129049"/>
                  <a:gd name="connsiteY7" fmla="*/ 1746105 h 2180047"/>
                  <a:gd name="connsiteX8" fmla="*/ 450977 w 2129049"/>
                  <a:gd name="connsiteY8" fmla="*/ 1757606 h 2180047"/>
                  <a:gd name="connsiteX9" fmla="*/ 707370 w 2129049"/>
                  <a:gd name="connsiteY9" fmla="*/ 1976776 h 2180047"/>
                  <a:gd name="connsiteX10" fmla="*/ 766453 w 2129049"/>
                  <a:gd name="connsiteY10" fmla="*/ 2010648 h 2180047"/>
                  <a:gd name="connsiteX11" fmla="*/ 831225 w 2129049"/>
                  <a:gd name="connsiteY11" fmla="*/ 2015356 h 2180047"/>
                  <a:gd name="connsiteX12" fmla="*/ 999836 w 2129049"/>
                  <a:gd name="connsiteY12" fmla="*/ 2014732 h 2180047"/>
                  <a:gd name="connsiteX13" fmla="*/ 1033552 w 2129049"/>
                  <a:gd name="connsiteY13" fmla="*/ 2011934 h 2180047"/>
                  <a:gd name="connsiteX14" fmla="*/ 1030508 w 2129049"/>
                  <a:gd name="connsiteY14" fmla="*/ 1991231 h 2180047"/>
                  <a:gd name="connsiteX15" fmla="*/ 1069280 w 2129049"/>
                  <a:gd name="connsiteY15" fmla="*/ 1869985 h 2180047"/>
                  <a:gd name="connsiteX16" fmla="*/ 1086998 w 2129049"/>
                  <a:gd name="connsiteY16" fmla="*/ 1852207 h 2180047"/>
                  <a:gd name="connsiteX17" fmla="*/ 1040249 w 2129049"/>
                  <a:gd name="connsiteY17" fmla="*/ 1855089 h 2180047"/>
                  <a:gd name="connsiteX18" fmla="*/ 700561 w 2129049"/>
                  <a:gd name="connsiteY18" fmla="*/ 1833012 h 2180047"/>
                  <a:gd name="connsiteX19" fmla="*/ 442094 w 2129049"/>
                  <a:gd name="connsiteY19" fmla="*/ 1746192 h 2180047"/>
                  <a:gd name="connsiteX20" fmla="*/ 1059954 w 2129049"/>
                  <a:gd name="connsiteY20" fmla="*/ 1504433 h 2180047"/>
                  <a:gd name="connsiteX21" fmla="*/ 1137935 w 2129049"/>
                  <a:gd name="connsiteY21" fmla="*/ 1553560 h 2180047"/>
                  <a:gd name="connsiteX22" fmla="*/ 1232714 w 2129049"/>
                  <a:gd name="connsiteY22" fmla="*/ 1597039 h 2180047"/>
                  <a:gd name="connsiteX23" fmla="*/ 1498003 w 2129049"/>
                  <a:gd name="connsiteY23" fmla="*/ 1620193 h 2180047"/>
                  <a:gd name="connsiteX24" fmla="*/ 1417995 w 2129049"/>
                  <a:gd name="connsiteY24" fmla="*/ 1660186 h 2180047"/>
                  <a:gd name="connsiteX25" fmla="*/ 1260085 w 2129049"/>
                  <a:gd name="connsiteY25" fmla="*/ 1660186 h 2180047"/>
                  <a:gd name="connsiteX26" fmla="*/ 1110597 w 2129049"/>
                  <a:gd name="connsiteY26" fmla="*/ 1640189 h 2180047"/>
                  <a:gd name="connsiteX27" fmla="*/ 1099046 w 2129049"/>
                  <a:gd name="connsiteY27" fmla="*/ 1638682 h 2180047"/>
                  <a:gd name="connsiteX28" fmla="*/ 251840 w 2129049"/>
                  <a:gd name="connsiteY28" fmla="*/ 316333 h 2180047"/>
                  <a:gd name="connsiteX29" fmla="*/ 246796 w 2129049"/>
                  <a:gd name="connsiteY29" fmla="*/ 329846 h 2180047"/>
                  <a:gd name="connsiteX30" fmla="*/ 161902 w 2129049"/>
                  <a:gd name="connsiteY30" fmla="*/ 686152 h 2180047"/>
                  <a:gd name="connsiteX31" fmla="*/ 163319 w 2129049"/>
                  <a:gd name="connsiteY31" fmla="*/ 765157 h 2180047"/>
                  <a:gd name="connsiteX32" fmla="*/ 168120 w 2129049"/>
                  <a:gd name="connsiteY32" fmla="*/ 772124 h 2180047"/>
                  <a:gd name="connsiteX33" fmla="*/ 462568 w 2129049"/>
                  <a:gd name="connsiteY33" fmla="*/ 1054574 h 2180047"/>
                  <a:gd name="connsiteX34" fmla="*/ 1083519 w 2129049"/>
                  <a:gd name="connsiteY34" fmla="*/ 1296666 h 2180047"/>
                  <a:gd name="connsiteX35" fmla="*/ 1112988 w 2129049"/>
                  <a:gd name="connsiteY35" fmla="*/ 1212460 h 2180047"/>
                  <a:gd name="connsiteX36" fmla="*/ 635171 w 2129049"/>
                  <a:gd name="connsiteY36" fmla="*/ 913528 h 2180047"/>
                  <a:gd name="connsiteX37" fmla="*/ 256327 w 2129049"/>
                  <a:gd name="connsiteY37" fmla="*/ 344726 h 2180047"/>
                  <a:gd name="connsiteX38" fmla="*/ 203697 w 2129049"/>
                  <a:gd name="connsiteY38" fmla="*/ 216555 h 2180047"/>
                  <a:gd name="connsiteX39" fmla="*/ 195507 w 2129049"/>
                  <a:gd name="connsiteY39" fmla="*/ 224152 h 2180047"/>
                  <a:gd name="connsiteX40" fmla="*/ 153435 w 2129049"/>
                  <a:gd name="connsiteY40" fmla="*/ 280530 h 2180047"/>
                  <a:gd name="connsiteX41" fmla="*/ 119142 w 2129049"/>
                  <a:gd name="connsiteY41" fmla="*/ 338248 h 2180047"/>
                  <a:gd name="connsiteX42" fmla="*/ 162420 w 2129049"/>
                  <a:gd name="connsiteY42" fmla="*/ 270250 h 2180047"/>
                  <a:gd name="connsiteX43" fmla="*/ 200473 w 2129049"/>
                  <a:gd name="connsiteY43" fmla="*/ 220227 h 2180047"/>
                  <a:gd name="connsiteX44" fmla="*/ 545326 w 2129049"/>
                  <a:gd name="connsiteY44" fmla="*/ 37476 h 2180047"/>
                  <a:gd name="connsiteX45" fmla="*/ 541800 w 2129049"/>
                  <a:gd name="connsiteY45" fmla="*/ 40991 h 2180047"/>
                  <a:gd name="connsiteX46" fmla="*/ 536701 w 2129049"/>
                  <a:gd name="connsiteY46" fmla="*/ 46149 h 2180047"/>
                  <a:gd name="connsiteX47" fmla="*/ 940947 w 2129049"/>
                  <a:gd name="connsiteY47" fmla="*/ 939893 h 2180047"/>
                  <a:gd name="connsiteX48" fmla="*/ 978333 w 2129049"/>
                  <a:gd name="connsiteY48" fmla="*/ 993267 h 2180047"/>
                  <a:gd name="connsiteX49" fmla="*/ 1095859 w 2129049"/>
                  <a:gd name="connsiteY49" fmla="*/ 1039243 h 2180047"/>
                  <a:gd name="connsiteX50" fmla="*/ 1131484 w 2129049"/>
                  <a:gd name="connsiteY50" fmla="*/ 1124187 h 2180047"/>
                  <a:gd name="connsiteX51" fmla="*/ 1146506 w 2129049"/>
                  <a:gd name="connsiteY51" fmla="*/ 1133109 h 2180047"/>
                  <a:gd name="connsiteX52" fmla="*/ 1148541 w 2129049"/>
                  <a:gd name="connsiteY52" fmla="*/ 1133748 h 2180047"/>
                  <a:gd name="connsiteX53" fmla="*/ 1141842 w 2129049"/>
                  <a:gd name="connsiteY53" fmla="*/ 1144915 h 2180047"/>
                  <a:gd name="connsiteX54" fmla="*/ 1141505 w 2129049"/>
                  <a:gd name="connsiteY54" fmla="*/ 1145660 h 2180047"/>
                  <a:gd name="connsiteX55" fmla="*/ 1187973 w 2129049"/>
                  <a:gd name="connsiteY55" fmla="*/ 1232630 h 2180047"/>
                  <a:gd name="connsiteX56" fmla="*/ 1289562 w 2129049"/>
                  <a:gd name="connsiteY56" fmla="*/ 1373921 h 2180047"/>
                  <a:gd name="connsiteX57" fmla="*/ 1531690 w 2129049"/>
                  <a:gd name="connsiteY57" fmla="*/ 1481270 h 2180047"/>
                  <a:gd name="connsiteX58" fmla="*/ 1426417 w 2129049"/>
                  <a:gd name="connsiteY58" fmla="*/ 1496004 h 2180047"/>
                  <a:gd name="connsiteX59" fmla="*/ 1194816 w 2129049"/>
                  <a:gd name="connsiteY59" fmla="*/ 1399179 h 2180047"/>
                  <a:gd name="connsiteX60" fmla="*/ 1145436 w 2129049"/>
                  <a:gd name="connsiteY60" fmla="*/ 1340670 h 2180047"/>
                  <a:gd name="connsiteX61" fmla="*/ 1091189 w 2129049"/>
                  <a:gd name="connsiteY61" fmla="*/ 1275923 h 2180047"/>
                  <a:gd name="connsiteX62" fmla="*/ 1064249 w 2129049"/>
                  <a:gd name="connsiteY62" fmla="*/ 1369079 h 2180047"/>
                  <a:gd name="connsiteX63" fmla="*/ 1046007 w 2129049"/>
                  <a:gd name="connsiteY63" fmla="*/ 1483657 h 2180047"/>
                  <a:gd name="connsiteX64" fmla="*/ 1046013 w 2129049"/>
                  <a:gd name="connsiteY64" fmla="*/ 1495461 h 2180047"/>
                  <a:gd name="connsiteX65" fmla="*/ 1012870 w 2129049"/>
                  <a:gd name="connsiteY65" fmla="*/ 1487283 h 2180047"/>
                  <a:gd name="connsiteX66" fmla="*/ 561761 w 2129049"/>
                  <a:gd name="connsiteY66" fmla="*/ 1355377 h 2180047"/>
                  <a:gd name="connsiteX67" fmla="*/ 245802 w 2129049"/>
                  <a:gd name="connsiteY67" fmla="*/ 1165644 h 2180047"/>
                  <a:gd name="connsiteX68" fmla="*/ 203985 w 2129049"/>
                  <a:gd name="connsiteY68" fmla="*/ 1132152 h 2180047"/>
                  <a:gd name="connsiteX69" fmla="*/ 234345 w 2129049"/>
                  <a:gd name="connsiteY69" fmla="*/ 1297625 h 2180047"/>
                  <a:gd name="connsiteX70" fmla="*/ 260418 w 2129049"/>
                  <a:gd name="connsiteY70" fmla="*/ 1401636 h 2180047"/>
                  <a:gd name="connsiteX71" fmla="*/ 276086 w 2129049"/>
                  <a:gd name="connsiteY71" fmla="*/ 1451374 h 2180047"/>
                  <a:gd name="connsiteX72" fmla="*/ 305709 w 2129049"/>
                  <a:gd name="connsiteY72" fmla="*/ 1466895 h 2180047"/>
                  <a:gd name="connsiteX73" fmla="*/ 561761 w 2129049"/>
                  <a:gd name="connsiteY73" fmla="*/ 1572001 h 2180047"/>
                  <a:gd name="connsiteX74" fmla="*/ 1106575 w 2129049"/>
                  <a:gd name="connsiteY74" fmla="*/ 1664539 h 2180047"/>
                  <a:gd name="connsiteX75" fmla="*/ 1106413 w 2129049"/>
                  <a:gd name="connsiteY75" fmla="*/ 1663981 h 2180047"/>
                  <a:gd name="connsiteX76" fmla="*/ 1109394 w 2129049"/>
                  <a:gd name="connsiteY76" fmla="*/ 1669032 h 2180047"/>
                  <a:gd name="connsiteX77" fmla="*/ 1145872 w 2129049"/>
                  <a:gd name="connsiteY77" fmla="*/ 1724864 h 2180047"/>
                  <a:gd name="connsiteX78" fmla="*/ 1151390 w 2129049"/>
                  <a:gd name="connsiteY78" fmla="*/ 1728726 h 2180047"/>
                  <a:gd name="connsiteX79" fmla="*/ 1244657 w 2129049"/>
                  <a:gd name="connsiteY79" fmla="*/ 1793994 h 2180047"/>
                  <a:gd name="connsiteX80" fmla="*/ 1255282 w 2129049"/>
                  <a:gd name="connsiteY80" fmla="*/ 1801430 h 2180047"/>
                  <a:gd name="connsiteX81" fmla="*/ 1259765 w 2129049"/>
                  <a:gd name="connsiteY81" fmla="*/ 1803273 h 2180047"/>
                  <a:gd name="connsiteX82" fmla="*/ 1262425 w 2129049"/>
                  <a:gd name="connsiteY82" fmla="*/ 1805592 h 2180047"/>
                  <a:gd name="connsiteX83" fmla="*/ 1274330 w 2129049"/>
                  <a:gd name="connsiteY83" fmla="*/ 1811179 h 2180047"/>
                  <a:gd name="connsiteX84" fmla="*/ 1470632 w 2129049"/>
                  <a:gd name="connsiteY84" fmla="*/ 1851731 h 2180047"/>
                  <a:gd name="connsiteX85" fmla="*/ 1337987 w 2129049"/>
                  <a:gd name="connsiteY85" fmla="*/ 1879094 h 2180047"/>
                  <a:gd name="connsiteX86" fmla="*/ 1331095 w 2129049"/>
                  <a:gd name="connsiteY86" fmla="*/ 1878426 h 2180047"/>
                  <a:gd name="connsiteX87" fmla="*/ 1337882 w 2129049"/>
                  <a:gd name="connsiteY87" fmla="*/ 1887387 h 2180047"/>
                  <a:gd name="connsiteX88" fmla="*/ 2129049 w 2129049"/>
                  <a:gd name="connsiteY88" fmla="*/ 1929443 h 2180047"/>
                  <a:gd name="connsiteX89" fmla="*/ 1413632 w 2129049"/>
                  <a:gd name="connsiteY89" fmla="*/ 2169166 h 2180047"/>
                  <a:gd name="connsiteX90" fmla="*/ 1301496 w 2129049"/>
                  <a:gd name="connsiteY90" fmla="*/ 2177335 h 2180047"/>
                  <a:gd name="connsiteX91" fmla="*/ 1281595 w 2129049"/>
                  <a:gd name="connsiteY91" fmla="*/ 2175656 h 2180047"/>
                  <a:gd name="connsiteX92" fmla="*/ 1272759 w 2129049"/>
                  <a:gd name="connsiteY92" fmla="*/ 2177928 h 2180047"/>
                  <a:gd name="connsiteX93" fmla="*/ 1063402 w 2129049"/>
                  <a:gd name="connsiteY93" fmla="*/ 2155016 h 2180047"/>
                  <a:gd name="connsiteX94" fmla="*/ 994039 w 2129049"/>
                  <a:gd name="connsiteY94" fmla="*/ 2133739 h 2180047"/>
                  <a:gd name="connsiteX95" fmla="*/ 954380 w 2129049"/>
                  <a:gd name="connsiteY95" fmla="*/ 2125140 h 2180047"/>
                  <a:gd name="connsiteX96" fmla="*/ 485181 w 2129049"/>
                  <a:gd name="connsiteY96" fmla="*/ 1869194 h 2180047"/>
                  <a:gd name="connsiteX97" fmla="*/ 424111 w 2129049"/>
                  <a:gd name="connsiteY97" fmla="*/ 1817746 h 2180047"/>
                  <a:gd name="connsiteX98" fmla="*/ 407264 w 2129049"/>
                  <a:gd name="connsiteY98" fmla="*/ 1804650 h 2180047"/>
                  <a:gd name="connsiteX99" fmla="*/ 400242 w 2129049"/>
                  <a:gd name="connsiteY99" fmla="*/ 1797638 h 2180047"/>
                  <a:gd name="connsiteX100" fmla="*/ 373060 w 2129049"/>
                  <a:gd name="connsiteY100" fmla="*/ 1774739 h 2180047"/>
                  <a:gd name="connsiteX101" fmla="*/ 178723 w 2129049"/>
                  <a:gd name="connsiteY101" fmla="*/ 1546546 h 2180047"/>
                  <a:gd name="connsiteX102" fmla="*/ 0 w 2129049"/>
                  <a:gd name="connsiteY102" fmla="*/ 780817 h 2180047"/>
                  <a:gd name="connsiteX103" fmla="*/ 75177 w 2129049"/>
                  <a:gd name="connsiteY103" fmla="*/ 424975 h 2180047"/>
                  <a:gd name="connsiteX104" fmla="*/ 118668 w 2129049"/>
                  <a:gd name="connsiteY104" fmla="*/ 339046 h 2180047"/>
                  <a:gd name="connsiteX105" fmla="*/ 116953 w 2129049"/>
                  <a:gd name="connsiteY105" fmla="*/ 341932 h 2180047"/>
                  <a:gd name="connsiteX106" fmla="*/ 93993 w 2129049"/>
                  <a:gd name="connsiteY106" fmla="*/ 385485 h 2180047"/>
                  <a:gd name="connsiteX107" fmla="*/ 93509 w 2129049"/>
                  <a:gd name="connsiteY107" fmla="*/ 386464 h 2180047"/>
                  <a:gd name="connsiteX108" fmla="*/ 95671 w 2129049"/>
                  <a:gd name="connsiteY108" fmla="*/ 380966 h 2180047"/>
                  <a:gd name="connsiteX109" fmla="*/ 182624 w 2129049"/>
                  <a:gd name="connsiteY109" fmla="*/ 235436 h 2180047"/>
                  <a:gd name="connsiteX110" fmla="*/ 478385 w 2129049"/>
                  <a:gd name="connsiteY110" fmla="*/ 56179 h 2180047"/>
                  <a:gd name="connsiteX111" fmla="*/ 999928 w 2129049"/>
                  <a:gd name="connsiteY111" fmla="*/ 0 h 2180047"/>
                  <a:gd name="connsiteX112" fmla="*/ 1676449 w 2129049"/>
                  <a:gd name="connsiteY112" fmla="*/ 525838 h 2180047"/>
                  <a:gd name="connsiteX113" fmla="*/ 1579666 w 2129049"/>
                  <a:gd name="connsiteY113" fmla="*/ 999319 h 2180047"/>
                  <a:gd name="connsiteX114" fmla="*/ 1467605 w 2129049"/>
                  <a:gd name="connsiteY114" fmla="*/ 1154947 h 2180047"/>
                  <a:gd name="connsiteX115" fmla="*/ 1464597 w 2129049"/>
                  <a:gd name="connsiteY115" fmla="*/ 1153889 h 2180047"/>
                  <a:gd name="connsiteX116" fmla="*/ 1452025 w 2129049"/>
                  <a:gd name="connsiteY116" fmla="*/ 1125910 h 2180047"/>
                  <a:gd name="connsiteX117" fmla="*/ 1421781 w 2129049"/>
                  <a:gd name="connsiteY117" fmla="*/ 1058603 h 2180047"/>
                  <a:gd name="connsiteX118" fmla="*/ 1327088 w 2129049"/>
                  <a:gd name="connsiteY118" fmla="*/ 961820 h 2180047"/>
                  <a:gd name="connsiteX119" fmla="*/ 1304643 w 2129049"/>
                  <a:gd name="connsiteY119" fmla="*/ 931982 h 2180047"/>
                  <a:gd name="connsiteX120" fmla="*/ 1303076 w 2129049"/>
                  <a:gd name="connsiteY120" fmla="*/ 929526 h 2180047"/>
                  <a:gd name="connsiteX121" fmla="*/ 1268667 w 2129049"/>
                  <a:gd name="connsiteY121" fmla="*/ 875590 h 2180047"/>
                  <a:gd name="connsiteX122" fmla="*/ 1300274 w 2129049"/>
                  <a:gd name="connsiteY122" fmla="*/ 628723 h 2180047"/>
                  <a:gd name="connsiteX123" fmla="*/ 1307563 w 2129049"/>
                  <a:gd name="connsiteY123" fmla="*/ 618378 h 2180047"/>
                  <a:gd name="connsiteX124" fmla="*/ 1298642 w 2129049"/>
                  <a:gd name="connsiteY124" fmla="*/ 596988 h 2180047"/>
                  <a:gd name="connsiteX125" fmla="*/ 1292154 w 2129049"/>
                  <a:gd name="connsiteY125" fmla="*/ 580800 h 2180047"/>
                  <a:gd name="connsiteX126" fmla="*/ 1285141 w 2129049"/>
                  <a:gd name="connsiteY126" fmla="*/ 579133 h 2180047"/>
                  <a:gd name="connsiteX127" fmla="*/ 1003184 w 2129049"/>
                  <a:gd name="connsiteY127" fmla="*/ 372896 h 2180047"/>
                  <a:gd name="connsiteX128" fmla="*/ 993448 w 2129049"/>
                  <a:gd name="connsiteY128" fmla="*/ 53615 h 2180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Lst>
                <a:rect l="l" t="t" r="r" b="b"/>
                <a:pathLst>
                  <a:path w="2129049" h="2180047">
                    <a:moveTo>
                      <a:pt x="1222186" y="1839320"/>
                    </a:moveTo>
                    <a:cubicBezTo>
                      <a:pt x="1222186" y="1839320"/>
                      <a:pt x="1217322" y="1840010"/>
                      <a:pt x="1208400" y="1841119"/>
                    </a:cubicBezTo>
                    <a:lnTo>
                      <a:pt x="1186099" y="1843640"/>
                    </a:lnTo>
                    <a:lnTo>
                      <a:pt x="1188379" y="1844841"/>
                    </a:lnTo>
                    <a:cubicBezTo>
                      <a:pt x="1208837" y="1862152"/>
                      <a:pt x="1227939" y="1892644"/>
                      <a:pt x="1243194" y="1939957"/>
                    </a:cubicBezTo>
                    <a:cubicBezTo>
                      <a:pt x="1232936" y="1903158"/>
                      <a:pt x="1226723" y="1874737"/>
                      <a:pt x="1223702" y="1853174"/>
                    </a:cubicBezTo>
                    <a:lnTo>
                      <a:pt x="1222569" y="1839342"/>
                    </a:lnTo>
                    <a:close/>
                    <a:moveTo>
                      <a:pt x="441891" y="1746105"/>
                    </a:moveTo>
                    <a:lnTo>
                      <a:pt x="450977" y="1757606"/>
                    </a:lnTo>
                    <a:cubicBezTo>
                      <a:pt x="523579" y="1840277"/>
                      <a:pt x="612111" y="1915885"/>
                      <a:pt x="707370" y="1976776"/>
                    </a:cubicBezTo>
                    <a:lnTo>
                      <a:pt x="766453" y="2010648"/>
                    </a:lnTo>
                    <a:lnTo>
                      <a:pt x="831225" y="2015356"/>
                    </a:lnTo>
                    <a:cubicBezTo>
                      <a:pt x="884464" y="2017808"/>
                      <a:pt x="942877" y="2017788"/>
                      <a:pt x="999836" y="2014732"/>
                    </a:cubicBezTo>
                    <a:lnTo>
                      <a:pt x="1033552" y="2011934"/>
                    </a:lnTo>
                    <a:lnTo>
                      <a:pt x="1030508" y="1991231"/>
                    </a:lnTo>
                    <a:cubicBezTo>
                      <a:pt x="1029673" y="1945751"/>
                      <a:pt x="1045399" y="1901238"/>
                      <a:pt x="1069280" y="1869985"/>
                    </a:cubicBezTo>
                    <a:lnTo>
                      <a:pt x="1086998" y="1852207"/>
                    </a:lnTo>
                    <a:lnTo>
                      <a:pt x="1040249" y="1855089"/>
                    </a:lnTo>
                    <a:cubicBezTo>
                      <a:pt x="936134" y="1859819"/>
                      <a:pt x="805728" y="1858242"/>
                      <a:pt x="700561" y="1833012"/>
                    </a:cubicBezTo>
                    <a:cubicBezTo>
                      <a:pt x="607620" y="1810016"/>
                      <a:pt x="515887" y="1776557"/>
                      <a:pt x="442094" y="1746192"/>
                    </a:cubicBezTo>
                    <a:close/>
                    <a:moveTo>
                      <a:pt x="1059954" y="1504433"/>
                    </a:moveTo>
                    <a:lnTo>
                      <a:pt x="1137935" y="1553560"/>
                    </a:lnTo>
                    <a:cubicBezTo>
                      <a:pt x="1171787" y="1572701"/>
                      <a:pt x="1204817" y="1588620"/>
                      <a:pt x="1232714" y="1597039"/>
                    </a:cubicBezTo>
                    <a:cubicBezTo>
                      <a:pt x="1361148" y="1634927"/>
                      <a:pt x="1457999" y="1643347"/>
                      <a:pt x="1498003" y="1620193"/>
                    </a:cubicBezTo>
                    <a:cubicBezTo>
                      <a:pt x="1498003" y="1620193"/>
                      <a:pt x="1462210" y="1649661"/>
                      <a:pt x="1417995" y="1660186"/>
                    </a:cubicBezTo>
                    <a:cubicBezTo>
                      <a:pt x="1373780" y="1668605"/>
                      <a:pt x="1319038" y="1668605"/>
                      <a:pt x="1260085" y="1660186"/>
                    </a:cubicBezTo>
                    <a:cubicBezTo>
                      <a:pt x="1230609" y="1655976"/>
                      <a:pt x="1166918" y="1647556"/>
                      <a:pt x="1110597" y="1640189"/>
                    </a:cubicBezTo>
                    <a:lnTo>
                      <a:pt x="1099046" y="1638682"/>
                    </a:lnTo>
                    <a:close/>
                    <a:moveTo>
                      <a:pt x="251840" y="316333"/>
                    </a:moveTo>
                    <a:lnTo>
                      <a:pt x="246796" y="329846"/>
                    </a:lnTo>
                    <a:cubicBezTo>
                      <a:pt x="205006" y="446862"/>
                      <a:pt x="162954" y="588333"/>
                      <a:pt x="161902" y="686152"/>
                    </a:cubicBezTo>
                    <a:lnTo>
                      <a:pt x="163319" y="765157"/>
                    </a:lnTo>
                    <a:lnTo>
                      <a:pt x="168120" y="772124"/>
                    </a:lnTo>
                    <a:cubicBezTo>
                      <a:pt x="237177" y="866056"/>
                      <a:pt x="334563" y="972605"/>
                      <a:pt x="462568" y="1054574"/>
                    </a:cubicBezTo>
                    <a:cubicBezTo>
                      <a:pt x="755152" y="1239827"/>
                      <a:pt x="1083519" y="1296666"/>
                      <a:pt x="1083519" y="1296666"/>
                    </a:cubicBezTo>
                    <a:cubicBezTo>
                      <a:pt x="1112988" y="1212460"/>
                      <a:pt x="1112988" y="1212460"/>
                      <a:pt x="1112988" y="1212460"/>
                    </a:cubicBezTo>
                    <a:cubicBezTo>
                      <a:pt x="1112988" y="1212460"/>
                      <a:pt x="1058260" y="1208250"/>
                      <a:pt x="635171" y="913528"/>
                    </a:cubicBezTo>
                    <a:cubicBezTo>
                      <a:pt x="372057" y="730643"/>
                      <a:pt x="286544" y="495129"/>
                      <a:pt x="256327" y="344726"/>
                    </a:cubicBezTo>
                    <a:close/>
                    <a:moveTo>
                      <a:pt x="203697" y="216555"/>
                    </a:moveTo>
                    <a:lnTo>
                      <a:pt x="195507" y="224152"/>
                    </a:lnTo>
                    <a:cubicBezTo>
                      <a:pt x="181433" y="239566"/>
                      <a:pt x="166968" y="259629"/>
                      <a:pt x="153435" y="280530"/>
                    </a:cubicBezTo>
                    <a:lnTo>
                      <a:pt x="119142" y="338248"/>
                    </a:lnTo>
                    <a:lnTo>
                      <a:pt x="162420" y="270250"/>
                    </a:lnTo>
                    <a:cubicBezTo>
                      <a:pt x="176342" y="250442"/>
                      <a:pt x="189335" y="233719"/>
                      <a:pt x="200473" y="220227"/>
                    </a:cubicBezTo>
                    <a:close/>
                    <a:moveTo>
                      <a:pt x="545326" y="37476"/>
                    </a:moveTo>
                    <a:lnTo>
                      <a:pt x="541800" y="40991"/>
                    </a:lnTo>
                    <a:cubicBezTo>
                      <a:pt x="538494" y="44318"/>
                      <a:pt x="536701" y="46149"/>
                      <a:pt x="536701" y="46149"/>
                    </a:cubicBezTo>
                    <a:cubicBezTo>
                      <a:pt x="536701" y="131636"/>
                      <a:pt x="760164" y="665826"/>
                      <a:pt x="940947" y="939893"/>
                    </a:cubicBezTo>
                    <a:lnTo>
                      <a:pt x="978333" y="993267"/>
                    </a:lnTo>
                    <a:lnTo>
                      <a:pt x="1095859" y="1039243"/>
                    </a:lnTo>
                    <a:lnTo>
                      <a:pt x="1131484" y="1124187"/>
                    </a:lnTo>
                    <a:lnTo>
                      <a:pt x="1146506" y="1133109"/>
                    </a:lnTo>
                    <a:lnTo>
                      <a:pt x="1148541" y="1133748"/>
                    </a:lnTo>
                    <a:lnTo>
                      <a:pt x="1141842" y="1144915"/>
                    </a:lnTo>
                    <a:lnTo>
                      <a:pt x="1141505" y="1145660"/>
                    </a:lnTo>
                    <a:lnTo>
                      <a:pt x="1187973" y="1232630"/>
                    </a:lnTo>
                    <a:cubicBezTo>
                      <a:pt x="1223766" y="1293409"/>
                      <a:pt x="1261138" y="1345505"/>
                      <a:pt x="1289562" y="1373921"/>
                    </a:cubicBezTo>
                    <a:cubicBezTo>
                      <a:pt x="1344304" y="1428648"/>
                      <a:pt x="1426417" y="1496004"/>
                      <a:pt x="1531690" y="1481270"/>
                    </a:cubicBezTo>
                    <a:cubicBezTo>
                      <a:pt x="1531690" y="1481270"/>
                      <a:pt x="1476948" y="1504424"/>
                      <a:pt x="1426417" y="1496004"/>
                    </a:cubicBezTo>
                    <a:cubicBezTo>
                      <a:pt x="1377991" y="1485480"/>
                      <a:pt x="1245347" y="1456011"/>
                      <a:pt x="1194816" y="1399179"/>
                    </a:cubicBezTo>
                    <a:cubicBezTo>
                      <a:pt x="1182709" y="1384971"/>
                      <a:pt x="1165076" y="1364054"/>
                      <a:pt x="1145436" y="1340670"/>
                    </a:cubicBezTo>
                    <a:lnTo>
                      <a:pt x="1091189" y="1275923"/>
                    </a:lnTo>
                    <a:lnTo>
                      <a:pt x="1064249" y="1369079"/>
                    </a:lnTo>
                    <a:cubicBezTo>
                      <a:pt x="1054868" y="1409695"/>
                      <a:pt x="1048279" y="1449238"/>
                      <a:pt x="1046007" y="1483657"/>
                    </a:cubicBezTo>
                    <a:lnTo>
                      <a:pt x="1046013" y="1495461"/>
                    </a:lnTo>
                    <a:lnTo>
                      <a:pt x="1012870" y="1487283"/>
                    </a:lnTo>
                    <a:cubicBezTo>
                      <a:pt x="926987" y="1465792"/>
                      <a:pt x="733725" y="1415316"/>
                      <a:pt x="561761" y="1355377"/>
                    </a:cubicBezTo>
                    <a:cubicBezTo>
                      <a:pt x="461449" y="1320412"/>
                      <a:pt x="345032" y="1242374"/>
                      <a:pt x="245802" y="1165644"/>
                    </a:cubicBezTo>
                    <a:lnTo>
                      <a:pt x="203985" y="1132152"/>
                    </a:lnTo>
                    <a:lnTo>
                      <a:pt x="234345" y="1297625"/>
                    </a:lnTo>
                    <a:cubicBezTo>
                      <a:pt x="242410" y="1333469"/>
                      <a:pt x="251108" y="1368352"/>
                      <a:pt x="260418" y="1401636"/>
                    </a:cubicBezTo>
                    <a:lnTo>
                      <a:pt x="276086" y="1451374"/>
                    </a:lnTo>
                    <a:lnTo>
                      <a:pt x="305709" y="1466895"/>
                    </a:lnTo>
                    <a:cubicBezTo>
                      <a:pt x="373741" y="1500727"/>
                      <a:pt x="458919" y="1537496"/>
                      <a:pt x="561761" y="1572001"/>
                    </a:cubicBezTo>
                    <a:cubicBezTo>
                      <a:pt x="875187" y="1675055"/>
                      <a:pt x="1106575" y="1664539"/>
                      <a:pt x="1106575" y="1664539"/>
                    </a:cubicBezTo>
                    <a:lnTo>
                      <a:pt x="1106413" y="1663981"/>
                    </a:lnTo>
                    <a:lnTo>
                      <a:pt x="1109394" y="1669032"/>
                    </a:lnTo>
                    <a:lnTo>
                      <a:pt x="1145872" y="1724864"/>
                    </a:lnTo>
                    <a:lnTo>
                      <a:pt x="1151390" y="1728726"/>
                    </a:lnTo>
                    <a:cubicBezTo>
                      <a:pt x="1204685" y="1766022"/>
                      <a:pt x="1231333" y="1784670"/>
                      <a:pt x="1244657" y="1793994"/>
                    </a:cubicBezTo>
                    <a:lnTo>
                      <a:pt x="1255282" y="1801430"/>
                    </a:lnTo>
                    <a:lnTo>
                      <a:pt x="1259765" y="1803273"/>
                    </a:lnTo>
                    <a:lnTo>
                      <a:pt x="1262425" y="1805592"/>
                    </a:lnTo>
                    <a:lnTo>
                      <a:pt x="1274330" y="1811179"/>
                    </a:lnTo>
                    <a:cubicBezTo>
                      <a:pt x="1306011" y="1825288"/>
                      <a:pt x="1380623" y="1853310"/>
                      <a:pt x="1470632" y="1851731"/>
                    </a:cubicBezTo>
                    <a:cubicBezTo>
                      <a:pt x="1470632" y="1851731"/>
                      <a:pt x="1375886" y="1881199"/>
                      <a:pt x="1337987" y="1879094"/>
                    </a:cubicBezTo>
                    <a:lnTo>
                      <a:pt x="1331095" y="1878426"/>
                    </a:lnTo>
                    <a:lnTo>
                      <a:pt x="1337882" y="1887387"/>
                    </a:lnTo>
                    <a:cubicBezTo>
                      <a:pt x="1419945" y="2013557"/>
                      <a:pt x="2129049" y="1929443"/>
                      <a:pt x="2129049" y="1929443"/>
                    </a:cubicBezTo>
                    <a:cubicBezTo>
                      <a:pt x="2129049" y="1929443"/>
                      <a:pt x="2129049" y="1929443"/>
                      <a:pt x="1413632" y="2169166"/>
                    </a:cubicBezTo>
                    <a:cubicBezTo>
                      <a:pt x="1372338" y="2174818"/>
                      <a:pt x="1335063" y="2177389"/>
                      <a:pt x="1301496" y="2177335"/>
                    </a:cubicBezTo>
                    <a:lnTo>
                      <a:pt x="1281595" y="2175656"/>
                    </a:lnTo>
                    <a:lnTo>
                      <a:pt x="1272759" y="2177928"/>
                    </a:lnTo>
                    <a:cubicBezTo>
                      <a:pt x="1225811" y="2184118"/>
                      <a:pt x="1152027" y="2176826"/>
                      <a:pt x="1063402" y="2155016"/>
                    </a:cubicBezTo>
                    <a:lnTo>
                      <a:pt x="994039" y="2133739"/>
                    </a:lnTo>
                    <a:lnTo>
                      <a:pt x="954380" y="2125140"/>
                    </a:lnTo>
                    <a:cubicBezTo>
                      <a:pt x="795130" y="2082053"/>
                      <a:pt x="625466" y="1978945"/>
                      <a:pt x="485181" y="1869194"/>
                    </a:cubicBezTo>
                    <a:lnTo>
                      <a:pt x="424111" y="1817746"/>
                    </a:lnTo>
                    <a:lnTo>
                      <a:pt x="407264" y="1804650"/>
                    </a:lnTo>
                    <a:lnTo>
                      <a:pt x="400242" y="1797638"/>
                    </a:lnTo>
                    <a:lnTo>
                      <a:pt x="373060" y="1774739"/>
                    </a:lnTo>
                    <a:cubicBezTo>
                      <a:pt x="269990" y="1681147"/>
                      <a:pt x="196858" y="1593878"/>
                      <a:pt x="178723" y="1546546"/>
                    </a:cubicBezTo>
                    <a:cubicBezTo>
                      <a:pt x="92516" y="1378254"/>
                      <a:pt x="0" y="1054291"/>
                      <a:pt x="0" y="780817"/>
                    </a:cubicBezTo>
                    <a:cubicBezTo>
                      <a:pt x="0" y="639609"/>
                      <a:pt x="33412" y="519701"/>
                      <a:pt x="75177" y="424975"/>
                    </a:cubicBezTo>
                    <a:lnTo>
                      <a:pt x="118668" y="339046"/>
                    </a:lnTo>
                    <a:lnTo>
                      <a:pt x="116953" y="341932"/>
                    </a:lnTo>
                    <a:cubicBezTo>
                      <a:pt x="106605" y="360695"/>
                      <a:pt x="98512" y="376484"/>
                      <a:pt x="93993" y="385485"/>
                    </a:cubicBezTo>
                    <a:lnTo>
                      <a:pt x="93509" y="386464"/>
                    </a:lnTo>
                    <a:lnTo>
                      <a:pt x="95671" y="380966"/>
                    </a:lnTo>
                    <a:cubicBezTo>
                      <a:pt x="123713" y="321057"/>
                      <a:pt x="154747" y="273315"/>
                      <a:pt x="182624" y="235436"/>
                    </a:cubicBezTo>
                    <a:cubicBezTo>
                      <a:pt x="241010" y="154155"/>
                      <a:pt x="355019" y="96548"/>
                      <a:pt x="478385" y="56179"/>
                    </a:cubicBezTo>
                    <a:close/>
                    <a:moveTo>
                      <a:pt x="999928" y="0"/>
                    </a:moveTo>
                    <a:lnTo>
                      <a:pt x="1676449" y="525838"/>
                    </a:lnTo>
                    <a:cubicBezTo>
                      <a:pt x="1676449" y="525838"/>
                      <a:pt x="1594394" y="780465"/>
                      <a:pt x="1579666" y="999319"/>
                    </a:cubicBezTo>
                    <a:cubicBezTo>
                      <a:pt x="1570461" y="1136103"/>
                      <a:pt x="1517697" y="1165202"/>
                      <a:pt x="1467605" y="1154947"/>
                    </a:cubicBezTo>
                    <a:lnTo>
                      <a:pt x="1464597" y="1153889"/>
                    </a:lnTo>
                    <a:lnTo>
                      <a:pt x="1452025" y="1125910"/>
                    </a:lnTo>
                    <a:cubicBezTo>
                      <a:pt x="1443951" y="1107940"/>
                      <a:pt x="1434013" y="1085824"/>
                      <a:pt x="1421781" y="1058603"/>
                    </a:cubicBezTo>
                    <a:cubicBezTo>
                      <a:pt x="1421781" y="1058603"/>
                      <a:pt x="1360757" y="999691"/>
                      <a:pt x="1327088" y="961820"/>
                    </a:cubicBezTo>
                    <a:lnTo>
                      <a:pt x="1304643" y="931982"/>
                    </a:lnTo>
                    <a:lnTo>
                      <a:pt x="1303076" y="929526"/>
                    </a:lnTo>
                    <a:cubicBezTo>
                      <a:pt x="1268667" y="875590"/>
                      <a:pt x="1268667" y="875590"/>
                      <a:pt x="1268667" y="875590"/>
                    </a:cubicBezTo>
                    <a:cubicBezTo>
                      <a:pt x="1268667" y="875590"/>
                      <a:pt x="1236457" y="743498"/>
                      <a:pt x="1300274" y="628723"/>
                    </a:cubicBezTo>
                    <a:lnTo>
                      <a:pt x="1307563" y="618378"/>
                    </a:lnTo>
                    <a:lnTo>
                      <a:pt x="1298642" y="596988"/>
                    </a:lnTo>
                    <a:lnTo>
                      <a:pt x="1292154" y="580800"/>
                    </a:lnTo>
                    <a:lnTo>
                      <a:pt x="1285141" y="579133"/>
                    </a:lnTo>
                    <a:cubicBezTo>
                      <a:pt x="1217808" y="547566"/>
                      <a:pt x="1022122" y="492850"/>
                      <a:pt x="1003184" y="372896"/>
                    </a:cubicBezTo>
                    <a:cubicBezTo>
                      <a:pt x="992533" y="305422"/>
                      <a:pt x="984544" y="180018"/>
                      <a:pt x="993448" y="53615"/>
                    </a:cubicBezTo>
                    <a:close/>
                  </a:path>
                </a:pathLst>
              </a:custGeom>
              <a:solidFill>
                <a:srgbClr val="FAED22"/>
              </a:solidFill>
              <a:ln w="3175" cap="flat">
                <a:solidFill>
                  <a:schemeClr val="tx1"/>
                </a:solidFill>
                <a:prstDash val="solid"/>
                <a:miter lim="800000"/>
                <a:headEnd/>
                <a:tailEnd/>
              </a:ln>
            </p:spPr>
            <p:txBody>
              <a:bodyPr vert="horz" wrap="square" lIns="89642" tIns="44821" rIns="89642" bIns="44821" numCol="1" anchor="t" anchorCtr="0" compatLnSpc="1">
                <a:prstTxWarp prst="textNoShape">
                  <a:avLst/>
                </a:prstTxWarp>
                <a:noAutofit/>
              </a:bodyPr>
              <a:lstStyle/>
              <a:p>
                <a:pPr defTabSz="914367"/>
                <a:endParaRPr lang="en-IN" sz="1765">
                  <a:solidFill>
                    <a:srgbClr val="000000"/>
                  </a:solidFill>
                </a:endParaRPr>
              </a:p>
            </p:txBody>
          </p:sp>
          <p:sp>
            <p:nvSpPr>
              <p:cNvPr id="21" name="Freeform 20"/>
              <p:cNvSpPr>
                <a:spLocks/>
              </p:cNvSpPr>
              <p:nvPr/>
            </p:nvSpPr>
            <p:spPr bwMode="auto">
              <a:xfrm>
                <a:off x="1058398" y="3354141"/>
                <a:ext cx="533724" cy="414349"/>
              </a:xfrm>
              <a:custGeom>
                <a:avLst/>
                <a:gdLst>
                  <a:gd name="connsiteX0" fmla="*/ 3283994 w 3907177"/>
                  <a:gd name="connsiteY0" fmla="*/ 2199606 h 3033282"/>
                  <a:gd name="connsiteX1" fmla="*/ 3216771 w 3907177"/>
                  <a:gd name="connsiteY1" fmla="*/ 2237508 h 3033282"/>
                  <a:gd name="connsiteX2" fmla="*/ 3176070 w 3907177"/>
                  <a:gd name="connsiteY2" fmla="*/ 2287254 h 3033282"/>
                  <a:gd name="connsiteX3" fmla="*/ 3157902 w 3907177"/>
                  <a:gd name="connsiteY3" fmla="*/ 2304911 h 3033282"/>
                  <a:gd name="connsiteX4" fmla="*/ 3148728 w 3907177"/>
                  <a:gd name="connsiteY4" fmla="*/ 2311436 h 3033282"/>
                  <a:gd name="connsiteX5" fmla="*/ 3136944 w 3907177"/>
                  <a:gd name="connsiteY5" fmla="*/ 2319628 h 3033282"/>
                  <a:gd name="connsiteX6" fmla="*/ 3154439 w 3907177"/>
                  <a:gd name="connsiteY6" fmla="*/ 2308277 h 3033282"/>
                  <a:gd name="connsiteX7" fmla="*/ 3157902 w 3907177"/>
                  <a:gd name="connsiteY7" fmla="*/ 2304911 h 3033282"/>
                  <a:gd name="connsiteX8" fmla="*/ 3176070 w 3907177"/>
                  <a:gd name="connsiteY8" fmla="*/ 2291992 h 3033282"/>
                  <a:gd name="connsiteX9" fmla="*/ 3229375 w 3907177"/>
                  <a:gd name="connsiteY9" fmla="*/ 2250142 h 3033282"/>
                  <a:gd name="connsiteX10" fmla="*/ 3317605 w 3907177"/>
                  <a:gd name="connsiteY10" fmla="*/ 2231191 h 3033282"/>
                  <a:gd name="connsiteX11" fmla="*/ 3378755 w 3907177"/>
                  <a:gd name="connsiteY11" fmla="*/ 2245404 h 3033282"/>
                  <a:gd name="connsiteX12" fmla="*/ 3382808 w 3907177"/>
                  <a:gd name="connsiteY12" fmla="*/ 2247161 h 3033282"/>
                  <a:gd name="connsiteX13" fmla="*/ 3351550 w 3907177"/>
                  <a:gd name="connsiteY13" fmla="*/ 2248260 h 3033282"/>
                  <a:gd name="connsiteX14" fmla="*/ 3315694 w 3907177"/>
                  <a:gd name="connsiteY14" fmla="*/ 2268558 h 3033282"/>
                  <a:gd name="connsiteX15" fmla="*/ 3248262 w 3907177"/>
                  <a:gd name="connsiteY15" fmla="*/ 2369622 h 3033282"/>
                  <a:gd name="connsiteX16" fmla="*/ 3195581 w 3907177"/>
                  <a:gd name="connsiteY16" fmla="*/ 2443314 h 3033282"/>
                  <a:gd name="connsiteX17" fmla="*/ 3288300 w 3907177"/>
                  <a:gd name="connsiteY17" fmla="*/ 2346462 h 3033282"/>
                  <a:gd name="connsiteX18" fmla="*/ 3334660 w 3907177"/>
                  <a:gd name="connsiteY18" fmla="*/ 2295930 h 3033282"/>
                  <a:gd name="connsiteX19" fmla="*/ 3404199 w 3907177"/>
                  <a:gd name="connsiteY19" fmla="*/ 2281191 h 3033282"/>
                  <a:gd name="connsiteX20" fmla="*/ 3442129 w 3907177"/>
                  <a:gd name="connsiteY20" fmla="*/ 2291719 h 3033282"/>
                  <a:gd name="connsiteX21" fmla="*/ 3448451 w 3907177"/>
                  <a:gd name="connsiteY21" fmla="*/ 2258031 h 3033282"/>
                  <a:gd name="connsiteX22" fmla="*/ 3432746 w 3907177"/>
                  <a:gd name="connsiteY22" fmla="*/ 2253458 h 3033282"/>
                  <a:gd name="connsiteX23" fmla="*/ 3399309 w 3907177"/>
                  <a:gd name="connsiteY23" fmla="*/ 2247403 h 3033282"/>
                  <a:gd name="connsiteX24" fmla="*/ 3406885 w 3907177"/>
                  <a:gd name="connsiteY24" fmla="*/ 2246720 h 3033282"/>
                  <a:gd name="connsiteX25" fmla="*/ 3422640 w 3907177"/>
                  <a:gd name="connsiteY25" fmla="*/ 2231191 h 3033282"/>
                  <a:gd name="connsiteX26" fmla="*/ 3370122 w 3907177"/>
                  <a:gd name="connsiteY26" fmla="*/ 2208029 h 3033282"/>
                  <a:gd name="connsiteX27" fmla="*/ 3283994 w 3907177"/>
                  <a:gd name="connsiteY27" fmla="*/ 2199606 h 3033282"/>
                  <a:gd name="connsiteX28" fmla="*/ 3868985 w 3907177"/>
                  <a:gd name="connsiteY28" fmla="*/ 2136388 h 3033282"/>
                  <a:gd name="connsiteX29" fmla="*/ 3734396 w 3907177"/>
                  <a:gd name="connsiteY29" fmla="*/ 2199444 h 3033282"/>
                  <a:gd name="connsiteX30" fmla="*/ 3559852 w 3907177"/>
                  <a:gd name="connsiteY30" fmla="*/ 2182629 h 3033282"/>
                  <a:gd name="connsiteX31" fmla="*/ 3641867 w 3907177"/>
                  <a:gd name="connsiteY31" fmla="*/ 2241481 h 3033282"/>
                  <a:gd name="connsiteX32" fmla="*/ 3702852 w 3907177"/>
                  <a:gd name="connsiteY32" fmla="*/ 2239379 h 3033282"/>
                  <a:gd name="connsiteX33" fmla="*/ 3831132 w 3907177"/>
                  <a:gd name="connsiteY33" fmla="*/ 2178425 h 3033282"/>
                  <a:gd name="connsiteX34" fmla="*/ 3868985 w 3907177"/>
                  <a:gd name="connsiteY34" fmla="*/ 2136388 h 3033282"/>
                  <a:gd name="connsiteX35" fmla="*/ 3385344 w 3907177"/>
                  <a:gd name="connsiteY35" fmla="*/ 2089937 h 3033282"/>
                  <a:gd name="connsiteX36" fmla="*/ 3403807 w 3907177"/>
                  <a:gd name="connsiteY36" fmla="*/ 2092045 h 3033282"/>
                  <a:gd name="connsiteX37" fmla="*/ 3420687 w 3907177"/>
                  <a:gd name="connsiteY37" fmla="*/ 2119439 h 3033282"/>
                  <a:gd name="connsiteX38" fmla="*/ 3410137 w 3907177"/>
                  <a:gd name="connsiteY38" fmla="*/ 2151048 h 3033282"/>
                  <a:gd name="connsiteX39" fmla="*/ 3380596 w 3907177"/>
                  <a:gd name="connsiteY39" fmla="*/ 2144726 h 3033282"/>
                  <a:gd name="connsiteX40" fmla="*/ 3353166 w 3907177"/>
                  <a:gd name="connsiteY40" fmla="*/ 2146834 h 3033282"/>
                  <a:gd name="connsiteX41" fmla="*/ 3353166 w 3907177"/>
                  <a:gd name="connsiteY41" fmla="*/ 2113117 h 3033282"/>
                  <a:gd name="connsiteX42" fmla="*/ 3370046 w 3907177"/>
                  <a:gd name="connsiteY42" fmla="*/ 2094152 h 3033282"/>
                  <a:gd name="connsiteX43" fmla="*/ 3385344 w 3907177"/>
                  <a:gd name="connsiteY43" fmla="*/ 2089937 h 3033282"/>
                  <a:gd name="connsiteX44" fmla="*/ 2921466 w 3907177"/>
                  <a:gd name="connsiteY44" fmla="*/ 1940074 h 3033282"/>
                  <a:gd name="connsiteX45" fmla="*/ 2876044 w 3907177"/>
                  <a:gd name="connsiteY45" fmla="*/ 1945069 h 3033282"/>
                  <a:gd name="connsiteX46" fmla="*/ 2796228 w 3907177"/>
                  <a:gd name="connsiteY46" fmla="*/ 1980818 h 3033282"/>
                  <a:gd name="connsiteX47" fmla="*/ 2716411 w 3907177"/>
                  <a:gd name="connsiteY47" fmla="*/ 2018670 h 3033282"/>
                  <a:gd name="connsiteX48" fmla="*/ 2773123 w 3907177"/>
                  <a:gd name="connsiteY48" fmla="*/ 2014464 h 3033282"/>
                  <a:gd name="connsiteX49" fmla="*/ 2813031 w 3907177"/>
                  <a:gd name="connsiteY49" fmla="*/ 2008155 h 3033282"/>
                  <a:gd name="connsiteX50" fmla="*/ 2810931 w 3907177"/>
                  <a:gd name="connsiteY50" fmla="*/ 2075448 h 3033282"/>
                  <a:gd name="connsiteX51" fmla="*/ 2825634 w 3907177"/>
                  <a:gd name="connsiteY51" fmla="*/ 2117505 h 3033282"/>
                  <a:gd name="connsiteX52" fmla="*/ 2817232 w 3907177"/>
                  <a:gd name="connsiteY52" fmla="*/ 2123814 h 3033282"/>
                  <a:gd name="connsiteX53" fmla="*/ 2773123 w 3907177"/>
                  <a:gd name="connsiteY53" fmla="*/ 2157460 h 3033282"/>
                  <a:gd name="connsiteX54" fmla="*/ 2848738 w 3907177"/>
                  <a:gd name="connsiteY54" fmla="*/ 2125917 h 3033282"/>
                  <a:gd name="connsiteX55" fmla="*/ 2941157 w 3907177"/>
                  <a:gd name="connsiteY55" fmla="*/ 2104888 h 3033282"/>
                  <a:gd name="connsiteX56" fmla="*/ 3111292 w 3907177"/>
                  <a:gd name="connsiteY56" fmla="*/ 2106991 h 3033282"/>
                  <a:gd name="connsiteX57" fmla="*/ 3056681 w 3907177"/>
                  <a:gd name="connsiteY57" fmla="*/ 2085962 h 3033282"/>
                  <a:gd name="connsiteX58" fmla="*/ 3016773 w 3907177"/>
                  <a:gd name="connsiteY58" fmla="*/ 2081756 h 3033282"/>
                  <a:gd name="connsiteX59" fmla="*/ 3023074 w 3907177"/>
                  <a:gd name="connsiteY59" fmla="*/ 2027081 h 3033282"/>
                  <a:gd name="connsiteX60" fmla="*/ 2995769 w 3907177"/>
                  <a:gd name="connsiteY60" fmla="*/ 1970303 h 3033282"/>
                  <a:gd name="connsiteX61" fmla="*/ 3018873 w 3907177"/>
                  <a:gd name="connsiteY61" fmla="*/ 1966098 h 3033282"/>
                  <a:gd name="connsiteX62" fmla="*/ 3065083 w 3907177"/>
                  <a:gd name="connsiteY62" fmla="*/ 1957686 h 3033282"/>
                  <a:gd name="connsiteX63" fmla="*/ 2968463 w 3907177"/>
                  <a:gd name="connsiteY63" fmla="*/ 1942966 h 3033282"/>
                  <a:gd name="connsiteX64" fmla="*/ 2921466 w 3907177"/>
                  <a:gd name="connsiteY64" fmla="*/ 1940074 h 3033282"/>
                  <a:gd name="connsiteX65" fmla="*/ 2882143 w 3907177"/>
                  <a:gd name="connsiteY65" fmla="*/ 1689578 h 3033282"/>
                  <a:gd name="connsiteX66" fmla="*/ 2779009 w 3907177"/>
                  <a:gd name="connsiteY66" fmla="*/ 1700880 h 3033282"/>
                  <a:gd name="connsiteX67" fmla="*/ 2720075 w 3907177"/>
                  <a:gd name="connsiteY67" fmla="*/ 1810222 h 3033282"/>
                  <a:gd name="connsiteX68" fmla="*/ 2806371 w 3907177"/>
                  <a:gd name="connsiteY68" fmla="*/ 1730318 h 3033282"/>
                  <a:gd name="connsiteX69" fmla="*/ 2953705 w 3907177"/>
                  <a:gd name="connsiteY69" fmla="*/ 1692469 h 3033282"/>
                  <a:gd name="connsiteX70" fmla="*/ 2882143 w 3907177"/>
                  <a:gd name="connsiteY70" fmla="*/ 1689578 h 3033282"/>
                  <a:gd name="connsiteX71" fmla="*/ 2751741 w 3907177"/>
                  <a:gd name="connsiteY71" fmla="*/ 1152523 h 3033282"/>
                  <a:gd name="connsiteX72" fmla="*/ 2752273 w 3907177"/>
                  <a:gd name="connsiteY72" fmla="*/ 1154187 h 3033282"/>
                  <a:gd name="connsiteX73" fmla="*/ 2764036 w 3907177"/>
                  <a:gd name="connsiteY73" fmla="*/ 1192874 h 3033282"/>
                  <a:gd name="connsiteX74" fmla="*/ 2787833 w 3907177"/>
                  <a:gd name="connsiteY74" fmla="*/ 1274009 h 3033282"/>
                  <a:gd name="connsiteX75" fmla="*/ 2819472 w 3907177"/>
                  <a:gd name="connsiteY75" fmla="*/ 1283014 h 3033282"/>
                  <a:gd name="connsiteX76" fmla="*/ 2820261 w 3907177"/>
                  <a:gd name="connsiteY76" fmla="*/ 1283258 h 3033282"/>
                  <a:gd name="connsiteX77" fmla="*/ 2825890 w 3907177"/>
                  <a:gd name="connsiteY77" fmla="*/ 1283302 h 3033282"/>
                  <a:gd name="connsiteX78" fmla="*/ 2903747 w 3907177"/>
                  <a:gd name="connsiteY78" fmla="*/ 1291542 h 3033282"/>
                  <a:gd name="connsiteX79" fmla="*/ 2899550 w 3907177"/>
                  <a:gd name="connsiteY79" fmla="*/ 1288295 h 3033282"/>
                  <a:gd name="connsiteX80" fmla="*/ 2806596 w 3907177"/>
                  <a:gd name="connsiteY80" fmla="*/ 1216396 h 3033282"/>
                  <a:gd name="connsiteX81" fmla="*/ 2775061 w 3907177"/>
                  <a:gd name="connsiteY81" fmla="*/ 1179930 h 3033282"/>
                  <a:gd name="connsiteX82" fmla="*/ 1695768 w 3907177"/>
                  <a:gd name="connsiteY82" fmla="*/ 862876 h 3033282"/>
                  <a:gd name="connsiteX83" fmla="*/ 2078780 w 3907177"/>
                  <a:gd name="connsiteY83" fmla="*/ 919680 h 3033282"/>
                  <a:gd name="connsiteX84" fmla="*/ 2177689 w 3907177"/>
                  <a:gd name="connsiteY84" fmla="*/ 938615 h 3033282"/>
                  <a:gd name="connsiteX85" fmla="*/ 2274495 w 3907177"/>
                  <a:gd name="connsiteY85" fmla="*/ 997523 h 3033282"/>
                  <a:gd name="connsiteX86" fmla="*/ 2192421 w 3907177"/>
                  <a:gd name="connsiteY86" fmla="*/ 984900 h 3033282"/>
                  <a:gd name="connsiteX87" fmla="*/ 2082989 w 3907177"/>
                  <a:gd name="connsiteY87" fmla="*/ 1031185 h 3033282"/>
                  <a:gd name="connsiteX88" fmla="*/ 2013542 w 3907177"/>
                  <a:gd name="connsiteY88" fmla="*/ 1064846 h 3033282"/>
                  <a:gd name="connsiteX89" fmla="*/ 2177689 w 3907177"/>
                  <a:gd name="connsiteY89" fmla="*/ 1060639 h 3033282"/>
                  <a:gd name="connsiteX90" fmla="*/ 2320793 w 3907177"/>
                  <a:gd name="connsiteY90" fmla="*/ 1102716 h 3033282"/>
                  <a:gd name="connsiteX91" fmla="*/ 2402867 w 3907177"/>
                  <a:gd name="connsiteY91" fmla="*/ 1193182 h 3033282"/>
                  <a:gd name="connsiteX92" fmla="*/ 2477977 w 3907177"/>
                  <a:gd name="connsiteY92" fmla="*/ 1304520 h 3033282"/>
                  <a:gd name="connsiteX93" fmla="*/ 2495231 w 3907177"/>
                  <a:gd name="connsiteY93" fmla="*/ 1302276 h 3033282"/>
                  <a:gd name="connsiteX94" fmla="*/ 2479203 w 3907177"/>
                  <a:gd name="connsiteY94" fmla="*/ 1263722 h 3033282"/>
                  <a:gd name="connsiteX95" fmla="*/ 2352360 w 3907177"/>
                  <a:gd name="connsiteY95" fmla="*/ 974380 h 3033282"/>
                  <a:gd name="connsiteX96" fmla="*/ 2194525 w 3907177"/>
                  <a:gd name="connsiteY96" fmla="*/ 875499 h 3033282"/>
                  <a:gd name="connsiteX97" fmla="*/ 1695768 w 3907177"/>
                  <a:gd name="connsiteY97" fmla="*/ 862876 h 3033282"/>
                  <a:gd name="connsiteX98" fmla="*/ 2884074 w 3907177"/>
                  <a:gd name="connsiteY98" fmla="*/ 435929 h 3033282"/>
                  <a:gd name="connsiteX99" fmla="*/ 2987291 w 3907177"/>
                  <a:gd name="connsiteY99" fmla="*/ 631716 h 3033282"/>
                  <a:gd name="connsiteX100" fmla="*/ 3130531 w 3907177"/>
                  <a:gd name="connsiteY100" fmla="*/ 1008552 h 3033282"/>
                  <a:gd name="connsiteX101" fmla="*/ 3063124 w 3907177"/>
                  <a:gd name="connsiteY101" fmla="*/ 682241 h 3033282"/>
                  <a:gd name="connsiteX102" fmla="*/ 2970440 w 3907177"/>
                  <a:gd name="connsiteY102" fmla="*/ 520138 h 3033282"/>
                  <a:gd name="connsiteX103" fmla="*/ 2884074 w 3907177"/>
                  <a:gd name="connsiteY103" fmla="*/ 435929 h 3033282"/>
                  <a:gd name="connsiteX104" fmla="*/ 990408 w 3907177"/>
                  <a:gd name="connsiteY104" fmla="*/ 698 h 3033282"/>
                  <a:gd name="connsiteX105" fmla="*/ 1039550 w 3907177"/>
                  <a:gd name="connsiteY105" fmla="*/ 863 h 3033282"/>
                  <a:gd name="connsiteX106" fmla="*/ 1348803 w 3907177"/>
                  <a:gd name="connsiteY106" fmla="*/ 72387 h 3033282"/>
                  <a:gd name="connsiteX107" fmla="*/ 1737998 w 3907177"/>
                  <a:gd name="connsiteY107" fmla="*/ 232264 h 3033282"/>
                  <a:gd name="connsiteX108" fmla="*/ 2005176 w 3907177"/>
                  <a:gd name="connsiteY108" fmla="*/ 371104 h 3033282"/>
                  <a:gd name="connsiteX109" fmla="*/ 2203455 w 3907177"/>
                  <a:gd name="connsiteY109" fmla="*/ 477601 h 3033282"/>
                  <a:gd name="connsiteX110" fmla="*/ 2296994 w 3907177"/>
                  <a:gd name="connsiteY110" fmla="*/ 530121 h 3033282"/>
                  <a:gd name="connsiteX111" fmla="*/ 2323986 w 3907177"/>
                  <a:gd name="connsiteY111" fmla="*/ 546882 h 3033282"/>
                  <a:gd name="connsiteX112" fmla="*/ 2357160 w 3907177"/>
                  <a:gd name="connsiteY112" fmla="*/ 567482 h 3033282"/>
                  <a:gd name="connsiteX113" fmla="*/ 2404890 w 3907177"/>
                  <a:gd name="connsiteY113" fmla="*/ 598298 h 3033282"/>
                  <a:gd name="connsiteX114" fmla="*/ 2415440 w 3907177"/>
                  <a:gd name="connsiteY114" fmla="*/ 605928 h 3033282"/>
                  <a:gd name="connsiteX115" fmla="*/ 2362991 w 3907177"/>
                  <a:gd name="connsiteY115" fmla="*/ 493093 h 3033282"/>
                  <a:gd name="connsiteX116" fmla="*/ 2329266 w 3907177"/>
                  <a:gd name="connsiteY116" fmla="*/ 483333 h 3033282"/>
                  <a:gd name="connsiteX117" fmla="*/ 2307060 w 3907177"/>
                  <a:gd name="connsiteY117" fmla="*/ 476906 h 3033282"/>
                  <a:gd name="connsiteX118" fmla="*/ 2313198 w 3907177"/>
                  <a:gd name="connsiteY118" fmla="*/ 470584 h 3033282"/>
                  <a:gd name="connsiteX119" fmla="*/ 2460566 w 3907177"/>
                  <a:gd name="connsiteY119" fmla="*/ 333037 h 3033282"/>
                  <a:gd name="connsiteX120" fmla="*/ 2482676 w 3907177"/>
                  <a:gd name="connsiteY120" fmla="*/ 317005 h 3033282"/>
                  <a:gd name="connsiteX121" fmla="*/ 2522361 w 3907177"/>
                  <a:gd name="connsiteY121" fmla="*/ 296868 h 3033282"/>
                  <a:gd name="connsiteX122" fmla="*/ 2554579 w 3907177"/>
                  <a:gd name="connsiteY122" fmla="*/ 283748 h 3033282"/>
                  <a:gd name="connsiteX123" fmla="*/ 2694384 w 3907177"/>
                  <a:gd name="connsiteY123" fmla="*/ 254812 h 3033282"/>
                  <a:gd name="connsiteX124" fmla="*/ 2798186 w 3907177"/>
                  <a:gd name="connsiteY124" fmla="*/ 277829 h 3033282"/>
                  <a:gd name="connsiteX125" fmla="*/ 2857052 w 3907177"/>
                  <a:gd name="connsiteY125" fmla="*/ 260994 h 3033282"/>
                  <a:gd name="connsiteX126" fmla="*/ 2861191 w 3907177"/>
                  <a:gd name="connsiteY126" fmla="*/ 261705 h 3033282"/>
                  <a:gd name="connsiteX127" fmla="*/ 2866568 w 3907177"/>
                  <a:gd name="connsiteY127" fmla="*/ 262766 h 3033282"/>
                  <a:gd name="connsiteX128" fmla="*/ 2867847 w 3907177"/>
                  <a:gd name="connsiteY128" fmla="*/ 263215 h 3033282"/>
                  <a:gd name="connsiteX129" fmla="*/ 2874182 w 3907177"/>
                  <a:gd name="connsiteY129" fmla="*/ 265939 h 3033282"/>
                  <a:gd name="connsiteX130" fmla="*/ 2878772 w 3907177"/>
                  <a:gd name="connsiteY130" fmla="*/ 265783 h 3033282"/>
                  <a:gd name="connsiteX131" fmla="*/ 2879970 w 3907177"/>
                  <a:gd name="connsiteY131" fmla="*/ 265863 h 3033282"/>
                  <a:gd name="connsiteX132" fmla="*/ 2909084 w 3907177"/>
                  <a:gd name="connsiteY132" fmla="*/ 273357 h 3033282"/>
                  <a:gd name="connsiteX133" fmla="*/ 2989498 w 3907177"/>
                  <a:gd name="connsiteY133" fmla="*/ 315709 h 3033282"/>
                  <a:gd name="connsiteX134" fmla="*/ 3365815 w 3907177"/>
                  <a:gd name="connsiteY134" fmla="*/ 925987 h 3033282"/>
                  <a:gd name="connsiteX135" fmla="*/ 3233368 w 3907177"/>
                  <a:gd name="connsiteY135" fmla="*/ 1376331 h 3033282"/>
                  <a:gd name="connsiteX136" fmla="*/ 3239761 w 3907177"/>
                  <a:gd name="connsiteY136" fmla="*/ 1410216 h 3033282"/>
                  <a:gd name="connsiteX137" fmla="*/ 3243622 w 3907177"/>
                  <a:gd name="connsiteY137" fmla="*/ 1426604 h 3033282"/>
                  <a:gd name="connsiteX138" fmla="*/ 3302854 w 3907177"/>
                  <a:gd name="connsiteY138" fmla="*/ 1472111 h 3033282"/>
                  <a:gd name="connsiteX139" fmla="*/ 3442037 w 3907177"/>
                  <a:gd name="connsiteY139" fmla="*/ 1705090 h 3033282"/>
                  <a:gd name="connsiteX140" fmla="*/ 3433973 w 3907177"/>
                  <a:gd name="connsiteY140" fmla="*/ 1732860 h 3033282"/>
                  <a:gd name="connsiteX141" fmla="*/ 3404867 w 3907177"/>
                  <a:gd name="connsiteY141" fmla="*/ 1673697 h 3033282"/>
                  <a:gd name="connsiteX142" fmla="*/ 3388345 w 3907177"/>
                  <a:gd name="connsiteY142" fmla="*/ 1639131 h 3033282"/>
                  <a:gd name="connsiteX143" fmla="*/ 3377441 w 3907177"/>
                  <a:gd name="connsiteY143" fmla="*/ 1616053 h 3033282"/>
                  <a:gd name="connsiteX144" fmla="*/ 3359581 w 3907177"/>
                  <a:gd name="connsiteY144" fmla="*/ 1565598 h 3033282"/>
                  <a:gd name="connsiteX145" fmla="*/ 3361687 w 3907177"/>
                  <a:gd name="connsiteY145" fmla="*/ 1582431 h 3033282"/>
                  <a:gd name="connsiteX146" fmla="*/ 3374588 w 3907177"/>
                  <a:gd name="connsiteY146" fmla="*/ 1610015 h 3033282"/>
                  <a:gd name="connsiteX147" fmla="*/ 3377441 w 3907177"/>
                  <a:gd name="connsiteY147" fmla="*/ 1616053 h 3033282"/>
                  <a:gd name="connsiteX148" fmla="*/ 3442901 w 3907177"/>
                  <a:gd name="connsiteY148" fmla="*/ 1800978 h 3033282"/>
                  <a:gd name="connsiteX149" fmla="*/ 3440408 w 3907177"/>
                  <a:gd name="connsiteY149" fmla="*/ 1796829 h 3033282"/>
                  <a:gd name="connsiteX150" fmla="*/ 3433154 w 3907177"/>
                  <a:gd name="connsiteY150" fmla="*/ 1784752 h 3033282"/>
                  <a:gd name="connsiteX151" fmla="*/ 3397602 w 3907177"/>
                  <a:gd name="connsiteY151" fmla="*/ 1761774 h 3033282"/>
                  <a:gd name="connsiteX152" fmla="*/ 3349501 w 3907177"/>
                  <a:gd name="connsiteY152" fmla="*/ 1755507 h 3033282"/>
                  <a:gd name="connsiteX153" fmla="*/ 3395510 w 3907177"/>
                  <a:gd name="connsiteY153" fmla="*/ 1772218 h 3033282"/>
                  <a:gd name="connsiteX154" fmla="*/ 3439918 w 3907177"/>
                  <a:gd name="connsiteY154" fmla="*/ 1800713 h 3033282"/>
                  <a:gd name="connsiteX155" fmla="*/ 3444055 w 3907177"/>
                  <a:gd name="connsiteY155" fmla="*/ 1804238 h 3033282"/>
                  <a:gd name="connsiteX156" fmla="*/ 3555468 w 3907177"/>
                  <a:gd name="connsiteY156" fmla="*/ 2118980 h 3033282"/>
                  <a:gd name="connsiteX157" fmla="*/ 3553362 w 3907177"/>
                  <a:gd name="connsiteY157" fmla="*/ 2091890 h 3033282"/>
                  <a:gd name="connsiteX158" fmla="*/ 3553487 w 3907177"/>
                  <a:gd name="connsiteY158" fmla="*/ 2080908 h 3033282"/>
                  <a:gd name="connsiteX159" fmla="*/ 3554536 w 3907177"/>
                  <a:gd name="connsiteY159" fmla="*/ 2083695 h 3033282"/>
                  <a:gd name="connsiteX160" fmla="*/ 3570142 w 3907177"/>
                  <a:gd name="connsiteY160" fmla="*/ 2125146 h 3033282"/>
                  <a:gd name="connsiteX161" fmla="*/ 3570375 w 3907177"/>
                  <a:gd name="connsiteY161" fmla="*/ 2125765 h 3033282"/>
                  <a:gd name="connsiteX162" fmla="*/ 3570326 w 3907177"/>
                  <a:gd name="connsiteY162" fmla="*/ 2125774 h 3033282"/>
                  <a:gd name="connsiteX163" fmla="*/ 3524755 w 3907177"/>
                  <a:gd name="connsiteY163" fmla="*/ 2128437 h 3033282"/>
                  <a:gd name="connsiteX164" fmla="*/ 3520991 w 3907177"/>
                  <a:gd name="connsiteY164" fmla="*/ 2130652 h 3033282"/>
                  <a:gd name="connsiteX165" fmla="*/ 3519898 w 3907177"/>
                  <a:gd name="connsiteY165" fmla="*/ 2125754 h 3033282"/>
                  <a:gd name="connsiteX166" fmla="*/ 3513061 w 3907177"/>
                  <a:gd name="connsiteY166" fmla="*/ 2102599 h 3033282"/>
                  <a:gd name="connsiteX167" fmla="*/ 3485716 w 3907177"/>
                  <a:gd name="connsiteY167" fmla="*/ 2058392 h 3033282"/>
                  <a:gd name="connsiteX168" fmla="*/ 3422611 w 3907177"/>
                  <a:gd name="connsiteY168" fmla="*/ 2039446 h 3033282"/>
                  <a:gd name="connsiteX169" fmla="*/ 3384747 w 3907177"/>
                  <a:gd name="connsiteY169" fmla="*/ 2043657 h 3033282"/>
                  <a:gd name="connsiteX170" fmla="*/ 3334263 w 3907177"/>
                  <a:gd name="connsiteY170" fmla="*/ 2031026 h 3033282"/>
                  <a:gd name="connsiteX171" fmla="*/ 3378437 w 3907177"/>
                  <a:gd name="connsiteY171" fmla="*/ 2058392 h 3033282"/>
                  <a:gd name="connsiteX172" fmla="*/ 3357402 w 3907177"/>
                  <a:gd name="connsiteY172" fmla="*/ 2092073 h 3033282"/>
                  <a:gd name="connsiteX173" fmla="*/ 3351091 w 3907177"/>
                  <a:gd name="connsiteY173" fmla="*/ 2140490 h 3033282"/>
                  <a:gd name="connsiteX174" fmla="*/ 3317435 w 3907177"/>
                  <a:gd name="connsiteY174" fmla="*/ 2140490 h 3033282"/>
                  <a:gd name="connsiteX175" fmla="*/ 3359505 w 3907177"/>
                  <a:gd name="connsiteY175" fmla="*/ 2155225 h 3033282"/>
                  <a:gd name="connsiteX176" fmla="*/ 3416300 w 3907177"/>
                  <a:gd name="connsiteY176" fmla="*/ 2180486 h 3033282"/>
                  <a:gd name="connsiteX177" fmla="*/ 3468953 w 3907177"/>
                  <a:gd name="connsiteY177" fmla="*/ 2204760 h 3033282"/>
                  <a:gd name="connsiteX178" fmla="*/ 3471183 w 3907177"/>
                  <a:gd name="connsiteY178" fmla="*/ 2205864 h 3033282"/>
                  <a:gd name="connsiteX179" fmla="*/ 3465112 w 3907177"/>
                  <a:gd name="connsiteY179" fmla="*/ 2222558 h 3033282"/>
                  <a:gd name="connsiteX180" fmla="*/ 3404088 w 3907177"/>
                  <a:gd name="connsiteY180" fmla="*/ 2397188 h 3033282"/>
                  <a:gd name="connsiteX181" fmla="*/ 3303083 w 3907177"/>
                  <a:gd name="connsiteY181" fmla="*/ 2544467 h 3033282"/>
                  <a:gd name="connsiteX182" fmla="*/ 3395671 w 3907177"/>
                  <a:gd name="connsiteY182" fmla="*/ 2456100 h 3033282"/>
                  <a:gd name="connsiteX183" fmla="*/ 3450382 w 3907177"/>
                  <a:gd name="connsiteY183" fmla="*/ 2386668 h 3033282"/>
                  <a:gd name="connsiteX184" fmla="*/ 3526136 w 3907177"/>
                  <a:gd name="connsiteY184" fmla="*/ 2184686 h 3033282"/>
                  <a:gd name="connsiteX185" fmla="*/ 3618725 w 3907177"/>
                  <a:gd name="connsiteY185" fmla="*/ 2163646 h 3033282"/>
                  <a:gd name="connsiteX186" fmla="*/ 3751294 w 3907177"/>
                  <a:gd name="connsiteY186" fmla="*/ 2136294 h 3033282"/>
                  <a:gd name="connsiteX187" fmla="*/ 3799430 w 3907177"/>
                  <a:gd name="connsiteY187" fmla="*/ 2104735 h 3033282"/>
                  <a:gd name="connsiteX188" fmla="*/ 3810437 w 3907177"/>
                  <a:gd name="connsiteY188" fmla="*/ 2099831 h 3033282"/>
                  <a:gd name="connsiteX189" fmla="*/ 3824461 w 3907177"/>
                  <a:gd name="connsiteY189" fmla="*/ 2097367 h 3033282"/>
                  <a:gd name="connsiteX190" fmla="*/ 3829342 w 3907177"/>
                  <a:gd name="connsiteY190" fmla="*/ 2096510 h 3033282"/>
                  <a:gd name="connsiteX191" fmla="*/ 3845987 w 3907177"/>
                  <a:gd name="connsiteY191" fmla="*/ 2098423 h 3033282"/>
                  <a:gd name="connsiteX192" fmla="*/ 3904907 w 3907177"/>
                  <a:gd name="connsiteY192" fmla="*/ 2180478 h 3033282"/>
                  <a:gd name="connsiteX193" fmla="*/ 3885968 w 3907177"/>
                  <a:gd name="connsiteY193" fmla="*/ 2315133 h 3033282"/>
                  <a:gd name="connsiteX194" fmla="*/ 3884225 w 3907177"/>
                  <a:gd name="connsiteY194" fmla="*/ 2328571 h 3033282"/>
                  <a:gd name="connsiteX195" fmla="*/ 3881324 w 3907177"/>
                  <a:gd name="connsiteY195" fmla="*/ 2344937 h 3033282"/>
                  <a:gd name="connsiteX196" fmla="*/ 3878738 w 3907177"/>
                  <a:gd name="connsiteY196" fmla="*/ 2354578 h 3033282"/>
                  <a:gd name="connsiteX197" fmla="*/ 3857107 w 3907177"/>
                  <a:gd name="connsiteY197" fmla="*/ 2435219 h 3033282"/>
                  <a:gd name="connsiteX198" fmla="*/ 3839183 w 3907177"/>
                  <a:gd name="connsiteY198" fmla="*/ 2502042 h 3033282"/>
                  <a:gd name="connsiteX199" fmla="*/ 3806236 w 3907177"/>
                  <a:gd name="connsiteY199" fmla="*/ 2584501 h 3033282"/>
                  <a:gd name="connsiteX200" fmla="*/ 3612412 w 3907177"/>
                  <a:gd name="connsiteY200" fmla="*/ 2876897 h 3033282"/>
                  <a:gd name="connsiteX201" fmla="*/ 3004275 w 3907177"/>
                  <a:gd name="connsiteY201" fmla="*/ 2912665 h 3033282"/>
                  <a:gd name="connsiteX202" fmla="*/ 2812785 w 3907177"/>
                  <a:gd name="connsiteY202" fmla="*/ 2759074 h 3033282"/>
                  <a:gd name="connsiteX203" fmla="*/ 2726510 w 3907177"/>
                  <a:gd name="connsiteY203" fmla="*/ 2651771 h 3033282"/>
                  <a:gd name="connsiteX204" fmla="*/ 2722301 w 3907177"/>
                  <a:gd name="connsiteY204" fmla="*/ 2655979 h 3033282"/>
                  <a:gd name="connsiteX205" fmla="*/ 2686529 w 3907177"/>
                  <a:gd name="connsiteY205" fmla="*/ 2750658 h 3033282"/>
                  <a:gd name="connsiteX206" fmla="*/ 2646547 w 3907177"/>
                  <a:gd name="connsiteY206" fmla="*/ 2799050 h 3033282"/>
                  <a:gd name="connsiteX207" fmla="*/ 2593940 w 3907177"/>
                  <a:gd name="connsiteY207" fmla="*/ 2887417 h 3033282"/>
                  <a:gd name="connsiteX208" fmla="*/ 2606566 w 3907177"/>
                  <a:gd name="connsiteY208" fmla="*/ 2963160 h 3033282"/>
                  <a:gd name="connsiteX209" fmla="*/ 2724406 w 3907177"/>
                  <a:gd name="connsiteY209" fmla="*/ 3001032 h 3033282"/>
                  <a:gd name="connsiteX210" fmla="*/ 2614983 w 3907177"/>
                  <a:gd name="connsiteY210" fmla="*/ 2916873 h 3033282"/>
                  <a:gd name="connsiteX211" fmla="*/ 2636026 w 3907177"/>
                  <a:gd name="connsiteY211" fmla="*/ 2931601 h 3033282"/>
                  <a:gd name="connsiteX212" fmla="*/ 2741240 w 3907177"/>
                  <a:gd name="connsiteY212" fmla="*/ 2975784 h 3033282"/>
                  <a:gd name="connsiteX213" fmla="*/ 2823307 w 3907177"/>
                  <a:gd name="connsiteY213" fmla="*/ 2935809 h 3033282"/>
                  <a:gd name="connsiteX214" fmla="*/ 2869601 w 3907177"/>
                  <a:gd name="connsiteY214" fmla="*/ 2874793 h 3033282"/>
                  <a:gd name="connsiteX215" fmla="*/ 2909582 w 3907177"/>
                  <a:gd name="connsiteY215" fmla="*/ 2914769 h 3033282"/>
                  <a:gd name="connsiteX216" fmla="*/ 2804368 w 3907177"/>
                  <a:gd name="connsiteY216" fmla="*/ 3009448 h 3033282"/>
                  <a:gd name="connsiteX217" fmla="*/ 2631817 w 3907177"/>
                  <a:gd name="connsiteY217" fmla="*/ 3019968 h 3033282"/>
                  <a:gd name="connsiteX218" fmla="*/ 2592812 w 3907177"/>
                  <a:gd name="connsiteY218" fmla="*/ 2997729 h 3033282"/>
                  <a:gd name="connsiteX219" fmla="*/ 2571463 w 3907177"/>
                  <a:gd name="connsiteY219" fmla="*/ 2978979 h 3033282"/>
                  <a:gd name="connsiteX220" fmla="*/ 2569646 w 3907177"/>
                  <a:gd name="connsiteY220" fmla="*/ 2977384 h 3033282"/>
                  <a:gd name="connsiteX221" fmla="*/ 2550477 w 3907177"/>
                  <a:gd name="connsiteY221" fmla="*/ 2953365 h 3033282"/>
                  <a:gd name="connsiteX222" fmla="*/ 2543509 w 3907177"/>
                  <a:gd name="connsiteY222" fmla="*/ 2942341 h 3033282"/>
                  <a:gd name="connsiteX223" fmla="*/ 2527951 w 3907177"/>
                  <a:gd name="connsiteY223" fmla="*/ 2910199 h 3033282"/>
                  <a:gd name="connsiteX224" fmla="*/ 2522395 w 3907177"/>
                  <a:gd name="connsiteY224" fmla="*/ 2893729 h 3033282"/>
                  <a:gd name="connsiteX225" fmla="*/ 2457162 w 3907177"/>
                  <a:gd name="connsiteY225" fmla="*/ 2748554 h 3033282"/>
                  <a:gd name="connsiteX226" fmla="*/ 2362469 w 3907177"/>
                  <a:gd name="connsiteY226" fmla="*/ 2651771 h 3033282"/>
                  <a:gd name="connsiteX227" fmla="*/ 2340024 w 3907177"/>
                  <a:gd name="connsiteY227" fmla="*/ 2621933 h 3033282"/>
                  <a:gd name="connsiteX228" fmla="*/ 2338457 w 3907177"/>
                  <a:gd name="connsiteY228" fmla="*/ 2619477 h 3033282"/>
                  <a:gd name="connsiteX229" fmla="*/ 2304048 w 3907177"/>
                  <a:gd name="connsiteY229" fmla="*/ 2565541 h 3033282"/>
                  <a:gd name="connsiteX230" fmla="*/ 2335655 w 3907177"/>
                  <a:gd name="connsiteY230" fmla="*/ 2318674 h 3033282"/>
                  <a:gd name="connsiteX231" fmla="*/ 2366996 w 3907177"/>
                  <a:gd name="connsiteY231" fmla="*/ 2274192 h 3033282"/>
                  <a:gd name="connsiteX232" fmla="*/ 2347572 w 3907177"/>
                  <a:gd name="connsiteY232" fmla="*/ 2275513 h 3033282"/>
                  <a:gd name="connsiteX233" fmla="*/ 2320522 w 3907177"/>
                  <a:gd name="connsiteY233" fmla="*/ 2269084 h 3033282"/>
                  <a:gd name="connsiteX234" fmla="*/ 2038565 w 3907177"/>
                  <a:gd name="connsiteY234" fmla="*/ 2062847 h 3033282"/>
                  <a:gd name="connsiteX235" fmla="*/ 2043892 w 3907177"/>
                  <a:gd name="connsiteY235" fmla="*/ 1618938 h 3033282"/>
                  <a:gd name="connsiteX236" fmla="*/ 2058099 w 3907177"/>
                  <a:gd name="connsiteY236" fmla="*/ 1557525 h 3033282"/>
                  <a:gd name="connsiteX237" fmla="*/ 2055755 w 3907177"/>
                  <a:gd name="connsiteY237" fmla="*/ 1558228 h 3033282"/>
                  <a:gd name="connsiteX238" fmla="*/ 2050316 w 3907177"/>
                  <a:gd name="connsiteY238" fmla="*/ 1559430 h 3033282"/>
                  <a:gd name="connsiteX239" fmla="*/ 1525518 w 3907177"/>
                  <a:gd name="connsiteY239" fmla="*/ 1690090 h 3033282"/>
                  <a:gd name="connsiteX240" fmla="*/ 946985 w 3907177"/>
                  <a:gd name="connsiteY240" fmla="*/ 1875211 h 3033282"/>
                  <a:gd name="connsiteX241" fmla="*/ 559893 w 3907177"/>
                  <a:gd name="connsiteY241" fmla="*/ 1858382 h 3033282"/>
                  <a:gd name="connsiteX242" fmla="*/ 412630 w 3907177"/>
                  <a:gd name="connsiteY242" fmla="*/ 1498659 h 3033282"/>
                  <a:gd name="connsiteX243" fmla="*/ 46576 w 3907177"/>
                  <a:gd name="connsiteY243" fmla="*/ 1063204 h 3033282"/>
                  <a:gd name="connsiteX244" fmla="*/ 36057 w 3907177"/>
                  <a:gd name="connsiteY244" fmla="*/ 665615 h 3033282"/>
                  <a:gd name="connsiteX245" fmla="*/ 191735 w 3907177"/>
                  <a:gd name="connsiteY245" fmla="*/ 459457 h 3033282"/>
                  <a:gd name="connsiteX246" fmla="*/ 374762 w 3907177"/>
                  <a:gd name="connsiteY246" fmla="*/ 465768 h 3033282"/>
                  <a:gd name="connsiteX247" fmla="*/ 677704 w 3907177"/>
                  <a:gd name="connsiteY247" fmla="*/ 528878 h 3033282"/>
                  <a:gd name="connsiteX248" fmla="*/ 1090040 w 3907177"/>
                  <a:gd name="connsiteY248" fmla="*/ 713999 h 3033282"/>
                  <a:gd name="connsiteX249" fmla="*/ 736609 w 3907177"/>
                  <a:gd name="connsiteY249" fmla="*/ 514152 h 3033282"/>
                  <a:gd name="connsiteX250" fmla="*/ 503092 w 3907177"/>
                  <a:gd name="connsiteY250" fmla="*/ 423695 h 3033282"/>
                  <a:gd name="connsiteX251" fmla="*/ 700845 w 3907177"/>
                  <a:gd name="connsiteY251" fmla="*/ 246989 h 3033282"/>
                  <a:gd name="connsiteX252" fmla="*/ 867042 w 3907177"/>
                  <a:gd name="connsiteY252" fmla="*/ 47143 h 3033282"/>
                  <a:gd name="connsiteX253" fmla="*/ 990408 w 3907177"/>
                  <a:gd name="connsiteY253" fmla="*/ 698 h 3033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Lst>
                <a:rect l="l" t="t" r="r" b="b"/>
                <a:pathLst>
                  <a:path w="3907177" h="3033282">
                    <a:moveTo>
                      <a:pt x="3283994" y="2199606"/>
                    </a:moveTo>
                    <a:cubicBezTo>
                      <a:pt x="3260886" y="2199606"/>
                      <a:pt x="3239879" y="2208029"/>
                      <a:pt x="3216771" y="2237508"/>
                    </a:cubicBezTo>
                    <a:cubicBezTo>
                      <a:pt x="3206268" y="2252247"/>
                      <a:pt x="3191038" y="2271198"/>
                      <a:pt x="3176070" y="2287254"/>
                    </a:cubicBezTo>
                    <a:lnTo>
                      <a:pt x="3157902" y="2304911"/>
                    </a:lnTo>
                    <a:lnTo>
                      <a:pt x="3148728" y="2311436"/>
                    </a:lnTo>
                    <a:cubicBezTo>
                      <a:pt x="3141540" y="2316470"/>
                      <a:pt x="3136944" y="2319628"/>
                      <a:pt x="3136944" y="2319628"/>
                    </a:cubicBezTo>
                    <a:cubicBezTo>
                      <a:pt x="3141671" y="2318049"/>
                      <a:pt x="3147710" y="2313969"/>
                      <a:pt x="3154439" y="2308277"/>
                    </a:cubicBezTo>
                    <a:lnTo>
                      <a:pt x="3157902" y="2304911"/>
                    </a:lnTo>
                    <a:lnTo>
                      <a:pt x="3176070" y="2291992"/>
                    </a:lnTo>
                    <a:cubicBezTo>
                      <a:pt x="3196815" y="2276989"/>
                      <a:pt x="3219922" y="2259617"/>
                      <a:pt x="3229375" y="2250142"/>
                    </a:cubicBezTo>
                    <a:cubicBezTo>
                      <a:pt x="3248282" y="2231191"/>
                      <a:pt x="3283994" y="2231191"/>
                      <a:pt x="3317605" y="2231191"/>
                    </a:cubicBezTo>
                    <a:cubicBezTo>
                      <a:pt x="3341238" y="2231191"/>
                      <a:pt x="3367234" y="2240666"/>
                      <a:pt x="3378755" y="2245404"/>
                    </a:cubicBezTo>
                    <a:lnTo>
                      <a:pt x="3382808" y="2247161"/>
                    </a:lnTo>
                    <a:lnTo>
                      <a:pt x="3351550" y="2248260"/>
                    </a:lnTo>
                    <a:cubicBezTo>
                      <a:pt x="3337425" y="2251320"/>
                      <a:pt x="3324650" y="2257505"/>
                      <a:pt x="3315694" y="2268558"/>
                    </a:cubicBezTo>
                    <a:cubicBezTo>
                      <a:pt x="3281978" y="2310668"/>
                      <a:pt x="3267228" y="2335934"/>
                      <a:pt x="3248262" y="2369622"/>
                    </a:cubicBezTo>
                    <a:cubicBezTo>
                      <a:pt x="3229297" y="2403310"/>
                      <a:pt x="3195581" y="2443314"/>
                      <a:pt x="3195581" y="2443314"/>
                    </a:cubicBezTo>
                    <a:cubicBezTo>
                      <a:pt x="3195581" y="2443314"/>
                      <a:pt x="3273549" y="2363305"/>
                      <a:pt x="3288300" y="2346462"/>
                    </a:cubicBezTo>
                    <a:cubicBezTo>
                      <a:pt x="3303051" y="2327512"/>
                      <a:pt x="3309372" y="2312774"/>
                      <a:pt x="3334660" y="2295930"/>
                    </a:cubicBezTo>
                    <a:cubicBezTo>
                      <a:pt x="3357839" y="2279086"/>
                      <a:pt x="3381019" y="2279086"/>
                      <a:pt x="3404199" y="2281191"/>
                    </a:cubicBezTo>
                    <a:cubicBezTo>
                      <a:pt x="3427378" y="2283297"/>
                      <a:pt x="3442129" y="2291719"/>
                      <a:pt x="3442129" y="2291719"/>
                    </a:cubicBezTo>
                    <a:lnTo>
                      <a:pt x="3448451" y="2258031"/>
                    </a:lnTo>
                    <a:cubicBezTo>
                      <a:pt x="3448451" y="2258031"/>
                      <a:pt x="3442393" y="2255926"/>
                      <a:pt x="3432746" y="2253458"/>
                    </a:cubicBezTo>
                    <a:lnTo>
                      <a:pt x="3399309" y="2247403"/>
                    </a:lnTo>
                    <a:lnTo>
                      <a:pt x="3406885" y="2246720"/>
                    </a:lnTo>
                    <a:cubicBezTo>
                      <a:pt x="3417388" y="2244878"/>
                      <a:pt x="3426842" y="2240666"/>
                      <a:pt x="3422640" y="2231191"/>
                    </a:cubicBezTo>
                    <a:cubicBezTo>
                      <a:pt x="3412137" y="2214346"/>
                      <a:pt x="3391130" y="2216451"/>
                      <a:pt x="3370122" y="2208029"/>
                    </a:cubicBezTo>
                    <a:cubicBezTo>
                      <a:pt x="3349115" y="2201712"/>
                      <a:pt x="3309202" y="2199606"/>
                      <a:pt x="3283994" y="2199606"/>
                    </a:cubicBezTo>
                    <a:close/>
                    <a:moveTo>
                      <a:pt x="3868985" y="2136388"/>
                    </a:moveTo>
                    <a:cubicBezTo>
                      <a:pt x="3868985" y="2136388"/>
                      <a:pt x="3778558" y="2193138"/>
                      <a:pt x="3734396" y="2199444"/>
                    </a:cubicBezTo>
                    <a:cubicBezTo>
                      <a:pt x="3690235" y="2205750"/>
                      <a:pt x="3646073" y="2235176"/>
                      <a:pt x="3559852" y="2182629"/>
                    </a:cubicBezTo>
                    <a:cubicBezTo>
                      <a:pt x="3555646" y="2180527"/>
                      <a:pt x="3604014" y="2239379"/>
                      <a:pt x="3641867" y="2241481"/>
                    </a:cubicBezTo>
                    <a:cubicBezTo>
                      <a:pt x="3681823" y="2243583"/>
                      <a:pt x="3702852" y="2239379"/>
                      <a:pt x="3702852" y="2239379"/>
                    </a:cubicBezTo>
                    <a:cubicBezTo>
                      <a:pt x="3784867" y="2228870"/>
                      <a:pt x="3820617" y="2188935"/>
                      <a:pt x="3831132" y="2178425"/>
                    </a:cubicBezTo>
                    <a:cubicBezTo>
                      <a:pt x="3843750" y="2170018"/>
                      <a:pt x="3868985" y="2136388"/>
                      <a:pt x="3868985" y="2136388"/>
                    </a:cubicBezTo>
                    <a:close/>
                    <a:moveTo>
                      <a:pt x="3385344" y="2089937"/>
                    </a:moveTo>
                    <a:cubicBezTo>
                      <a:pt x="3391674" y="2089411"/>
                      <a:pt x="3398532" y="2089937"/>
                      <a:pt x="3403807" y="2092045"/>
                    </a:cubicBezTo>
                    <a:cubicBezTo>
                      <a:pt x="3412247" y="2096259"/>
                      <a:pt x="3418577" y="2104688"/>
                      <a:pt x="3420687" y="2119439"/>
                    </a:cubicBezTo>
                    <a:cubicBezTo>
                      <a:pt x="3422797" y="2132083"/>
                      <a:pt x="3410137" y="2151048"/>
                      <a:pt x="3410137" y="2151048"/>
                    </a:cubicBezTo>
                    <a:cubicBezTo>
                      <a:pt x="3410137" y="2151048"/>
                      <a:pt x="3389037" y="2144726"/>
                      <a:pt x="3380596" y="2144726"/>
                    </a:cubicBezTo>
                    <a:cubicBezTo>
                      <a:pt x="3374266" y="2142619"/>
                      <a:pt x="3353166" y="2146834"/>
                      <a:pt x="3353166" y="2146834"/>
                    </a:cubicBezTo>
                    <a:lnTo>
                      <a:pt x="3353166" y="2113117"/>
                    </a:lnTo>
                    <a:cubicBezTo>
                      <a:pt x="3353166" y="2113117"/>
                      <a:pt x="3365826" y="2096259"/>
                      <a:pt x="3370046" y="2094152"/>
                    </a:cubicBezTo>
                    <a:cubicBezTo>
                      <a:pt x="3373211" y="2092045"/>
                      <a:pt x="3379014" y="2090464"/>
                      <a:pt x="3385344" y="2089937"/>
                    </a:cubicBezTo>
                    <a:close/>
                    <a:moveTo>
                      <a:pt x="2921466" y="1940074"/>
                    </a:moveTo>
                    <a:cubicBezTo>
                      <a:pt x="2903875" y="1940863"/>
                      <a:pt x="2886546" y="1942966"/>
                      <a:pt x="2876044" y="1945069"/>
                    </a:cubicBezTo>
                    <a:cubicBezTo>
                      <a:pt x="2857140" y="1951377"/>
                      <a:pt x="2819332" y="1968200"/>
                      <a:pt x="2796228" y="1980818"/>
                    </a:cubicBezTo>
                    <a:cubicBezTo>
                      <a:pt x="2773123" y="1995538"/>
                      <a:pt x="2716411" y="2018670"/>
                      <a:pt x="2716411" y="2018670"/>
                    </a:cubicBezTo>
                    <a:cubicBezTo>
                      <a:pt x="2716411" y="2018670"/>
                      <a:pt x="2756319" y="2016567"/>
                      <a:pt x="2773123" y="2014464"/>
                    </a:cubicBezTo>
                    <a:cubicBezTo>
                      <a:pt x="2789926" y="2014464"/>
                      <a:pt x="2813031" y="2008155"/>
                      <a:pt x="2813031" y="2008155"/>
                    </a:cubicBezTo>
                    <a:cubicBezTo>
                      <a:pt x="2813031" y="2008155"/>
                      <a:pt x="2802529" y="2046007"/>
                      <a:pt x="2810931" y="2075448"/>
                    </a:cubicBezTo>
                    <a:cubicBezTo>
                      <a:pt x="2817232" y="2102785"/>
                      <a:pt x="2825634" y="2117505"/>
                      <a:pt x="2825634" y="2117505"/>
                    </a:cubicBezTo>
                    <a:cubicBezTo>
                      <a:pt x="2825634" y="2117505"/>
                      <a:pt x="2825634" y="2119608"/>
                      <a:pt x="2817232" y="2123814"/>
                    </a:cubicBezTo>
                    <a:cubicBezTo>
                      <a:pt x="2810931" y="2125917"/>
                      <a:pt x="2773123" y="2157460"/>
                      <a:pt x="2773123" y="2157460"/>
                    </a:cubicBezTo>
                    <a:cubicBezTo>
                      <a:pt x="2773123" y="2157460"/>
                      <a:pt x="2831935" y="2132226"/>
                      <a:pt x="2848738" y="2125917"/>
                    </a:cubicBezTo>
                    <a:cubicBezTo>
                      <a:pt x="2865542" y="2121711"/>
                      <a:pt x="2901249" y="2113300"/>
                      <a:pt x="2941157" y="2104888"/>
                    </a:cubicBezTo>
                    <a:cubicBezTo>
                      <a:pt x="2981066" y="2096476"/>
                      <a:pt x="3111292" y="2106991"/>
                      <a:pt x="3111292" y="2106991"/>
                    </a:cubicBezTo>
                    <a:cubicBezTo>
                      <a:pt x="3111292" y="2106991"/>
                      <a:pt x="3073484" y="2092271"/>
                      <a:pt x="3056681" y="2085962"/>
                    </a:cubicBezTo>
                    <a:cubicBezTo>
                      <a:pt x="3039878" y="2081756"/>
                      <a:pt x="3016773" y="2081756"/>
                      <a:pt x="3016773" y="2081756"/>
                    </a:cubicBezTo>
                    <a:cubicBezTo>
                      <a:pt x="3016773" y="2081756"/>
                      <a:pt x="3029375" y="2052316"/>
                      <a:pt x="3023074" y="2027081"/>
                    </a:cubicBezTo>
                    <a:cubicBezTo>
                      <a:pt x="3016773" y="1999744"/>
                      <a:pt x="2995769" y="1970303"/>
                      <a:pt x="2995769" y="1970303"/>
                    </a:cubicBezTo>
                    <a:cubicBezTo>
                      <a:pt x="2995769" y="1970303"/>
                      <a:pt x="3002070" y="1966098"/>
                      <a:pt x="3018873" y="1966098"/>
                    </a:cubicBezTo>
                    <a:cubicBezTo>
                      <a:pt x="3035677" y="1963995"/>
                      <a:pt x="3065083" y="1957686"/>
                      <a:pt x="3065083" y="1957686"/>
                    </a:cubicBezTo>
                    <a:cubicBezTo>
                      <a:pt x="3065083" y="1957686"/>
                      <a:pt x="2991568" y="1949274"/>
                      <a:pt x="2968463" y="1942966"/>
                    </a:cubicBezTo>
                    <a:cubicBezTo>
                      <a:pt x="2956910" y="1939811"/>
                      <a:pt x="2939057" y="1939286"/>
                      <a:pt x="2921466" y="1940074"/>
                    </a:cubicBezTo>
                    <a:close/>
                    <a:moveTo>
                      <a:pt x="2882143" y="1689578"/>
                    </a:moveTo>
                    <a:cubicBezTo>
                      <a:pt x="2843731" y="1689315"/>
                      <a:pt x="2800057" y="1691418"/>
                      <a:pt x="2779009" y="1700880"/>
                    </a:cubicBezTo>
                    <a:cubicBezTo>
                      <a:pt x="2736913" y="1717702"/>
                      <a:pt x="2720075" y="1810222"/>
                      <a:pt x="2720075" y="1810222"/>
                    </a:cubicBezTo>
                    <a:cubicBezTo>
                      <a:pt x="2720075" y="1810222"/>
                      <a:pt x="2760066" y="1759756"/>
                      <a:pt x="2806371" y="1730318"/>
                    </a:cubicBezTo>
                    <a:cubicBezTo>
                      <a:pt x="2852676" y="1698777"/>
                      <a:pt x="2953705" y="1692469"/>
                      <a:pt x="2953705" y="1692469"/>
                    </a:cubicBezTo>
                    <a:cubicBezTo>
                      <a:pt x="2953705" y="1692469"/>
                      <a:pt x="2920555" y="1689840"/>
                      <a:pt x="2882143" y="1689578"/>
                    </a:cubicBezTo>
                    <a:close/>
                    <a:moveTo>
                      <a:pt x="2751741" y="1152523"/>
                    </a:moveTo>
                    <a:lnTo>
                      <a:pt x="2752273" y="1154187"/>
                    </a:lnTo>
                    <a:lnTo>
                      <a:pt x="2764036" y="1192874"/>
                    </a:lnTo>
                    <a:lnTo>
                      <a:pt x="2787833" y="1274009"/>
                    </a:lnTo>
                    <a:lnTo>
                      <a:pt x="2819472" y="1283014"/>
                    </a:lnTo>
                    <a:lnTo>
                      <a:pt x="2820261" y="1283258"/>
                    </a:lnTo>
                    <a:lnTo>
                      <a:pt x="2825890" y="1283302"/>
                    </a:lnTo>
                    <a:lnTo>
                      <a:pt x="2903747" y="1291542"/>
                    </a:lnTo>
                    <a:lnTo>
                      <a:pt x="2899550" y="1288295"/>
                    </a:lnTo>
                    <a:cubicBezTo>
                      <a:pt x="2806596" y="1216396"/>
                      <a:pt x="2806596" y="1216396"/>
                      <a:pt x="2806596" y="1216396"/>
                    </a:cubicBezTo>
                    <a:cubicBezTo>
                      <a:pt x="2806596" y="1216396"/>
                      <a:pt x="2794376" y="1202454"/>
                      <a:pt x="2775061" y="1179930"/>
                    </a:cubicBezTo>
                    <a:close/>
                    <a:moveTo>
                      <a:pt x="1695768" y="862876"/>
                    </a:moveTo>
                    <a:cubicBezTo>
                      <a:pt x="2078780" y="919680"/>
                      <a:pt x="2078780" y="919680"/>
                      <a:pt x="2078780" y="919680"/>
                    </a:cubicBezTo>
                    <a:cubicBezTo>
                      <a:pt x="2078780" y="919680"/>
                      <a:pt x="2137705" y="923888"/>
                      <a:pt x="2177689" y="938615"/>
                    </a:cubicBezTo>
                    <a:cubicBezTo>
                      <a:pt x="2217674" y="951238"/>
                      <a:pt x="2274495" y="997523"/>
                      <a:pt x="2274495" y="997523"/>
                    </a:cubicBezTo>
                    <a:cubicBezTo>
                      <a:pt x="2274495" y="997523"/>
                      <a:pt x="2226092" y="984900"/>
                      <a:pt x="2192421" y="984900"/>
                    </a:cubicBezTo>
                    <a:cubicBezTo>
                      <a:pt x="2160854" y="987004"/>
                      <a:pt x="2101929" y="1026977"/>
                      <a:pt x="2082989" y="1031185"/>
                    </a:cubicBezTo>
                    <a:cubicBezTo>
                      <a:pt x="2061944" y="1035392"/>
                      <a:pt x="2013542" y="1064846"/>
                      <a:pt x="2013542" y="1064846"/>
                    </a:cubicBezTo>
                    <a:cubicBezTo>
                      <a:pt x="2013542" y="1064846"/>
                      <a:pt x="2118765" y="1039600"/>
                      <a:pt x="2177689" y="1060639"/>
                    </a:cubicBezTo>
                    <a:cubicBezTo>
                      <a:pt x="2234510" y="1081677"/>
                      <a:pt x="2276599" y="1062742"/>
                      <a:pt x="2320793" y="1102716"/>
                    </a:cubicBezTo>
                    <a:cubicBezTo>
                      <a:pt x="2362882" y="1142689"/>
                      <a:pt x="2402867" y="1193182"/>
                      <a:pt x="2402867" y="1193182"/>
                    </a:cubicBezTo>
                    <a:lnTo>
                      <a:pt x="2477977" y="1304520"/>
                    </a:lnTo>
                    <a:lnTo>
                      <a:pt x="2495231" y="1302276"/>
                    </a:lnTo>
                    <a:lnTo>
                      <a:pt x="2479203" y="1263722"/>
                    </a:lnTo>
                    <a:cubicBezTo>
                      <a:pt x="2435552" y="1159125"/>
                      <a:pt x="2373405" y="1012512"/>
                      <a:pt x="2352360" y="974380"/>
                    </a:cubicBezTo>
                    <a:cubicBezTo>
                      <a:pt x="2320793" y="913369"/>
                      <a:pt x="2238719" y="886019"/>
                      <a:pt x="2194525" y="875499"/>
                    </a:cubicBezTo>
                    <a:cubicBezTo>
                      <a:pt x="2150331" y="862876"/>
                      <a:pt x="1695768" y="862876"/>
                      <a:pt x="1695768" y="862876"/>
                    </a:cubicBezTo>
                    <a:close/>
                    <a:moveTo>
                      <a:pt x="2884074" y="435929"/>
                    </a:moveTo>
                    <a:cubicBezTo>
                      <a:pt x="2884074" y="435929"/>
                      <a:pt x="2919884" y="555927"/>
                      <a:pt x="2987291" y="631716"/>
                    </a:cubicBezTo>
                    <a:cubicBezTo>
                      <a:pt x="3054698" y="705399"/>
                      <a:pt x="3130531" y="1008552"/>
                      <a:pt x="3130531" y="1008552"/>
                    </a:cubicBezTo>
                    <a:cubicBezTo>
                      <a:pt x="3130531" y="1008552"/>
                      <a:pt x="3115786" y="812766"/>
                      <a:pt x="3063124" y="682241"/>
                    </a:cubicBezTo>
                    <a:cubicBezTo>
                      <a:pt x="3063124" y="682241"/>
                      <a:pt x="2993611" y="549612"/>
                      <a:pt x="2970440" y="520138"/>
                    </a:cubicBezTo>
                    <a:cubicBezTo>
                      <a:pt x="2945162" y="490665"/>
                      <a:pt x="2884074" y="435929"/>
                      <a:pt x="2884074" y="435929"/>
                    </a:cubicBezTo>
                    <a:close/>
                    <a:moveTo>
                      <a:pt x="990408" y="698"/>
                    </a:moveTo>
                    <a:cubicBezTo>
                      <a:pt x="1005101" y="-321"/>
                      <a:pt x="1021142" y="-189"/>
                      <a:pt x="1039550" y="863"/>
                    </a:cubicBezTo>
                    <a:cubicBezTo>
                      <a:pt x="1111078" y="5070"/>
                      <a:pt x="1258341" y="38728"/>
                      <a:pt x="1348803" y="72387"/>
                    </a:cubicBezTo>
                    <a:cubicBezTo>
                      <a:pt x="1439264" y="103941"/>
                      <a:pt x="1653848" y="181776"/>
                      <a:pt x="1737998" y="232264"/>
                    </a:cubicBezTo>
                    <a:cubicBezTo>
                      <a:pt x="1830564" y="284855"/>
                      <a:pt x="1914714" y="318513"/>
                      <a:pt x="2005176" y="371104"/>
                    </a:cubicBezTo>
                    <a:cubicBezTo>
                      <a:pt x="2051459" y="397400"/>
                      <a:pt x="2127194" y="436317"/>
                      <a:pt x="2203455" y="477601"/>
                    </a:cubicBezTo>
                    <a:lnTo>
                      <a:pt x="2296994" y="530121"/>
                    </a:lnTo>
                    <a:lnTo>
                      <a:pt x="2323986" y="546882"/>
                    </a:lnTo>
                    <a:lnTo>
                      <a:pt x="2357160" y="567482"/>
                    </a:lnTo>
                    <a:lnTo>
                      <a:pt x="2404890" y="598298"/>
                    </a:lnTo>
                    <a:lnTo>
                      <a:pt x="2415440" y="605928"/>
                    </a:lnTo>
                    <a:lnTo>
                      <a:pt x="2362991" y="493093"/>
                    </a:lnTo>
                    <a:cubicBezTo>
                      <a:pt x="2362991" y="493093"/>
                      <a:pt x="2362991" y="493093"/>
                      <a:pt x="2329266" y="483333"/>
                    </a:cubicBezTo>
                    <a:lnTo>
                      <a:pt x="2307060" y="476906"/>
                    </a:lnTo>
                    <a:lnTo>
                      <a:pt x="2313198" y="470584"/>
                    </a:lnTo>
                    <a:cubicBezTo>
                      <a:pt x="2335494" y="447752"/>
                      <a:pt x="2406858" y="375701"/>
                      <a:pt x="2460566" y="333037"/>
                    </a:cubicBezTo>
                    <a:lnTo>
                      <a:pt x="2482676" y="317005"/>
                    </a:lnTo>
                    <a:lnTo>
                      <a:pt x="2522361" y="296868"/>
                    </a:lnTo>
                    <a:lnTo>
                      <a:pt x="2554579" y="283748"/>
                    </a:lnTo>
                    <a:cubicBezTo>
                      <a:pt x="2588217" y="269017"/>
                      <a:pt x="2633417" y="251656"/>
                      <a:pt x="2694384" y="254812"/>
                    </a:cubicBezTo>
                    <a:cubicBezTo>
                      <a:pt x="2724868" y="256391"/>
                      <a:pt x="2759293" y="263098"/>
                      <a:pt x="2798186" y="277829"/>
                    </a:cubicBezTo>
                    <a:cubicBezTo>
                      <a:pt x="2951656" y="336753"/>
                      <a:pt x="2857052" y="260994"/>
                      <a:pt x="2857052" y="260994"/>
                    </a:cubicBezTo>
                    <a:cubicBezTo>
                      <a:pt x="2857052" y="260994"/>
                      <a:pt x="2858530" y="261224"/>
                      <a:pt x="2861191" y="261705"/>
                    </a:cubicBezTo>
                    <a:lnTo>
                      <a:pt x="2866568" y="262766"/>
                    </a:lnTo>
                    <a:lnTo>
                      <a:pt x="2867847" y="263215"/>
                    </a:lnTo>
                    <a:cubicBezTo>
                      <a:pt x="2872013" y="264887"/>
                      <a:pt x="2874182" y="265939"/>
                      <a:pt x="2874182" y="265939"/>
                    </a:cubicBezTo>
                    <a:cubicBezTo>
                      <a:pt x="2874182" y="265939"/>
                      <a:pt x="2875760" y="265775"/>
                      <a:pt x="2878772" y="265783"/>
                    </a:cubicBezTo>
                    <a:lnTo>
                      <a:pt x="2879970" y="265863"/>
                    </a:lnTo>
                    <a:lnTo>
                      <a:pt x="2909084" y="273357"/>
                    </a:lnTo>
                    <a:cubicBezTo>
                      <a:pt x="2937466" y="282038"/>
                      <a:pt x="2970577" y="295717"/>
                      <a:pt x="2989498" y="315709"/>
                    </a:cubicBezTo>
                    <a:cubicBezTo>
                      <a:pt x="3027340" y="357797"/>
                      <a:pt x="3391043" y="702920"/>
                      <a:pt x="3365815" y="925987"/>
                    </a:cubicBezTo>
                    <a:cubicBezTo>
                      <a:pt x="3351098" y="1060670"/>
                      <a:pt x="3227061" y="1315303"/>
                      <a:pt x="3233368" y="1376331"/>
                    </a:cubicBezTo>
                    <a:cubicBezTo>
                      <a:pt x="3234682" y="1385538"/>
                      <a:pt x="3236920" y="1397159"/>
                      <a:pt x="3239761" y="1410216"/>
                    </a:cubicBezTo>
                    <a:lnTo>
                      <a:pt x="3243622" y="1426604"/>
                    </a:lnTo>
                    <a:lnTo>
                      <a:pt x="3302854" y="1472111"/>
                    </a:lnTo>
                    <a:cubicBezTo>
                      <a:pt x="3370331" y="1532754"/>
                      <a:pt x="3422311" y="1609600"/>
                      <a:pt x="3442037" y="1705090"/>
                    </a:cubicBezTo>
                    <a:lnTo>
                      <a:pt x="3433973" y="1732860"/>
                    </a:lnTo>
                    <a:lnTo>
                      <a:pt x="3404867" y="1673697"/>
                    </a:lnTo>
                    <a:cubicBezTo>
                      <a:pt x="3399074" y="1661664"/>
                      <a:pt x="3393479" y="1649944"/>
                      <a:pt x="3388345" y="1639131"/>
                    </a:cubicBezTo>
                    <a:lnTo>
                      <a:pt x="3377441" y="1616053"/>
                    </a:lnTo>
                    <a:lnTo>
                      <a:pt x="3359581" y="1565598"/>
                    </a:lnTo>
                    <a:cubicBezTo>
                      <a:pt x="3359581" y="1565598"/>
                      <a:pt x="3359581" y="1565598"/>
                      <a:pt x="3361687" y="1582431"/>
                    </a:cubicBezTo>
                    <a:cubicBezTo>
                      <a:pt x="3361687" y="1582431"/>
                      <a:pt x="3366690" y="1593215"/>
                      <a:pt x="3374588" y="1610015"/>
                    </a:cubicBezTo>
                    <a:lnTo>
                      <a:pt x="3377441" y="1616053"/>
                    </a:lnTo>
                    <a:lnTo>
                      <a:pt x="3442901" y="1800978"/>
                    </a:lnTo>
                    <a:lnTo>
                      <a:pt x="3440408" y="1796829"/>
                    </a:lnTo>
                    <a:cubicBezTo>
                      <a:pt x="3438644" y="1793891"/>
                      <a:pt x="3436291" y="1789974"/>
                      <a:pt x="3433154" y="1784752"/>
                    </a:cubicBezTo>
                    <a:cubicBezTo>
                      <a:pt x="3433154" y="1784752"/>
                      <a:pt x="3414332" y="1768041"/>
                      <a:pt x="3397602" y="1761774"/>
                    </a:cubicBezTo>
                    <a:cubicBezTo>
                      <a:pt x="3380871" y="1753418"/>
                      <a:pt x="3349501" y="1755507"/>
                      <a:pt x="3349501" y="1755507"/>
                    </a:cubicBezTo>
                    <a:cubicBezTo>
                      <a:pt x="3349501" y="1755507"/>
                      <a:pt x="3380871" y="1768041"/>
                      <a:pt x="3395510" y="1772218"/>
                    </a:cubicBezTo>
                    <a:cubicBezTo>
                      <a:pt x="3406489" y="1773785"/>
                      <a:pt x="3429233" y="1791802"/>
                      <a:pt x="3439918" y="1800713"/>
                    </a:cubicBezTo>
                    <a:lnTo>
                      <a:pt x="3444055" y="1804238"/>
                    </a:lnTo>
                    <a:lnTo>
                      <a:pt x="3555468" y="2118980"/>
                    </a:lnTo>
                    <a:cubicBezTo>
                      <a:pt x="3555468" y="2118980"/>
                      <a:pt x="3553888" y="2108460"/>
                      <a:pt x="3553362" y="2091890"/>
                    </a:cubicBezTo>
                    <a:lnTo>
                      <a:pt x="3553487" y="2080908"/>
                    </a:lnTo>
                    <a:lnTo>
                      <a:pt x="3554536" y="2083695"/>
                    </a:lnTo>
                    <a:cubicBezTo>
                      <a:pt x="3566426" y="2115277"/>
                      <a:pt x="3569399" y="2123172"/>
                      <a:pt x="3570142" y="2125146"/>
                    </a:cubicBezTo>
                    <a:lnTo>
                      <a:pt x="3570375" y="2125765"/>
                    </a:lnTo>
                    <a:lnTo>
                      <a:pt x="3570326" y="2125774"/>
                    </a:lnTo>
                    <a:cubicBezTo>
                      <a:pt x="3545075" y="2130508"/>
                      <a:pt x="3536395" y="2124591"/>
                      <a:pt x="3524755" y="2128437"/>
                    </a:cubicBezTo>
                    <a:lnTo>
                      <a:pt x="3520991" y="2130652"/>
                    </a:lnTo>
                    <a:lnTo>
                      <a:pt x="3519898" y="2125754"/>
                    </a:lnTo>
                    <a:cubicBezTo>
                      <a:pt x="3517794" y="2116808"/>
                      <a:pt x="3515165" y="2106809"/>
                      <a:pt x="3513061" y="2102599"/>
                    </a:cubicBezTo>
                    <a:cubicBezTo>
                      <a:pt x="3510958" y="2096283"/>
                      <a:pt x="3498337" y="2064707"/>
                      <a:pt x="3485716" y="2058392"/>
                    </a:cubicBezTo>
                    <a:cubicBezTo>
                      <a:pt x="3475198" y="2052077"/>
                      <a:pt x="3435232" y="2037341"/>
                      <a:pt x="3422611" y="2039446"/>
                    </a:cubicBezTo>
                    <a:cubicBezTo>
                      <a:pt x="3409989" y="2039446"/>
                      <a:pt x="3397368" y="2045762"/>
                      <a:pt x="3384747" y="2043657"/>
                    </a:cubicBezTo>
                    <a:cubicBezTo>
                      <a:pt x="3372126" y="2041551"/>
                      <a:pt x="3334263" y="2031026"/>
                      <a:pt x="3334263" y="2031026"/>
                    </a:cubicBezTo>
                    <a:cubicBezTo>
                      <a:pt x="3378437" y="2058392"/>
                      <a:pt x="3378437" y="2058392"/>
                      <a:pt x="3378437" y="2058392"/>
                    </a:cubicBezTo>
                    <a:cubicBezTo>
                      <a:pt x="3378437" y="2058392"/>
                      <a:pt x="3359505" y="2079443"/>
                      <a:pt x="3357402" y="2092073"/>
                    </a:cubicBezTo>
                    <a:cubicBezTo>
                      <a:pt x="3348988" y="2111019"/>
                      <a:pt x="3351091" y="2140490"/>
                      <a:pt x="3351091" y="2140490"/>
                    </a:cubicBezTo>
                    <a:cubicBezTo>
                      <a:pt x="3317435" y="2140490"/>
                      <a:pt x="3317435" y="2140490"/>
                      <a:pt x="3317435" y="2140490"/>
                    </a:cubicBezTo>
                    <a:cubicBezTo>
                      <a:pt x="3317435" y="2140490"/>
                      <a:pt x="3348988" y="2148910"/>
                      <a:pt x="3359505" y="2155225"/>
                    </a:cubicBezTo>
                    <a:cubicBezTo>
                      <a:pt x="3370023" y="2161541"/>
                      <a:pt x="3395265" y="2172066"/>
                      <a:pt x="3416300" y="2180486"/>
                    </a:cubicBezTo>
                    <a:cubicBezTo>
                      <a:pt x="3432076" y="2186801"/>
                      <a:pt x="3457318" y="2199037"/>
                      <a:pt x="3468953" y="2204760"/>
                    </a:cubicBezTo>
                    <a:lnTo>
                      <a:pt x="3471183" y="2205864"/>
                    </a:lnTo>
                    <a:lnTo>
                      <a:pt x="3465112" y="2222558"/>
                    </a:lnTo>
                    <a:cubicBezTo>
                      <a:pt x="3458799" y="2247805"/>
                      <a:pt x="3418818" y="2359317"/>
                      <a:pt x="3404088" y="2397188"/>
                    </a:cubicBezTo>
                    <a:cubicBezTo>
                      <a:pt x="3389358" y="2435060"/>
                      <a:pt x="3303083" y="2544467"/>
                      <a:pt x="3303083" y="2544467"/>
                    </a:cubicBezTo>
                    <a:cubicBezTo>
                      <a:pt x="3303083" y="2544467"/>
                      <a:pt x="3383045" y="2468724"/>
                      <a:pt x="3395671" y="2456100"/>
                    </a:cubicBezTo>
                    <a:cubicBezTo>
                      <a:pt x="3410401" y="2443476"/>
                      <a:pt x="3429339" y="2411916"/>
                      <a:pt x="3450382" y="2386668"/>
                    </a:cubicBezTo>
                    <a:cubicBezTo>
                      <a:pt x="3469321" y="2363525"/>
                      <a:pt x="3515615" y="2209934"/>
                      <a:pt x="3526136" y="2184686"/>
                    </a:cubicBezTo>
                    <a:cubicBezTo>
                      <a:pt x="3538762" y="2157334"/>
                      <a:pt x="3574535" y="2159438"/>
                      <a:pt x="3618725" y="2163646"/>
                    </a:cubicBezTo>
                    <a:cubicBezTo>
                      <a:pt x="3665019" y="2167854"/>
                      <a:pt x="3707104" y="2155230"/>
                      <a:pt x="3751294" y="2136294"/>
                    </a:cubicBezTo>
                    <a:cubicBezTo>
                      <a:pt x="3772337" y="2126826"/>
                      <a:pt x="3786015" y="2113676"/>
                      <a:pt x="3799430" y="2104735"/>
                    </a:cubicBezTo>
                    <a:lnTo>
                      <a:pt x="3810437" y="2099831"/>
                    </a:lnTo>
                    <a:lnTo>
                      <a:pt x="3824461" y="2097367"/>
                    </a:lnTo>
                    <a:lnTo>
                      <a:pt x="3829342" y="2096510"/>
                    </a:lnTo>
                    <a:lnTo>
                      <a:pt x="3845987" y="2098423"/>
                    </a:lnTo>
                    <a:cubicBezTo>
                      <a:pt x="3885968" y="2111046"/>
                      <a:pt x="3894385" y="2134190"/>
                      <a:pt x="3904907" y="2180478"/>
                    </a:cubicBezTo>
                    <a:cubicBezTo>
                      <a:pt x="3915428" y="2226766"/>
                      <a:pt x="3885968" y="2315133"/>
                      <a:pt x="3885968" y="2315133"/>
                    </a:cubicBezTo>
                    <a:cubicBezTo>
                      <a:pt x="3885968" y="2315133"/>
                      <a:pt x="3885508" y="2319834"/>
                      <a:pt x="3884225" y="2328571"/>
                    </a:cubicBezTo>
                    <a:lnTo>
                      <a:pt x="3881324" y="2344937"/>
                    </a:lnTo>
                    <a:lnTo>
                      <a:pt x="3878738" y="2354578"/>
                    </a:lnTo>
                    <a:cubicBezTo>
                      <a:pt x="3870987" y="2383473"/>
                      <a:pt x="3863790" y="2410304"/>
                      <a:pt x="3857107" y="2435219"/>
                    </a:cubicBezTo>
                    <a:lnTo>
                      <a:pt x="3839183" y="2502042"/>
                    </a:lnTo>
                    <a:lnTo>
                      <a:pt x="3806236" y="2584501"/>
                    </a:lnTo>
                    <a:cubicBezTo>
                      <a:pt x="3765301" y="2675605"/>
                      <a:pt x="3703948" y="2779062"/>
                      <a:pt x="3612412" y="2876897"/>
                    </a:cubicBezTo>
                    <a:cubicBezTo>
                      <a:pt x="3370419" y="3137791"/>
                      <a:pt x="3046360" y="2935809"/>
                      <a:pt x="3004275" y="2912665"/>
                    </a:cubicBezTo>
                    <a:cubicBezTo>
                      <a:pt x="2962189" y="2889521"/>
                      <a:pt x="2852767" y="2792738"/>
                      <a:pt x="2812785" y="2759074"/>
                    </a:cubicBezTo>
                    <a:cubicBezTo>
                      <a:pt x="2770700" y="2725410"/>
                      <a:pt x="2726510" y="2651771"/>
                      <a:pt x="2726510" y="2651771"/>
                    </a:cubicBezTo>
                    <a:cubicBezTo>
                      <a:pt x="2726510" y="2651771"/>
                      <a:pt x="2724406" y="2649667"/>
                      <a:pt x="2722301" y="2655979"/>
                    </a:cubicBezTo>
                    <a:cubicBezTo>
                      <a:pt x="2720197" y="2662291"/>
                      <a:pt x="2699154" y="2727514"/>
                      <a:pt x="2686529" y="2750658"/>
                    </a:cubicBezTo>
                    <a:cubicBezTo>
                      <a:pt x="2676007" y="2771698"/>
                      <a:pt x="2661277" y="2782218"/>
                      <a:pt x="2646547" y="2799050"/>
                    </a:cubicBezTo>
                    <a:cubicBezTo>
                      <a:pt x="2633922" y="2817986"/>
                      <a:pt x="2612879" y="2845337"/>
                      <a:pt x="2593940" y="2887417"/>
                    </a:cubicBezTo>
                    <a:cubicBezTo>
                      <a:pt x="2575002" y="2929497"/>
                      <a:pt x="2606566" y="2963160"/>
                      <a:pt x="2606566" y="2963160"/>
                    </a:cubicBezTo>
                    <a:cubicBezTo>
                      <a:pt x="2627609" y="2988408"/>
                      <a:pt x="2697050" y="3005240"/>
                      <a:pt x="2724406" y="3001032"/>
                    </a:cubicBezTo>
                    <a:cubicBezTo>
                      <a:pt x="2654964" y="2986304"/>
                      <a:pt x="2614983" y="2916873"/>
                      <a:pt x="2614983" y="2916873"/>
                    </a:cubicBezTo>
                    <a:cubicBezTo>
                      <a:pt x="2614983" y="2916873"/>
                      <a:pt x="2614983" y="2916873"/>
                      <a:pt x="2636026" y="2931601"/>
                    </a:cubicBezTo>
                    <a:cubicBezTo>
                      <a:pt x="2654964" y="2946329"/>
                      <a:pt x="2688633" y="2969472"/>
                      <a:pt x="2741240" y="2975784"/>
                    </a:cubicBezTo>
                    <a:cubicBezTo>
                      <a:pt x="2793847" y="2982096"/>
                      <a:pt x="2823307" y="2935809"/>
                      <a:pt x="2823307" y="2935809"/>
                    </a:cubicBezTo>
                    <a:cubicBezTo>
                      <a:pt x="2823307" y="2935809"/>
                      <a:pt x="2823307" y="2935809"/>
                      <a:pt x="2869601" y="2874793"/>
                    </a:cubicBezTo>
                    <a:cubicBezTo>
                      <a:pt x="2869601" y="2874793"/>
                      <a:pt x="2869601" y="2874793"/>
                      <a:pt x="2909582" y="2914769"/>
                    </a:cubicBezTo>
                    <a:cubicBezTo>
                      <a:pt x="2909582" y="2914769"/>
                      <a:pt x="2838037" y="2988408"/>
                      <a:pt x="2804368" y="3009448"/>
                    </a:cubicBezTo>
                    <a:cubicBezTo>
                      <a:pt x="2770700" y="3030488"/>
                      <a:pt x="2715988" y="3045216"/>
                      <a:pt x="2631817" y="3019968"/>
                    </a:cubicBezTo>
                    <a:lnTo>
                      <a:pt x="2592812" y="2997729"/>
                    </a:lnTo>
                    <a:lnTo>
                      <a:pt x="2571463" y="2978979"/>
                    </a:lnTo>
                    <a:lnTo>
                      <a:pt x="2569646" y="2977384"/>
                    </a:lnTo>
                    <a:lnTo>
                      <a:pt x="2550477" y="2953365"/>
                    </a:lnTo>
                    <a:lnTo>
                      <a:pt x="2543509" y="2942341"/>
                    </a:lnTo>
                    <a:lnTo>
                      <a:pt x="2527951" y="2910199"/>
                    </a:lnTo>
                    <a:cubicBezTo>
                      <a:pt x="2524104" y="2900173"/>
                      <a:pt x="2522395" y="2893729"/>
                      <a:pt x="2522395" y="2893729"/>
                    </a:cubicBezTo>
                    <a:cubicBezTo>
                      <a:pt x="2522395" y="2893729"/>
                      <a:pt x="2522395" y="2893729"/>
                      <a:pt x="2457162" y="2748554"/>
                    </a:cubicBezTo>
                    <a:cubicBezTo>
                      <a:pt x="2457162" y="2748554"/>
                      <a:pt x="2396138" y="2689642"/>
                      <a:pt x="2362469" y="2651771"/>
                    </a:cubicBezTo>
                    <a:lnTo>
                      <a:pt x="2340024" y="2621933"/>
                    </a:lnTo>
                    <a:lnTo>
                      <a:pt x="2338457" y="2619477"/>
                    </a:lnTo>
                    <a:cubicBezTo>
                      <a:pt x="2304048" y="2565541"/>
                      <a:pt x="2304048" y="2565541"/>
                      <a:pt x="2304048" y="2565541"/>
                    </a:cubicBezTo>
                    <a:cubicBezTo>
                      <a:pt x="2304048" y="2565541"/>
                      <a:pt x="2271838" y="2433449"/>
                      <a:pt x="2335655" y="2318674"/>
                    </a:cubicBezTo>
                    <a:lnTo>
                      <a:pt x="2366996" y="2274192"/>
                    </a:lnTo>
                    <a:lnTo>
                      <a:pt x="2347572" y="2275513"/>
                    </a:lnTo>
                    <a:cubicBezTo>
                      <a:pt x="2338243" y="2274970"/>
                      <a:pt x="2329202" y="2273030"/>
                      <a:pt x="2320522" y="2269084"/>
                    </a:cubicBezTo>
                    <a:cubicBezTo>
                      <a:pt x="2253189" y="2237517"/>
                      <a:pt x="2057503" y="2182801"/>
                      <a:pt x="2038565" y="2062847"/>
                    </a:cubicBezTo>
                    <a:cubicBezTo>
                      <a:pt x="2024363" y="1972882"/>
                      <a:pt x="2014894" y="1779929"/>
                      <a:pt x="2043892" y="1618938"/>
                    </a:cubicBezTo>
                    <a:lnTo>
                      <a:pt x="2058099" y="1557525"/>
                    </a:lnTo>
                    <a:lnTo>
                      <a:pt x="2055755" y="1558228"/>
                    </a:lnTo>
                    <a:lnTo>
                      <a:pt x="2050316" y="1559430"/>
                    </a:lnTo>
                    <a:cubicBezTo>
                      <a:pt x="1969609" y="1577348"/>
                      <a:pt x="1639648" y="1651436"/>
                      <a:pt x="1525518" y="1690090"/>
                    </a:cubicBezTo>
                    <a:cubicBezTo>
                      <a:pt x="1395085" y="1734267"/>
                      <a:pt x="1087937" y="1875211"/>
                      <a:pt x="946985" y="1875211"/>
                    </a:cubicBezTo>
                    <a:cubicBezTo>
                      <a:pt x="751335" y="1873108"/>
                      <a:pt x="559893" y="1858382"/>
                      <a:pt x="559893" y="1858382"/>
                    </a:cubicBezTo>
                    <a:cubicBezTo>
                      <a:pt x="559893" y="1858382"/>
                      <a:pt x="488365" y="1593323"/>
                      <a:pt x="412630" y="1498659"/>
                    </a:cubicBezTo>
                    <a:cubicBezTo>
                      <a:pt x="334791" y="1403995"/>
                      <a:pt x="94962" y="1208355"/>
                      <a:pt x="46576" y="1063204"/>
                    </a:cubicBezTo>
                    <a:cubicBezTo>
                      <a:pt x="293" y="915949"/>
                      <a:pt x="-24952" y="798144"/>
                      <a:pt x="36057" y="665615"/>
                    </a:cubicBezTo>
                    <a:cubicBezTo>
                      <a:pt x="94962" y="535189"/>
                      <a:pt x="191735" y="459457"/>
                      <a:pt x="191735" y="459457"/>
                    </a:cubicBezTo>
                    <a:cubicBezTo>
                      <a:pt x="191735" y="459457"/>
                      <a:pt x="294819" y="455250"/>
                      <a:pt x="374762" y="465768"/>
                    </a:cubicBezTo>
                    <a:cubicBezTo>
                      <a:pt x="456809" y="476287"/>
                      <a:pt x="587242" y="499427"/>
                      <a:pt x="677704" y="528878"/>
                    </a:cubicBezTo>
                    <a:cubicBezTo>
                      <a:pt x="766061" y="558329"/>
                      <a:pt x="1090040" y="713999"/>
                      <a:pt x="1090040" y="713999"/>
                    </a:cubicBezTo>
                    <a:cubicBezTo>
                      <a:pt x="736609" y="514152"/>
                      <a:pt x="736609" y="514152"/>
                      <a:pt x="736609" y="514152"/>
                    </a:cubicBezTo>
                    <a:cubicBezTo>
                      <a:pt x="503092" y="423695"/>
                      <a:pt x="503092" y="423695"/>
                      <a:pt x="503092" y="423695"/>
                    </a:cubicBezTo>
                    <a:cubicBezTo>
                      <a:pt x="503092" y="423695"/>
                      <a:pt x="606176" y="362690"/>
                      <a:pt x="700845" y="246989"/>
                    </a:cubicBezTo>
                    <a:cubicBezTo>
                      <a:pt x="795514" y="131289"/>
                      <a:pt x="803929" y="89216"/>
                      <a:pt x="867042" y="47143"/>
                    </a:cubicBezTo>
                    <a:cubicBezTo>
                      <a:pt x="914377" y="17166"/>
                      <a:pt x="946327" y="3755"/>
                      <a:pt x="990408" y="698"/>
                    </a:cubicBezTo>
                    <a:close/>
                  </a:path>
                </a:pathLst>
              </a:custGeom>
              <a:solidFill>
                <a:srgbClr val="FAED22"/>
              </a:solidFill>
              <a:ln w="3175">
                <a:solidFill>
                  <a:schemeClr val="tx1"/>
                </a:solidFill>
              </a:ln>
            </p:spPr>
            <p:txBody>
              <a:bodyPr vert="horz" wrap="square" lIns="89642" tIns="44821" rIns="89642" bIns="44821" numCol="1" anchor="t" anchorCtr="0" compatLnSpc="1">
                <a:prstTxWarp prst="textNoShape">
                  <a:avLst/>
                </a:prstTxWarp>
                <a:noAutofit/>
              </a:bodyPr>
              <a:lstStyle/>
              <a:p>
                <a:pPr defTabSz="914367"/>
                <a:endParaRPr lang="en-IN" sz="1765">
                  <a:solidFill>
                    <a:srgbClr val="000000"/>
                  </a:solidFill>
                </a:endParaRPr>
              </a:p>
            </p:txBody>
          </p:sp>
        </p:grpSp>
      </p:grpSp>
      <p:grpSp>
        <p:nvGrpSpPr>
          <p:cNvPr id="22" name="Group 21"/>
          <p:cNvGrpSpPr/>
          <p:nvPr/>
        </p:nvGrpSpPr>
        <p:grpSpPr>
          <a:xfrm>
            <a:off x="2479976" y="5737512"/>
            <a:ext cx="224932" cy="219617"/>
            <a:chOff x="306837" y="2966952"/>
            <a:chExt cx="1385600" cy="1352860"/>
          </a:xfrm>
        </p:grpSpPr>
        <p:sp>
          <p:nvSpPr>
            <p:cNvPr id="23" name="Freeform 22"/>
            <p:cNvSpPr/>
            <p:nvPr/>
          </p:nvSpPr>
          <p:spPr bwMode="auto">
            <a:xfrm>
              <a:off x="688501" y="3519487"/>
              <a:ext cx="752155" cy="800325"/>
            </a:xfrm>
            <a:custGeom>
              <a:avLst/>
              <a:gdLst>
                <a:gd name="connsiteX0" fmla="*/ 338138 w 728663"/>
                <a:gd name="connsiteY0" fmla="*/ 0 h 823912"/>
                <a:gd name="connsiteX1" fmla="*/ 73819 w 728663"/>
                <a:gd name="connsiteY1" fmla="*/ 97631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38138 w 728663"/>
                <a:gd name="connsiteY0" fmla="*/ 0 h 823912"/>
                <a:gd name="connsiteX1" fmla="*/ 35719 w 728663"/>
                <a:gd name="connsiteY1" fmla="*/ 73819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38138 w 728663"/>
                <a:gd name="connsiteY0" fmla="*/ 0 h 823912"/>
                <a:gd name="connsiteX1" fmla="*/ 97631 w 728663"/>
                <a:gd name="connsiteY1" fmla="*/ 66675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38138 w 728663"/>
                <a:gd name="connsiteY0" fmla="*/ 0 h 823912"/>
                <a:gd name="connsiteX1" fmla="*/ 97631 w 728663"/>
                <a:gd name="connsiteY1" fmla="*/ 66675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38138 w 728663"/>
                <a:gd name="connsiteY0" fmla="*/ 0 h 823912"/>
                <a:gd name="connsiteX1" fmla="*/ 97631 w 728663"/>
                <a:gd name="connsiteY1" fmla="*/ 66675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21470 w 711995"/>
                <a:gd name="connsiteY0" fmla="*/ 0 h 823912"/>
                <a:gd name="connsiteX1" fmla="*/ 80963 w 711995"/>
                <a:gd name="connsiteY1" fmla="*/ 66675 h 823912"/>
                <a:gd name="connsiteX2" fmla="*/ 0 w 711995"/>
                <a:gd name="connsiteY2" fmla="*/ 497681 h 823912"/>
                <a:gd name="connsiteX3" fmla="*/ 450057 w 711995"/>
                <a:gd name="connsiteY3" fmla="*/ 823912 h 823912"/>
                <a:gd name="connsiteX4" fmla="*/ 711995 w 711995"/>
                <a:gd name="connsiteY4" fmla="*/ 733425 h 823912"/>
                <a:gd name="connsiteX5" fmla="*/ 476251 w 711995"/>
                <a:gd name="connsiteY5" fmla="*/ 707231 h 823912"/>
                <a:gd name="connsiteX6" fmla="*/ 495301 w 711995"/>
                <a:gd name="connsiteY6" fmla="*/ 621506 h 823912"/>
                <a:gd name="connsiteX7" fmla="*/ 497682 w 711995"/>
                <a:gd name="connsiteY7" fmla="*/ 571500 h 823912"/>
                <a:gd name="connsiteX8" fmla="*/ 350045 w 711995"/>
                <a:gd name="connsiteY8" fmla="*/ 423862 h 823912"/>
                <a:gd name="connsiteX9" fmla="*/ 521495 w 711995"/>
                <a:gd name="connsiteY9" fmla="*/ 528637 h 823912"/>
                <a:gd name="connsiteX10" fmla="*/ 521495 w 711995"/>
                <a:gd name="connsiteY10" fmla="*/ 302418 h 823912"/>
                <a:gd name="connsiteX11" fmla="*/ 357189 w 711995"/>
                <a:gd name="connsiteY11" fmla="*/ 54768 h 823912"/>
                <a:gd name="connsiteX12" fmla="*/ 321470 w 711995"/>
                <a:gd name="connsiteY12" fmla="*/ 0 h 823912"/>
                <a:gd name="connsiteX0" fmla="*/ 347343 w 737868"/>
                <a:gd name="connsiteY0" fmla="*/ 0 h 823912"/>
                <a:gd name="connsiteX1" fmla="*/ 106836 w 737868"/>
                <a:gd name="connsiteY1" fmla="*/ 66675 h 823912"/>
                <a:gd name="connsiteX2" fmla="*/ 25873 w 737868"/>
                <a:gd name="connsiteY2" fmla="*/ 497681 h 823912"/>
                <a:gd name="connsiteX3" fmla="*/ 475930 w 737868"/>
                <a:gd name="connsiteY3" fmla="*/ 823912 h 823912"/>
                <a:gd name="connsiteX4" fmla="*/ 737868 w 737868"/>
                <a:gd name="connsiteY4" fmla="*/ 733425 h 823912"/>
                <a:gd name="connsiteX5" fmla="*/ 502124 w 737868"/>
                <a:gd name="connsiteY5" fmla="*/ 707231 h 823912"/>
                <a:gd name="connsiteX6" fmla="*/ 521174 w 737868"/>
                <a:gd name="connsiteY6" fmla="*/ 621506 h 823912"/>
                <a:gd name="connsiteX7" fmla="*/ 523555 w 737868"/>
                <a:gd name="connsiteY7" fmla="*/ 571500 h 823912"/>
                <a:gd name="connsiteX8" fmla="*/ 375918 w 737868"/>
                <a:gd name="connsiteY8" fmla="*/ 423862 h 823912"/>
                <a:gd name="connsiteX9" fmla="*/ 547368 w 737868"/>
                <a:gd name="connsiteY9" fmla="*/ 528637 h 823912"/>
                <a:gd name="connsiteX10" fmla="*/ 547368 w 737868"/>
                <a:gd name="connsiteY10" fmla="*/ 302418 h 823912"/>
                <a:gd name="connsiteX11" fmla="*/ 383062 w 737868"/>
                <a:gd name="connsiteY11" fmla="*/ 54768 h 823912"/>
                <a:gd name="connsiteX12" fmla="*/ 347343 w 737868"/>
                <a:gd name="connsiteY12" fmla="*/ 0 h 823912"/>
                <a:gd name="connsiteX0" fmla="*/ 347343 w 737868"/>
                <a:gd name="connsiteY0" fmla="*/ 0 h 823912"/>
                <a:gd name="connsiteX1" fmla="*/ 106836 w 737868"/>
                <a:gd name="connsiteY1" fmla="*/ 66675 h 823912"/>
                <a:gd name="connsiteX2" fmla="*/ 25873 w 737868"/>
                <a:gd name="connsiteY2" fmla="*/ 497681 h 823912"/>
                <a:gd name="connsiteX3" fmla="*/ 475930 w 737868"/>
                <a:gd name="connsiteY3" fmla="*/ 823912 h 823912"/>
                <a:gd name="connsiteX4" fmla="*/ 737868 w 737868"/>
                <a:gd name="connsiteY4" fmla="*/ 733425 h 823912"/>
                <a:gd name="connsiteX5" fmla="*/ 502124 w 737868"/>
                <a:gd name="connsiteY5" fmla="*/ 707231 h 823912"/>
                <a:gd name="connsiteX6" fmla="*/ 521174 w 737868"/>
                <a:gd name="connsiteY6" fmla="*/ 621506 h 823912"/>
                <a:gd name="connsiteX7" fmla="*/ 523555 w 737868"/>
                <a:gd name="connsiteY7" fmla="*/ 571500 h 823912"/>
                <a:gd name="connsiteX8" fmla="*/ 375918 w 737868"/>
                <a:gd name="connsiteY8" fmla="*/ 423862 h 823912"/>
                <a:gd name="connsiteX9" fmla="*/ 547368 w 737868"/>
                <a:gd name="connsiteY9" fmla="*/ 528637 h 823912"/>
                <a:gd name="connsiteX10" fmla="*/ 547368 w 737868"/>
                <a:gd name="connsiteY10" fmla="*/ 302418 h 823912"/>
                <a:gd name="connsiteX11" fmla="*/ 383062 w 737868"/>
                <a:gd name="connsiteY11" fmla="*/ 54768 h 823912"/>
                <a:gd name="connsiteX12" fmla="*/ 347343 w 737868"/>
                <a:gd name="connsiteY12" fmla="*/ 0 h 823912"/>
                <a:gd name="connsiteX0" fmla="*/ 347343 w 737868"/>
                <a:gd name="connsiteY0" fmla="*/ 0 h 795337"/>
                <a:gd name="connsiteX1" fmla="*/ 106836 w 737868"/>
                <a:gd name="connsiteY1" fmla="*/ 66675 h 795337"/>
                <a:gd name="connsiteX2" fmla="*/ 25873 w 737868"/>
                <a:gd name="connsiteY2" fmla="*/ 497681 h 795337"/>
                <a:gd name="connsiteX3" fmla="*/ 487836 w 737868"/>
                <a:gd name="connsiteY3" fmla="*/ 795337 h 795337"/>
                <a:gd name="connsiteX4" fmla="*/ 737868 w 737868"/>
                <a:gd name="connsiteY4" fmla="*/ 733425 h 795337"/>
                <a:gd name="connsiteX5" fmla="*/ 502124 w 737868"/>
                <a:gd name="connsiteY5" fmla="*/ 707231 h 795337"/>
                <a:gd name="connsiteX6" fmla="*/ 521174 w 737868"/>
                <a:gd name="connsiteY6" fmla="*/ 621506 h 795337"/>
                <a:gd name="connsiteX7" fmla="*/ 523555 w 737868"/>
                <a:gd name="connsiteY7" fmla="*/ 571500 h 795337"/>
                <a:gd name="connsiteX8" fmla="*/ 375918 w 737868"/>
                <a:gd name="connsiteY8" fmla="*/ 423862 h 795337"/>
                <a:gd name="connsiteX9" fmla="*/ 547368 w 737868"/>
                <a:gd name="connsiteY9" fmla="*/ 528637 h 795337"/>
                <a:gd name="connsiteX10" fmla="*/ 547368 w 737868"/>
                <a:gd name="connsiteY10" fmla="*/ 302418 h 795337"/>
                <a:gd name="connsiteX11" fmla="*/ 383062 w 737868"/>
                <a:gd name="connsiteY11" fmla="*/ 54768 h 795337"/>
                <a:gd name="connsiteX12" fmla="*/ 347343 w 737868"/>
                <a:gd name="connsiteY12" fmla="*/ 0 h 795337"/>
                <a:gd name="connsiteX0" fmla="*/ 347343 w 737868"/>
                <a:gd name="connsiteY0" fmla="*/ 0 h 800325"/>
                <a:gd name="connsiteX1" fmla="*/ 106836 w 737868"/>
                <a:gd name="connsiteY1" fmla="*/ 66675 h 800325"/>
                <a:gd name="connsiteX2" fmla="*/ 25873 w 737868"/>
                <a:gd name="connsiteY2" fmla="*/ 497681 h 800325"/>
                <a:gd name="connsiteX3" fmla="*/ 487836 w 737868"/>
                <a:gd name="connsiteY3" fmla="*/ 795337 h 800325"/>
                <a:gd name="connsiteX4" fmla="*/ 737868 w 737868"/>
                <a:gd name="connsiteY4" fmla="*/ 733425 h 800325"/>
                <a:gd name="connsiteX5" fmla="*/ 502124 w 737868"/>
                <a:gd name="connsiteY5" fmla="*/ 707231 h 800325"/>
                <a:gd name="connsiteX6" fmla="*/ 521174 w 737868"/>
                <a:gd name="connsiteY6" fmla="*/ 621506 h 800325"/>
                <a:gd name="connsiteX7" fmla="*/ 523555 w 737868"/>
                <a:gd name="connsiteY7" fmla="*/ 571500 h 800325"/>
                <a:gd name="connsiteX8" fmla="*/ 375918 w 737868"/>
                <a:gd name="connsiteY8" fmla="*/ 423862 h 800325"/>
                <a:gd name="connsiteX9" fmla="*/ 547368 w 737868"/>
                <a:gd name="connsiteY9" fmla="*/ 528637 h 800325"/>
                <a:gd name="connsiteX10" fmla="*/ 547368 w 737868"/>
                <a:gd name="connsiteY10" fmla="*/ 302418 h 800325"/>
                <a:gd name="connsiteX11" fmla="*/ 383062 w 737868"/>
                <a:gd name="connsiteY11" fmla="*/ 54768 h 800325"/>
                <a:gd name="connsiteX12" fmla="*/ 347343 w 737868"/>
                <a:gd name="connsiteY12" fmla="*/ 0 h 800325"/>
                <a:gd name="connsiteX0" fmla="*/ 347343 w 771205"/>
                <a:gd name="connsiteY0" fmla="*/ 0 h 800325"/>
                <a:gd name="connsiteX1" fmla="*/ 106836 w 771205"/>
                <a:gd name="connsiteY1" fmla="*/ 66675 h 800325"/>
                <a:gd name="connsiteX2" fmla="*/ 25873 w 771205"/>
                <a:gd name="connsiteY2" fmla="*/ 497681 h 800325"/>
                <a:gd name="connsiteX3" fmla="*/ 487836 w 771205"/>
                <a:gd name="connsiteY3" fmla="*/ 795337 h 800325"/>
                <a:gd name="connsiteX4" fmla="*/ 771205 w 771205"/>
                <a:gd name="connsiteY4" fmla="*/ 707232 h 800325"/>
                <a:gd name="connsiteX5" fmla="*/ 502124 w 771205"/>
                <a:gd name="connsiteY5" fmla="*/ 707231 h 800325"/>
                <a:gd name="connsiteX6" fmla="*/ 521174 w 771205"/>
                <a:gd name="connsiteY6" fmla="*/ 621506 h 800325"/>
                <a:gd name="connsiteX7" fmla="*/ 523555 w 771205"/>
                <a:gd name="connsiteY7" fmla="*/ 571500 h 800325"/>
                <a:gd name="connsiteX8" fmla="*/ 375918 w 771205"/>
                <a:gd name="connsiteY8" fmla="*/ 423862 h 800325"/>
                <a:gd name="connsiteX9" fmla="*/ 547368 w 771205"/>
                <a:gd name="connsiteY9" fmla="*/ 528637 h 800325"/>
                <a:gd name="connsiteX10" fmla="*/ 547368 w 771205"/>
                <a:gd name="connsiteY10" fmla="*/ 302418 h 800325"/>
                <a:gd name="connsiteX11" fmla="*/ 383062 w 771205"/>
                <a:gd name="connsiteY11" fmla="*/ 54768 h 800325"/>
                <a:gd name="connsiteX12" fmla="*/ 347343 w 771205"/>
                <a:gd name="connsiteY12" fmla="*/ 0 h 800325"/>
                <a:gd name="connsiteX0" fmla="*/ 347343 w 771205"/>
                <a:gd name="connsiteY0" fmla="*/ 0 h 800325"/>
                <a:gd name="connsiteX1" fmla="*/ 106836 w 771205"/>
                <a:gd name="connsiteY1" fmla="*/ 66675 h 800325"/>
                <a:gd name="connsiteX2" fmla="*/ 25873 w 771205"/>
                <a:gd name="connsiteY2" fmla="*/ 497681 h 800325"/>
                <a:gd name="connsiteX3" fmla="*/ 487836 w 771205"/>
                <a:gd name="connsiteY3" fmla="*/ 795337 h 800325"/>
                <a:gd name="connsiteX4" fmla="*/ 771205 w 771205"/>
                <a:gd name="connsiteY4" fmla="*/ 707232 h 800325"/>
                <a:gd name="connsiteX5" fmla="*/ 502124 w 771205"/>
                <a:gd name="connsiteY5" fmla="*/ 707231 h 800325"/>
                <a:gd name="connsiteX6" fmla="*/ 521174 w 771205"/>
                <a:gd name="connsiteY6" fmla="*/ 621506 h 800325"/>
                <a:gd name="connsiteX7" fmla="*/ 523555 w 771205"/>
                <a:gd name="connsiteY7" fmla="*/ 571500 h 800325"/>
                <a:gd name="connsiteX8" fmla="*/ 375918 w 771205"/>
                <a:gd name="connsiteY8" fmla="*/ 423862 h 800325"/>
                <a:gd name="connsiteX9" fmla="*/ 547368 w 771205"/>
                <a:gd name="connsiteY9" fmla="*/ 528637 h 800325"/>
                <a:gd name="connsiteX10" fmla="*/ 547368 w 771205"/>
                <a:gd name="connsiteY10" fmla="*/ 302418 h 800325"/>
                <a:gd name="connsiteX11" fmla="*/ 383062 w 771205"/>
                <a:gd name="connsiteY11" fmla="*/ 54768 h 800325"/>
                <a:gd name="connsiteX12" fmla="*/ 347343 w 77120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502124 w 752155"/>
                <a:gd name="connsiteY5" fmla="*/ 707231 h 800325"/>
                <a:gd name="connsiteX6" fmla="*/ 521174 w 752155"/>
                <a:gd name="connsiteY6" fmla="*/ 621506 h 800325"/>
                <a:gd name="connsiteX7" fmla="*/ 523555 w 752155"/>
                <a:gd name="connsiteY7" fmla="*/ 571500 h 800325"/>
                <a:gd name="connsiteX8" fmla="*/ 375918 w 752155"/>
                <a:gd name="connsiteY8" fmla="*/ 423862 h 800325"/>
                <a:gd name="connsiteX9" fmla="*/ 547368 w 752155"/>
                <a:gd name="connsiteY9" fmla="*/ 528637 h 800325"/>
                <a:gd name="connsiteX10" fmla="*/ 547368 w 752155"/>
                <a:gd name="connsiteY10" fmla="*/ 302418 h 800325"/>
                <a:gd name="connsiteX11" fmla="*/ 383062 w 752155"/>
                <a:gd name="connsiteY11" fmla="*/ 54768 h 800325"/>
                <a:gd name="connsiteX12" fmla="*/ 347343 w 75215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1174 w 752155"/>
                <a:gd name="connsiteY6" fmla="*/ 621506 h 800325"/>
                <a:gd name="connsiteX7" fmla="*/ 523555 w 752155"/>
                <a:gd name="connsiteY7" fmla="*/ 571500 h 800325"/>
                <a:gd name="connsiteX8" fmla="*/ 375918 w 752155"/>
                <a:gd name="connsiteY8" fmla="*/ 423862 h 800325"/>
                <a:gd name="connsiteX9" fmla="*/ 547368 w 752155"/>
                <a:gd name="connsiteY9" fmla="*/ 528637 h 800325"/>
                <a:gd name="connsiteX10" fmla="*/ 547368 w 752155"/>
                <a:gd name="connsiteY10" fmla="*/ 302418 h 800325"/>
                <a:gd name="connsiteX11" fmla="*/ 383062 w 752155"/>
                <a:gd name="connsiteY11" fmla="*/ 54768 h 800325"/>
                <a:gd name="connsiteX12" fmla="*/ 347343 w 75215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1174 w 752155"/>
                <a:gd name="connsiteY6" fmla="*/ 621506 h 800325"/>
                <a:gd name="connsiteX7" fmla="*/ 523555 w 752155"/>
                <a:gd name="connsiteY7" fmla="*/ 571500 h 800325"/>
                <a:gd name="connsiteX8" fmla="*/ 375918 w 752155"/>
                <a:gd name="connsiteY8" fmla="*/ 423862 h 800325"/>
                <a:gd name="connsiteX9" fmla="*/ 547368 w 752155"/>
                <a:gd name="connsiteY9" fmla="*/ 528637 h 800325"/>
                <a:gd name="connsiteX10" fmla="*/ 547368 w 752155"/>
                <a:gd name="connsiteY10" fmla="*/ 302418 h 800325"/>
                <a:gd name="connsiteX11" fmla="*/ 383062 w 752155"/>
                <a:gd name="connsiteY11" fmla="*/ 54768 h 800325"/>
                <a:gd name="connsiteX12" fmla="*/ 347343 w 75215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1174 w 752155"/>
                <a:gd name="connsiteY6" fmla="*/ 621506 h 800325"/>
                <a:gd name="connsiteX7" fmla="*/ 523555 w 752155"/>
                <a:gd name="connsiteY7" fmla="*/ 571500 h 800325"/>
                <a:gd name="connsiteX8" fmla="*/ 375918 w 752155"/>
                <a:gd name="connsiteY8" fmla="*/ 423862 h 800325"/>
                <a:gd name="connsiteX9" fmla="*/ 547368 w 752155"/>
                <a:gd name="connsiteY9" fmla="*/ 528637 h 800325"/>
                <a:gd name="connsiteX10" fmla="*/ 547368 w 752155"/>
                <a:gd name="connsiteY10" fmla="*/ 302418 h 800325"/>
                <a:gd name="connsiteX11" fmla="*/ 383062 w 752155"/>
                <a:gd name="connsiteY11" fmla="*/ 54768 h 800325"/>
                <a:gd name="connsiteX12" fmla="*/ 347343 w 75215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11649 w 752155"/>
                <a:gd name="connsiteY6" fmla="*/ 666751 h 800325"/>
                <a:gd name="connsiteX7" fmla="*/ 521174 w 752155"/>
                <a:gd name="connsiteY7" fmla="*/ 621506 h 800325"/>
                <a:gd name="connsiteX8" fmla="*/ 523555 w 752155"/>
                <a:gd name="connsiteY8" fmla="*/ 571500 h 800325"/>
                <a:gd name="connsiteX9" fmla="*/ 375918 w 752155"/>
                <a:gd name="connsiteY9" fmla="*/ 423862 h 800325"/>
                <a:gd name="connsiteX10" fmla="*/ 547368 w 752155"/>
                <a:gd name="connsiteY10" fmla="*/ 528637 h 800325"/>
                <a:gd name="connsiteX11" fmla="*/ 547368 w 752155"/>
                <a:gd name="connsiteY11" fmla="*/ 302418 h 800325"/>
                <a:gd name="connsiteX12" fmla="*/ 383062 w 752155"/>
                <a:gd name="connsiteY12" fmla="*/ 54768 h 800325"/>
                <a:gd name="connsiteX13" fmla="*/ 347343 w 752155"/>
                <a:gd name="connsiteY13"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3419 h 800325"/>
                <a:gd name="connsiteX7" fmla="*/ 521174 w 752155"/>
                <a:gd name="connsiteY7" fmla="*/ 621506 h 800325"/>
                <a:gd name="connsiteX8" fmla="*/ 523555 w 752155"/>
                <a:gd name="connsiteY8" fmla="*/ 571500 h 800325"/>
                <a:gd name="connsiteX9" fmla="*/ 375918 w 752155"/>
                <a:gd name="connsiteY9" fmla="*/ 423862 h 800325"/>
                <a:gd name="connsiteX10" fmla="*/ 547368 w 752155"/>
                <a:gd name="connsiteY10" fmla="*/ 528637 h 800325"/>
                <a:gd name="connsiteX11" fmla="*/ 547368 w 752155"/>
                <a:gd name="connsiteY11" fmla="*/ 302418 h 800325"/>
                <a:gd name="connsiteX12" fmla="*/ 383062 w 752155"/>
                <a:gd name="connsiteY12" fmla="*/ 54768 h 800325"/>
                <a:gd name="connsiteX13" fmla="*/ 347343 w 752155"/>
                <a:gd name="connsiteY13"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3419 h 800325"/>
                <a:gd name="connsiteX7" fmla="*/ 528318 w 752155"/>
                <a:gd name="connsiteY7" fmla="*/ 642938 h 800325"/>
                <a:gd name="connsiteX8" fmla="*/ 521174 w 752155"/>
                <a:gd name="connsiteY8" fmla="*/ 621506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3419 h 800325"/>
                <a:gd name="connsiteX7" fmla="*/ 387824 w 752155"/>
                <a:gd name="connsiteY7" fmla="*/ 614363 h 800325"/>
                <a:gd name="connsiteX8" fmla="*/ 521174 w 752155"/>
                <a:gd name="connsiteY8" fmla="*/ 621506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3419 h 800325"/>
                <a:gd name="connsiteX7" fmla="*/ 387824 w 752155"/>
                <a:gd name="connsiteY7" fmla="*/ 614363 h 800325"/>
                <a:gd name="connsiteX8" fmla="*/ 521174 w 752155"/>
                <a:gd name="connsiteY8" fmla="*/ 621506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1174 w 752155"/>
                <a:gd name="connsiteY8" fmla="*/ 621506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547368 w 752155"/>
                <a:gd name="connsiteY9" fmla="*/ 545306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537843 w 752155"/>
                <a:gd name="connsiteY9" fmla="*/ 578644 h 800325"/>
                <a:gd name="connsiteX10" fmla="*/ 547368 w 752155"/>
                <a:gd name="connsiteY10" fmla="*/ 545306 h 800325"/>
                <a:gd name="connsiteX11" fmla="*/ 375918 w 752155"/>
                <a:gd name="connsiteY11" fmla="*/ 423862 h 800325"/>
                <a:gd name="connsiteX12" fmla="*/ 547368 w 752155"/>
                <a:gd name="connsiteY12" fmla="*/ 528637 h 800325"/>
                <a:gd name="connsiteX13" fmla="*/ 547368 w 752155"/>
                <a:gd name="connsiteY13" fmla="*/ 302418 h 800325"/>
                <a:gd name="connsiteX14" fmla="*/ 383062 w 752155"/>
                <a:gd name="connsiteY14" fmla="*/ 54768 h 800325"/>
                <a:gd name="connsiteX15" fmla="*/ 347343 w 752155"/>
                <a:gd name="connsiteY15"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1630 w 752155"/>
                <a:gd name="connsiteY9" fmla="*/ 554831 h 800325"/>
                <a:gd name="connsiteX10" fmla="*/ 547368 w 752155"/>
                <a:gd name="connsiteY10" fmla="*/ 545306 h 800325"/>
                <a:gd name="connsiteX11" fmla="*/ 375918 w 752155"/>
                <a:gd name="connsiteY11" fmla="*/ 423862 h 800325"/>
                <a:gd name="connsiteX12" fmla="*/ 547368 w 752155"/>
                <a:gd name="connsiteY12" fmla="*/ 528637 h 800325"/>
                <a:gd name="connsiteX13" fmla="*/ 547368 w 752155"/>
                <a:gd name="connsiteY13" fmla="*/ 302418 h 800325"/>
                <a:gd name="connsiteX14" fmla="*/ 383062 w 752155"/>
                <a:gd name="connsiteY14" fmla="*/ 54768 h 800325"/>
                <a:gd name="connsiteX15" fmla="*/ 347343 w 752155"/>
                <a:gd name="connsiteY15"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1630 w 752155"/>
                <a:gd name="connsiteY9" fmla="*/ 554831 h 800325"/>
                <a:gd name="connsiteX10" fmla="*/ 447355 w 752155"/>
                <a:gd name="connsiteY10" fmla="*/ 552451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1630 w 752155"/>
                <a:gd name="connsiteY9" fmla="*/ 554831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99730 w 752155"/>
                <a:gd name="connsiteY12" fmla="*/ 428624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99730 w 752155"/>
                <a:gd name="connsiteY12" fmla="*/ 428624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99730 w 752155"/>
                <a:gd name="connsiteY12" fmla="*/ 428624 h 800325"/>
                <a:gd name="connsiteX13" fmla="*/ 533080 w 752155"/>
                <a:gd name="connsiteY13" fmla="*/ 435768 h 800325"/>
                <a:gd name="connsiteX14" fmla="*/ 547368 w 752155"/>
                <a:gd name="connsiteY14" fmla="*/ 302418 h 800325"/>
                <a:gd name="connsiteX15" fmla="*/ 383062 w 752155"/>
                <a:gd name="connsiteY15" fmla="*/ 54768 h 800325"/>
                <a:gd name="connsiteX16" fmla="*/ 347343 w 752155"/>
                <a:gd name="connsiteY16" fmla="*/ 0 h 800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52155" h="800325">
                  <a:moveTo>
                    <a:pt x="347343" y="0"/>
                  </a:moveTo>
                  <a:cubicBezTo>
                    <a:pt x="267174" y="22225"/>
                    <a:pt x="165574" y="11112"/>
                    <a:pt x="106836" y="66675"/>
                  </a:cubicBezTo>
                  <a:cubicBezTo>
                    <a:pt x="-11433" y="199230"/>
                    <a:pt x="-20164" y="298450"/>
                    <a:pt x="25873" y="497681"/>
                  </a:cubicBezTo>
                  <a:cubicBezTo>
                    <a:pt x="106835" y="742156"/>
                    <a:pt x="421161" y="822324"/>
                    <a:pt x="487836" y="795337"/>
                  </a:cubicBezTo>
                  <a:lnTo>
                    <a:pt x="752155" y="709613"/>
                  </a:lnTo>
                  <a:cubicBezTo>
                    <a:pt x="660079" y="719138"/>
                    <a:pt x="534668" y="731044"/>
                    <a:pt x="464024" y="695325"/>
                  </a:cubicBezTo>
                  <a:cubicBezTo>
                    <a:pt x="423940" y="688181"/>
                    <a:pt x="518793" y="698103"/>
                    <a:pt x="528318" y="685800"/>
                  </a:cubicBezTo>
                  <a:cubicBezTo>
                    <a:pt x="539034" y="677069"/>
                    <a:pt x="431878" y="688975"/>
                    <a:pt x="387824" y="614363"/>
                  </a:cubicBezTo>
                  <a:cubicBezTo>
                    <a:pt x="469976" y="611188"/>
                    <a:pt x="524349" y="619123"/>
                    <a:pt x="523555" y="607217"/>
                  </a:cubicBezTo>
                  <a:cubicBezTo>
                    <a:pt x="474343" y="604837"/>
                    <a:pt x="408461" y="600074"/>
                    <a:pt x="366392" y="557212"/>
                  </a:cubicBezTo>
                  <a:lnTo>
                    <a:pt x="383061" y="483395"/>
                  </a:lnTo>
                  <a:cubicBezTo>
                    <a:pt x="425923" y="532607"/>
                    <a:pt x="473550" y="553243"/>
                    <a:pt x="533080" y="559594"/>
                  </a:cubicBezTo>
                  <a:cubicBezTo>
                    <a:pt x="466405" y="540544"/>
                    <a:pt x="418779" y="488155"/>
                    <a:pt x="399730" y="428624"/>
                  </a:cubicBezTo>
                  <a:lnTo>
                    <a:pt x="533080" y="435768"/>
                  </a:lnTo>
                  <a:lnTo>
                    <a:pt x="547368" y="302418"/>
                  </a:lnTo>
                  <a:lnTo>
                    <a:pt x="383062" y="54768"/>
                  </a:lnTo>
                  <a:lnTo>
                    <a:pt x="347343" y="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IN" sz="1961" b="1" dirty="0">
                <a:solidFill>
                  <a:srgbClr val="FFFFFF"/>
                </a:solidFill>
                <a:latin typeface="Segoe UI Light"/>
                <a:ea typeface="Segoe UI" pitchFamily="34" charset="0"/>
                <a:cs typeface="Segoe UI" pitchFamily="34" charset="0"/>
              </a:endParaRPr>
            </a:p>
          </p:txBody>
        </p:sp>
        <p:grpSp>
          <p:nvGrpSpPr>
            <p:cNvPr id="24" name="Group 23"/>
            <p:cNvGrpSpPr/>
            <p:nvPr/>
          </p:nvGrpSpPr>
          <p:grpSpPr>
            <a:xfrm>
              <a:off x="306837" y="2966952"/>
              <a:ext cx="1385600" cy="1351044"/>
              <a:chOff x="1058398" y="3354141"/>
              <a:chExt cx="533724" cy="520412"/>
            </a:xfrm>
          </p:grpSpPr>
          <p:sp>
            <p:nvSpPr>
              <p:cNvPr id="25" name="Freeform 24"/>
              <p:cNvSpPr/>
              <p:nvPr/>
            </p:nvSpPr>
            <p:spPr bwMode="auto">
              <a:xfrm>
                <a:off x="1058398" y="3354142"/>
                <a:ext cx="533723" cy="415322"/>
              </a:xfrm>
              <a:custGeom>
                <a:avLst/>
                <a:gdLst>
                  <a:gd name="connsiteX0" fmla="*/ 528506 w 533723"/>
                  <a:gd name="connsiteY0" fmla="*/ 291832 h 418083"/>
                  <a:gd name="connsiteX1" fmla="*/ 510121 w 533723"/>
                  <a:gd name="connsiteY1" fmla="*/ 300446 h 418083"/>
                  <a:gd name="connsiteX2" fmla="*/ 500354 w 533723"/>
                  <a:gd name="connsiteY2" fmla="*/ 302312 h 418083"/>
                  <a:gd name="connsiteX3" fmla="*/ 489695 w 533723"/>
                  <a:gd name="connsiteY3" fmla="*/ 299159 h 418083"/>
                  <a:gd name="connsiteX4" fmla="*/ 490953 w 533723"/>
                  <a:gd name="connsiteY4" fmla="*/ 302242 h 418083"/>
                  <a:gd name="connsiteX5" fmla="*/ 490826 w 533723"/>
                  <a:gd name="connsiteY5" fmla="*/ 302554 h 418083"/>
                  <a:gd name="connsiteX6" fmla="*/ 497481 w 533723"/>
                  <a:gd name="connsiteY6" fmla="*/ 306188 h 418083"/>
                  <a:gd name="connsiteX7" fmla="*/ 505812 w 533723"/>
                  <a:gd name="connsiteY7" fmla="*/ 305901 h 418083"/>
                  <a:gd name="connsiteX8" fmla="*/ 523335 w 533723"/>
                  <a:gd name="connsiteY8" fmla="*/ 297575 h 418083"/>
                  <a:gd name="connsiteX9" fmla="*/ 528506 w 533723"/>
                  <a:gd name="connsiteY9" fmla="*/ 291832 h 418083"/>
                  <a:gd name="connsiteX10" fmla="*/ 459095 w 533723"/>
                  <a:gd name="connsiteY10" fmla="*/ 214354 h 418083"/>
                  <a:gd name="connsiteX11" fmla="*/ 470185 w 533723"/>
                  <a:gd name="connsiteY11" fmla="*/ 232917 h 418083"/>
                  <a:gd name="connsiteX12" fmla="*/ 469083 w 533723"/>
                  <a:gd name="connsiteY12" fmla="*/ 236710 h 418083"/>
                  <a:gd name="connsiteX13" fmla="*/ 465107 w 533723"/>
                  <a:gd name="connsiteY13" fmla="*/ 228628 h 418083"/>
                  <a:gd name="connsiteX14" fmla="*/ 462850 w 533723"/>
                  <a:gd name="connsiteY14" fmla="*/ 223907 h 418083"/>
                  <a:gd name="connsiteX15" fmla="*/ 461361 w 533723"/>
                  <a:gd name="connsiteY15" fmla="*/ 220754 h 418083"/>
                  <a:gd name="connsiteX16" fmla="*/ 458921 w 533723"/>
                  <a:gd name="connsiteY16" fmla="*/ 213862 h 418083"/>
                  <a:gd name="connsiteX17" fmla="*/ 459095 w 533723"/>
                  <a:gd name="connsiteY17" fmla="*/ 214354 h 418083"/>
                  <a:gd name="connsiteX18" fmla="*/ 458953 w 533723"/>
                  <a:gd name="connsiteY18" fmla="*/ 214116 h 418083"/>
                  <a:gd name="connsiteX19" fmla="*/ 231642 w 533723"/>
                  <a:gd name="connsiteY19" fmla="*/ 117869 h 418083"/>
                  <a:gd name="connsiteX20" fmla="*/ 245739 w 533723"/>
                  <a:gd name="connsiteY20" fmla="*/ 119960 h 418083"/>
                  <a:gd name="connsiteX21" fmla="*/ 247479 w 533723"/>
                  <a:gd name="connsiteY21" fmla="*/ 117948 h 418083"/>
                  <a:gd name="connsiteX22" fmla="*/ 241439 w 533723"/>
                  <a:gd name="connsiteY22" fmla="*/ 117896 h 418083"/>
                  <a:gd name="connsiteX23" fmla="*/ 231642 w 533723"/>
                  <a:gd name="connsiteY23" fmla="*/ 117869 h 418083"/>
                  <a:gd name="connsiteX24" fmla="*/ 393966 w 533723"/>
                  <a:gd name="connsiteY24" fmla="*/ 59548 h 418083"/>
                  <a:gd name="connsiteX25" fmla="*/ 394760 w 533723"/>
                  <a:gd name="connsiteY25" fmla="*/ 61641 h 418083"/>
                  <a:gd name="connsiteX26" fmla="*/ 396543 w 533723"/>
                  <a:gd name="connsiteY26" fmla="*/ 61922 h 418083"/>
                  <a:gd name="connsiteX27" fmla="*/ 135290 w 533723"/>
                  <a:gd name="connsiteY27" fmla="*/ 95 h 418083"/>
                  <a:gd name="connsiteX28" fmla="*/ 142002 w 533723"/>
                  <a:gd name="connsiteY28" fmla="*/ 118 h 418083"/>
                  <a:gd name="connsiteX29" fmla="*/ 184247 w 533723"/>
                  <a:gd name="connsiteY29" fmla="*/ 9888 h 418083"/>
                  <a:gd name="connsiteX30" fmla="*/ 237411 w 533723"/>
                  <a:gd name="connsiteY30" fmla="*/ 31727 h 418083"/>
                  <a:gd name="connsiteX31" fmla="*/ 273908 w 533723"/>
                  <a:gd name="connsiteY31" fmla="*/ 50693 h 418083"/>
                  <a:gd name="connsiteX32" fmla="*/ 300993 w 533723"/>
                  <a:gd name="connsiteY32" fmla="*/ 65241 h 418083"/>
                  <a:gd name="connsiteX33" fmla="*/ 313770 w 533723"/>
                  <a:gd name="connsiteY33" fmla="*/ 72415 h 418083"/>
                  <a:gd name="connsiteX34" fmla="*/ 317458 w 533723"/>
                  <a:gd name="connsiteY34" fmla="*/ 74704 h 418083"/>
                  <a:gd name="connsiteX35" fmla="*/ 321989 w 533723"/>
                  <a:gd name="connsiteY35" fmla="*/ 77518 h 418083"/>
                  <a:gd name="connsiteX36" fmla="*/ 328509 w 533723"/>
                  <a:gd name="connsiteY36" fmla="*/ 81728 h 418083"/>
                  <a:gd name="connsiteX37" fmla="*/ 329950 w 533723"/>
                  <a:gd name="connsiteY37" fmla="*/ 82770 h 418083"/>
                  <a:gd name="connsiteX38" fmla="*/ 322786 w 533723"/>
                  <a:gd name="connsiteY38" fmla="*/ 67357 h 418083"/>
                  <a:gd name="connsiteX39" fmla="*/ 318179 w 533723"/>
                  <a:gd name="connsiteY39" fmla="*/ 66024 h 418083"/>
                  <a:gd name="connsiteX40" fmla="*/ 315145 w 533723"/>
                  <a:gd name="connsiteY40" fmla="*/ 65146 h 418083"/>
                  <a:gd name="connsiteX41" fmla="*/ 315984 w 533723"/>
                  <a:gd name="connsiteY41" fmla="*/ 64282 h 418083"/>
                  <a:gd name="connsiteX42" fmla="*/ 336115 w 533723"/>
                  <a:gd name="connsiteY42" fmla="*/ 45493 h 418083"/>
                  <a:gd name="connsiteX43" fmla="*/ 339135 w 533723"/>
                  <a:gd name="connsiteY43" fmla="*/ 43303 h 418083"/>
                  <a:gd name="connsiteX44" fmla="*/ 344556 w 533723"/>
                  <a:gd name="connsiteY44" fmla="*/ 40552 h 418083"/>
                  <a:gd name="connsiteX45" fmla="*/ 348957 w 533723"/>
                  <a:gd name="connsiteY45" fmla="*/ 38760 h 418083"/>
                  <a:gd name="connsiteX46" fmla="*/ 368054 w 533723"/>
                  <a:gd name="connsiteY46" fmla="*/ 34807 h 418083"/>
                  <a:gd name="connsiteX47" fmla="*/ 382234 w 533723"/>
                  <a:gd name="connsiteY47" fmla="*/ 37952 h 418083"/>
                  <a:gd name="connsiteX48" fmla="*/ 390275 w 533723"/>
                  <a:gd name="connsiteY48" fmla="*/ 35652 h 418083"/>
                  <a:gd name="connsiteX49" fmla="*/ 390840 w 533723"/>
                  <a:gd name="connsiteY49" fmla="*/ 35749 h 418083"/>
                  <a:gd name="connsiteX50" fmla="*/ 391575 w 533723"/>
                  <a:gd name="connsiteY50" fmla="*/ 35894 h 418083"/>
                  <a:gd name="connsiteX51" fmla="*/ 391750 w 533723"/>
                  <a:gd name="connsiteY51" fmla="*/ 35955 h 418083"/>
                  <a:gd name="connsiteX52" fmla="*/ 392615 w 533723"/>
                  <a:gd name="connsiteY52" fmla="*/ 36327 h 418083"/>
                  <a:gd name="connsiteX53" fmla="*/ 393242 w 533723"/>
                  <a:gd name="connsiteY53" fmla="*/ 36306 h 418083"/>
                  <a:gd name="connsiteX54" fmla="*/ 393406 w 533723"/>
                  <a:gd name="connsiteY54" fmla="*/ 36317 h 418083"/>
                  <a:gd name="connsiteX55" fmla="*/ 397383 w 533723"/>
                  <a:gd name="connsiteY55" fmla="*/ 37341 h 418083"/>
                  <a:gd name="connsiteX56" fmla="*/ 408367 w 533723"/>
                  <a:gd name="connsiteY56" fmla="*/ 43126 h 418083"/>
                  <a:gd name="connsiteX57" fmla="*/ 459773 w 533723"/>
                  <a:gd name="connsiteY57" fmla="*/ 126491 h 418083"/>
                  <a:gd name="connsiteX58" fmla="*/ 441680 w 533723"/>
                  <a:gd name="connsiteY58" fmla="*/ 188008 h 418083"/>
                  <a:gd name="connsiteX59" fmla="*/ 442553 w 533723"/>
                  <a:gd name="connsiteY59" fmla="*/ 192637 h 418083"/>
                  <a:gd name="connsiteX60" fmla="*/ 443081 w 533723"/>
                  <a:gd name="connsiteY60" fmla="*/ 194875 h 418083"/>
                  <a:gd name="connsiteX61" fmla="*/ 451172 w 533723"/>
                  <a:gd name="connsiteY61" fmla="*/ 201092 h 418083"/>
                  <a:gd name="connsiteX62" fmla="*/ 458953 w 533723"/>
                  <a:gd name="connsiteY62" fmla="*/ 214116 h 418083"/>
                  <a:gd name="connsiteX63" fmla="*/ 459209 w 533723"/>
                  <a:gd name="connsiteY63" fmla="*/ 216161 h 418083"/>
                  <a:gd name="connsiteX64" fmla="*/ 460971 w 533723"/>
                  <a:gd name="connsiteY64" fmla="*/ 219929 h 418083"/>
                  <a:gd name="connsiteX65" fmla="*/ 461361 w 533723"/>
                  <a:gd name="connsiteY65" fmla="*/ 220754 h 418083"/>
                  <a:gd name="connsiteX66" fmla="*/ 470303 w 533723"/>
                  <a:gd name="connsiteY66" fmla="*/ 246015 h 418083"/>
                  <a:gd name="connsiteX67" fmla="*/ 469962 w 533723"/>
                  <a:gd name="connsiteY67" fmla="*/ 245448 h 418083"/>
                  <a:gd name="connsiteX68" fmla="*/ 468971 w 533723"/>
                  <a:gd name="connsiteY68" fmla="*/ 243799 h 418083"/>
                  <a:gd name="connsiteX69" fmla="*/ 464115 w 533723"/>
                  <a:gd name="connsiteY69" fmla="*/ 240660 h 418083"/>
                  <a:gd name="connsiteX70" fmla="*/ 457544 w 533723"/>
                  <a:gd name="connsiteY70" fmla="*/ 239804 h 418083"/>
                  <a:gd name="connsiteX71" fmla="*/ 463829 w 533723"/>
                  <a:gd name="connsiteY71" fmla="*/ 242086 h 418083"/>
                  <a:gd name="connsiteX72" fmla="*/ 469895 w 533723"/>
                  <a:gd name="connsiteY72" fmla="*/ 245979 h 418083"/>
                  <a:gd name="connsiteX73" fmla="*/ 470460 w 533723"/>
                  <a:gd name="connsiteY73" fmla="*/ 246460 h 418083"/>
                  <a:gd name="connsiteX74" fmla="*/ 485321 w 533723"/>
                  <a:gd name="connsiteY74" fmla="*/ 288443 h 418083"/>
                  <a:gd name="connsiteX75" fmla="*/ 485666 w 533723"/>
                  <a:gd name="connsiteY75" fmla="*/ 289289 h 418083"/>
                  <a:gd name="connsiteX76" fmla="*/ 485392 w 533723"/>
                  <a:gd name="connsiteY76" fmla="*/ 285754 h 418083"/>
                  <a:gd name="connsiteX77" fmla="*/ 485409 w 533723"/>
                  <a:gd name="connsiteY77" fmla="*/ 284254 h 418083"/>
                  <a:gd name="connsiteX78" fmla="*/ 485552 w 533723"/>
                  <a:gd name="connsiteY78" fmla="*/ 284634 h 418083"/>
                  <a:gd name="connsiteX79" fmla="*/ 487684 w 533723"/>
                  <a:gd name="connsiteY79" fmla="*/ 290297 h 418083"/>
                  <a:gd name="connsiteX80" fmla="*/ 487716 w 533723"/>
                  <a:gd name="connsiteY80" fmla="*/ 290381 h 418083"/>
                  <a:gd name="connsiteX81" fmla="*/ 487709 w 533723"/>
                  <a:gd name="connsiteY81" fmla="*/ 290382 h 418083"/>
                  <a:gd name="connsiteX82" fmla="*/ 486150 w 533723"/>
                  <a:gd name="connsiteY82" fmla="*/ 290474 h 418083"/>
                  <a:gd name="connsiteX83" fmla="*/ 488742 w 533723"/>
                  <a:gd name="connsiteY83" fmla="*/ 296824 h 418083"/>
                  <a:gd name="connsiteX84" fmla="*/ 494320 w 533723"/>
                  <a:gd name="connsiteY84" fmla="*/ 295556 h 418083"/>
                  <a:gd name="connsiteX85" fmla="*/ 512429 w 533723"/>
                  <a:gd name="connsiteY85" fmla="*/ 291820 h 418083"/>
                  <a:gd name="connsiteX86" fmla="*/ 519005 w 533723"/>
                  <a:gd name="connsiteY86" fmla="*/ 287509 h 418083"/>
                  <a:gd name="connsiteX87" fmla="*/ 520508 w 533723"/>
                  <a:gd name="connsiteY87" fmla="*/ 286839 h 418083"/>
                  <a:gd name="connsiteX88" fmla="*/ 522424 w 533723"/>
                  <a:gd name="connsiteY88" fmla="*/ 286502 h 418083"/>
                  <a:gd name="connsiteX89" fmla="*/ 523091 w 533723"/>
                  <a:gd name="connsiteY89" fmla="*/ 286385 h 418083"/>
                  <a:gd name="connsiteX90" fmla="*/ 525364 w 533723"/>
                  <a:gd name="connsiteY90" fmla="*/ 286646 h 418083"/>
                  <a:gd name="connsiteX91" fmla="*/ 533413 w 533723"/>
                  <a:gd name="connsiteY91" fmla="*/ 297855 h 418083"/>
                  <a:gd name="connsiteX92" fmla="*/ 530826 w 533723"/>
                  <a:gd name="connsiteY92" fmla="*/ 316249 h 418083"/>
                  <a:gd name="connsiteX93" fmla="*/ 530588 w 533723"/>
                  <a:gd name="connsiteY93" fmla="*/ 318085 h 418083"/>
                  <a:gd name="connsiteX94" fmla="*/ 530192 w 533723"/>
                  <a:gd name="connsiteY94" fmla="*/ 320320 h 418083"/>
                  <a:gd name="connsiteX95" fmla="*/ 529838 w 533723"/>
                  <a:gd name="connsiteY95" fmla="*/ 321637 h 418083"/>
                  <a:gd name="connsiteX96" fmla="*/ 526883 w 533723"/>
                  <a:gd name="connsiteY96" fmla="*/ 332653 h 418083"/>
                  <a:gd name="connsiteX97" fmla="*/ 524435 w 533723"/>
                  <a:gd name="connsiteY97" fmla="*/ 341781 h 418083"/>
                  <a:gd name="connsiteX98" fmla="*/ 519934 w 533723"/>
                  <a:gd name="connsiteY98" fmla="*/ 353045 h 418083"/>
                  <a:gd name="connsiteX99" fmla="*/ 493458 w 533723"/>
                  <a:gd name="connsiteY99" fmla="*/ 392987 h 418083"/>
                  <a:gd name="connsiteX100" fmla="*/ 421143 w 533723"/>
                  <a:gd name="connsiteY100" fmla="*/ 403455 h 418083"/>
                  <a:gd name="connsiteX101" fmla="*/ 416615 w 533723"/>
                  <a:gd name="connsiteY101" fmla="*/ 401105 h 418083"/>
                  <a:gd name="connsiteX102" fmla="*/ 415306 w 533723"/>
                  <a:gd name="connsiteY102" fmla="*/ 404311 h 418083"/>
                  <a:gd name="connsiteX103" fmla="*/ 382546 w 533723"/>
                  <a:gd name="connsiteY103" fmla="*/ 418083 h 418083"/>
                  <a:gd name="connsiteX104" fmla="*/ 364512 w 533723"/>
                  <a:gd name="connsiteY104" fmla="*/ 414388 h 418083"/>
                  <a:gd name="connsiteX105" fmla="*/ 362260 w 533723"/>
                  <a:gd name="connsiteY105" fmla="*/ 412847 h 418083"/>
                  <a:gd name="connsiteX106" fmla="*/ 359508 w 533723"/>
                  <a:gd name="connsiteY106" fmla="*/ 412530 h 418083"/>
                  <a:gd name="connsiteX107" fmla="*/ 354180 w 533723"/>
                  <a:gd name="connsiteY107" fmla="*/ 409493 h 418083"/>
                  <a:gd name="connsiteX108" fmla="*/ 351263 w 533723"/>
                  <a:gd name="connsiteY108" fmla="*/ 406931 h 418083"/>
                  <a:gd name="connsiteX109" fmla="*/ 351015 w 533723"/>
                  <a:gd name="connsiteY109" fmla="*/ 406713 h 418083"/>
                  <a:gd name="connsiteX110" fmla="*/ 348397 w 533723"/>
                  <a:gd name="connsiteY110" fmla="*/ 403432 h 418083"/>
                  <a:gd name="connsiteX111" fmla="*/ 347445 w 533723"/>
                  <a:gd name="connsiteY111" fmla="*/ 401927 h 418083"/>
                  <a:gd name="connsiteX112" fmla="*/ 345319 w 533723"/>
                  <a:gd name="connsiteY112" fmla="*/ 397536 h 418083"/>
                  <a:gd name="connsiteX113" fmla="*/ 344561 w 533723"/>
                  <a:gd name="connsiteY113" fmla="*/ 395286 h 418083"/>
                  <a:gd name="connsiteX114" fmla="*/ 335650 w 533723"/>
                  <a:gd name="connsiteY114" fmla="*/ 375455 h 418083"/>
                  <a:gd name="connsiteX115" fmla="*/ 322714 w 533723"/>
                  <a:gd name="connsiteY115" fmla="*/ 362234 h 418083"/>
                  <a:gd name="connsiteX116" fmla="*/ 319648 w 533723"/>
                  <a:gd name="connsiteY116" fmla="*/ 358159 h 418083"/>
                  <a:gd name="connsiteX117" fmla="*/ 319434 w 533723"/>
                  <a:gd name="connsiteY117" fmla="*/ 357823 h 418083"/>
                  <a:gd name="connsiteX118" fmla="*/ 314734 w 533723"/>
                  <a:gd name="connsiteY118" fmla="*/ 350455 h 418083"/>
                  <a:gd name="connsiteX119" fmla="*/ 319052 w 533723"/>
                  <a:gd name="connsiteY119" fmla="*/ 316733 h 418083"/>
                  <a:gd name="connsiteX120" fmla="*/ 323333 w 533723"/>
                  <a:gd name="connsiteY120" fmla="*/ 310656 h 418083"/>
                  <a:gd name="connsiteX121" fmla="*/ 320679 w 533723"/>
                  <a:gd name="connsiteY121" fmla="*/ 310837 h 418083"/>
                  <a:gd name="connsiteX122" fmla="*/ 316984 w 533723"/>
                  <a:gd name="connsiteY122" fmla="*/ 309959 h 418083"/>
                  <a:gd name="connsiteX123" fmla="*/ 278469 w 533723"/>
                  <a:gd name="connsiteY123" fmla="*/ 281787 h 418083"/>
                  <a:gd name="connsiteX124" fmla="*/ 279196 w 533723"/>
                  <a:gd name="connsiteY124" fmla="*/ 221148 h 418083"/>
                  <a:gd name="connsiteX125" fmla="*/ 281137 w 533723"/>
                  <a:gd name="connsiteY125" fmla="*/ 212759 h 418083"/>
                  <a:gd name="connsiteX126" fmla="*/ 280817 w 533723"/>
                  <a:gd name="connsiteY126" fmla="*/ 212855 h 418083"/>
                  <a:gd name="connsiteX127" fmla="*/ 280074 w 533723"/>
                  <a:gd name="connsiteY127" fmla="*/ 213019 h 418083"/>
                  <a:gd name="connsiteX128" fmla="*/ 208386 w 533723"/>
                  <a:gd name="connsiteY128" fmla="*/ 230868 h 418083"/>
                  <a:gd name="connsiteX129" fmla="*/ 129358 w 533723"/>
                  <a:gd name="connsiteY129" fmla="*/ 256155 h 418083"/>
                  <a:gd name="connsiteX130" fmla="*/ 76481 w 533723"/>
                  <a:gd name="connsiteY130" fmla="*/ 253856 h 418083"/>
                  <a:gd name="connsiteX131" fmla="*/ 56365 w 533723"/>
                  <a:gd name="connsiteY131" fmla="*/ 204718 h 418083"/>
                  <a:gd name="connsiteX132" fmla="*/ 6361 w 533723"/>
                  <a:gd name="connsiteY132" fmla="*/ 145234 h 418083"/>
                  <a:gd name="connsiteX133" fmla="*/ 4924 w 533723"/>
                  <a:gd name="connsiteY133" fmla="*/ 90923 h 418083"/>
                  <a:gd name="connsiteX134" fmla="*/ 26190 w 533723"/>
                  <a:gd name="connsiteY134" fmla="*/ 62762 h 418083"/>
                  <a:gd name="connsiteX135" fmla="*/ 51192 w 533723"/>
                  <a:gd name="connsiteY135" fmla="*/ 63624 h 418083"/>
                  <a:gd name="connsiteX136" fmla="*/ 92574 w 533723"/>
                  <a:gd name="connsiteY136" fmla="*/ 72245 h 418083"/>
                  <a:gd name="connsiteX137" fmla="*/ 148899 w 533723"/>
                  <a:gd name="connsiteY137" fmla="*/ 97533 h 418083"/>
                  <a:gd name="connsiteX138" fmla="*/ 100620 w 533723"/>
                  <a:gd name="connsiteY138" fmla="*/ 70233 h 418083"/>
                  <a:gd name="connsiteX139" fmla="*/ 68722 w 533723"/>
                  <a:gd name="connsiteY139" fmla="*/ 57877 h 418083"/>
                  <a:gd name="connsiteX140" fmla="*/ 95735 w 533723"/>
                  <a:gd name="connsiteY140" fmla="*/ 33739 h 418083"/>
                  <a:gd name="connsiteX141" fmla="*/ 118438 w 533723"/>
                  <a:gd name="connsiteY141" fmla="*/ 6440 h 418083"/>
                  <a:gd name="connsiteX142" fmla="*/ 135290 w 533723"/>
                  <a:gd name="connsiteY142" fmla="*/ 95 h 418083"/>
                  <a:gd name="connsiteX0" fmla="*/ 528506 w 533723"/>
                  <a:gd name="connsiteY0" fmla="*/ 291832 h 419386"/>
                  <a:gd name="connsiteX1" fmla="*/ 510121 w 533723"/>
                  <a:gd name="connsiteY1" fmla="*/ 300446 h 419386"/>
                  <a:gd name="connsiteX2" fmla="*/ 500354 w 533723"/>
                  <a:gd name="connsiteY2" fmla="*/ 302312 h 419386"/>
                  <a:gd name="connsiteX3" fmla="*/ 489695 w 533723"/>
                  <a:gd name="connsiteY3" fmla="*/ 299159 h 419386"/>
                  <a:gd name="connsiteX4" fmla="*/ 490953 w 533723"/>
                  <a:gd name="connsiteY4" fmla="*/ 302242 h 419386"/>
                  <a:gd name="connsiteX5" fmla="*/ 490826 w 533723"/>
                  <a:gd name="connsiteY5" fmla="*/ 302554 h 419386"/>
                  <a:gd name="connsiteX6" fmla="*/ 497481 w 533723"/>
                  <a:gd name="connsiteY6" fmla="*/ 306188 h 419386"/>
                  <a:gd name="connsiteX7" fmla="*/ 505812 w 533723"/>
                  <a:gd name="connsiteY7" fmla="*/ 305901 h 419386"/>
                  <a:gd name="connsiteX8" fmla="*/ 523335 w 533723"/>
                  <a:gd name="connsiteY8" fmla="*/ 297575 h 419386"/>
                  <a:gd name="connsiteX9" fmla="*/ 528506 w 533723"/>
                  <a:gd name="connsiteY9" fmla="*/ 291832 h 419386"/>
                  <a:gd name="connsiteX10" fmla="*/ 459095 w 533723"/>
                  <a:gd name="connsiteY10" fmla="*/ 214354 h 419386"/>
                  <a:gd name="connsiteX11" fmla="*/ 470185 w 533723"/>
                  <a:gd name="connsiteY11" fmla="*/ 232917 h 419386"/>
                  <a:gd name="connsiteX12" fmla="*/ 469083 w 533723"/>
                  <a:gd name="connsiteY12" fmla="*/ 236710 h 419386"/>
                  <a:gd name="connsiteX13" fmla="*/ 465107 w 533723"/>
                  <a:gd name="connsiteY13" fmla="*/ 228628 h 419386"/>
                  <a:gd name="connsiteX14" fmla="*/ 462850 w 533723"/>
                  <a:gd name="connsiteY14" fmla="*/ 223907 h 419386"/>
                  <a:gd name="connsiteX15" fmla="*/ 461361 w 533723"/>
                  <a:gd name="connsiteY15" fmla="*/ 220754 h 419386"/>
                  <a:gd name="connsiteX16" fmla="*/ 459095 w 533723"/>
                  <a:gd name="connsiteY16" fmla="*/ 214354 h 419386"/>
                  <a:gd name="connsiteX17" fmla="*/ 458921 w 533723"/>
                  <a:gd name="connsiteY17" fmla="*/ 213862 h 419386"/>
                  <a:gd name="connsiteX18" fmla="*/ 459095 w 533723"/>
                  <a:gd name="connsiteY18" fmla="*/ 214354 h 419386"/>
                  <a:gd name="connsiteX19" fmla="*/ 458953 w 533723"/>
                  <a:gd name="connsiteY19" fmla="*/ 214116 h 419386"/>
                  <a:gd name="connsiteX20" fmla="*/ 458921 w 533723"/>
                  <a:gd name="connsiteY20" fmla="*/ 213862 h 419386"/>
                  <a:gd name="connsiteX21" fmla="*/ 231642 w 533723"/>
                  <a:gd name="connsiteY21" fmla="*/ 117869 h 419386"/>
                  <a:gd name="connsiteX22" fmla="*/ 245739 w 533723"/>
                  <a:gd name="connsiteY22" fmla="*/ 119960 h 419386"/>
                  <a:gd name="connsiteX23" fmla="*/ 247479 w 533723"/>
                  <a:gd name="connsiteY23" fmla="*/ 117948 h 419386"/>
                  <a:gd name="connsiteX24" fmla="*/ 241439 w 533723"/>
                  <a:gd name="connsiteY24" fmla="*/ 117896 h 419386"/>
                  <a:gd name="connsiteX25" fmla="*/ 231642 w 533723"/>
                  <a:gd name="connsiteY25" fmla="*/ 117869 h 419386"/>
                  <a:gd name="connsiteX26" fmla="*/ 393966 w 533723"/>
                  <a:gd name="connsiteY26" fmla="*/ 59548 h 419386"/>
                  <a:gd name="connsiteX27" fmla="*/ 394760 w 533723"/>
                  <a:gd name="connsiteY27" fmla="*/ 61641 h 419386"/>
                  <a:gd name="connsiteX28" fmla="*/ 396543 w 533723"/>
                  <a:gd name="connsiteY28" fmla="*/ 61922 h 419386"/>
                  <a:gd name="connsiteX29" fmla="*/ 393966 w 533723"/>
                  <a:gd name="connsiteY29" fmla="*/ 59548 h 419386"/>
                  <a:gd name="connsiteX30" fmla="*/ 135290 w 533723"/>
                  <a:gd name="connsiteY30" fmla="*/ 95 h 419386"/>
                  <a:gd name="connsiteX31" fmla="*/ 142002 w 533723"/>
                  <a:gd name="connsiteY31" fmla="*/ 118 h 419386"/>
                  <a:gd name="connsiteX32" fmla="*/ 184247 w 533723"/>
                  <a:gd name="connsiteY32" fmla="*/ 9888 h 419386"/>
                  <a:gd name="connsiteX33" fmla="*/ 237411 w 533723"/>
                  <a:gd name="connsiteY33" fmla="*/ 31727 h 419386"/>
                  <a:gd name="connsiteX34" fmla="*/ 273908 w 533723"/>
                  <a:gd name="connsiteY34" fmla="*/ 50693 h 419386"/>
                  <a:gd name="connsiteX35" fmla="*/ 300993 w 533723"/>
                  <a:gd name="connsiteY35" fmla="*/ 65241 h 419386"/>
                  <a:gd name="connsiteX36" fmla="*/ 313770 w 533723"/>
                  <a:gd name="connsiteY36" fmla="*/ 72415 h 419386"/>
                  <a:gd name="connsiteX37" fmla="*/ 317458 w 533723"/>
                  <a:gd name="connsiteY37" fmla="*/ 74704 h 419386"/>
                  <a:gd name="connsiteX38" fmla="*/ 321989 w 533723"/>
                  <a:gd name="connsiteY38" fmla="*/ 77518 h 419386"/>
                  <a:gd name="connsiteX39" fmla="*/ 328509 w 533723"/>
                  <a:gd name="connsiteY39" fmla="*/ 81728 h 419386"/>
                  <a:gd name="connsiteX40" fmla="*/ 329950 w 533723"/>
                  <a:gd name="connsiteY40" fmla="*/ 82770 h 419386"/>
                  <a:gd name="connsiteX41" fmla="*/ 322786 w 533723"/>
                  <a:gd name="connsiteY41" fmla="*/ 67357 h 419386"/>
                  <a:gd name="connsiteX42" fmla="*/ 318179 w 533723"/>
                  <a:gd name="connsiteY42" fmla="*/ 66024 h 419386"/>
                  <a:gd name="connsiteX43" fmla="*/ 315145 w 533723"/>
                  <a:gd name="connsiteY43" fmla="*/ 65146 h 419386"/>
                  <a:gd name="connsiteX44" fmla="*/ 315984 w 533723"/>
                  <a:gd name="connsiteY44" fmla="*/ 64282 h 419386"/>
                  <a:gd name="connsiteX45" fmla="*/ 336115 w 533723"/>
                  <a:gd name="connsiteY45" fmla="*/ 45493 h 419386"/>
                  <a:gd name="connsiteX46" fmla="*/ 339135 w 533723"/>
                  <a:gd name="connsiteY46" fmla="*/ 43303 h 419386"/>
                  <a:gd name="connsiteX47" fmla="*/ 344556 w 533723"/>
                  <a:gd name="connsiteY47" fmla="*/ 40552 h 419386"/>
                  <a:gd name="connsiteX48" fmla="*/ 348957 w 533723"/>
                  <a:gd name="connsiteY48" fmla="*/ 38760 h 419386"/>
                  <a:gd name="connsiteX49" fmla="*/ 368054 w 533723"/>
                  <a:gd name="connsiteY49" fmla="*/ 34807 h 419386"/>
                  <a:gd name="connsiteX50" fmla="*/ 382234 w 533723"/>
                  <a:gd name="connsiteY50" fmla="*/ 37952 h 419386"/>
                  <a:gd name="connsiteX51" fmla="*/ 390275 w 533723"/>
                  <a:gd name="connsiteY51" fmla="*/ 35652 h 419386"/>
                  <a:gd name="connsiteX52" fmla="*/ 390840 w 533723"/>
                  <a:gd name="connsiteY52" fmla="*/ 35749 h 419386"/>
                  <a:gd name="connsiteX53" fmla="*/ 391575 w 533723"/>
                  <a:gd name="connsiteY53" fmla="*/ 35894 h 419386"/>
                  <a:gd name="connsiteX54" fmla="*/ 391750 w 533723"/>
                  <a:gd name="connsiteY54" fmla="*/ 35955 h 419386"/>
                  <a:gd name="connsiteX55" fmla="*/ 392615 w 533723"/>
                  <a:gd name="connsiteY55" fmla="*/ 36327 h 419386"/>
                  <a:gd name="connsiteX56" fmla="*/ 393242 w 533723"/>
                  <a:gd name="connsiteY56" fmla="*/ 36306 h 419386"/>
                  <a:gd name="connsiteX57" fmla="*/ 393406 w 533723"/>
                  <a:gd name="connsiteY57" fmla="*/ 36317 h 419386"/>
                  <a:gd name="connsiteX58" fmla="*/ 397383 w 533723"/>
                  <a:gd name="connsiteY58" fmla="*/ 37341 h 419386"/>
                  <a:gd name="connsiteX59" fmla="*/ 408367 w 533723"/>
                  <a:gd name="connsiteY59" fmla="*/ 43126 h 419386"/>
                  <a:gd name="connsiteX60" fmla="*/ 459773 w 533723"/>
                  <a:gd name="connsiteY60" fmla="*/ 126491 h 419386"/>
                  <a:gd name="connsiteX61" fmla="*/ 441680 w 533723"/>
                  <a:gd name="connsiteY61" fmla="*/ 188008 h 419386"/>
                  <a:gd name="connsiteX62" fmla="*/ 442553 w 533723"/>
                  <a:gd name="connsiteY62" fmla="*/ 192637 h 419386"/>
                  <a:gd name="connsiteX63" fmla="*/ 443081 w 533723"/>
                  <a:gd name="connsiteY63" fmla="*/ 194875 h 419386"/>
                  <a:gd name="connsiteX64" fmla="*/ 451172 w 533723"/>
                  <a:gd name="connsiteY64" fmla="*/ 201092 h 419386"/>
                  <a:gd name="connsiteX65" fmla="*/ 458953 w 533723"/>
                  <a:gd name="connsiteY65" fmla="*/ 214116 h 419386"/>
                  <a:gd name="connsiteX66" fmla="*/ 459209 w 533723"/>
                  <a:gd name="connsiteY66" fmla="*/ 216161 h 419386"/>
                  <a:gd name="connsiteX67" fmla="*/ 460971 w 533723"/>
                  <a:gd name="connsiteY67" fmla="*/ 219929 h 419386"/>
                  <a:gd name="connsiteX68" fmla="*/ 461361 w 533723"/>
                  <a:gd name="connsiteY68" fmla="*/ 220754 h 419386"/>
                  <a:gd name="connsiteX69" fmla="*/ 470303 w 533723"/>
                  <a:gd name="connsiteY69" fmla="*/ 246015 h 419386"/>
                  <a:gd name="connsiteX70" fmla="*/ 469962 w 533723"/>
                  <a:gd name="connsiteY70" fmla="*/ 245448 h 419386"/>
                  <a:gd name="connsiteX71" fmla="*/ 468971 w 533723"/>
                  <a:gd name="connsiteY71" fmla="*/ 243799 h 419386"/>
                  <a:gd name="connsiteX72" fmla="*/ 464115 w 533723"/>
                  <a:gd name="connsiteY72" fmla="*/ 240660 h 419386"/>
                  <a:gd name="connsiteX73" fmla="*/ 457544 w 533723"/>
                  <a:gd name="connsiteY73" fmla="*/ 239804 h 419386"/>
                  <a:gd name="connsiteX74" fmla="*/ 463829 w 533723"/>
                  <a:gd name="connsiteY74" fmla="*/ 242086 h 419386"/>
                  <a:gd name="connsiteX75" fmla="*/ 469895 w 533723"/>
                  <a:gd name="connsiteY75" fmla="*/ 245979 h 419386"/>
                  <a:gd name="connsiteX76" fmla="*/ 470460 w 533723"/>
                  <a:gd name="connsiteY76" fmla="*/ 246460 h 419386"/>
                  <a:gd name="connsiteX77" fmla="*/ 485321 w 533723"/>
                  <a:gd name="connsiteY77" fmla="*/ 288443 h 419386"/>
                  <a:gd name="connsiteX78" fmla="*/ 485666 w 533723"/>
                  <a:gd name="connsiteY78" fmla="*/ 289289 h 419386"/>
                  <a:gd name="connsiteX79" fmla="*/ 485392 w 533723"/>
                  <a:gd name="connsiteY79" fmla="*/ 285754 h 419386"/>
                  <a:gd name="connsiteX80" fmla="*/ 485409 w 533723"/>
                  <a:gd name="connsiteY80" fmla="*/ 284254 h 419386"/>
                  <a:gd name="connsiteX81" fmla="*/ 485552 w 533723"/>
                  <a:gd name="connsiteY81" fmla="*/ 284634 h 419386"/>
                  <a:gd name="connsiteX82" fmla="*/ 487684 w 533723"/>
                  <a:gd name="connsiteY82" fmla="*/ 290297 h 419386"/>
                  <a:gd name="connsiteX83" fmla="*/ 487716 w 533723"/>
                  <a:gd name="connsiteY83" fmla="*/ 290381 h 419386"/>
                  <a:gd name="connsiteX84" fmla="*/ 487709 w 533723"/>
                  <a:gd name="connsiteY84" fmla="*/ 290382 h 419386"/>
                  <a:gd name="connsiteX85" fmla="*/ 486150 w 533723"/>
                  <a:gd name="connsiteY85" fmla="*/ 290474 h 419386"/>
                  <a:gd name="connsiteX86" fmla="*/ 488742 w 533723"/>
                  <a:gd name="connsiteY86" fmla="*/ 296824 h 419386"/>
                  <a:gd name="connsiteX87" fmla="*/ 494320 w 533723"/>
                  <a:gd name="connsiteY87" fmla="*/ 295556 h 419386"/>
                  <a:gd name="connsiteX88" fmla="*/ 512429 w 533723"/>
                  <a:gd name="connsiteY88" fmla="*/ 291820 h 419386"/>
                  <a:gd name="connsiteX89" fmla="*/ 519005 w 533723"/>
                  <a:gd name="connsiteY89" fmla="*/ 287509 h 419386"/>
                  <a:gd name="connsiteX90" fmla="*/ 520508 w 533723"/>
                  <a:gd name="connsiteY90" fmla="*/ 286839 h 419386"/>
                  <a:gd name="connsiteX91" fmla="*/ 522424 w 533723"/>
                  <a:gd name="connsiteY91" fmla="*/ 286502 h 419386"/>
                  <a:gd name="connsiteX92" fmla="*/ 523091 w 533723"/>
                  <a:gd name="connsiteY92" fmla="*/ 286385 h 419386"/>
                  <a:gd name="connsiteX93" fmla="*/ 525364 w 533723"/>
                  <a:gd name="connsiteY93" fmla="*/ 286646 h 419386"/>
                  <a:gd name="connsiteX94" fmla="*/ 533413 w 533723"/>
                  <a:gd name="connsiteY94" fmla="*/ 297855 h 419386"/>
                  <a:gd name="connsiteX95" fmla="*/ 530826 w 533723"/>
                  <a:gd name="connsiteY95" fmla="*/ 316249 h 419386"/>
                  <a:gd name="connsiteX96" fmla="*/ 530588 w 533723"/>
                  <a:gd name="connsiteY96" fmla="*/ 318085 h 419386"/>
                  <a:gd name="connsiteX97" fmla="*/ 530192 w 533723"/>
                  <a:gd name="connsiteY97" fmla="*/ 320320 h 419386"/>
                  <a:gd name="connsiteX98" fmla="*/ 529838 w 533723"/>
                  <a:gd name="connsiteY98" fmla="*/ 321637 h 419386"/>
                  <a:gd name="connsiteX99" fmla="*/ 526883 w 533723"/>
                  <a:gd name="connsiteY99" fmla="*/ 332653 h 419386"/>
                  <a:gd name="connsiteX100" fmla="*/ 524435 w 533723"/>
                  <a:gd name="connsiteY100" fmla="*/ 341781 h 419386"/>
                  <a:gd name="connsiteX101" fmla="*/ 519934 w 533723"/>
                  <a:gd name="connsiteY101" fmla="*/ 353045 h 419386"/>
                  <a:gd name="connsiteX102" fmla="*/ 493458 w 533723"/>
                  <a:gd name="connsiteY102" fmla="*/ 392987 h 419386"/>
                  <a:gd name="connsiteX103" fmla="*/ 421143 w 533723"/>
                  <a:gd name="connsiteY103" fmla="*/ 403455 h 419386"/>
                  <a:gd name="connsiteX104" fmla="*/ 416615 w 533723"/>
                  <a:gd name="connsiteY104" fmla="*/ 401105 h 419386"/>
                  <a:gd name="connsiteX105" fmla="*/ 401019 w 533723"/>
                  <a:gd name="connsiteY105" fmla="*/ 392405 h 419386"/>
                  <a:gd name="connsiteX106" fmla="*/ 382546 w 533723"/>
                  <a:gd name="connsiteY106" fmla="*/ 418083 h 419386"/>
                  <a:gd name="connsiteX107" fmla="*/ 364512 w 533723"/>
                  <a:gd name="connsiteY107" fmla="*/ 414388 h 419386"/>
                  <a:gd name="connsiteX108" fmla="*/ 362260 w 533723"/>
                  <a:gd name="connsiteY108" fmla="*/ 412847 h 419386"/>
                  <a:gd name="connsiteX109" fmla="*/ 359508 w 533723"/>
                  <a:gd name="connsiteY109" fmla="*/ 412530 h 419386"/>
                  <a:gd name="connsiteX110" fmla="*/ 354180 w 533723"/>
                  <a:gd name="connsiteY110" fmla="*/ 409493 h 419386"/>
                  <a:gd name="connsiteX111" fmla="*/ 351263 w 533723"/>
                  <a:gd name="connsiteY111" fmla="*/ 406931 h 419386"/>
                  <a:gd name="connsiteX112" fmla="*/ 351015 w 533723"/>
                  <a:gd name="connsiteY112" fmla="*/ 406713 h 419386"/>
                  <a:gd name="connsiteX113" fmla="*/ 348397 w 533723"/>
                  <a:gd name="connsiteY113" fmla="*/ 403432 h 419386"/>
                  <a:gd name="connsiteX114" fmla="*/ 347445 w 533723"/>
                  <a:gd name="connsiteY114" fmla="*/ 401927 h 419386"/>
                  <a:gd name="connsiteX115" fmla="*/ 345319 w 533723"/>
                  <a:gd name="connsiteY115" fmla="*/ 397536 h 419386"/>
                  <a:gd name="connsiteX116" fmla="*/ 344561 w 533723"/>
                  <a:gd name="connsiteY116" fmla="*/ 395286 h 419386"/>
                  <a:gd name="connsiteX117" fmla="*/ 335650 w 533723"/>
                  <a:gd name="connsiteY117" fmla="*/ 375455 h 419386"/>
                  <a:gd name="connsiteX118" fmla="*/ 322714 w 533723"/>
                  <a:gd name="connsiteY118" fmla="*/ 362234 h 419386"/>
                  <a:gd name="connsiteX119" fmla="*/ 319648 w 533723"/>
                  <a:gd name="connsiteY119" fmla="*/ 358159 h 419386"/>
                  <a:gd name="connsiteX120" fmla="*/ 319434 w 533723"/>
                  <a:gd name="connsiteY120" fmla="*/ 357823 h 419386"/>
                  <a:gd name="connsiteX121" fmla="*/ 314734 w 533723"/>
                  <a:gd name="connsiteY121" fmla="*/ 350455 h 419386"/>
                  <a:gd name="connsiteX122" fmla="*/ 319052 w 533723"/>
                  <a:gd name="connsiteY122" fmla="*/ 316733 h 419386"/>
                  <a:gd name="connsiteX123" fmla="*/ 323333 w 533723"/>
                  <a:gd name="connsiteY123" fmla="*/ 310656 h 419386"/>
                  <a:gd name="connsiteX124" fmla="*/ 320679 w 533723"/>
                  <a:gd name="connsiteY124" fmla="*/ 310837 h 419386"/>
                  <a:gd name="connsiteX125" fmla="*/ 316984 w 533723"/>
                  <a:gd name="connsiteY125" fmla="*/ 309959 h 419386"/>
                  <a:gd name="connsiteX126" fmla="*/ 278469 w 533723"/>
                  <a:gd name="connsiteY126" fmla="*/ 281787 h 419386"/>
                  <a:gd name="connsiteX127" fmla="*/ 279196 w 533723"/>
                  <a:gd name="connsiteY127" fmla="*/ 221148 h 419386"/>
                  <a:gd name="connsiteX128" fmla="*/ 281137 w 533723"/>
                  <a:gd name="connsiteY128" fmla="*/ 212759 h 419386"/>
                  <a:gd name="connsiteX129" fmla="*/ 280817 w 533723"/>
                  <a:gd name="connsiteY129" fmla="*/ 212855 h 419386"/>
                  <a:gd name="connsiteX130" fmla="*/ 280074 w 533723"/>
                  <a:gd name="connsiteY130" fmla="*/ 213019 h 419386"/>
                  <a:gd name="connsiteX131" fmla="*/ 208386 w 533723"/>
                  <a:gd name="connsiteY131" fmla="*/ 230868 h 419386"/>
                  <a:gd name="connsiteX132" fmla="*/ 129358 w 533723"/>
                  <a:gd name="connsiteY132" fmla="*/ 256155 h 419386"/>
                  <a:gd name="connsiteX133" fmla="*/ 76481 w 533723"/>
                  <a:gd name="connsiteY133" fmla="*/ 253856 h 419386"/>
                  <a:gd name="connsiteX134" fmla="*/ 56365 w 533723"/>
                  <a:gd name="connsiteY134" fmla="*/ 204718 h 419386"/>
                  <a:gd name="connsiteX135" fmla="*/ 6361 w 533723"/>
                  <a:gd name="connsiteY135" fmla="*/ 145234 h 419386"/>
                  <a:gd name="connsiteX136" fmla="*/ 4924 w 533723"/>
                  <a:gd name="connsiteY136" fmla="*/ 90923 h 419386"/>
                  <a:gd name="connsiteX137" fmla="*/ 26190 w 533723"/>
                  <a:gd name="connsiteY137" fmla="*/ 62762 h 419386"/>
                  <a:gd name="connsiteX138" fmla="*/ 51192 w 533723"/>
                  <a:gd name="connsiteY138" fmla="*/ 63624 h 419386"/>
                  <a:gd name="connsiteX139" fmla="*/ 92574 w 533723"/>
                  <a:gd name="connsiteY139" fmla="*/ 72245 h 419386"/>
                  <a:gd name="connsiteX140" fmla="*/ 148899 w 533723"/>
                  <a:gd name="connsiteY140" fmla="*/ 97533 h 419386"/>
                  <a:gd name="connsiteX141" fmla="*/ 100620 w 533723"/>
                  <a:gd name="connsiteY141" fmla="*/ 70233 h 419386"/>
                  <a:gd name="connsiteX142" fmla="*/ 68722 w 533723"/>
                  <a:gd name="connsiteY142" fmla="*/ 57877 h 419386"/>
                  <a:gd name="connsiteX143" fmla="*/ 95735 w 533723"/>
                  <a:gd name="connsiteY143" fmla="*/ 33739 h 419386"/>
                  <a:gd name="connsiteX144" fmla="*/ 118438 w 533723"/>
                  <a:gd name="connsiteY144" fmla="*/ 6440 h 419386"/>
                  <a:gd name="connsiteX145" fmla="*/ 135290 w 533723"/>
                  <a:gd name="connsiteY145" fmla="*/ 95 h 419386"/>
                  <a:gd name="connsiteX0" fmla="*/ 528506 w 533723"/>
                  <a:gd name="connsiteY0" fmla="*/ 291832 h 415347"/>
                  <a:gd name="connsiteX1" fmla="*/ 510121 w 533723"/>
                  <a:gd name="connsiteY1" fmla="*/ 300446 h 415347"/>
                  <a:gd name="connsiteX2" fmla="*/ 500354 w 533723"/>
                  <a:gd name="connsiteY2" fmla="*/ 302312 h 415347"/>
                  <a:gd name="connsiteX3" fmla="*/ 489695 w 533723"/>
                  <a:gd name="connsiteY3" fmla="*/ 299159 h 415347"/>
                  <a:gd name="connsiteX4" fmla="*/ 490953 w 533723"/>
                  <a:gd name="connsiteY4" fmla="*/ 302242 h 415347"/>
                  <a:gd name="connsiteX5" fmla="*/ 490826 w 533723"/>
                  <a:gd name="connsiteY5" fmla="*/ 302554 h 415347"/>
                  <a:gd name="connsiteX6" fmla="*/ 497481 w 533723"/>
                  <a:gd name="connsiteY6" fmla="*/ 306188 h 415347"/>
                  <a:gd name="connsiteX7" fmla="*/ 505812 w 533723"/>
                  <a:gd name="connsiteY7" fmla="*/ 305901 h 415347"/>
                  <a:gd name="connsiteX8" fmla="*/ 523335 w 533723"/>
                  <a:gd name="connsiteY8" fmla="*/ 297575 h 415347"/>
                  <a:gd name="connsiteX9" fmla="*/ 528506 w 533723"/>
                  <a:gd name="connsiteY9" fmla="*/ 291832 h 415347"/>
                  <a:gd name="connsiteX10" fmla="*/ 459095 w 533723"/>
                  <a:gd name="connsiteY10" fmla="*/ 214354 h 415347"/>
                  <a:gd name="connsiteX11" fmla="*/ 470185 w 533723"/>
                  <a:gd name="connsiteY11" fmla="*/ 232917 h 415347"/>
                  <a:gd name="connsiteX12" fmla="*/ 469083 w 533723"/>
                  <a:gd name="connsiteY12" fmla="*/ 236710 h 415347"/>
                  <a:gd name="connsiteX13" fmla="*/ 465107 w 533723"/>
                  <a:gd name="connsiteY13" fmla="*/ 228628 h 415347"/>
                  <a:gd name="connsiteX14" fmla="*/ 462850 w 533723"/>
                  <a:gd name="connsiteY14" fmla="*/ 223907 h 415347"/>
                  <a:gd name="connsiteX15" fmla="*/ 461361 w 533723"/>
                  <a:gd name="connsiteY15" fmla="*/ 220754 h 415347"/>
                  <a:gd name="connsiteX16" fmla="*/ 459095 w 533723"/>
                  <a:gd name="connsiteY16" fmla="*/ 214354 h 415347"/>
                  <a:gd name="connsiteX17" fmla="*/ 458921 w 533723"/>
                  <a:gd name="connsiteY17" fmla="*/ 213862 h 415347"/>
                  <a:gd name="connsiteX18" fmla="*/ 459095 w 533723"/>
                  <a:gd name="connsiteY18" fmla="*/ 214354 h 415347"/>
                  <a:gd name="connsiteX19" fmla="*/ 458953 w 533723"/>
                  <a:gd name="connsiteY19" fmla="*/ 214116 h 415347"/>
                  <a:gd name="connsiteX20" fmla="*/ 458921 w 533723"/>
                  <a:gd name="connsiteY20" fmla="*/ 213862 h 415347"/>
                  <a:gd name="connsiteX21" fmla="*/ 231642 w 533723"/>
                  <a:gd name="connsiteY21" fmla="*/ 117869 h 415347"/>
                  <a:gd name="connsiteX22" fmla="*/ 245739 w 533723"/>
                  <a:gd name="connsiteY22" fmla="*/ 119960 h 415347"/>
                  <a:gd name="connsiteX23" fmla="*/ 247479 w 533723"/>
                  <a:gd name="connsiteY23" fmla="*/ 117948 h 415347"/>
                  <a:gd name="connsiteX24" fmla="*/ 241439 w 533723"/>
                  <a:gd name="connsiteY24" fmla="*/ 117896 h 415347"/>
                  <a:gd name="connsiteX25" fmla="*/ 231642 w 533723"/>
                  <a:gd name="connsiteY25" fmla="*/ 117869 h 415347"/>
                  <a:gd name="connsiteX26" fmla="*/ 393966 w 533723"/>
                  <a:gd name="connsiteY26" fmla="*/ 59548 h 415347"/>
                  <a:gd name="connsiteX27" fmla="*/ 394760 w 533723"/>
                  <a:gd name="connsiteY27" fmla="*/ 61641 h 415347"/>
                  <a:gd name="connsiteX28" fmla="*/ 396543 w 533723"/>
                  <a:gd name="connsiteY28" fmla="*/ 61922 h 415347"/>
                  <a:gd name="connsiteX29" fmla="*/ 393966 w 533723"/>
                  <a:gd name="connsiteY29" fmla="*/ 59548 h 415347"/>
                  <a:gd name="connsiteX30" fmla="*/ 135290 w 533723"/>
                  <a:gd name="connsiteY30" fmla="*/ 95 h 415347"/>
                  <a:gd name="connsiteX31" fmla="*/ 142002 w 533723"/>
                  <a:gd name="connsiteY31" fmla="*/ 118 h 415347"/>
                  <a:gd name="connsiteX32" fmla="*/ 184247 w 533723"/>
                  <a:gd name="connsiteY32" fmla="*/ 9888 h 415347"/>
                  <a:gd name="connsiteX33" fmla="*/ 237411 w 533723"/>
                  <a:gd name="connsiteY33" fmla="*/ 31727 h 415347"/>
                  <a:gd name="connsiteX34" fmla="*/ 273908 w 533723"/>
                  <a:gd name="connsiteY34" fmla="*/ 50693 h 415347"/>
                  <a:gd name="connsiteX35" fmla="*/ 300993 w 533723"/>
                  <a:gd name="connsiteY35" fmla="*/ 65241 h 415347"/>
                  <a:gd name="connsiteX36" fmla="*/ 313770 w 533723"/>
                  <a:gd name="connsiteY36" fmla="*/ 72415 h 415347"/>
                  <a:gd name="connsiteX37" fmla="*/ 317458 w 533723"/>
                  <a:gd name="connsiteY37" fmla="*/ 74704 h 415347"/>
                  <a:gd name="connsiteX38" fmla="*/ 321989 w 533723"/>
                  <a:gd name="connsiteY38" fmla="*/ 77518 h 415347"/>
                  <a:gd name="connsiteX39" fmla="*/ 328509 w 533723"/>
                  <a:gd name="connsiteY39" fmla="*/ 81728 h 415347"/>
                  <a:gd name="connsiteX40" fmla="*/ 329950 w 533723"/>
                  <a:gd name="connsiteY40" fmla="*/ 82770 h 415347"/>
                  <a:gd name="connsiteX41" fmla="*/ 322786 w 533723"/>
                  <a:gd name="connsiteY41" fmla="*/ 67357 h 415347"/>
                  <a:gd name="connsiteX42" fmla="*/ 318179 w 533723"/>
                  <a:gd name="connsiteY42" fmla="*/ 66024 h 415347"/>
                  <a:gd name="connsiteX43" fmla="*/ 315145 w 533723"/>
                  <a:gd name="connsiteY43" fmla="*/ 65146 h 415347"/>
                  <a:gd name="connsiteX44" fmla="*/ 315984 w 533723"/>
                  <a:gd name="connsiteY44" fmla="*/ 64282 h 415347"/>
                  <a:gd name="connsiteX45" fmla="*/ 336115 w 533723"/>
                  <a:gd name="connsiteY45" fmla="*/ 45493 h 415347"/>
                  <a:gd name="connsiteX46" fmla="*/ 339135 w 533723"/>
                  <a:gd name="connsiteY46" fmla="*/ 43303 h 415347"/>
                  <a:gd name="connsiteX47" fmla="*/ 344556 w 533723"/>
                  <a:gd name="connsiteY47" fmla="*/ 40552 h 415347"/>
                  <a:gd name="connsiteX48" fmla="*/ 348957 w 533723"/>
                  <a:gd name="connsiteY48" fmla="*/ 38760 h 415347"/>
                  <a:gd name="connsiteX49" fmla="*/ 368054 w 533723"/>
                  <a:gd name="connsiteY49" fmla="*/ 34807 h 415347"/>
                  <a:gd name="connsiteX50" fmla="*/ 382234 w 533723"/>
                  <a:gd name="connsiteY50" fmla="*/ 37952 h 415347"/>
                  <a:gd name="connsiteX51" fmla="*/ 390275 w 533723"/>
                  <a:gd name="connsiteY51" fmla="*/ 35652 h 415347"/>
                  <a:gd name="connsiteX52" fmla="*/ 390840 w 533723"/>
                  <a:gd name="connsiteY52" fmla="*/ 35749 h 415347"/>
                  <a:gd name="connsiteX53" fmla="*/ 391575 w 533723"/>
                  <a:gd name="connsiteY53" fmla="*/ 35894 h 415347"/>
                  <a:gd name="connsiteX54" fmla="*/ 391750 w 533723"/>
                  <a:gd name="connsiteY54" fmla="*/ 35955 h 415347"/>
                  <a:gd name="connsiteX55" fmla="*/ 392615 w 533723"/>
                  <a:gd name="connsiteY55" fmla="*/ 36327 h 415347"/>
                  <a:gd name="connsiteX56" fmla="*/ 393242 w 533723"/>
                  <a:gd name="connsiteY56" fmla="*/ 36306 h 415347"/>
                  <a:gd name="connsiteX57" fmla="*/ 393406 w 533723"/>
                  <a:gd name="connsiteY57" fmla="*/ 36317 h 415347"/>
                  <a:gd name="connsiteX58" fmla="*/ 397383 w 533723"/>
                  <a:gd name="connsiteY58" fmla="*/ 37341 h 415347"/>
                  <a:gd name="connsiteX59" fmla="*/ 408367 w 533723"/>
                  <a:gd name="connsiteY59" fmla="*/ 43126 h 415347"/>
                  <a:gd name="connsiteX60" fmla="*/ 459773 w 533723"/>
                  <a:gd name="connsiteY60" fmla="*/ 126491 h 415347"/>
                  <a:gd name="connsiteX61" fmla="*/ 441680 w 533723"/>
                  <a:gd name="connsiteY61" fmla="*/ 188008 h 415347"/>
                  <a:gd name="connsiteX62" fmla="*/ 442553 w 533723"/>
                  <a:gd name="connsiteY62" fmla="*/ 192637 h 415347"/>
                  <a:gd name="connsiteX63" fmla="*/ 443081 w 533723"/>
                  <a:gd name="connsiteY63" fmla="*/ 194875 h 415347"/>
                  <a:gd name="connsiteX64" fmla="*/ 451172 w 533723"/>
                  <a:gd name="connsiteY64" fmla="*/ 201092 h 415347"/>
                  <a:gd name="connsiteX65" fmla="*/ 458953 w 533723"/>
                  <a:gd name="connsiteY65" fmla="*/ 214116 h 415347"/>
                  <a:gd name="connsiteX66" fmla="*/ 459209 w 533723"/>
                  <a:gd name="connsiteY66" fmla="*/ 216161 h 415347"/>
                  <a:gd name="connsiteX67" fmla="*/ 460971 w 533723"/>
                  <a:gd name="connsiteY67" fmla="*/ 219929 h 415347"/>
                  <a:gd name="connsiteX68" fmla="*/ 461361 w 533723"/>
                  <a:gd name="connsiteY68" fmla="*/ 220754 h 415347"/>
                  <a:gd name="connsiteX69" fmla="*/ 470303 w 533723"/>
                  <a:gd name="connsiteY69" fmla="*/ 246015 h 415347"/>
                  <a:gd name="connsiteX70" fmla="*/ 469962 w 533723"/>
                  <a:gd name="connsiteY70" fmla="*/ 245448 h 415347"/>
                  <a:gd name="connsiteX71" fmla="*/ 468971 w 533723"/>
                  <a:gd name="connsiteY71" fmla="*/ 243799 h 415347"/>
                  <a:gd name="connsiteX72" fmla="*/ 464115 w 533723"/>
                  <a:gd name="connsiteY72" fmla="*/ 240660 h 415347"/>
                  <a:gd name="connsiteX73" fmla="*/ 457544 w 533723"/>
                  <a:gd name="connsiteY73" fmla="*/ 239804 h 415347"/>
                  <a:gd name="connsiteX74" fmla="*/ 463829 w 533723"/>
                  <a:gd name="connsiteY74" fmla="*/ 242086 h 415347"/>
                  <a:gd name="connsiteX75" fmla="*/ 469895 w 533723"/>
                  <a:gd name="connsiteY75" fmla="*/ 245979 h 415347"/>
                  <a:gd name="connsiteX76" fmla="*/ 470460 w 533723"/>
                  <a:gd name="connsiteY76" fmla="*/ 246460 h 415347"/>
                  <a:gd name="connsiteX77" fmla="*/ 485321 w 533723"/>
                  <a:gd name="connsiteY77" fmla="*/ 288443 h 415347"/>
                  <a:gd name="connsiteX78" fmla="*/ 485666 w 533723"/>
                  <a:gd name="connsiteY78" fmla="*/ 289289 h 415347"/>
                  <a:gd name="connsiteX79" fmla="*/ 485392 w 533723"/>
                  <a:gd name="connsiteY79" fmla="*/ 285754 h 415347"/>
                  <a:gd name="connsiteX80" fmla="*/ 485409 w 533723"/>
                  <a:gd name="connsiteY80" fmla="*/ 284254 h 415347"/>
                  <a:gd name="connsiteX81" fmla="*/ 485552 w 533723"/>
                  <a:gd name="connsiteY81" fmla="*/ 284634 h 415347"/>
                  <a:gd name="connsiteX82" fmla="*/ 487684 w 533723"/>
                  <a:gd name="connsiteY82" fmla="*/ 290297 h 415347"/>
                  <a:gd name="connsiteX83" fmla="*/ 487716 w 533723"/>
                  <a:gd name="connsiteY83" fmla="*/ 290381 h 415347"/>
                  <a:gd name="connsiteX84" fmla="*/ 487709 w 533723"/>
                  <a:gd name="connsiteY84" fmla="*/ 290382 h 415347"/>
                  <a:gd name="connsiteX85" fmla="*/ 486150 w 533723"/>
                  <a:gd name="connsiteY85" fmla="*/ 290474 h 415347"/>
                  <a:gd name="connsiteX86" fmla="*/ 488742 w 533723"/>
                  <a:gd name="connsiteY86" fmla="*/ 296824 h 415347"/>
                  <a:gd name="connsiteX87" fmla="*/ 494320 w 533723"/>
                  <a:gd name="connsiteY87" fmla="*/ 295556 h 415347"/>
                  <a:gd name="connsiteX88" fmla="*/ 512429 w 533723"/>
                  <a:gd name="connsiteY88" fmla="*/ 291820 h 415347"/>
                  <a:gd name="connsiteX89" fmla="*/ 519005 w 533723"/>
                  <a:gd name="connsiteY89" fmla="*/ 287509 h 415347"/>
                  <a:gd name="connsiteX90" fmla="*/ 520508 w 533723"/>
                  <a:gd name="connsiteY90" fmla="*/ 286839 h 415347"/>
                  <a:gd name="connsiteX91" fmla="*/ 522424 w 533723"/>
                  <a:gd name="connsiteY91" fmla="*/ 286502 h 415347"/>
                  <a:gd name="connsiteX92" fmla="*/ 523091 w 533723"/>
                  <a:gd name="connsiteY92" fmla="*/ 286385 h 415347"/>
                  <a:gd name="connsiteX93" fmla="*/ 525364 w 533723"/>
                  <a:gd name="connsiteY93" fmla="*/ 286646 h 415347"/>
                  <a:gd name="connsiteX94" fmla="*/ 533413 w 533723"/>
                  <a:gd name="connsiteY94" fmla="*/ 297855 h 415347"/>
                  <a:gd name="connsiteX95" fmla="*/ 530826 w 533723"/>
                  <a:gd name="connsiteY95" fmla="*/ 316249 h 415347"/>
                  <a:gd name="connsiteX96" fmla="*/ 530588 w 533723"/>
                  <a:gd name="connsiteY96" fmla="*/ 318085 h 415347"/>
                  <a:gd name="connsiteX97" fmla="*/ 530192 w 533723"/>
                  <a:gd name="connsiteY97" fmla="*/ 320320 h 415347"/>
                  <a:gd name="connsiteX98" fmla="*/ 529838 w 533723"/>
                  <a:gd name="connsiteY98" fmla="*/ 321637 h 415347"/>
                  <a:gd name="connsiteX99" fmla="*/ 526883 w 533723"/>
                  <a:gd name="connsiteY99" fmla="*/ 332653 h 415347"/>
                  <a:gd name="connsiteX100" fmla="*/ 524435 w 533723"/>
                  <a:gd name="connsiteY100" fmla="*/ 341781 h 415347"/>
                  <a:gd name="connsiteX101" fmla="*/ 519934 w 533723"/>
                  <a:gd name="connsiteY101" fmla="*/ 353045 h 415347"/>
                  <a:gd name="connsiteX102" fmla="*/ 493458 w 533723"/>
                  <a:gd name="connsiteY102" fmla="*/ 392987 h 415347"/>
                  <a:gd name="connsiteX103" fmla="*/ 421143 w 533723"/>
                  <a:gd name="connsiteY103" fmla="*/ 403455 h 415347"/>
                  <a:gd name="connsiteX104" fmla="*/ 416615 w 533723"/>
                  <a:gd name="connsiteY104" fmla="*/ 401105 h 415347"/>
                  <a:gd name="connsiteX105" fmla="*/ 401019 w 533723"/>
                  <a:gd name="connsiteY105" fmla="*/ 392405 h 415347"/>
                  <a:gd name="connsiteX106" fmla="*/ 381629 w 533723"/>
                  <a:gd name="connsiteY106" fmla="*/ 410745 h 415347"/>
                  <a:gd name="connsiteX107" fmla="*/ 364512 w 533723"/>
                  <a:gd name="connsiteY107" fmla="*/ 414388 h 415347"/>
                  <a:gd name="connsiteX108" fmla="*/ 362260 w 533723"/>
                  <a:gd name="connsiteY108" fmla="*/ 412847 h 415347"/>
                  <a:gd name="connsiteX109" fmla="*/ 359508 w 533723"/>
                  <a:gd name="connsiteY109" fmla="*/ 412530 h 415347"/>
                  <a:gd name="connsiteX110" fmla="*/ 354180 w 533723"/>
                  <a:gd name="connsiteY110" fmla="*/ 409493 h 415347"/>
                  <a:gd name="connsiteX111" fmla="*/ 351263 w 533723"/>
                  <a:gd name="connsiteY111" fmla="*/ 406931 h 415347"/>
                  <a:gd name="connsiteX112" fmla="*/ 351015 w 533723"/>
                  <a:gd name="connsiteY112" fmla="*/ 406713 h 415347"/>
                  <a:gd name="connsiteX113" fmla="*/ 348397 w 533723"/>
                  <a:gd name="connsiteY113" fmla="*/ 403432 h 415347"/>
                  <a:gd name="connsiteX114" fmla="*/ 347445 w 533723"/>
                  <a:gd name="connsiteY114" fmla="*/ 401927 h 415347"/>
                  <a:gd name="connsiteX115" fmla="*/ 345319 w 533723"/>
                  <a:gd name="connsiteY115" fmla="*/ 397536 h 415347"/>
                  <a:gd name="connsiteX116" fmla="*/ 344561 w 533723"/>
                  <a:gd name="connsiteY116" fmla="*/ 395286 h 415347"/>
                  <a:gd name="connsiteX117" fmla="*/ 335650 w 533723"/>
                  <a:gd name="connsiteY117" fmla="*/ 375455 h 415347"/>
                  <a:gd name="connsiteX118" fmla="*/ 322714 w 533723"/>
                  <a:gd name="connsiteY118" fmla="*/ 362234 h 415347"/>
                  <a:gd name="connsiteX119" fmla="*/ 319648 w 533723"/>
                  <a:gd name="connsiteY119" fmla="*/ 358159 h 415347"/>
                  <a:gd name="connsiteX120" fmla="*/ 319434 w 533723"/>
                  <a:gd name="connsiteY120" fmla="*/ 357823 h 415347"/>
                  <a:gd name="connsiteX121" fmla="*/ 314734 w 533723"/>
                  <a:gd name="connsiteY121" fmla="*/ 350455 h 415347"/>
                  <a:gd name="connsiteX122" fmla="*/ 319052 w 533723"/>
                  <a:gd name="connsiteY122" fmla="*/ 316733 h 415347"/>
                  <a:gd name="connsiteX123" fmla="*/ 323333 w 533723"/>
                  <a:gd name="connsiteY123" fmla="*/ 310656 h 415347"/>
                  <a:gd name="connsiteX124" fmla="*/ 320679 w 533723"/>
                  <a:gd name="connsiteY124" fmla="*/ 310837 h 415347"/>
                  <a:gd name="connsiteX125" fmla="*/ 316984 w 533723"/>
                  <a:gd name="connsiteY125" fmla="*/ 309959 h 415347"/>
                  <a:gd name="connsiteX126" fmla="*/ 278469 w 533723"/>
                  <a:gd name="connsiteY126" fmla="*/ 281787 h 415347"/>
                  <a:gd name="connsiteX127" fmla="*/ 279196 w 533723"/>
                  <a:gd name="connsiteY127" fmla="*/ 221148 h 415347"/>
                  <a:gd name="connsiteX128" fmla="*/ 281137 w 533723"/>
                  <a:gd name="connsiteY128" fmla="*/ 212759 h 415347"/>
                  <a:gd name="connsiteX129" fmla="*/ 280817 w 533723"/>
                  <a:gd name="connsiteY129" fmla="*/ 212855 h 415347"/>
                  <a:gd name="connsiteX130" fmla="*/ 280074 w 533723"/>
                  <a:gd name="connsiteY130" fmla="*/ 213019 h 415347"/>
                  <a:gd name="connsiteX131" fmla="*/ 208386 w 533723"/>
                  <a:gd name="connsiteY131" fmla="*/ 230868 h 415347"/>
                  <a:gd name="connsiteX132" fmla="*/ 129358 w 533723"/>
                  <a:gd name="connsiteY132" fmla="*/ 256155 h 415347"/>
                  <a:gd name="connsiteX133" fmla="*/ 76481 w 533723"/>
                  <a:gd name="connsiteY133" fmla="*/ 253856 h 415347"/>
                  <a:gd name="connsiteX134" fmla="*/ 56365 w 533723"/>
                  <a:gd name="connsiteY134" fmla="*/ 204718 h 415347"/>
                  <a:gd name="connsiteX135" fmla="*/ 6361 w 533723"/>
                  <a:gd name="connsiteY135" fmla="*/ 145234 h 415347"/>
                  <a:gd name="connsiteX136" fmla="*/ 4924 w 533723"/>
                  <a:gd name="connsiteY136" fmla="*/ 90923 h 415347"/>
                  <a:gd name="connsiteX137" fmla="*/ 26190 w 533723"/>
                  <a:gd name="connsiteY137" fmla="*/ 62762 h 415347"/>
                  <a:gd name="connsiteX138" fmla="*/ 51192 w 533723"/>
                  <a:gd name="connsiteY138" fmla="*/ 63624 h 415347"/>
                  <a:gd name="connsiteX139" fmla="*/ 92574 w 533723"/>
                  <a:gd name="connsiteY139" fmla="*/ 72245 h 415347"/>
                  <a:gd name="connsiteX140" fmla="*/ 148899 w 533723"/>
                  <a:gd name="connsiteY140" fmla="*/ 97533 h 415347"/>
                  <a:gd name="connsiteX141" fmla="*/ 100620 w 533723"/>
                  <a:gd name="connsiteY141" fmla="*/ 70233 h 415347"/>
                  <a:gd name="connsiteX142" fmla="*/ 68722 w 533723"/>
                  <a:gd name="connsiteY142" fmla="*/ 57877 h 415347"/>
                  <a:gd name="connsiteX143" fmla="*/ 95735 w 533723"/>
                  <a:gd name="connsiteY143" fmla="*/ 33739 h 415347"/>
                  <a:gd name="connsiteX144" fmla="*/ 118438 w 533723"/>
                  <a:gd name="connsiteY144" fmla="*/ 6440 h 415347"/>
                  <a:gd name="connsiteX145" fmla="*/ 135290 w 533723"/>
                  <a:gd name="connsiteY145" fmla="*/ 95 h 415347"/>
                  <a:gd name="connsiteX0" fmla="*/ 528506 w 533723"/>
                  <a:gd name="connsiteY0" fmla="*/ 291832 h 415322"/>
                  <a:gd name="connsiteX1" fmla="*/ 510121 w 533723"/>
                  <a:gd name="connsiteY1" fmla="*/ 300446 h 415322"/>
                  <a:gd name="connsiteX2" fmla="*/ 500354 w 533723"/>
                  <a:gd name="connsiteY2" fmla="*/ 302312 h 415322"/>
                  <a:gd name="connsiteX3" fmla="*/ 489695 w 533723"/>
                  <a:gd name="connsiteY3" fmla="*/ 299159 h 415322"/>
                  <a:gd name="connsiteX4" fmla="*/ 490953 w 533723"/>
                  <a:gd name="connsiteY4" fmla="*/ 302242 h 415322"/>
                  <a:gd name="connsiteX5" fmla="*/ 490826 w 533723"/>
                  <a:gd name="connsiteY5" fmla="*/ 302554 h 415322"/>
                  <a:gd name="connsiteX6" fmla="*/ 497481 w 533723"/>
                  <a:gd name="connsiteY6" fmla="*/ 306188 h 415322"/>
                  <a:gd name="connsiteX7" fmla="*/ 505812 w 533723"/>
                  <a:gd name="connsiteY7" fmla="*/ 305901 h 415322"/>
                  <a:gd name="connsiteX8" fmla="*/ 523335 w 533723"/>
                  <a:gd name="connsiteY8" fmla="*/ 297575 h 415322"/>
                  <a:gd name="connsiteX9" fmla="*/ 528506 w 533723"/>
                  <a:gd name="connsiteY9" fmla="*/ 291832 h 415322"/>
                  <a:gd name="connsiteX10" fmla="*/ 459095 w 533723"/>
                  <a:gd name="connsiteY10" fmla="*/ 214354 h 415322"/>
                  <a:gd name="connsiteX11" fmla="*/ 470185 w 533723"/>
                  <a:gd name="connsiteY11" fmla="*/ 232917 h 415322"/>
                  <a:gd name="connsiteX12" fmla="*/ 469083 w 533723"/>
                  <a:gd name="connsiteY12" fmla="*/ 236710 h 415322"/>
                  <a:gd name="connsiteX13" fmla="*/ 465107 w 533723"/>
                  <a:gd name="connsiteY13" fmla="*/ 228628 h 415322"/>
                  <a:gd name="connsiteX14" fmla="*/ 462850 w 533723"/>
                  <a:gd name="connsiteY14" fmla="*/ 223907 h 415322"/>
                  <a:gd name="connsiteX15" fmla="*/ 461361 w 533723"/>
                  <a:gd name="connsiteY15" fmla="*/ 220754 h 415322"/>
                  <a:gd name="connsiteX16" fmla="*/ 459095 w 533723"/>
                  <a:gd name="connsiteY16" fmla="*/ 214354 h 415322"/>
                  <a:gd name="connsiteX17" fmla="*/ 458921 w 533723"/>
                  <a:gd name="connsiteY17" fmla="*/ 213862 h 415322"/>
                  <a:gd name="connsiteX18" fmla="*/ 459095 w 533723"/>
                  <a:gd name="connsiteY18" fmla="*/ 214354 h 415322"/>
                  <a:gd name="connsiteX19" fmla="*/ 458953 w 533723"/>
                  <a:gd name="connsiteY19" fmla="*/ 214116 h 415322"/>
                  <a:gd name="connsiteX20" fmla="*/ 458921 w 533723"/>
                  <a:gd name="connsiteY20" fmla="*/ 213862 h 415322"/>
                  <a:gd name="connsiteX21" fmla="*/ 231642 w 533723"/>
                  <a:gd name="connsiteY21" fmla="*/ 117869 h 415322"/>
                  <a:gd name="connsiteX22" fmla="*/ 245739 w 533723"/>
                  <a:gd name="connsiteY22" fmla="*/ 119960 h 415322"/>
                  <a:gd name="connsiteX23" fmla="*/ 247479 w 533723"/>
                  <a:gd name="connsiteY23" fmla="*/ 117948 h 415322"/>
                  <a:gd name="connsiteX24" fmla="*/ 241439 w 533723"/>
                  <a:gd name="connsiteY24" fmla="*/ 117896 h 415322"/>
                  <a:gd name="connsiteX25" fmla="*/ 231642 w 533723"/>
                  <a:gd name="connsiteY25" fmla="*/ 117869 h 415322"/>
                  <a:gd name="connsiteX26" fmla="*/ 393966 w 533723"/>
                  <a:gd name="connsiteY26" fmla="*/ 59548 h 415322"/>
                  <a:gd name="connsiteX27" fmla="*/ 394760 w 533723"/>
                  <a:gd name="connsiteY27" fmla="*/ 61641 h 415322"/>
                  <a:gd name="connsiteX28" fmla="*/ 396543 w 533723"/>
                  <a:gd name="connsiteY28" fmla="*/ 61922 h 415322"/>
                  <a:gd name="connsiteX29" fmla="*/ 393966 w 533723"/>
                  <a:gd name="connsiteY29" fmla="*/ 59548 h 415322"/>
                  <a:gd name="connsiteX30" fmla="*/ 135290 w 533723"/>
                  <a:gd name="connsiteY30" fmla="*/ 95 h 415322"/>
                  <a:gd name="connsiteX31" fmla="*/ 142002 w 533723"/>
                  <a:gd name="connsiteY31" fmla="*/ 118 h 415322"/>
                  <a:gd name="connsiteX32" fmla="*/ 184247 w 533723"/>
                  <a:gd name="connsiteY32" fmla="*/ 9888 h 415322"/>
                  <a:gd name="connsiteX33" fmla="*/ 237411 w 533723"/>
                  <a:gd name="connsiteY33" fmla="*/ 31727 h 415322"/>
                  <a:gd name="connsiteX34" fmla="*/ 273908 w 533723"/>
                  <a:gd name="connsiteY34" fmla="*/ 50693 h 415322"/>
                  <a:gd name="connsiteX35" fmla="*/ 300993 w 533723"/>
                  <a:gd name="connsiteY35" fmla="*/ 65241 h 415322"/>
                  <a:gd name="connsiteX36" fmla="*/ 313770 w 533723"/>
                  <a:gd name="connsiteY36" fmla="*/ 72415 h 415322"/>
                  <a:gd name="connsiteX37" fmla="*/ 317458 w 533723"/>
                  <a:gd name="connsiteY37" fmla="*/ 74704 h 415322"/>
                  <a:gd name="connsiteX38" fmla="*/ 321989 w 533723"/>
                  <a:gd name="connsiteY38" fmla="*/ 77518 h 415322"/>
                  <a:gd name="connsiteX39" fmla="*/ 328509 w 533723"/>
                  <a:gd name="connsiteY39" fmla="*/ 81728 h 415322"/>
                  <a:gd name="connsiteX40" fmla="*/ 329950 w 533723"/>
                  <a:gd name="connsiteY40" fmla="*/ 82770 h 415322"/>
                  <a:gd name="connsiteX41" fmla="*/ 322786 w 533723"/>
                  <a:gd name="connsiteY41" fmla="*/ 67357 h 415322"/>
                  <a:gd name="connsiteX42" fmla="*/ 318179 w 533723"/>
                  <a:gd name="connsiteY42" fmla="*/ 66024 h 415322"/>
                  <a:gd name="connsiteX43" fmla="*/ 315145 w 533723"/>
                  <a:gd name="connsiteY43" fmla="*/ 65146 h 415322"/>
                  <a:gd name="connsiteX44" fmla="*/ 315984 w 533723"/>
                  <a:gd name="connsiteY44" fmla="*/ 64282 h 415322"/>
                  <a:gd name="connsiteX45" fmla="*/ 336115 w 533723"/>
                  <a:gd name="connsiteY45" fmla="*/ 45493 h 415322"/>
                  <a:gd name="connsiteX46" fmla="*/ 339135 w 533723"/>
                  <a:gd name="connsiteY46" fmla="*/ 43303 h 415322"/>
                  <a:gd name="connsiteX47" fmla="*/ 344556 w 533723"/>
                  <a:gd name="connsiteY47" fmla="*/ 40552 h 415322"/>
                  <a:gd name="connsiteX48" fmla="*/ 348957 w 533723"/>
                  <a:gd name="connsiteY48" fmla="*/ 38760 h 415322"/>
                  <a:gd name="connsiteX49" fmla="*/ 368054 w 533723"/>
                  <a:gd name="connsiteY49" fmla="*/ 34807 h 415322"/>
                  <a:gd name="connsiteX50" fmla="*/ 382234 w 533723"/>
                  <a:gd name="connsiteY50" fmla="*/ 37952 h 415322"/>
                  <a:gd name="connsiteX51" fmla="*/ 390275 w 533723"/>
                  <a:gd name="connsiteY51" fmla="*/ 35652 h 415322"/>
                  <a:gd name="connsiteX52" fmla="*/ 390840 w 533723"/>
                  <a:gd name="connsiteY52" fmla="*/ 35749 h 415322"/>
                  <a:gd name="connsiteX53" fmla="*/ 391575 w 533723"/>
                  <a:gd name="connsiteY53" fmla="*/ 35894 h 415322"/>
                  <a:gd name="connsiteX54" fmla="*/ 391750 w 533723"/>
                  <a:gd name="connsiteY54" fmla="*/ 35955 h 415322"/>
                  <a:gd name="connsiteX55" fmla="*/ 392615 w 533723"/>
                  <a:gd name="connsiteY55" fmla="*/ 36327 h 415322"/>
                  <a:gd name="connsiteX56" fmla="*/ 393242 w 533723"/>
                  <a:gd name="connsiteY56" fmla="*/ 36306 h 415322"/>
                  <a:gd name="connsiteX57" fmla="*/ 393406 w 533723"/>
                  <a:gd name="connsiteY57" fmla="*/ 36317 h 415322"/>
                  <a:gd name="connsiteX58" fmla="*/ 397383 w 533723"/>
                  <a:gd name="connsiteY58" fmla="*/ 37341 h 415322"/>
                  <a:gd name="connsiteX59" fmla="*/ 408367 w 533723"/>
                  <a:gd name="connsiteY59" fmla="*/ 43126 h 415322"/>
                  <a:gd name="connsiteX60" fmla="*/ 459773 w 533723"/>
                  <a:gd name="connsiteY60" fmla="*/ 126491 h 415322"/>
                  <a:gd name="connsiteX61" fmla="*/ 441680 w 533723"/>
                  <a:gd name="connsiteY61" fmla="*/ 188008 h 415322"/>
                  <a:gd name="connsiteX62" fmla="*/ 442553 w 533723"/>
                  <a:gd name="connsiteY62" fmla="*/ 192637 h 415322"/>
                  <a:gd name="connsiteX63" fmla="*/ 443081 w 533723"/>
                  <a:gd name="connsiteY63" fmla="*/ 194875 h 415322"/>
                  <a:gd name="connsiteX64" fmla="*/ 451172 w 533723"/>
                  <a:gd name="connsiteY64" fmla="*/ 201092 h 415322"/>
                  <a:gd name="connsiteX65" fmla="*/ 458953 w 533723"/>
                  <a:gd name="connsiteY65" fmla="*/ 214116 h 415322"/>
                  <a:gd name="connsiteX66" fmla="*/ 459209 w 533723"/>
                  <a:gd name="connsiteY66" fmla="*/ 216161 h 415322"/>
                  <a:gd name="connsiteX67" fmla="*/ 460971 w 533723"/>
                  <a:gd name="connsiteY67" fmla="*/ 219929 h 415322"/>
                  <a:gd name="connsiteX68" fmla="*/ 461361 w 533723"/>
                  <a:gd name="connsiteY68" fmla="*/ 220754 h 415322"/>
                  <a:gd name="connsiteX69" fmla="*/ 470303 w 533723"/>
                  <a:gd name="connsiteY69" fmla="*/ 246015 h 415322"/>
                  <a:gd name="connsiteX70" fmla="*/ 469962 w 533723"/>
                  <a:gd name="connsiteY70" fmla="*/ 245448 h 415322"/>
                  <a:gd name="connsiteX71" fmla="*/ 468971 w 533723"/>
                  <a:gd name="connsiteY71" fmla="*/ 243799 h 415322"/>
                  <a:gd name="connsiteX72" fmla="*/ 464115 w 533723"/>
                  <a:gd name="connsiteY72" fmla="*/ 240660 h 415322"/>
                  <a:gd name="connsiteX73" fmla="*/ 457544 w 533723"/>
                  <a:gd name="connsiteY73" fmla="*/ 239804 h 415322"/>
                  <a:gd name="connsiteX74" fmla="*/ 463829 w 533723"/>
                  <a:gd name="connsiteY74" fmla="*/ 242086 h 415322"/>
                  <a:gd name="connsiteX75" fmla="*/ 469895 w 533723"/>
                  <a:gd name="connsiteY75" fmla="*/ 245979 h 415322"/>
                  <a:gd name="connsiteX76" fmla="*/ 470460 w 533723"/>
                  <a:gd name="connsiteY76" fmla="*/ 246460 h 415322"/>
                  <a:gd name="connsiteX77" fmla="*/ 485321 w 533723"/>
                  <a:gd name="connsiteY77" fmla="*/ 288443 h 415322"/>
                  <a:gd name="connsiteX78" fmla="*/ 485666 w 533723"/>
                  <a:gd name="connsiteY78" fmla="*/ 289289 h 415322"/>
                  <a:gd name="connsiteX79" fmla="*/ 485392 w 533723"/>
                  <a:gd name="connsiteY79" fmla="*/ 285754 h 415322"/>
                  <a:gd name="connsiteX80" fmla="*/ 485409 w 533723"/>
                  <a:gd name="connsiteY80" fmla="*/ 284254 h 415322"/>
                  <a:gd name="connsiteX81" fmla="*/ 485552 w 533723"/>
                  <a:gd name="connsiteY81" fmla="*/ 284634 h 415322"/>
                  <a:gd name="connsiteX82" fmla="*/ 487684 w 533723"/>
                  <a:gd name="connsiteY82" fmla="*/ 290297 h 415322"/>
                  <a:gd name="connsiteX83" fmla="*/ 487716 w 533723"/>
                  <a:gd name="connsiteY83" fmla="*/ 290381 h 415322"/>
                  <a:gd name="connsiteX84" fmla="*/ 487709 w 533723"/>
                  <a:gd name="connsiteY84" fmla="*/ 290382 h 415322"/>
                  <a:gd name="connsiteX85" fmla="*/ 486150 w 533723"/>
                  <a:gd name="connsiteY85" fmla="*/ 290474 h 415322"/>
                  <a:gd name="connsiteX86" fmla="*/ 488742 w 533723"/>
                  <a:gd name="connsiteY86" fmla="*/ 296824 h 415322"/>
                  <a:gd name="connsiteX87" fmla="*/ 494320 w 533723"/>
                  <a:gd name="connsiteY87" fmla="*/ 295556 h 415322"/>
                  <a:gd name="connsiteX88" fmla="*/ 512429 w 533723"/>
                  <a:gd name="connsiteY88" fmla="*/ 291820 h 415322"/>
                  <a:gd name="connsiteX89" fmla="*/ 519005 w 533723"/>
                  <a:gd name="connsiteY89" fmla="*/ 287509 h 415322"/>
                  <a:gd name="connsiteX90" fmla="*/ 520508 w 533723"/>
                  <a:gd name="connsiteY90" fmla="*/ 286839 h 415322"/>
                  <a:gd name="connsiteX91" fmla="*/ 522424 w 533723"/>
                  <a:gd name="connsiteY91" fmla="*/ 286502 h 415322"/>
                  <a:gd name="connsiteX92" fmla="*/ 523091 w 533723"/>
                  <a:gd name="connsiteY92" fmla="*/ 286385 h 415322"/>
                  <a:gd name="connsiteX93" fmla="*/ 525364 w 533723"/>
                  <a:gd name="connsiteY93" fmla="*/ 286646 h 415322"/>
                  <a:gd name="connsiteX94" fmla="*/ 533413 w 533723"/>
                  <a:gd name="connsiteY94" fmla="*/ 297855 h 415322"/>
                  <a:gd name="connsiteX95" fmla="*/ 530826 w 533723"/>
                  <a:gd name="connsiteY95" fmla="*/ 316249 h 415322"/>
                  <a:gd name="connsiteX96" fmla="*/ 530588 w 533723"/>
                  <a:gd name="connsiteY96" fmla="*/ 318085 h 415322"/>
                  <a:gd name="connsiteX97" fmla="*/ 530192 w 533723"/>
                  <a:gd name="connsiteY97" fmla="*/ 320320 h 415322"/>
                  <a:gd name="connsiteX98" fmla="*/ 529838 w 533723"/>
                  <a:gd name="connsiteY98" fmla="*/ 321637 h 415322"/>
                  <a:gd name="connsiteX99" fmla="*/ 526883 w 533723"/>
                  <a:gd name="connsiteY99" fmla="*/ 332653 h 415322"/>
                  <a:gd name="connsiteX100" fmla="*/ 524435 w 533723"/>
                  <a:gd name="connsiteY100" fmla="*/ 341781 h 415322"/>
                  <a:gd name="connsiteX101" fmla="*/ 519934 w 533723"/>
                  <a:gd name="connsiteY101" fmla="*/ 353045 h 415322"/>
                  <a:gd name="connsiteX102" fmla="*/ 493458 w 533723"/>
                  <a:gd name="connsiteY102" fmla="*/ 392987 h 415322"/>
                  <a:gd name="connsiteX103" fmla="*/ 421143 w 533723"/>
                  <a:gd name="connsiteY103" fmla="*/ 403455 h 415322"/>
                  <a:gd name="connsiteX104" fmla="*/ 416615 w 533723"/>
                  <a:gd name="connsiteY104" fmla="*/ 401105 h 415322"/>
                  <a:gd name="connsiteX105" fmla="*/ 403771 w 533723"/>
                  <a:gd name="connsiteY105" fmla="*/ 393322 h 415322"/>
                  <a:gd name="connsiteX106" fmla="*/ 381629 w 533723"/>
                  <a:gd name="connsiteY106" fmla="*/ 410745 h 415322"/>
                  <a:gd name="connsiteX107" fmla="*/ 364512 w 533723"/>
                  <a:gd name="connsiteY107" fmla="*/ 414388 h 415322"/>
                  <a:gd name="connsiteX108" fmla="*/ 362260 w 533723"/>
                  <a:gd name="connsiteY108" fmla="*/ 412847 h 415322"/>
                  <a:gd name="connsiteX109" fmla="*/ 359508 w 533723"/>
                  <a:gd name="connsiteY109" fmla="*/ 412530 h 415322"/>
                  <a:gd name="connsiteX110" fmla="*/ 354180 w 533723"/>
                  <a:gd name="connsiteY110" fmla="*/ 409493 h 415322"/>
                  <a:gd name="connsiteX111" fmla="*/ 351263 w 533723"/>
                  <a:gd name="connsiteY111" fmla="*/ 406931 h 415322"/>
                  <a:gd name="connsiteX112" fmla="*/ 351015 w 533723"/>
                  <a:gd name="connsiteY112" fmla="*/ 406713 h 415322"/>
                  <a:gd name="connsiteX113" fmla="*/ 348397 w 533723"/>
                  <a:gd name="connsiteY113" fmla="*/ 403432 h 415322"/>
                  <a:gd name="connsiteX114" fmla="*/ 347445 w 533723"/>
                  <a:gd name="connsiteY114" fmla="*/ 401927 h 415322"/>
                  <a:gd name="connsiteX115" fmla="*/ 345319 w 533723"/>
                  <a:gd name="connsiteY115" fmla="*/ 397536 h 415322"/>
                  <a:gd name="connsiteX116" fmla="*/ 344561 w 533723"/>
                  <a:gd name="connsiteY116" fmla="*/ 395286 h 415322"/>
                  <a:gd name="connsiteX117" fmla="*/ 335650 w 533723"/>
                  <a:gd name="connsiteY117" fmla="*/ 375455 h 415322"/>
                  <a:gd name="connsiteX118" fmla="*/ 322714 w 533723"/>
                  <a:gd name="connsiteY118" fmla="*/ 362234 h 415322"/>
                  <a:gd name="connsiteX119" fmla="*/ 319648 w 533723"/>
                  <a:gd name="connsiteY119" fmla="*/ 358159 h 415322"/>
                  <a:gd name="connsiteX120" fmla="*/ 319434 w 533723"/>
                  <a:gd name="connsiteY120" fmla="*/ 357823 h 415322"/>
                  <a:gd name="connsiteX121" fmla="*/ 314734 w 533723"/>
                  <a:gd name="connsiteY121" fmla="*/ 350455 h 415322"/>
                  <a:gd name="connsiteX122" fmla="*/ 319052 w 533723"/>
                  <a:gd name="connsiteY122" fmla="*/ 316733 h 415322"/>
                  <a:gd name="connsiteX123" fmla="*/ 323333 w 533723"/>
                  <a:gd name="connsiteY123" fmla="*/ 310656 h 415322"/>
                  <a:gd name="connsiteX124" fmla="*/ 320679 w 533723"/>
                  <a:gd name="connsiteY124" fmla="*/ 310837 h 415322"/>
                  <a:gd name="connsiteX125" fmla="*/ 316984 w 533723"/>
                  <a:gd name="connsiteY125" fmla="*/ 309959 h 415322"/>
                  <a:gd name="connsiteX126" fmla="*/ 278469 w 533723"/>
                  <a:gd name="connsiteY126" fmla="*/ 281787 h 415322"/>
                  <a:gd name="connsiteX127" fmla="*/ 279196 w 533723"/>
                  <a:gd name="connsiteY127" fmla="*/ 221148 h 415322"/>
                  <a:gd name="connsiteX128" fmla="*/ 281137 w 533723"/>
                  <a:gd name="connsiteY128" fmla="*/ 212759 h 415322"/>
                  <a:gd name="connsiteX129" fmla="*/ 280817 w 533723"/>
                  <a:gd name="connsiteY129" fmla="*/ 212855 h 415322"/>
                  <a:gd name="connsiteX130" fmla="*/ 280074 w 533723"/>
                  <a:gd name="connsiteY130" fmla="*/ 213019 h 415322"/>
                  <a:gd name="connsiteX131" fmla="*/ 208386 w 533723"/>
                  <a:gd name="connsiteY131" fmla="*/ 230868 h 415322"/>
                  <a:gd name="connsiteX132" fmla="*/ 129358 w 533723"/>
                  <a:gd name="connsiteY132" fmla="*/ 256155 h 415322"/>
                  <a:gd name="connsiteX133" fmla="*/ 76481 w 533723"/>
                  <a:gd name="connsiteY133" fmla="*/ 253856 h 415322"/>
                  <a:gd name="connsiteX134" fmla="*/ 56365 w 533723"/>
                  <a:gd name="connsiteY134" fmla="*/ 204718 h 415322"/>
                  <a:gd name="connsiteX135" fmla="*/ 6361 w 533723"/>
                  <a:gd name="connsiteY135" fmla="*/ 145234 h 415322"/>
                  <a:gd name="connsiteX136" fmla="*/ 4924 w 533723"/>
                  <a:gd name="connsiteY136" fmla="*/ 90923 h 415322"/>
                  <a:gd name="connsiteX137" fmla="*/ 26190 w 533723"/>
                  <a:gd name="connsiteY137" fmla="*/ 62762 h 415322"/>
                  <a:gd name="connsiteX138" fmla="*/ 51192 w 533723"/>
                  <a:gd name="connsiteY138" fmla="*/ 63624 h 415322"/>
                  <a:gd name="connsiteX139" fmla="*/ 92574 w 533723"/>
                  <a:gd name="connsiteY139" fmla="*/ 72245 h 415322"/>
                  <a:gd name="connsiteX140" fmla="*/ 148899 w 533723"/>
                  <a:gd name="connsiteY140" fmla="*/ 97533 h 415322"/>
                  <a:gd name="connsiteX141" fmla="*/ 100620 w 533723"/>
                  <a:gd name="connsiteY141" fmla="*/ 70233 h 415322"/>
                  <a:gd name="connsiteX142" fmla="*/ 68722 w 533723"/>
                  <a:gd name="connsiteY142" fmla="*/ 57877 h 415322"/>
                  <a:gd name="connsiteX143" fmla="*/ 95735 w 533723"/>
                  <a:gd name="connsiteY143" fmla="*/ 33739 h 415322"/>
                  <a:gd name="connsiteX144" fmla="*/ 118438 w 533723"/>
                  <a:gd name="connsiteY144" fmla="*/ 6440 h 415322"/>
                  <a:gd name="connsiteX145" fmla="*/ 135290 w 533723"/>
                  <a:gd name="connsiteY145" fmla="*/ 95 h 415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533723" h="415322">
                    <a:moveTo>
                      <a:pt x="528506" y="291832"/>
                    </a:moveTo>
                    <a:cubicBezTo>
                      <a:pt x="528506" y="291832"/>
                      <a:pt x="516154" y="299584"/>
                      <a:pt x="510121" y="300446"/>
                    </a:cubicBezTo>
                    <a:cubicBezTo>
                      <a:pt x="507105" y="300877"/>
                      <a:pt x="504089" y="302097"/>
                      <a:pt x="500354" y="302312"/>
                    </a:cubicBezTo>
                    <a:lnTo>
                      <a:pt x="489695" y="299159"/>
                    </a:lnTo>
                    <a:lnTo>
                      <a:pt x="490953" y="302242"/>
                    </a:lnTo>
                    <a:cubicBezTo>
                      <a:pt x="490911" y="302346"/>
                      <a:pt x="490868" y="302450"/>
                      <a:pt x="490826" y="302554"/>
                    </a:cubicBezTo>
                    <a:lnTo>
                      <a:pt x="497481" y="306188"/>
                    </a:lnTo>
                    <a:cubicBezTo>
                      <a:pt x="502940" y="306475"/>
                      <a:pt x="505812" y="305901"/>
                      <a:pt x="505812" y="305901"/>
                    </a:cubicBezTo>
                    <a:cubicBezTo>
                      <a:pt x="517015" y="304465"/>
                      <a:pt x="521899" y="299010"/>
                      <a:pt x="523335" y="297575"/>
                    </a:cubicBezTo>
                    <a:cubicBezTo>
                      <a:pt x="525059" y="296426"/>
                      <a:pt x="528506" y="291832"/>
                      <a:pt x="528506" y="291832"/>
                    </a:cubicBezTo>
                    <a:close/>
                    <a:moveTo>
                      <a:pt x="459095" y="214354"/>
                    </a:moveTo>
                    <a:lnTo>
                      <a:pt x="470185" y="232917"/>
                    </a:lnTo>
                    <a:lnTo>
                      <a:pt x="469083" y="236710"/>
                    </a:lnTo>
                    <a:lnTo>
                      <a:pt x="465107" y="228628"/>
                    </a:lnTo>
                    <a:cubicBezTo>
                      <a:pt x="464316" y="226985"/>
                      <a:pt x="463551" y="225384"/>
                      <a:pt x="462850" y="223907"/>
                    </a:cubicBezTo>
                    <a:lnTo>
                      <a:pt x="461361" y="220754"/>
                    </a:lnTo>
                    <a:lnTo>
                      <a:pt x="459095" y="214354"/>
                    </a:lnTo>
                    <a:close/>
                    <a:moveTo>
                      <a:pt x="458921" y="213862"/>
                    </a:moveTo>
                    <a:lnTo>
                      <a:pt x="459095" y="214354"/>
                    </a:lnTo>
                    <a:lnTo>
                      <a:pt x="458953" y="214116"/>
                    </a:lnTo>
                    <a:cubicBezTo>
                      <a:pt x="458942" y="214031"/>
                      <a:pt x="458932" y="213947"/>
                      <a:pt x="458921" y="213862"/>
                    </a:cubicBezTo>
                    <a:close/>
                    <a:moveTo>
                      <a:pt x="231642" y="117869"/>
                    </a:moveTo>
                    <a:lnTo>
                      <a:pt x="245739" y="119960"/>
                    </a:lnTo>
                    <a:lnTo>
                      <a:pt x="247479" y="117948"/>
                    </a:lnTo>
                    <a:lnTo>
                      <a:pt x="241439" y="117896"/>
                    </a:lnTo>
                    <a:lnTo>
                      <a:pt x="231642" y="117869"/>
                    </a:lnTo>
                    <a:close/>
                    <a:moveTo>
                      <a:pt x="393966" y="59548"/>
                    </a:moveTo>
                    <a:lnTo>
                      <a:pt x="394760" y="61641"/>
                    </a:lnTo>
                    <a:lnTo>
                      <a:pt x="396543" y="61922"/>
                    </a:lnTo>
                    <a:lnTo>
                      <a:pt x="393966" y="59548"/>
                    </a:lnTo>
                    <a:close/>
                    <a:moveTo>
                      <a:pt x="135290" y="95"/>
                    </a:moveTo>
                    <a:cubicBezTo>
                      <a:pt x="137297" y="-44"/>
                      <a:pt x="139488" y="-26"/>
                      <a:pt x="142002" y="118"/>
                    </a:cubicBezTo>
                    <a:cubicBezTo>
                      <a:pt x="151773" y="692"/>
                      <a:pt x="171890" y="5290"/>
                      <a:pt x="184247" y="9888"/>
                    </a:cubicBezTo>
                    <a:cubicBezTo>
                      <a:pt x="196604" y="14198"/>
                      <a:pt x="225916" y="24831"/>
                      <a:pt x="237411" y="31727"/>
                    </a:cubicBezTo>
                    <a:cubicBezTo>
                      <a:pt x="250056" y="38911"/>
                      <a:pt x="261551" y="43509"/>
                      <a:pt x="273908" y="50693"/>
                    </a:cubicBezTo>
                    <a:cubicBezTo>
                      <a:pt x="280230" y="54285"/>
                      <a:pt x="290576" y="59601"/>
                      <a:pt x="300993" y="65241"/>
                    </a:cubicBezTo>
                    <a:lnTo>
                      <a:pt x="313770" y="72415"/>
                    </a:lnTo>
                    <a:lnTo>
                      <a:pt x="317458" y="74704"/>
                    </a:lnTo>
                    <a:lnTo>
                      <a:pt x="321989" y="77518"/>
                    </a:lnTo>
                    <a:lnTo>
                      <a:pt x="328509" y="81728"/>
                    </a:lnTo>
                    <a:lnTo>
                      <a:pt x="329950" y="82770"/>
                    </a:lnTo>
                    <a:lnTo>
                      <a:pt x="322786" y="67357"/>
                    </a:lnTo>
                    <a:lnTo>
                      <a:pt x="318179" y="66024"/>
                    </a:lnTo>
                    <a:lnTo>
                      <a:pt x="315145" y="65146"/>
                    </a:lnTo>
                    <a:lnTo>
                      <a:pt x="315984" y="64282"/>
                    </a:lnTo>
                    <a:cubicBezTo>
                      <a:pt x="319030" y="61163"/>
                      <a:pt x="328778" y="51321"/>
                      <a:pt x="336115" y="45493"/>
                    </a:cubicBezTo>
                    <a:lnTo>
                      <a:pt x="339135" y="43303"/>
                    </a:lnTo>
                    <a:lnTo>
                      <a:pt x="344556" y="40552"/>
                    </a:lnTo>
                    <a:lnTo>
                      <a:pt x="348957" y="38760"/>
                    </a:lnTo>
                    <a:cubicBezTo>
                      <a:pt x="353552" y="36748"/>
                      <a:pt x="359726" y="34376"/>
                      <a:pt x="368054" y="34807"/>
                    </a:cubicBezTo>
                    <a:cubicBezTo>
                      <a:pt x="372219" y="35023"/>
                      <a:pt x="376921" y="35939"/>
                      <a:pt x="382234" y="37952"/>
                    </a:cubicBezTo>
                    <a:cubicBezTo>
                      <a:pt x="403198" y="46001"/>
                      <a:pt x="390275" y="35652"/>
                      <a:pt x="390275" y="35652"/>
                    </a:cubicBezTo>
                    <a:cubicBezTo>
                      <a:pt x="390275" y="35652"/>
                      <a:pt x="390477" y="35683"/>
                      <a:pt x="390840" y="35749"/>
                    </a:cubicBezTo>
                    <a:lnTo>
                      <a:pt x="391575" y="35894"/>
                    </a:lnTo>
                    <a:lnTo>
                      <a:pt x="391750" y="35955"/>
                    </a:lnTo>
                    <a:cubicBezTo>
                      <a:pt x="392319" y="36184"/>
                      <a:pt x="392615" y="36327"/>
                      <a:pt x="392615" y="36327"/>
                    </a:cubicBezTo>
                    <a:cubicBezTo>
                      <a:pt x="392615" y="36327"/>
                      <a:pt x="392831" y="36305"/>
                      <a:pt x="393242" y="36306"/>
                    </a:cubicBezTo>
                    <a:lnTo>
                      <a:pt x="393406" y="36317"/>
                    </a:lnTo>
                    <a:lnTo>
                      <a:pt x="397383" y="37341"/>
                    </a:lnTo>
                    <a:cubicBezTo>
                      <a:pt x="401260" y="38527"/>
                      <a:pt x="405783" y="40395"/>
                      <a:pt x="408367" y="43126"/>
                    </a:cubicBezTo>
                    <a:cubicBezTo>
                      <a:pt x="413537" y="48875"/>
                      <a:pt x="463219" y="96019"/>
                      <a:pt x="459773" y="126491"/>
                    </a:cubicBezTo>
                    <a:cubicBezTo>
                      <a:pt x="457762" y="144888"/>
                      <a:pt x="440819" y="179671"/>
                      <a:pt x="441680" y="188008"/>
                    </a:cubicBezTo>
                    <a:cubicBezTo>
                      <a:pt x="441860" y="189266"/>
                      <a:pt x="442165" y="190853"/>
                      <a:pt x="442553" y="192637"/>
                    </a:cubicBezTo>
                    <a:lnTo>
                      <a:pt x="443081" y="194875"/>
                    </a:lnTo>
                    <a:lnTo>
                      <a:pt x="451172" y="201092"/>
                    </a:lnTo>
                    <a:lnTo>
                      <a:pt x="458953" y="214116"/>
                    </a:lnTo>
                    <a:cubicBezTo>
                      <a:pt x="459038" y="214798"/>
                      <a:pt x="459124" y="215479"/>
                      <a:pt x="459209" y="216161"/>
                    </a:cubicBezTo>
                    <a:cubicBezTo>
                      <a:pt x="459209" y="216161"/>
                      <a:pt x="459892" y="217634"/>
                      <a:pt x="460971" y="219929"/>
                    </a:cubicBezTo>
                    <a:lnTo>
                      <a:pt x="461361" y="220754"/>
                    </a:lnTo>
                    <a:lnTo>
                      <a:pt x="470303" y="246015"/>
                    </a:lnTo>
                    <a:lnTo>
                      <a:pt x="469962" y="245448"/>
                    </a:lnTo>
                    <a:lnTo>
                      <a:pt x="468971" y="243799"/>
                    </a:lnTo>
                    <a:cubicBezTo>
                      <a:pt x="468971" y="243799"/>
                      <a:pt x="466400" y="241516"/>
                      <a:pt x="464115" y="240660"/>
                    </a:cubicBezTo>
                    <a:cubicBezTo>
                      <a:pt x="461829" y="239518"/>
                      <a:pt x="457544" y="239804"/>
                      <a:pt x="457544" y="239804"/>
                    </a:cubicBezTo>
                    <a:cubicBezTo>
                      <a:pt x="457544" y="239804"/>
                      <a:pt x="461829" y="241516"/>
                      <a:pt x="463829" y="242086"/>
                    </a:cubicBezTo>
                    <a:cubicBezTo>
                      <a:pt x="465329" y="242300"/>
                      <a:pt x="468435" y="244762"/>
                      <a:pt x="469895" y="245979"/>
                    </a:cubicBezTo>
                    <a:lnTo>
                      <a:pt x="470460" y="246460"/>
                    </a:lnTo>
                    <a:lnTo>
                      <a:pt x="485321" y="288443"/>
                    </a:lnTo>
                    <a:lnTo>
                      <a:pt x="485666" y="289289"/>
                    </a:lnTo>
                    <a:cubicBezTo>
                      <a:pt x="485575" y="288111"/>
                      <a:pt x="485483" y="286932"/>
                      <a:pt x="485392" y="285754"/>
                    </a:cubicBezTo>
                    <a:cubicBezTo>
                      <a:pt x="485398" y="285254"/>
                      <a:pt x="485403" y="284754"/>
                      <a:pt x="485409" y="284254"/>
                    </a:cubicBezTo>
                    <a:cubicBezTo>
                      <a:pt x="485457" y="284381"/>
                      <a:pt x="485504" y="284507"/>
                      <a:pt x="485552" y="284634"/>
                    </a:cubicBezTo>
                    <a:lnTo>
                      <a:pt x="487684" y="290297"/>
                    </a:lnTo>
                    <a:cubicBezTo>
                      <a:pt x="487695" y="290325"/>
                      <a:pt x="487705" y="290353"/>
                      <a:pt x="487716" y="290381"/>
                    </a:cubicBezTo>
                    <a:cubicBezTo>
                      <a:pt x="487714" y="290381"/>
                      <a:pt x="487711" y="290382"/>
                      <a:pt x="487709" y="290382"/>
                    </a:cubicBezTo>
                    <a:lnTo>
                      <a:pt x="486150" y="290474"/>
                    </a:lnTo>
                    <a:lnTo>
                      <a:pt x="488742" y="296824"/>
                    </a:lnTo>
                    <a:lnTo>
                      <a:pt x="494320" y="295556"/>
                    </a:lnTo>
                    <a:cubicBezTo>
                      <a:pt x="500644" y="296131"/>
                      <a:pt x="506393" y="294406"/>
                      <a:pt x="512429" y="291820"/>
                    </a:cubicBezTo>
                    <a:cubicBezTo>
                      <a:pt x="515304" y="290526"/>
                      <a:pt x="517172" y="288730"/>
                      <a:pt x="519005" y="287509"/>
                    </a:cubicBezTo>
                    <a:lnTo>
                      <a:pt x="520508" y="286839"/>
                    </a:lnTo>
                    <a:lnTo>
                      <a:pt x="522424" y="286502"/>
                    </a:lnTo>
                    <a:lnTo>
                      <a:pt x="523091" y="286385"/>
                    </a:lnTo>
                    <a:lnTo>
                      <a:pt x="525364" y="286646"/>
                    </a:lnTo>
                    <a:cubicBezTo>
                      <a:pt x="530826" y="288371"/>
                      <a:pt x="531976" y="291532"/>
                      <a:pt x="533413" y="297855"/>
                    </a:cubicBezTo>
                    <a:cubicBezTo>
                      <a:pt x="534850" y="304178"/>
                      <a:pt x="530826" y="316249"/>
                      <a:pt x="530826" y="316249"/>
                    </a:cubicBezTo>
                    <a:cubicBezTo>
                      <a:pt x="530826" y="316249"/>
                      <a:pt x="530763" y="316891"/>
                      <a:pt x="530588" y="318085"/>
                    </a:cubicBezTo>
                    <a:lnTo>
                      <a:pt x="530192" y="320320"/>
                    </a:lnTo>
                    <a:lnTo>
                      <a:pt x="529838" y="321637"/>
                    </a:lnTo>
                    <a:lnTo>
                      <a:pt x="526883" y="332653"/>
                    </a:lnTo>
                    <a:lnTo>
                      <a:pt x="524435" y="341781"/>
                    </a:lnTo>
                    <a:lnTo>
                      <a:pt x="519934" y="353045"/>
                    </a:lnTo>
                    <a:cubicBezTo>
                      <a:pt x="514343" y="365490"/>
                      <a:pt x="505962" y="379622"/>
                      <a:pt x="493458" y="392987"/>
                    </a:cubicBezTo>
                    <a:cubicBezTo>
                      <a:pt x="468666" y="419716"/>
                      <a:pt x="437567" y="410878"/>
                      <a:pt x="421143" y="403455"/>
                    </a:cubicBezTo>
                    <a:lnTo>
                      <a:pt x="416615" y="401105"/>
                    </a:lnTo>
                    <a:cubicBezTo>
                      <a:pt x="416179" y="402174"/>
                      <a:pt x="404207" y="392253"/>
                      <a:pt x="403771" y="393322"/>
                    </a:cubicBezTo>
                    <a:cubicBezTo>
                      <a:pt x="395387" y="401831"/>
                      <a:pt x="388172" y="407234"/>
                      <a:pt x="381629" y="410745"/>
                    </a:cubicBezTo>
                    <a:cubicBezTo>
                      <a:pt x="375086" y="414256"/>
                      <a:pt x="370055" y="416767"/>
                      <a:pt x="364512" y="414388"/>
                    </a:cubicBezTo>
                    <a:lnTo>
                      <a:pt x="362260" y="412847"/>
                    </a:lnTo>
                    <a:lnTo>
                      <a:pt x="359508" y="412530"/>
                    </a:lnTo>
                    <a:lnTo>
                      <a:pt x="354180" y="409493"/>
                    </a:lnTo>
                    <a:lnTo>
                      <a:pt x="351263" y="406931"/>
                    </a:lnTo>
                    <a:lnTo>
                      <a:pt x="351015" y="406713"/>
                    </a:lnTo>
                    <a:lnTo>
                      <a:pt x="348397" y="403432"/>
                    </a:lnTo>
                    <a:lnTo>
                      <a:pt x="347445" y="401927"/>
                    </a:lnTo>
                    <a:lnTo>
                      <a:pt x="345319" y="397536"/>
                    </a:lnTo>
                    <a:cubicBezTo>
                      <a:pt x="344794" y="396166"/>
                      <a:pt x="344561" y="395286"/>
                      <a:pt x="344561" y="395286"/>
                    </a:cubicBezTo>
                    <a:lnTo>
                      <a:pt x="335650" y="375455"/>
                    </a:lnTo>
                    <a:cubicBezTo>
                      <a:pt x="335650" y="375455"/>
                      <a:pt x="327314" y="367408"/>
                      <a:pt x="322714" y="362234"/>
                    </a:cubicBezTo>
                    <a:lnTo>
                      <a:pt x="319648" y="358159"/>
                    </a:lnTo>
                    <a:lnTo>
                      <a:pt x="319434" y="357823"/>
                    </a:lnTo>
                    <a:lnTo>
                      <a:pt x="314734" y="350455"/>
                    </a:lnTo>
                    <a:cubicBezTo>
                      <a:pt x="314734" y="350455"/>
                      <a:pt x="310334" y="332411"/>
                      <a:pt x="319052" y="316733"/>
                    </a:cubicBezTo>
                    <a:lnTo>
                      <a:pt x="323333" y="310656"/>
                    </a:lnTo>
                    <a:lnTo>
                      <a:pt x="320679" y="310837"/>
                    </a:lnTo>
                    <a:cubicBezTo>
                      <a:pt x="319405" y="310763"/>
                      <a:pt x="318170" y="310498"/>
                      <a:pt x="316984" y="309959"/>
                    </a:cubicBezTo>
                    <a:cubicBezTo>
                      <a:pt x="307787" y="305647"/>
                      <a:pt x="281056" y="298172"/>
                      <a:pt x="278469" y="281787"/>
                    </a:cubicBezTo>
                    <a:cubicBezTo>
                      <a:pt x="276529" y="269497"/>
                      <a:pt x="275235" y="243140"/>
                      <a:pt x="279196" y="221148"/>
                    </a:cubicBezTo>
                    <a:lnTo>
                      <a:pt x="281137" y="212759"/>
                    </a:lnTo>
                    <a:lnTo>
                      <a:pt x="280817" y="212855"/>
                    </a:lnTo>
                    <a:lnTo>
                      <a:pt x="280074" y="213019"/>
                    </a:lnTo>
                    <a:cubicBezTo>
                      <a:pt x="269049" y="215467"/>
                      <a:pt x="223976" y="225587"/>
                      <a:pt x="208386" y="230868"/>
                    </a:cubicBezTo>
                    <a:cubicBezTo>
                      <a:pt x="190569" y="236902"/>
                      <a:pt x="148612" y="256155"/>
                      <a:pt x="129358" y="256155"/>
                    </a:cubicBezTo>
                    <a:cubicBezTo>
                      <a:pt x="102632" y="255868"/>
                      <a:pt x="76481" y="253856"/>
                      <a:pt x="76481" y="253856"/>
                    </a:cubicBezTo>
                    <a:cubicBezTo>
                      <a:pt x="76481" y="253856"/>
                      <a:pt x="66710" y="217649"/>
                      <a:pt x="56365" y="204718"/>
                    </a:cubicBezTo>
                    <a:cubicBezTo>
                      <a:pt x="45732" y="191787"/>
                      <a:pt x="12971" y="165062"/>
                      <a:pt x="6361" y="145234"/>
                    </a:cubicBezTo>
                    <a:cubicBezTo>
                      <a:pt x="39" y="125119"/>
                      <a:pt x="-3409" y="109027"/>
                      <a:pt x="4924" y="90923"/>
                    </a:cubicBezTo>
                    <a:cubicBezTo>
                      <a:pt x="12971" y="73107"/>
                      <a:pt x="26190" y="62762"/>
                      <a:pt x="26190" y="62762"/>
                    </a:cubicBezTo>
                    <a:lnTo>
                      <a:pt x="51192" y="63624"/>
                    </a:lnTo>
                    <a:cubicBezTo>
                      <a:pt x="62399" y="65061"/>
                      <a:pt x="80217" y="68222"/>
                      <a:pt x="92574" y="72245"/>
                    </a:cubicBezTo>
                    <a:cubicBezTo>
                      <a:pt x="104644" y="76268"/>
                      <a:pt x="148899" y="97533"/>
                      <a:pt x="148899" y="97533"/>
                    </a:cubicBezTo>
                    <a:lnTo>
                      <a:pt x="100620" y="70233"/>
                    </a:lnTo>
                    <a:lnTo>
                      <a:pt x="68722" y="57877"/>
                    </a:lnTo>
                    <a:cubicBezTo>
                      <a:pt x="68722" y="57877"/>
                      <a:pt x="82803" y="49544"/>
                      <a:pt x="95735" y="33739"/>
                    </a:cubicBezTo>
                    <a:cubicBezTo>
                      <a:pt x="108667" y="17934"/>
                      <a:pt x="109816" y="12187"/>
                      <a:pt x="118438" y="6440"/>
                    </a:cubicBezTo>
                    <a:cubicBezTo>
                      <a:pt x="124904" y="2345"/>
                      <a:pt x="129268" y="513"/>
                      <a:pt x="135290" y="95"/>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IN" sz="1961" b="1" dirty="0">
                  <a:solidFill>
                    <a:srgbClr val="FFFFFF"/>
                  </a:solidFill>
                  <a:latin typeface="Segoe UI Light"/>
                  <a:ea typeface="Segoe UI" pitchFamily="34" charset="0"/>
                  <a:cs typeface="Segoe UI" pitchFamily="34" charset="0"/>
                </a:endParaRPr>
              </a:p>
            </p:txBody>
          </p:sp>
          <p:sp>
            <p:nvSpPr>
              <p:cNvPr id="26" name="Freeform 25"/>
              <p:cNvSpPr>
                <a:spLocks/>
              </p:cNvSpPr>
              <p:nvPr/>
            </p:nvSpPr>
            <p:spPr bwMode="auto">
              <a:xfrm>
                <a:off x="1203881" y="3576757"/>
                <a:ext cx="290830" cy="297796"/>
              </a:xfrm>
              <a:custGeom>
                <a:avLst/>
                <a:gdLst>
                  <a:gd name="connsiteX0" fmla="*/ 1222186 w 2129049"/>
                  <a:gd name="connsiteY0" fmla="*/ 1839320 h 2180047"/>
                  <a:gd name="connsiteX1" fmla="*/ 1208400 w 2129049"/>
                  <a:gd name="connsiteY1" fmla="*/ 1841119 h 2180047"/>
                  <a:gd name="connsiteX2" fmla="*/ 1186099 w 2129049"/>
                  <a:gd name="connsiteY2" fmla="*/ 1843640 h 2180047"/>
                  <a:gd name="connsiteX3" fmla="*/ 1188379 w 2129049"/>
                  <a:gd name="connsiteY3" fmla="*/ 1844841 h 2180047"/>
                  <a:gd name="connsiteX4" fmla="*/ 1243194 w 2129049"/>
                  <a:gd name="connsiteY4" fmla="*/ 1939957 h 2180047"/>
                  <a:gd name="connsiteX5" fmla="*/ 1223702 w 2129049"/>
                  <a:gd name="connsiteY5" fmla="*/ 1853174 h 2180047"/>
                  <a:gd name="connsiteX6" fmla="*/ 1222569 w 2129049"/>
                  <a:gd name="connsiteY6" fmla="*/ 1839342 h 2180047"/>
                  <a:gd name="connsiteX7" fmla="*/ 441891 w 2129049"/>
                  <a:gd name="connsiteY7" fmla="*/ 1746105 h 2180047"/>
                  <a:gd name="connsiteX8" fmla="*/ 450977 w 2129049"/>
                  <a:gd name="connsiteY8" fmla="*/ 1757606 h 2180047"/>
                  <a:gd name="connsiteX9" fmla="*/ 707370 w 2129049"/>
                  <a:gd name="connsiteY9" fmla="*/ 1976776 h 2180047"/>
                  <a:gd name="connsiteX10" fmla="*/ 766453 w 2129049"/>
                  <a:gd name="connsiteY10" fmla="*/ 2010648 h 2180047"/>
                  <a:gd name="connsiteX11" fmla="*/ 831225 w 2129049"/>
                  <a:gd name="connsiteY11" fmla="*/ 2015356 h 2180047"/>
                  <a:gd name="connsiteX12" fmla="*/ 999836 w 2129049"/>
                  <a:gd name="connsiteY12" fmla="*/ 2014732 h 2180047"/>
                  <a:gd name="connsiteX13" fmla="*/ 1033552 w 2129049"/>
                  <a:gd name="connsiteY13" fmla="*/ 2011934 h 2180047"/>
                  <a:gd name="connsiteX14" fmla="*/ 1030508 w 2129049"/>
                  <a:gd name="connsiteY14" fmla="*/ 1991231 h 2180047"/>
                  <a:gd name="connsiteX15" fmla="*/ 1069280 w 2129049"/>
                  <a:gd name="connsiteY15" fmla="*/ 1869985 h 2180047"/>
                  <a:gd name="connsiteX16" fmla="*/ 1086998 w 2129049"/>
                  <a:gd name="connsiteY16" fmla="*/ 1852207 h 2180047"/>
                  <a:gd name="connsiteX17" fmla="*/ 1040249 w 2129049"/>
                  <a:gd name="connsiteY17" fmla="*/ 1855089 h 2180047"/>
                  <a:gd name="connsiteX18" fmla="*/ 700561 w 2129049"/>
                  <a:gd name="connsiteY18" fmla="*/ 1833012 h 2180047"/>
                  <a:gd name="connsiteX19" fmla="*/ 442094 w 2129049"/>
                  <a:gd name="connsiteY19" fmla="*/ 1746192 h 2180047"/>
                  <a:gd name="connsiteX20" fmla="*/ 1059954 w 2129049"/>
                  <a:gd name="connsiteY20" fmla="*/ 1504433 h 2180047"/>
                  <a:gd name="connsiteX21" fmla="*/ 1137935 w 2129049"/>
                  <a:gd name="connsiteY21" fmla="*/ 1553560 h 2180047"/>
                  <a:gd name="connsiteX22" fmla="*/ 1232714 w 2129049"/>
                  <a:gd name="connsiteY22" fmla="*/ 1597039 h 2180047"/>
                  <a:gd name="connsiteX23" fmla="*/ 1498003 w 2129049"/>
                  <a:gd name="connsiteY23" fmla="*/ 1620193 h 2180047"/>
                  <a:gd name="connsiteX24" fmla="*/ 1417995 w 2129049"/>
                  <a:gd name="connsiteY24" fmla="*/ 1660186 h 2180047"/>
                  <a:gd name="connsiteX25" fmla="*/ 1260085 w 2129049"/>
                  <a:gd name="connsiteY25" fmla="*/ 1660186 h 2180047"/>
                  <a:gd name="connsiteX26" fmla="*/ 1110597 w 2129049"/>
                  <a:gd name="connsiteY26" fmla="*/ 1640189 h 2180047"/>
                  <a:gd name="connsiteX27" fmla="*/ 1099046 w 2129049"/>
                  <a:gd name="connsiteY27" fmla="*/ 1638682 h 2180047"/>
                  <a:gd name="connsiteX28" fmla="*/ 251840 w 2129049"/>
                  <a:gd name="connsiteY28" fmla="*/ 316333 h 2180047"/>
                  <a:gd name="connsiteX29" fmla="*/ 246796 w 2129049"/>
                  <a:gd name="connsiteY29" fmla="*/ 329846 h 2180047"/>
                  <a:gd name="connsiteX30" fmla="*/ 161902 w 2129049"/>
                  <a:gd name="connsiteY30" fmla="*/ 686152 h 2180047"/>
                  <a:gd name="connsiteX31" fmla="*/ 163319 w 2129049"/>
                  <a:gd name="connsiteY31" fmla="*/ 765157 h 2180047"/>
                  <a:gd name="connsiteX32" fmla="*/ 168120 w 2129049"/>
                  <a:gd name="connsiteY32" fmla="*/ 772124 h 2180047"/>
                  <a:gd name="connsiteX33" fmla="*/ 462568 w 2129049"/>
                  <a:gd name="connsiteY33" fmla="*/ 1054574 h 2180047"/>
                  <a:gd name="connsiteX34" fmla="*/ 1083519 w 2129049"/>
                  <a:gd name="connsiteY34" fmla="*/ 1296666 h 2180047"/>
                  <a:gd name="connsiteX35" fmla="*/ 1112988 w 2129049"/>
                  <a:gd name="connsiteY35" fmla="*/ 1212460 h 2180047"/>
                  <a:gd name="connsiteX36" fmla="*/ 635171 w 2129049"/>
                  <a:gd name="connsiteY36" fmla="*/ 913528 h 2180047"/>
                  <a:gd name="connsiteX37" fmla="*/ 256327 w 2129049"/>
                  <a:gd name="connsiteY37" fmla="*/ 344726 h 2180047"/>
                  <a:gd name="connsiteX38" fmla="*/ 203697 w 2129049"/>
                  <a:gd name="connsiteY38" fmla="*/ 216555 h 2180047"/>
                  <a:gd name="connsiteX39" fmla="*/ 195507 w 2129049"/>
                  <a:gd name="connsiteY39" fmla="*/ 224152 h 2180047"/>
                  <a:gd name="connsiteX40" fmla="*/ 153435 w 2129049"/>
                  <a:gd name="connsiteY40" fmla="*/ 280530 h 2180047"/>
                  <a:gd name="connsiteX41" fmla="*/ 119142 w 2129049"/>
                  <a:gd name="connsiteY41" fmla="*/ 338248 h 2180047"/>
                  <a:gd name="connsiteX42" fmla="*/ 162420 w 2129049"/>
                  <a:gd name="connsiteY42" fmla="*/ 270250 h 2180047"/>
                  <a:gd name="connsiteX43" fmla="*/ 200473 w 2129049"/>
                  <a:gd name="connsiteY43" fmla="*/ 220227 h 2180047"/>
                  <a:gd name="connsiteX44" fmla="*/ 545326 w 2129049"/>
                  <a:gd name="connsiteY44" fmla="*/ 37476 h 2180047"/>
                  <a:gd name="connsiteX45" fmla="*/ 541800 w 2129049"/>
                  <a:gd name="connsiteY45" fmla="*/ 40991 h 2180047"/>
                  <a:gd name="connsiteX46" fmla="*/ 536701 w 2129049"/>
                  <a:gd name="connsiteY46" fmla="*/ 46149 h 2180047"/>
                  <a:gd name="connsiteX47" fmla="*/ 940947 w 2129049"/>
                  <a:gd name="connsiteY47" fmla="*/ 939893 h 2180047"/>
                  <a:gd name="connsiteX48" fmla="*/ 978333 w 2129049"/>
                  <a:gd name="connsiteY48" fmla="*/ 993267 h 2180047"/>
                  <a:gd name="connsiteX49" fmla="*/ 1095859 w 2129049"/>
                  <a:gd name="connsiteY49" fmla="*/ 1039243 h 2180047"/>
                  <a:gd name="connsiteX50" fmla="*/ 1131484 w 2129049"/>
                  <a:gd name="connsiteY50" fmla="*/ 1124187 h 2180047"/>
                  <a:gd name="connsiteX51" fmla="*/ 1146506 w 2129049"/>
                  <a:gd name="connsiteY51" fmla="*/ 1133109 h 2180047"/>
                  <a:gd name="connsiteX52" fmla="*/ 1148541 w 2129049"/>
                  <a:gd name="connsiteY52" fmla="*/ 1133748 h 2180047"/>
                  <a:gd name="connsiteX53" fmla="*/ 1141842 w 2129049"/>
                  <a:gd name="connsiteY53" fmla="*/ 1144915 h 2180047"/>
                  <a:gd name="connsiteX54" fmla="*/ 1141505 w 2129049"/>
                  <a:gd name="connsiteY54" fmla="*/ 1145660 h 2180047"/>
                  <a:gd name="connsiteX55" fmla="*/ 1187973 w 2129049"/>
                  <a:gd name="connsiteY55" fmla="*/ 1232630 h 2180047"/>
                  <a:gd name="connsiteX56" fmla="*/ 1289562 w 2129049"/>
                  <a:gd name="connsiteY56" fmla="*/ 1373921 h 2180047"/>
                  <a:gd name="connsiteX57" fmla="*/ 1531690 w 2129049"/>
                  <a:gd name="connsiteY57" fmla="*/ 1481270 h 2180047"/>
                  <a:gd name="connsiteX58" fmla="*/ 1426417 w 2129049"/>
                  <a:gd name="connsiteY58" fmla="*/ 1496004 h 2180047"/>
                  <a:gd name="connsiteX59" fmla="*/ 1194816 w 2129049"/>
                  <a:gd name="connsiteY59" fmla="*/ 1399179 h 2180047"/>
                  <a:gd name="connsiteX60" fmla="*/ 1145436 w 2129049"/>
                  <a:gd name="connsiteY60" fmla="*/ 1340670 h 2180047"/>
                  <a:gd name="connsiteX61" fmla="*/ 1091189 w 2129049"/>
                  <a:gd name="connsiteY61" fmla="*/ 1275923 h 2180047"/>
                  <a:gd name="connsiteX62" fmla="*/ 1064249 w 2129049"/>
                  <a:gd name="connsiteY62" fmla="*/ 1369079 h 2180047"/>
                  <a:gd name="connsiteX63" fmla="*/ 1046007 w 2129049"/>
                  <a:gd name="connsiteY63" fmla="*/ 1483657 h 2180047"/>
                  <a:gd name="connsiteX64" fmla="*/ 1046013 w 2129049"/>
                  <a:gd name="connsiteY64" fmla="*/ 1495461 h 2180047"/>
                  <a:gd name="connsiteX65" fmla="*/ 1012870 w 2129049"/>
                  <a:gd name="connsiteY65" fmla="*/ 1487283 h 2180047"/>
                  <a:gd name="connsiteX66" fmla="*/ 561761 w 2129049"/>
                  <a:gd name="connsiteY66" fmla="*/ 1355377 h 2180047"/>
                  <a:gd name="connsiteX67" fmla="*/ 245802 w 2129049"/>
                  <a:gd name="connsiteY67" fmla="*/ 1165644 h 2180047"/>
                  <a:gd name="connsiteX68" fmla="*/ 203985 w 2129049"/>
                  <a:gd name="connsiteY68" fmla="*/ 1132152 h 2180047"/>
                  <a:gd name="connsiteX69" fmla="*/ 234345 w 2129049"/>
                  <a:gd name="connsiteY69" fmla="*/ 1297625 h 2180047"/>
                  <a:gd name="connsiteX70" fmla="*/ 260418 w 2129049"/>
                  <a:gd name="connsiteY70" fmla="*/ 1401636 h 2180047"/>
                  <a:gd name="connsiteX71" fmla="*/ 276086 w 2129049"/>
                  <a:gd name="connsiteY71" fmla="*/ 1451374 h 2180047"/>
                  <a:gd name="connsiteX72" fmla="*/ 305709 w 2129049"/>
                  <a:gd name="connsiteY72" fmla="*/ 1466895 h 2180047"/>
                  <a:gd name="connsiteX73" fmla="*/ 561761 w 2129049"/>
                  <a:gd name="connsiteY73" fmla="*/ 1572001 h 2180047"/>
                  <a:gd name="connsiteX74" fmla="*/ 1106575 w 2129049"/>
                  <a:gd name="connsiteY74" fmla="*/ 1664539 h 2180047"/>
                  <a:gd name="connsiteX75" fmla="*/ 1106413 w 2129049"/>
                  <a:gd name="connsiteY75" fmla="*/ 1663981 h 2180047"/>
                  <a:gd name="connsiteX76" fmla="*/ 1109394 w 2129049"/>
                  <a:gd name="connsiteY76" fmla="*/ 1669032 h 2180047"/>
                  <a:gd name="connsiteX77" fmla="*/ 1145872 w 2129049"/>
                  <a:gd name="connsiteY77" fmla="*/ 1724864 h 2180047"/>
                  <a:gd name="connsiteX78" fmla="*/ 1151390 w 2129049"/>
                  <a:gd name="connsiteY78" fmla="*/ 1728726 h 2180047"/>
                  <a:gd name="connsiteX79" fmla="*/ 1244657 w 2129049"/>
                  <a:gd name="connsiteY79" fmla="*/ 1793994 h 2180047"/>
                  <a:gd name="connsiteX80" fmla="*/ 1255282 w 2129049"/>
                  <a:gd name="connsiteY80" fmla="*/ 1801430 h 2180047"/>
                  <a:gd name="connsiteX81" fmla="*/ 1259765 w 2129049"/>
                  <a:gd name="connsiteY81" fmla="*/ 1803273 h 2180047"/>
                  <a:gd name="connsiteX82" fmla="*/ 1262425 w 2129049"/>
                  <a:gd name="connsiteY82" fmla="*/ 1805592 h 2180047"/>
                  <a:gd name="connsiteX83" fmla="*/ 1274330 w 2129049"/>
                  <a:gd name="connsiteY83" fmla="*/ 1811179 h 2180047"/>
                  <a:gd name="connsiteX84" fmla="*/ 1470632 w 2129049"/>
                  <a:gd name="connsiteY84" fmla="*/ 1851731 h 2180047"/>
                  <a:gd name="connsiteX85" fmla="*/ 1337987 w 2129049"/>
                  <a:gd name="connsiteY85" fmla="*/ 1879094 h 2180047"/>
                  <a:gd name="connsiteX86" fmla="*/ 1331095 w 2129049"/>
                  <a:gd name="connsiteY86" fmla="*/ 1878426 h 2180047"/>
                  <a:gd name="connsiteX87" fmla="*/ 1337882 w 2129049"/>
                  <a:gd name="connsiteY87" fmla="*/ 1887387 h 2180047"/>
                  <a:gd name="connsiteX88" fmla="*/ 2129049 w 2129049"/>
                  <a:gd name="connsiteY88" fmla="*/ 1929443 h 2180047"/>
                  <a:gd name="connsiteX89" fmla="*/ 1413632 w 2129049"/>
                  <a:gd name="connsiteY89" fmla="*/ 2169166 h 2180047"/>
                  <a:gd name="connsiteX90" fmla="*/ 1301496 w 2129049"/>
                  <a:gd name="connsiteY90" fmla="*/ 2177335 h 2180047"/>
                  <a:gd name="connsiteX91" fmla="*/ 1281595 w 2129049"/>
                  <a:gd name="connsiteY91" fmla="*/ 2175656 h 2180047"/>
                  <a:gd name="connsiteX92" fmla="*/ 1272759 w 2129049"/>
                  <a:gd name="connsiteY92" fmla="*/ 2177928 h 2180047"/>
                  <a:gd name="connsiteX93" fmla="*/ 1063402 w 2129049"/>
                  <a:gd name="connsiteY93" fmla="*/ 2155016 h 2180047"/>
                  <a:gd name="connsiteX94" fmla="*/ 994039 w 2129049"/>
                  <a:gd name="connsiteY94" fmla="*/ 2133739 h 2180047"/>
                  <a:gd name="connsiteX95" fmla="*/ 954380 w 2129049"/>
                  <a:gd name="connsiteY95" fmla="*/ 2125140 h 2180047"/>
                  <a:gd name="connsiteX96" fmla="*/ 485181 w 2129049"/>
                  <a:gd name="connsiteY96" fmla="*/ 1869194 h 2180047"/>
                  <a:gd name="connsiteX97" fmla="*/ 424111 w 2129049"/>
                  <a:gd name="connsiteY97" fmla="*/ 1817746 h 2180047"/>
                  <a:gd name="connsiteX98" fmla="*/ 407264 w 2129049"/>
                  <a:gd name="connsiteY98" fmla="*/ 1804650 h 2180047"/>
                  <a:gd name="connsiteX99" fmla="*/ 400242 w 2129049"/>
                  <a:gd name="connsiteY99" fmla="*/ 1797638 h 2180047"/>
                  <a:gd name="connsiteX100" fmla="*/ 373060 w 2129049"/>
                  <a:gd name="connsiteY100" fmla="*/ 1774739 h 2180047"/>
                  <a:gd name="connsiteX101" fmla="*/ 178723 w 2129049"/>
                  <a:gd name="connsiteY101" fmla="*/ 1546546 h 2180047"/>
                  <a:gd name="connsiteX102" fmla="*/ 0 w 2129049"/>
                  <a:gd name="connsiteY102" fmla="*/ 780817 h 2180047"/>
                  <a:gd name="connsiteX103" fmla="*/ 75177 w 2129049"/>
                  <a:gd name="connsiteY103" fmla="*/ 424975 h 2180047"/>
                  <a:gd name="connsiteX104" fmla="*/ 118668 w 2129049"/>
                  <a:gd name="connsiteY104" fmla="*/ 339046 h 2180047"/>
                  <a:gd name="connsiteX105" fmla="*/ 116953 w 2129049"/>
                  <a:gd name="connsiteY105" fmla="*/ 341932 h 2180047"/>
                  <a:gd name="connsiteX106" fmla="*/ 93993 w 2129049"/>
                  <a:gd name="connsiteY106" fmla="*/ 385485 h 2180047"/>
                  <a:gd name="connsiteX107" fmla="*/ 93509 w 2129049"/>
                  <a:gd name="connsiteY107" fmla="*/ 386464 h 2180047"/>
                  <a:gd name="connsiteX108" fmla="*/ 95671 w 2129049"/>
                  <a:gd name="connsiteY108" fmla="*/ 380966 h 2180047"/>
                  <a:gd name="connsiteX109" fmla="*/ 182624 w 2129049"/>
                  <a:gd name="connsiteY109" fmla="*/ 235436 h 2180047"/>
                  <a:gd name="connsiteX110" fmla="*/ 478385 w 2129049"/>
                  <a:gd name="connsiteY110" fmla="*/ 56179 h 2180047"/>
                  <a:gd name="connsiteX111" fmla="*/ 999928 w 2129049"/>
                  <a:gd name="connsiteY111" fmla="*/ 0 h 2180047"/>
                  <a:gd name="connsiteX112" fmla="*/ 1676449 w 2129049"/>
                  <a:gd name="connsiteY112" fmla="*/ 525838 h 2180047"/>
                  <a:gd name="connsiteX113" fmla="*/ 1579666 w 2129049"/>
                  <a:gd name="connsiteY113" fmla="*/ 999319 h 2180047"/>
                  <a:gd name="connsiteX114" fmla="*/ 1467605 w 2129049"/>
                  <a:gd name="connsiteY114" fmla="*/ 1154947 h 2180047"/>
                  <a:gd name="connsiteX115" fmla="*/ 1464597 w 2129049"/>
                  <a:gd name="connsiteY115" fmla="*/ 1153889 h 2180047"/>
                  <a:gd name="connsiteX116" fmla="*/ 1452025 w 2129049"/>
                  <a:gd name="connsiteY116" fmla="*/ 1125910 h 2180047"/>
                  <a:gd name="connsiteX117" fmla="*/ 1421781 w 2129049"/>
                  <a:gd name="connsiteY117" fmla="*/ 1058603 h 2180047"/>
                  <a:gd name="connsiteX118" fmla="*/ 1327088 w 2129049"/>
                  <a:gd name="connsiteY118" fmla="*/ 961820 h 2180047"/>
                  <a:gd name="connsiteX119" fmla="*/ 1304643 w 2129049"/>
                  <a:gd name="connsiteY119" fmla="*/ 931982 h 2180047"/>
                  <a:gd name="connsiteX120" fmla="*/ 1303076 w 2129049"/>
                  <a:gd name="connsiteY120" fmla="*/ 929526 h 2180047"/>
                  <a:gd name="connsiteX121" fmla="*/ 1268667 w 2129049"/>
                  <a:gd name="connsiteY121" fmla="*/ 875590 h 2180047"/>
                  <a:gd name="connsiteX122" fmla="*/ 1300274 w 2129049"/>
                  <a:gd name="connsiteY122" fmla="*/ 628723 h 2180047"/>
                  <a:gd name="connsiteX123" fmla="*/ 1307563 w 2129049"/>
                  <a:gd name="connsiteY123" fmla="*/ 618378 h 2180047"/>
                  <a:gd name="connsiteX124" fmla="*/ 1298642 w 2129049"/>
                  <a:gd name="connsiteY124" fmla="*/ 596988 h 2180047"/>
                  <a:gd name="connsiteX125" fmla="*/ 1292154 w 2129049"/>
                  <a:gd name="connsiteY125" fmla="*/ 580800 h 2180047"/>
                  <a:gd name="connsiteX126" fmla="*/ 1285141 w 2129049"/>
                  <a:gd name="connsiteY126" fmla="*/ 579133 h 2180047"/>
                  <a:gd name="connsiteX127" fmla="*/ 1003184 w 2129049"/>
                  <a:gd name="connsiteY127" fmla="*/ 372896 h 2180047"/>
                  <a:gd name="connsiteX128" fmla="*/ 993448 w 2129049"/>
                  <a:gd name="connsiteY128" fmla="*/ 53615 h 2180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Lst>
                <a:rect l="l" t="t" r="r" b="b"/>
                <a:pathLst>
                  <a:path w="2129049" h="2180047">
                    <a:moveTo>
                      <a:pt x="1222186" y="1839320"/>
                    </a:moveTo>
                    <a:cubicBezTo>
                      <a:pt x="1222186" y="1839320"/>
                      <a:pt x="1217322" y="1840010"/>
                      <a:pt x="1208400" y="1841119"/>
                    </a:cubicBezTo>
                    <a:lnTo>
                      <a:pt x="1186099" y="1843640"/>
                    </a:lnTo>
                    <a:lnTo>
                      <a:pt x="1188379" y="1844841"/>
                    </a:lnTo>
                    <a:cubicBezTo>
                      <a:pt x="1208837" y="1862152"/>
                      <a:pt x="1227939" y="1892644"/>
                      <a:pt x="1243194" y="1939957"/>
                    </a:cubicBezTo>
                    <a:cubicBezTo>
                      <a:pt x="1232936" y="1903158"/>
                      <a:pt x="1226723" y="1874737"/>
                      <a:pt x="1223702" y="1853174"/>
                    </a:cubicBezTo>
                    <a:lnTo>
                      <a:pt x="1222569" y="1839342"/>
                    </a:lnTo>
                    <a:close/>
                    <a:moveTo>
                      <a:pt x="441891" y="1746105"/>
                    </a:moveTo>
                    <a:lnTo>
                      <a:pt x="450977" y="1757606"/>
                    </a:lnTo>
                    <a:cubicBezTo>
                      <a:pt x="523579" y="1840277"/>
                      <a:pt x="612111" y="1915885"/>
                      <a:pt x="707370" y="1976776"/>
                    </a:cubicBezTo>
                    <a:lnTo>
                      <a:pt x="766453" y="2010648"/>
                    </a:lnTo>
                    <a:lnTo>
                      <a:pt x="831225" y="2015356"/>
                    </a:lnTo>
                    <a:cubicBezTo>
                      <a:pt x="884464" y="2017808"/>
                      <a:pt x="942877" y="2017788"/>
                      <a:pt x="999836" y="2014732"/>
                    </a:cubicBezTo>
                    <a:lnTo>
                      <a:pt x="1033552" y="2011934"/>
                    </a:lnTo>
                    <a:lnTo>
                      <a:pt x="1030508" y="1991231"/>
                    </a:lnTo>
                    <a:cubicBezTo>
                      <a:pt x="1029673" y="1945751"/>
                      <a:pt x="1045399" y="1901238"/>
                      <a:pt x="1069280" y="1869985"/>
                    </a:cubicBezTo>
                    <a:lnTo>
                      <a:pt x="1086998" y="1852207"/>
                    </a:lnTo>
                    <a:lnTo>
                      <a:pt x="1040249" y="1855089"/>
                    </a:lnTo>
                    <a:cubicBezTo>
                      <a:pt x="936134" y="1859819"/>
                      <a:pt x="805728" y="1858242"/>
                      <a:pt x="700561" y="1833012"/>
                    </a:cubicBezTo>
                    <a:cubicBezTo>
                      <a:pt x="607620" y="1810016"/>
                      <a:pt x="515887" y="1776557"/>
                      <a:pt x="442094" y="1746192"/>
                    </a:cubicBezTo>
                    <a:close/>
                    <a:moveTo>
                      <a:pt x="1059954" y="1504433"/>
                    </a:moveTo>
                    <a:lnTo>
                      <a:pt x="1137935" y="1553560"/>
                    </a:lnTo>
                    <a:cubicBezTo>
                      <a:pt x="1171787" y="1572701"/>
                      <a:pt x="1204817" y="1588620"/>
                      <a:pt x="1232714" y="1597039"/>
                    </a:cubicBezTo>
                    <a:cubicBezTo>
                      <a:pt x="1361148" y="1634927"/>
                      <a:pt x="1457999" y="1643347"/>
                      <a:pt x="1498003" y="1620193"/>
                    </a:cubicBezTo>
                    <a:cubicBezTo>
                      <a:pt x="1498003" y="1620193"/>
                      <a:pt x="1462210" y="1649661"/>
                      <a:pt x="1417995" y="1660186"/>
                    </a:cubicBezTo>
                    <a:cubicBezTo>
                      <a:pt x="1373780" y="1668605"/>
                      <a:pt x="1319038" y="1668605"/>
                      <a:pt x="1260085" y="1660186"/>
                    </a:cubicBezTo>
                    <a:cubicBezTo>
                      <a:pt x="1230609" y="1655976"/>
                      <a:pt x="1166918" y="1647556"/>
                      <a:pt x="1110597" y="1640189"/>
                    </a:cubicBezTo>
                    <a:lnTo>
                      <a:pt x="1099046" y="1638682"/>
                    </a:lnTo>
                    <a:close/>
                    <a:moveTo>
                      <a:pt x="251840" y="316333"/>
                    </a:moveTo>
                    <a:lnTo>
                      <a:pt x="246796" y="329846"/>
                    </a:lnTo>
                    <a:cubicBezTo>
                      <a:pt x="205006" y="446862"/>
                      <a:pt x="162954" y="588333"/>
                      <a:pt x="161902" y="686152"/>
                    </a:cubicBezTo>
                    <a:lnTo>
                      <a:pt x="163319" y="765157"/>
                    </a:lnTo>
                    <a:lnTo>
                      <a:pt x="168120" y="772124"/>
                    </a:lnTo>
                    <a:cubicBezTo>
                      <a:pt x="237177" y="866056"/>
                      <a:pt x="334563" y="972605"/>
                      <a:pt x="462568" y="1054574"/>
                    </a:cubicBezTo>
                    <a:cubicBezTo>
                      <a:pt x="755152" y="1239827"/>
                      <a:pt x="1083519" y="1296666"/>
                      <a:pt x="1083519" y="1296666"/>
                    </a:cubicBezTo>
                    <a:cubicBezTo>
                      <a:pt x="1112988" y="1212460"/>
                      <a:pt x="1112988" y="1212460"/>
                      <a:pt x="1112988" y="1212460"/>
                    </a:cubicBezTo>
                    <a:cubicBezTo>
                      <a:pt x="1112988" y="1212460"/>
                      <a:pt x="1058260" y="1208250"/>
                      <a:pt x="635171" y="913528"/>
                    </a:cubicBezTo>
                    <a:cubicBezTo>
                      <a:pt x="372057" y="730643"/>
                      <a:pt x="286544" y="495129"/>
                      <a:pt x="256327" y="344726"/>
                    </a:cubicBezTo>
                    <a:close/>
                    <a:moveTo>
                      <a:pt x="203697" y="216555"/>
                    </a:moveTo>
                    <a:lnTo>
                      <a:pt x="195507" y="224152"/>
                    </a:lnTo>
                    <a:cubicBezTo>
                      <a:pt x="181433" y="239566"/>
                      <a:pt x="166968" y="259629"/>
                      <a:pt x="153435" y="280530"/>
                    </a:cubicBezTo>
                    <a:lnTo>
                      <a:pt x="119142" y="338248"/>
                    </a:lnTo>
                    <a:lnTo>
                      <a:pt x="162420" y="270250"/>
                    </a:lnTo>
                    <a:cubicBezTo>
                      <a:pt x="176342" y="250442"/>
                      <a:pt x="189335" y="233719"/>
                      <a:pt x="200473" y="220227"/>
                    </a:cubicBezTo>
                    <a:close/>
                    <a:moveTo>
                      <a:pt x="545326" y="37476"/>
                    </a:moveTo>
                    <a:lnTo>
                      <a:pt x="541800" y="40991"/>
                    </a:lnTo>
                    <a:cubicBezTo>
                      <a:pt x="538494" y="44318"/>
                      <a:pt x="536701" y="46149"/>
                      <a:pt x="536701" y="46149"/>
                    </a:cubicBezTo>
                    <a:cubicBezTo>
                      <a:pt x="536701" y="131636"/>
                      <a:pt x="760164" y="665826"/>
                      <a:pt x="940947" y="939893"/>
                    </a:cubicBezTo>
                    <a:lnTo>
                      <a:pt x="978333" y="993267"/>
                    </a:lnTo>
                    <a:lnTo>
                      <a:pt x="1095859" y="1039243"/>
                    </a:lnTo>
                    <a:lnTo>
                      <a:pt x="1131484" y="1124187"/>
                    </a:lnTo>
                    <a:lnTo>
                      <a:pt x="1146506" y="1133109"/>
                    </a:lnTo>
                    <a:lnTo>
                      <a:pt x="1148541" y="1133748"/>
                    </a:lnTo>
                    <a:lnTo>
                      <a:pt x="1141842" y="1144915"/>
                    </a:lnTo>
                    <a:lnTo>
                      <a:pt x="1141505" y="1145660"/>
                    </a:lnTo>
                    <a:lnTo>
                      <a:pt x="1187973" y="1232630"/>
                    </a:lnTo>
                    <a:cubicBezTo>
                      <a:pt x="1223766" y="1293409"/>
                      <a:pt x="1261138" y="1345505"/>
                      <a:pt x="1289562" y="1373921"/>
                    </a:cubicBezTo>
                    <a:cubicBezTo>
                      <a:pt x="1344304" y="1428648"/>
                      <a:pt x="1426417" y="1496004"/>
                      <a:pt x="1531690" y="1481270"/>
                    </a:cubicBezTo>
                    <a:cubicBezTo>
                      <a:pt x="1531690" y="1481270"/>
                      <a:pt x="1476948" y="1504424"/>
                      <a:pt x="1426417" y="1496004"/>
                    </a:cubicBezTo>
                    <a:cubicBezTo>
                      <a:pt x="1377991" y="1485480"/>
                      <a:pt x="1245347" y="1456011"/>
                      <a:pt x="1194816" y="1399179"/>
                    </a:cubicBezTo>
                    <a:cubicBezTo>
                      <a:pt x="1182709" y="1384971"/>
                      <a:pt x="1165076" y="1364054"/>
                      <a:pt x="1145436" y="1340670"/>
                    </a:cubicBezTo>
                    <a:lnTo>
                      <a:pt x="1091189" y="1275923"/>
                    </a:lnTo>
                    <a:lnTo>
                      <a:pt x="1064249" y="1369079"/>
                    </a:lnTo>
                    <a:cubicBezTo>
                      <a:pt x="1054868" y="1409695"/>
                      <a:pt x="1048279" y="1449238"/>
                      <a:pt x="1046007" y="1483657"/>
                    </a:cubicBezTo>
                    <a:lnTo>
                      <a:pt x="1046013" y="1495461"/>
                    </a:lnTo>
                    <a:lnTo>
                      <a:pt x="1012870" y="1487283"/>
                    </a:lnTo>
                    <a:cubicBezTo>
                      <a:pt x="926987" y="1465792"/>
                      <a:pt x="733725" y="1415316"/>
                      <a:pt x="561761" y="1355377"/>
                    </a:cubicBezTo>
                    <a:cubicBezTo>
                      <a:pt x="461449" y="1320412"/>
                      <a:pt x="345032" y="1242374"/>
                      <a:pt x="245802" y="1165644"/>
                    </a:cubicBezTo>
                    <a:lnTo>
                      <a:pt x="203985" y="1132152"/>
                    </a:lnTo>
                    <a:lnTo>
                      <a:pt x="234345" y="1297625"/>
                    </a:lnTo>
                    <a:cubicBezTo>
                      <a:pt x="242410" y="1333469"/>
                      <a:pt x="251108" y="1368352"/>
                      <a:pt x="260418" y="1401636"/>
                    </a:cubicBezTo>
                    <a:lnTo>
                      <a:pt x="276086" y="1451374"/>
                    </a:lnTo>
                    <a:lnTo>
                      <a:pt x="305709" y="1466895"/>
                    </a:lnTo>
                    <a:cubicBezTo>
                      <a:pt x="373741" y="1500727"/>
                      <a:pt x="458919" y="1537496"/>
                      <a:pt x="561761" y="1572001"/>
                    </a:cubicBezTo>
                    <a:cubicBezTo>
                      <a:pt x="875187" y="1675055"/>
                      <a:pt x="1106575" y="1664539"/>
                      <a:pt x="1106575" y="1664539"/>
                    </a:cubicBezTo>
                    <a:lnTo>
                      <a:pt x="1106413" y="1663981"/>
                    </a:lnTo>
                    <a:lnTo>
                      <a:pt x="1109394" y="1669032"/>
                    </a:lnTo>
                    <a:lnTo>
                      <a:pt x="1145872" y="1724864"/>
                    </a:lnTo>
                    <a:lnTo>
                      <a:pt x="1151390" y="1728726"/>
                    </a:lnTo>
                    <a:cubicBezTo>
                      <a:pt x="1204685" y="1766022"/>
                      <a:pt x="1231333" y="1784670"/>
                      <a:pt x="1244657" y="1793994"/>
                    </a:cubicBezTo>
                    <a:lnTo>
                      <a:pt x="1255282" y="1801430"/>
                    </a:lnTo>
                    <a:lnTo>
                      <a:pt x="1259765" y="1803273"/>
                    </a:lnTo>
                    <a:lnTo>
                      <a:pt x="1262425" y="1805592"/>
                    </a:lnTo>
                    <a:lnTo>
                      <a:pt x="1274330" y="1811179"/>
                    </a:lnTo>
                    <a:cubicBezTo>
                      <a:pt x="1306011" y="1825288"/>
                      <a:pt x="1380623" y="1853310"/>
                      <a:pt x="1470632" y="1851731"/>
                    </a:cubicBezTo>
                    <a:cubicBezTo>
                      <a:pt x="1470632" y="1851731"/>
                      <a:pt x="1375886" y="1881199"/>
                      <a:pt x="1337987" y="1879094"/>
                    </a:cubicBezTo>
                    <a:lnTo>
                      <a:pt x="1331095" y="1878426"/>
                    </a:lnTo>
                    <a:lnTo>
                      <a:pt x="1337882" y="1887387"/>
                    </a:lnTo>
                    <a:cubicBezTo>
                      <a:pt x="1419945" y="2013557"/>
                      <a:pt x="2129049" y="1929443"/>
                      <a:pt x="2129049" y="1929443"/>
                    </a:cubicBezTo>
                    <a:cubicBezTo>
                      <a:pt x="2129049" y="1929443"/>
                      <a:pt x="2129049" y="1929443"/>
                      <a:pt x="1413632" y="2169166"/>
                    </a:cubicBezTo>
                    <a:cubicBezTo>
                      <a:pt x="1372338" y="2174818"/>
                      <a:pt x="1335063" y="2177389"/>
                      <a:pt x="1301496" y="2177335"/>
                    </a:cubicBezTo>
                    <a:lnTo>
                      <a:pt x="1281595" y="2175656"/>
                    </a:lnTo>
                    <a:lnTo>
                      <a:pt x="1272759" y="2177928"/>
                    </a:lnTo>
                    <a:cubicBezTo>
                      <a:pt x="1225811" y="2184118"/>
                      <a:pt x="1152027" y="2176826"/>
                      <a:pt x="1063402" y="2155016"/>
                    </a:cubicBezTo>
                    <a:lnTo>
                      <a:pt x="994039" y="2133739"/>
                    </a:lnTo>
                    <a:lnTo>
                      <a:pt x="954380" y="2125140"/>
                    </a:lnTo>
                    <a:cubicBezTo>
                      <a:pt x="795130" y="2082053"/>
                      <a:pt x="625466" y="1978945"/>
                      <a:pt x="485181" y="1869194"/>
                    </a:cubicBezTo>
                    <a:lnTo>
                      <a:pt x="424111" y="1817746"/>
                    </a:lnTo>
                    <a:lnTo>
                      <a:pt x="407264" y="1804650"/>
                    </a:lnTo>
                    <a:lnTo>
                      <a:pt x="400242" y="1797638"/>
                    </a:lnTo>
                    <a:lnTo>
                      <a:pt x="373060" y="1774739"/>
                    </a:lnTo>
                    <a:cubicBezTo>
                      <a:pt x="269990" y="1681147"/>
                      <a:pt x="196858" y="1593878"/>
                      <a:pt x="178723" y="1546546"/>
                    </a:cubicBezTo>
                    <a:cubicBezTo>
                      <a:pt x="92516" y="1378254"/>
                      <a:pt x="0" y="1054291"/>
                      <a:pt x="0" y="780817"/>
                    </a:cubicBezTo>
                    <a:cubicBezTo>
                      <a:pt x="0" y="639609"/>
                      <a:pt x="33412" y="519701"/>
                      <a:pt x="75177" y="424975"/>
                    </a:cubicBezTo>
                    <a:lnTo>
                      <a:pt x="118668" y="339046"/>
                    </a:lnTo>
                    <a:lnTo>
                      <a:pt x="116953" y="341932"/>
                    </a:lnTo>
                    <a:cubicBezTo>
                      <a:pt x="106605" y="360695"/>
                      <a:pt x="98512" y="376484"/>
                      <a:pt x="93993" y="385485"/>
                    </a:cubicBezTo>
                    <a:lnTo>
                      <a:pt x="93509" y="386464"/>
                    </a:lnTo>
                    <a:lnTo>
                      <a:pt x="95671" y="380966"/>
                    </a:lnTo>
                    <a:cubicBezTo>
                      <a:pt x="123713" y="321057"/>
                      <a:pt x="154747" y="273315"/>
                      <a:pt x="182624" y="235436"/>
                    </a:cubicBezTo>
                    <a:cubicBezTo>
                      <a:pt x="241010" y="154155"/>
                      <a:pt x="355019" y="96548"/>
                      <a:pt x="478385" y="56179"/>
                    </a:cubicBezTo>
                    <a:close/>
                    <a:moveTo>
                      <a:pt x="999928" y="0"/>
                    </a:moveTo>
                    <a:lnTo>
                      <a:pt x="1676449" y="525838"/>
                    </a:lnTo>
                    <a:cubicBezTo>
                      <a:pt x="1676449" y="525838"/>
                      <a:pt x="1594394" y="780465"/>
                      <a:pt x="1579666" y="999319"/>
                    </a:cubicBezTo>
                    <a:cubicBezTo>
                      <a:pt x="1570461" y="1136103"/>
                      <a:pt x="1517697" y="1165202"/>
                      <a:pt x="1467605" y="1154947"/>
                    </a:cubicBezTo>
                    <a:lnTo>
                      <a:pt x="1464597" y="1153889"/>
                    </a:lnTo>
                    <a:lnTo>
                      <a:pt x="1452025" y="1125910"/>
                    </a:lnTo>
                    <a:cubicBezTo>
                      <a:pt x="1443951" y="1107940"/>
                      <a:pt x="1434013" y="1085824"/>
                      <a:pt x="1421781" y="1058603"/>
                    </a:cubicBezTo>
                    <a:cubicBezTo>
                      <a:pt x="1421781" y="1058603"/>
                      <a:pt x="1360757" y="999691"/>
                      <a:pt x="1327088" y="961820"/>
                    </a:cubicBezTo>
                    <a:lnTo>
                      <a:pt x="1304643" y="931982"/>
                    </a:lnTo>
                    <a:lnTo>
                      <a:pt x="1303076" y="929526"/>
                    </a:lnTo>
                    <a:cubicBezTo>
                      <a:pt x="1268667" y="875590"/>
                      <a:pt x="1268667" y="875590"/>
                      <a:pt x="1268667" y="875590"/>
                    </a:cubicBezTo>
                    <a:cubicBezTo>
                      <a:pt x="1268667" y="875590"/>
                      <a:pt x="1236457" y="743498"/>
                      <a:pt x="1300274" y="628723"/>
                    </a:cubicBezTo>
                    <a:lnTo>
                      <a:pt x="1307563" y="618378"/>
                    </a:lnTo>
                    <a:lnTo>
                      <a:pt x="1298642" y="596988"/>
                    </a:lnTo>
                    <a:lnTo>
                      <a:pt x="1292154" y="580800"/>
                    </a:lnTo>
                    <a:lnTo>
                      <a:pt x="1285141" y="579133"/>
                    </a:lnTo>
                    <a:cubicBezTo>
                      <a:pt x="1217808" y="547566"/>
                      <a:pt x="1022122" y="492850"/>
                      <a:pt x="1003184" y="372896"/>
                    </a:cubicBezTo>
                    <a:cubicBezTo>
                      <a:pt x="992533" y="305422"/>
                      <a:pt x="984544" y="180018"/>
                      <a:pt x="993448" y="53615"/>
                    </a:cubicBezTo>
                    <a:close/>
                  </a:path>
                </a:pathLst>
              </a:custGeom>
              <a:solidFill>
                <a:srgbClr val="FAED22"/>
              </a:solidFill>
              <a:ln w="3175" cap="flat">
                <a:solidFill>
                  <a:schemeClr val="tx1"/>
                </a:solidFill>
                <a:prstDash val="solid"/>
                <a:miter lim="800000"/>
                <a:headEnd/>
                <a:tailEnd/>
              </a:ln>
            </p:spPr>
            <p:txBody>
              <a:bodyPr vert="horz" wrap="square" lIns="89642" tIns="44821" rIns="89642" bIns="44821" numCol="1" anchor="t" anchorCtr="0" compatLnSpc="1">
                <a:prstTxWarp prst="textNoShape">
                  <a:avLst/>
                </a:prstTxWarp>
                <a:noAutofit/>
              </a:bodyPr>
              <a:lstStyle/>
              <a:p>
                <a:pPr defTabSz="914367"/>
                <a:endParaRPr lang="en-IN" sz="1765">
                  <a:solidFill>
                    <a:srgbClr val="000000"/>
                  </a:solidFill>
                </a:endParaRPr>
              </a:p>
            </p:txBody>
          </p:sp>
          <p:sp>
            <p:nvSpPr>
              <p:cNvPr id="27" name="Freeform 26"/>
              <p:cNvSpPr>
                <a:spLocks/>
              </p:cNvSpPr>
              <p:nvPr/>
            </p:nvSpPr>
            <p:spPr bwMode="auto">
              <a:xfrm>
                <a:off x="1058398" y="3354141"/>
                <a:ext cx="533724" cy="414349"/>
              </a:xfrm>
              <a:custGeom>
                <a:avLst/>
                <a:gdLst>
                  <a:gd name="connsiteX0" fmla="*/ 3283994 w 3907177"/>
                  <a:gd name="connsiteY0" fmla="*/ 2199606 h 3033282"/>
                  <a:gd name="connsiteX1" fmla="*/ 3216771 w 3907177"/>
                  <a:gd name="connsiteY1" fmla="*/ 2237508 h 3033282"/>
                  <a:gd name="connsiteX2" fmla="*/ 3176070 w 3907177"/>
                  <a:gd name="connsiteY2" fmla="*/ 2287254 h 3033282"/>
                  <a:gd name="connsiteX3" fmla="*/ 3157902 w 3907177"/>
                  <a:gd name="connsiteY3" fmla="*/ 2304911 h 3033282"/>
                  <a:gd name="connsiteX4" fmla="*/ 3148728 w 3907177"/>
                  <a:gd name="connsiteY4" fmla="*/ 2311436 h 3033282"/>
                  <a:gd name="connsiteX5" fmla="*/ 3136944 w 3907177"/>
                  <a:gd name="connsiteY5" fmla="*/ 2319628 h 3033282"/>
                  <a:gd name="connsiteX6" fmla="*/ 3154439 w 3907177"/>
                  <a:gd name="connsiteY6" fmla="*/ 2308277 h 3033282"/>
                  <a:gd name="connsiteX7" fmla="*/ 3157902 w 3907177"/>
                  <a:gd name="connsiteY7" fmla="*/ 2304911 h 3033282"/>
                  <a:gd name="connsiteX8" fmla="*/ 3176070 w 3907177"/>
                  <a:gd name="connsiteY8" fmla="*/ 2291992 h 3033282"/>
                  <a:gd name="connsiteX9" fmla="*/ 3229375 w 3907177"/>
                  <a:gd name="connsiteY9" fmla="*/ 2250142 h 3033282"/>
                  <a:gd name="connsiteX10" fmla="*/ 3317605 w 3907177"/>
                  <a:gd name="connsiteY10" fmla="*/ 2231191 h 3033282"/>
                  <a:gd name="connsiteX11" fmla="*/ 3378755 w 3907177"/>
                  <a:gd name="connsiteY11" fmla="*/ 2245404 h 3033282"/>
                  <a:gd name="connsiteX12" fmla="*/ 3382808 w 3907177"/>
                  <a:gd name="connsiteY12" fmla="*/ 2247161 h 3033282"/>
                  <a:gd name="connsiteX13" fmla="*/ 3351550 w 3907177"/>
                  <a:gd name="connsiteY13" fmla="*/ 2248260 h 3033282"/>
                  <a:gd name="connsiteX14" fmla="*/ 3315694 w 3907177"/>
                  <a:gd name="connsiteY14" fmla="*/ 2268558 h 3033282"/>
                  <a:gd name="connsiteX15" fmla="*/ 3248262 w 3907177"/>
                  <a:gd name="connsiteY15" fmla="*/ 2369622 h 3033282"/>
                  <a:gd name="connsiteX16" fmla="*/ 3195581 w 3907177"/>
                  <a:gd name="connsiteY16" fmla="*/ 2443314 h 3033282"/>
                  <a:gd name="connsiteX17" fmla="*/ 3288300 w 3907177"/>
                  <a:gd name="connsiteY17" fmla="*/ 2346462 h 3033282"/>
                  <a:gd name="connsiteX18" fmla="*/ 3334660 w 3907177"/>
                  <a:gd name="connsiteY18" fmla="*/ 2295930 h 3033282"/>
                  <a:gd name="connsiteX19" fmla="*/ 3404199 w 3907177"/>
                  <a:gd name="connsiteY19" fmla="*/ 2281191 h 3033282"/>
                  <a:gd name="connsiteX20" fmla="*/ 3442129 w 3907177"/>
                  <a:gd name="connsiteY20" fmla="*/ 2291719 h 3033282"/>
                  <a:gd name="connsiteX21" fmla="*/ 3448451 w 3907177"/>
                  <a:gd name="connsiteY21" fmla="*/ 2258031 h 3033282"/>
                  <a:gd name="connsiteX22" fmla="*/ 3432746 w 3907177"/>
                  <a:gd name="connsiteY22" fmla="*/ 2253458 h 3033282"/>
                  <a:gd name="connsiteX23" fmla="*/ 3399309 w 3907177"/>
                  <a:gd name="connsiteY23" fmla="*/ 2247403 h 3033282"/>
                  <a:gd name="connsiteX24" fmla="*/ 3406885 w 3907177"/>
                  <a:gd name="connsiteY24" fmla="*/ 2246720 h 3033282"/>
                  <a:gd name="connsiteX25" fmla="*/ 3422640 w 3907177"/>
                  <a:gd name="connsiteY25" fmla="*/ 2231191 h 3033282"/>
                  <a:gd name="connsiteX26" fmla="*/ 3370122 w 3907177"/>
                  <a:gd name="connsiteY26" fmla="*/ 2208029 h 3033282"/>
                  <a:gd name="connsiteX27" fmla="*/ 3283994 w 3907177"/>
                  <a:gd name="connsiteY27" fmla="*/ 2199606 h 3033282"/>
                  <a:gd name="connsiteX28" fmla="*/ 3868985 w 3907177"/>
                  <a:gd name="connsiteY28" fmla="*/ 2136388 h 3033282"/>
                  <a:gd name="connsiteX29" fmla="*/ 3734396 w 3907177"/>
                  <a:gd name="connsiteY29" fmla="*/ 2199444 h 3033282"/>
                  <a:gd name="connsiteX30" fmla="*/ 3559852 w 3907177"/>
                  <a:gd name="connsiteY30" fmla="*/ 2182629 h 3033282"/>
                  <a:gd name="connsiteX31" fmla="*/ 3641867 w 3907177"/>
                  <a:gd name="connsiteY31" fmla="*/ 2241481 h 3033282"/>
                  <a:gd name="connsiteX32" fmla="*/ 3702852 w 3907177"/>
                  <a:gd name="connsiteY32" fmla="*/ 2239379 h 3033282"/>
                  <a:gd name="connsiteX33" fmla="*/ 3831132 w 3907177"/>
                  <a:gd name="connsiteY33" fmla="*/ 2178425 h 3033282"/>
                  <a:gd name="connsiteX34" fmla="*/ 3868985 w 3907177"/>
                  <a:gd name="connsiteY34" fmla="*/ 2136388 h 3033282"/>
                  <a:gd name="connsiteX35" fmla="*/ 3385344 w 3907177"/>
                  <a:gd name="connsiteY35" fmla="*/ 2089937 h 3033282"/>
                  <a:gd name="connsiteX36" fmla="*/ 3403807 w 3907177"/>
                  <a:gd name="connsiteY36" fmla="*/ 2092045 h 3033282"/>
                  <a:gd name="connsiteX37" fmla="*/ 3420687 w 3907177"/>
                  <a:gd name="connsiteY37" fmla="*/ 2119439 h 3033282"/>
                  <a:gd name="connsiteX38" fmla="*/ 3410137 w 3907177"/>
                  <a:gd name="connsiteY38" fmla="*/ 2151048 h 3033282"/>
                  <a:gd name="connsiteX39" fmla="*/ 3380596 w 3907177"/>
                  <a:gd name="connsiteY39" fmla="*/ 2144726 h 3033282"/>
                  <a:gd name="connsiteX40" fmla="*/ 3353166 w 3907177"/>
                  <a:gd name="connsiteY40" fmla="*/ 2146834 h 3033282"/>
                  <a:gd name="connsiteX41" fmla="*/ 3353166 w 3907177"/>
                  <a:gd name="connsiteY41" fmla="*/ 2113117 h 3033282"/>
                  <a:gd name="connsiteX42" fmla="*/ 3370046 w 3907177"/>
                  <a:gd name="connsiteY42" fmla="*/ 2094152 h 3033282"/>
                  <a:gd name="connsiteX43" fmla="*/ 3385344 w 3907177"/>
                  <a:gd name="connsiteY43" fmla="*/ 2089937 h 3033282"/>
                  <a:gd name="connsiteX44" fmla="*/ 2921466 w 3907177"/>
                  <a:gd name="connsiteY44" fmla="*/ 1940074 h 3033282"/>
                  <a:gd name="connsiteX45" fmla="*/ 2876044 w 3907177"/>
                  <a:gd name="connsiteY45" fmla="*/ 1945069 h 3033282"/>
                  <a:gd name="connsiteX46" fmla="*/ 2796228 w 3907177"/>
                  <a:gd name="connsiteY46" fmla="*/ 1980818 h 3033282"/>
                  <a:gd name="connsiteX47" fmla="*/ 2716411 w 3907177"/>
                  <a:gd name="connsiteY47" fmla="*/ 2018670 h 3033282"/>
                  <a:gd name="connsiteX48" fmla="*/ 2773123 w 3907177"/>
                  <a:gd name="connsiteY48" fmla="*/ 2014464 h 3033282"/>
                  <a:gd name="connsiteX49" fmla="*/ 2813031 w 3907177"/>
                  <a:gd name="connsiteY49" fmla="*/ 2008155 h 3033282"/>
                  <a:gd name="connsiteX50" fmla="*/ 2810931 w 3907177"/>
                  <a:gd name="connsiteY50" fmla="*/ 2075448 h 3033282"/>
                  <a:gd name="connsiteX51" fmla="*/ 2825634 w 3907177"/>
                  <a:gd name="connsiteY51" fmla="*/ 2117505 h 3033282"/>
                  <a:gd name="connsiteX52" fmla="*/ 2817232 w 3907177"/>
                  <a:gd name="connsiteY52" fmla="*/ 2123814 h 3033282"/>
                  <a:gd name="connsiteX53" fmla="*/ 2773123 w 3907177"/>
                  <a:gd name="connsiteY53" fmla="*/ 2157460 h 3033282"/>
                  <a:gd name="connsiteX54" fmla="*/ 2848738 w 3907177"/>
                  <a:gd name="connsiteY54" fmla="*/ 2125917 h 3033282"/>
                  <a:gd name="connsiteX55" fmla="*/ 2941157 w 3907177"/>
                  <a:gd name="connsiteY55" fmla="*/ 2104888 h 3033282"/>
                  <a:gd name="connsiteX56" fmla="*/ 3111292 w 3907177"/>
                  <a:gd name="connsiteY56" fmla="*/ 2106991 h 3033282"/>
                  <a:gd name="connsiteX57" fmla="*/ 3056681 w 3907177"/>
                  <a:gd name="connsiteY57" fmla="*/ 2085962 h 3033282"/>
                  <a:gd name="connsiteX58" fmla="*/ 3016773 w 3907177"/>
                  <a:gd name="connsiteY58" fmla="*/ 2081756 h 3033282"/>
                  <a:gd name="connsiteX59" fmla="*/ 3023074 w 3907177"/>
                  <a:gd name="connsiteY59" fmla="*/ 2027081 h 3033282"/>
                  <a:gd name="connsiteX60" fmla="*/ 2995769 w 3907177"/>
                  <a:gd name="connsiteY60" fmla="*/ 1970303 h 3033282"/>
                  <a:gd name="connsiteX61" fmla="*/ 3018873 w 3907177"/>
                  <a:gd name="connsiteY61" fmla="*/ 1966098 h 3033282"/>
                  <a:gd name="connsiteX62" fmla="*/ 3065083 w 3907177"/>
                  <a:gd name="connsiteY62" fmla="*/ 1957686 h 3033282"/>
                  <a:gd name="connsiteX63" fmla="*/ 2968463 w 3907177"/>
                  <a:gd name="connsiteY63" fmla="*/ 1942966 h 3033282"/>
                  <a:gd name="connsiteX64" fmla="*/ 2921466 w 3907177"/>
                  <a:gd name="connsiteY64" fmla="*/ 1940074 h 3033282"/>
                  <a:gd name="connsiteX65" fmla="*/ 2882143 w 3907177"/>
                  <a:gd name="connsiteY65" fmla="*/ 1689578 h 3033282"/>
                  <a:gd name="connsiteX66" fmla="*/ 2779009 w 3907177"/>
                  <a:gd name="connsiteY66" fmla="*/ 1700880 h 3033282"/>
                  <a:gd name="connsiteX67" fmla="*/ 2720075 w 3907177"/>
                  <a:gd name="connsiteY67" fmla="*/ 1810222 h 3033282"/>
                  <a:gd name="connsiteX68" fmla="*/ 2806371 w 3907177"/>
                  <a:gd name="connsiteY68" fmla="*/ 1730318 h 3033282"/>
                  <a:gd name="connsiteX69" fmla="*/ 2953705 w 3907177"/>
                  <a:gd name="connsiteY69" fmla="*/ 1692469 h 3033282"/>
                  <a:gd name="connsiteX70" fmla="*/ 2882143 w 3907177"/>
                  <a:gd name="connsiteY70" fmla="*/ 1689578 h 3033282"/>
                  <a:gd name="connsiteX71" fmla="*/ 2751741 w 3907177"/>
                  <a:gd name="connsiteY71" fmla="*/ 1152523 h 3033282"/>
                  <a:gd name="connsiteX72" fmla="*/ 2752273 w 3907177"/>
                  <a:gd name="connsiteY72" fmla="*/ 1154187 h 3033282"/>
                  <a:gd name="connsiteX73" fmla="*/ 2764036 w 3907177"/>
                  <a:gd name="connsiteY73" fmla="*/ 1192874 h 3033282"/>
                  <a:gd name="connsiteX74" fmla="*/ 2787833 w 3907177"/>
                  <a:gd name="connsiteY74" fmla="*/ 1274009 h 3033282"/>
                  <a:gd name="connsiteX75" fmla="*/ 2819472 w 3907177"/>
                  <a:gd name="connsiteY75" fmla="*/ 1283014 h 3033282"/>
                  <a:gd name="connsiteX76" fmla="*/ 2820261 w 3907177"/>
                  <a:gd name="connsiteY76" fmla="*/ 1283258 h 3033282"/>
                  <a:gd name="connsiteX77" fmla="*/ 2825890 w 3907177"/>
                  <a:gd name="connsiteY77" fmla="*/ 1283302 h 3033282"/>
                  <a:gd name="connsiteX78" fmla="*/ 2903747 w 3907177"/>
                  <a:gd name="connsiteY78" fmla="*/ 1291542 h 3033282"/>
                  <a:gd name="connsiteX79" fmla="*/ 2899550 w 3907177"/>
                  <a:gd name="connsiteY79" fmla="*/ 1288295 h 3033282"/>
                  <a:gd name="connsiteX80" fmla="*/ 2806596 w 3907177"/>
                  <a:gd name="connsiteY80" fmla="*/ 1216396 h 3033282"/>
                  <a:gd name="connsiteX81" fmla="*/ 2775061 w 3907177"/>
                  <a:gd name="connsiteY81" fmla="*/ 1179930 h 3033282"/>
                  <a:gd name="connsiteX82" fmla="*/ 1695768 w 3907177"/>
                  <a:gd name="connsiteY82" fmla="*/ 862876 h 3033282"/>
                  <a:gd name="connsiteX83" fmla="*/ 2078780 w 3907177"/>
                  <a:gd name="connsiteY83" fmla="*/ 919680 h 3033282"/>
                  <a:gd name="connsiteX84" fmla="*/ 2177689 w 3907177"/>
                  <a:gd name="connsiteY84" fmla="*/ 938615 h 3033282"/>
                  <a:gd name="connsiteX85" fmla="*/ 2274495 w 3907177"/>
                  <a:gd name="connsiteY85" fmla="*/ 997523 h 3033282"/>
                  <a:gd name="connsiteX86" fmla="*/ 2192421 w 3907177"/>
                  <a:gd name="connsiteY86" fmla="*/ 984900 h 3033282"/>
                  <a:gd name="connsiteX87" fmla="*/ 2082989 w 3907177"/>
                  <a:gd name="connsiteY87" fmla="*/ 1031185 h 3033282"/>
                  <a:gd name="connsiteX88" fmla="*/ 2013542 w 3907177"/>
                  <a:gd name="connsiteY88" fmla="*/ 1064846 h 3033282"/>
                  <a:gd name="connsiteX89" fmla="*/ 2177689 w 3907177"/>
                  <a:gd name="connsiteY89" fmla="*/ 1060639 h 3033282"/>
                  <a:gd name="connsiteX90" fmla="*/ 2320793 w 3907177"/>
                  <a:gd name="connsiteY90" fmla="*/ 1102716 h 3033282"/>
                  <a:gd name="connsiteX91" fmla="*/ 2402867 w 3907177"/>
                  <a:gd name="connsiteY91" fmla="*/ 1193182 h 3033282"/>
                  <a:gd name="connsiteX92" fmla="*/ 2477977 w 3907177"/>
                  <a:gd name="connsiteY92" fmla="*/ 1304520 h 3033282"/>
                  <a:gd name="connsiteX93" fmla="*/ 2495231 w 3907177"/>
                  <a:gd name="connsiteY93" fmla="*/ 1302276 h 3033282"/>
                  <a:gd name="connsiteX94" fmla="*/ 2479203 w 3907177"/>
                  <a:gd name="connsiteY94" fmla="*/ 1263722 h 3033282"/>
                  <a:gd name="connsiteX95" fmla="*/ 2352360 w 3907177"/>
                  <a:gd name="connsiteY95" fmla="*/ 974380 h 3033282"/>
                  <a:gd name="connsiteX96" fmla="*/ 2194525 w 3907177"/>
                  <a:gd name="connsiteY96" fmla="*/ 875499 h 3033282"/>
                  <a:gd name="connsiteX97" fmla="*/ 1695768 w 3907177"/>
                  <a:gd name="connsiteY97" fmla="*/ 862876 h 3033282"/>
                  <a:gd name="connsiteX98" fmla="*/ 2884074 w 3907177"/>
                  <a:gd name="connsiteY98" fmla="*/ 435929 h 3033282"/>
                  <a:gd name="connsiteX99" fmla="*/ 2987291 w 3907177"/>
                  <a:gd name="connsiteY99" fmla="*/ 631716 h 3033282"/>
                  <a:gd name="connsiteX100" fmla="*/ 3130531 w 3907177"/>
                  <a:gd name="connsiteY100" fmla="*/ 1008552 h 3033282"/>
                  <a:gd name="connsiteX101" fmla="*/ 3063124 w 3907177"/>
                  <a:gd name="connsiteY101" fmla="*/ 682241 h 3033282"/>
                  <a:gd name="connsiteX102" fmla="*/ 2970440 w 3907177"/>
                  <a:gd name="connsiteY102" fmla="*/ 520138 h 3033282"/>
                  <a:gd name="connsiteX103" fmla="*/ 2884074 w 3907177"/>
                  <a:gd name="connsiteY103" fmla="*/ 435929 h 3033282"/>
                  <a:gd name="connsiteX104" fmla="*/ 990408 w 3907177"/>
                  <a:gd name="connsiteY104" fmla="*/ 698 h 3033282"/>
                  <a:gd name="connsiteX105" fmla="*/ 1039550 w 3907177"/>
                  <a:gd name="connsiteY105" fmla="*/ 863 h 3033282"/>
                  <a:gd name="connsiteX106" fmla="*/ 1348803 w 3907177"/>
                  <a:gd name="connsiteY106" fmla="*/ 72387 h 3033282"/>
                  <a:gd name="connsiteX107" fmla="*/ 1737998 w 3907177"/>
                  <a:gd name="connsiteY107" fmla="*/ 232264 h 3033282"/>
                  <a:gd name="connsiteX108" fmla="*/ 2005176 w 3907177"/>
                  <a:gd name="connsiteY108" fmla="*/ 371104 h 3033282"/>
                  <a:gd name="connsiteX109" fmla="*/ 2203455 w 3907177"/>
                  <a:gd name="connsiteY109" fmla="*/ 477601 h 3033282"/>
                  <a:gd name="connsiteX110" fmla="*/ 2296994 w 3907177"/>
                  <a:gd name="connsiteY110" fmla="*/ 530121 h 3033282"/>
                  <a:gd name="connsiteX111" fmla="*/ 2323986 w 3907177"/>
                  <a:gd name="connsiteY111" fmla="*/ 546882 h 3033282"/>
                  <a:gd name="connsiteX112" fmla="*/ 2357160 w 3907177"/>
                  <a:gd name="connsiteY112" fmla="*/ 567482 h 3033282"/>
                  <a:gd name="connsiteX113" fmla="*/ 2404890 w 3907177"/>
                  <a:gd name="connsiteY113" fmla="*/ 598298 h 3033282"/>
                  <a:gd name="connsiteX114" fmla="*/ 2415440 w 3907177"/>
                  <a:gd name="connsiteY114" fmla="*/ 605928 h 3033282"/>
                  <a:gd name="connsiteX115" fmla="*/ 2362991 w 3907177"/>
                  <a:gd name="connsiteY115" fmla="*/ 493093 h 3033282"/>
                  <a:gd name="connsiteX116" fmla="*/ 2329266 w 3907177"/>
                  <a:gd name="connsiteY116" fmla="*/ 483333 h 3033282"/>
                  <a:gd name="connsiteX117" fmla="*/ 2307060 w 3907177"/>
                  <a:gd name="connsiteY117" fmla="*/ 476906 h 3033282"/>
                  <a:gd name="connsiteX118" fmla="*/ 2313198 w 3907177"/>
                  <a:gd name="connsiteY118" fmla="*/ 470584 h 3033282"/>
                  <a:gd name="connsiteX119" fmla="*/ 2460566 w 3907177"/>
                  <a:gd name="connsiteY119" fmla="*/ 333037 h 3033282"/>
                  <a:gd name="connsiteX120" fmla="*/ 2482676 w 3907177"/>
                  <a:gd name="connsiteY120" fmla="*/ 317005 h 3033282"/>
                  <a:gd name="connsiteX121" fmla="*/ 2522361 w 3907177"/>
                  <a:gd name="connsiteY121" fmla="*/ 296868 h 3033282"/>
                  <a:gd name="connsiteX122" fmla="*/ 2554579 w 3907177"/>
                  <a:gd name="connsiteY122" fmla="*/ 283748 h 3033282"/>
                  <a:gd name="connsiteX123" fmla="*/ 2694384 w 3907177"/>
                  <a:gd name="connsiteY123" fmla="*/ 254812 h 3033282"/>
                  <a:gd name="connsiteX124" fmla="*/ 2798186 w 3907177"/>
                  <a:gd name="connsiteY124" fmla="*/ 277829 h 3033282"/>
                  <a:gd name="connsiteX125" fmla="*/ 2857052 w 3907177"/>
                  <a:gd name="connsiteY125" fmla="*/ 260994 h 3033282"/>
                  <a:gd name="connsiteX126" fmla="*/ 2861191 w 3907177"/>
                  <a:gd name="connsiteY126" fmla="*/ 261705 h 3033282"/>
                  <a:gd name="connsiteX127" fmla="*/ 2866568 w 3907177"/>
                  <a:gd name="connsiteY127" fmla="*/ 262766 h 3033282"/>
                  <a:gd name="connsiteX128" fmla="*/ 2867847 w 3907177"/>
                  <a:gd name="connsiteY128" fmla="*/ 263215 h 3033282"/>
                  <a:gd name="connsiteX129" fmla="*/ 2874182 w 3907177"/>
                  <a:gd name="connsiteY129" fmla="*/ 265939 h 3033282"/>
                  <a:gd name="connsiteX130" fmla="*/ 2878772 w 3907177"/>
                  <a:gd name="connsiteY130" fmla="*/ 265783 h 3033282"/>
                  <a:gd name="connsiteX131" fmla="*/ 2879970 w 3907177"/>
                  <a:gd name="connsiteY131" fmla="*/ 265863 h 3033282"/>
                  <a:gd name="connsiteX132" fmla="*/ 2909084 w 3907177"/>
                  <a:gd name="connsiteY132" fmla="*/ 273357 h 3033282"/>
                  <a:gd name="connsiteX133" fmla="*/ 2989498 w 3907177"/>
                  <a:gd name="connsiteY133" fmla="*/ 315709 h 3033282"/>
                  <a:gd name="connsiteX134" fmla="*/ 3365815 w 3907177"/>
                  <a:gd name="connsiteY134" fmla="*/ 925987 h 3033282"/>
                  <a:gd name="connsiteX135" fmla="*/ 3233368 w 3907177"/>
                  <a:gd name="connsiteY135" fmla="*/ 1376331 h 3033282"/>
                  <a:gd name="connsiteX136" fmla="*/ 3239761 w 3907177"/>
                  <a:gd name="connsiteY136" fmla="*/ 1410216 h 3033282"/>
                  <a:gd name="connsiteX137" fmla="*/ 3243622 w 3907177"/>
                  <a:gd name="connsiteY137" fmla="*/ 1426604 h 3033282"/>
                  <a:gd name="connsiteX138" fmla="*/ 3302854 w 3907177"/>
                  <a:gd name="connsiteY138" fmla="*/ 1472111 h 3033282"/>
                  <a:gd name="connsiteX139" fmla="*/ 3442037 w 3907177"/>
                  <a:gd name="connsiteY139" fmla="*/ 1705090 h 3033282"/>
                  <a:gd name="connsiteX140" fmla="*/ 3433973 w 3907177"/>
                  <a:gd name="connsiteY140" fmla="*/ 1732860 h 3033282"/>
                  <a:gd name="connsiteX141" fmla="*/ 3404867 w 3907177"/>
                  <a:gd name="connsiteY141" fmla="*/ 1673697 h 3033282"/>
                  <a:gd name="connsiteX142" fmla="*/ 3388345 w 3907177"/>
                  <a:gd name="connsiteY142" fmla="*/ 1639131 h 3033282"/>
                  <a:gd name="connsiteX143" fmla="*/ 3377441 w 3907177"/>
                  <a:gd name="connsiteY143" fmla="*/ 1616053 h 3033282"/>
                  <a:gd name="connsiteX144" fmla="*/ 3359581 w 3907177"/>
                  <a:gd name="connsiteY144" fmla="*/ 1565598 h 3033282"/>
                  <a:gd name="connsiteX145" fmla="*/ 3361687 w 3907177"/>
                  <a:gd name="connsiteY145" fmla="*/ 1582431 h 3033282"/>
                  <a:gd name="connsiteX146" fmla="*/ 3374588 w 3907177"/>
                  <a:gd name="connsiteY146" fmla="*/ 1610015 h 3033282"/>
                  <a:gd name="connsiteX147" fmla="*/ 3377441 w 3907177"/>
                  <a:gd name="connsiteY147" fmla="*/ 1616053 h 3033282"/>
                  <a:gd name="connsiteX148" fmla="*/ 3442901 w 3907177"/>
                  <a:gd name="connsiteY148" fmla="*/ 1800978 h 3033282"/>
                  <a:gd name="connsiteX149" fmla="*/ 3440408 w 3907177"/>
                  <a:gd name="connsiteY149" fmla="*/ 1796829 h 3033282"/>
                  <a:gd name="connsiteX150" fmla="*/ 3433154 w 3907177"/>
                  <a:gd name="connsiteY150" fmla="*/ 1784752 h 3033282"/>
                  <a:gd name="connsiteX151" fmla="*/ 3397602 w 3907177"/>
                  <a:gd name="connsiteY151" fmla="*/ 1761774 h 3033282"/>
                  <a:gd name="connsiteX152" fmla="*/ 3349501 w 3907177"/>
                  <a:gd name="connsiteY152" fmla="*/ 1755507 h 3033282"/>
                  <a:gd name="connsiteX153" fmla="*/ 3395510 w 3907177"/>
                  <a:gd name="connsiteY153" fmla="*/ 1772218 h 3033282"/>
                  <a:gd name="connsiteX154" fmla="*/ 3439918 w 3907177"/>
                  <a:gd name="connsiteY154" fmla="*/ 1800713 h 3033282"/>
                  <a:gd name="connsiteX155" fmla="*/ 3444055 w 3907177"/>
                  <a:gd name="connsiteY155" fmla="*/ 1804238 h 3033282"/>
                  <a:gd name="connsiteX156" fmla="*/ 3555468 w 3907177"/>
                  <a:gd name="connsiteY156" fmla="*/ 2118980 h 3033282"/>
                  <a:gd name="connsiteX157" fmla="*/ 3553362 w 3907177"/>
                  <a:gd name="connsiteY157" fmla="*/ 2091890 h 3033282"/>
                  <a:gd name="connsiteX158" fmla="*/ 3553487 w 3907177"/>
                  <a:gd name="connsiteY158" fmla="*/ 2080908 h 3033282"/>
                  <a:gd name="connsiteX159" fmla="*/ 3554536 w 3907177"/>
                  <a:gd name="connsiteY159" fmla="*/ 2083695 h 3033282"/>
                  <a:gd name="connsiteX160" fmla="*/ 3570142 w 3907177"/>
                  <a:gd name="connsiteY160" fmla="*/ 2125146 h 3033282"/>
                  <a:gd name="connsiteX161" fmla="*/ 3570375 w 3907177"/>
                  <a:gd name="connsiteY161" fmla="*/ 2125765 h 3033282"/>
                  <a:gd name="connsiteX162" fmla="*/ 3570326 w 3907177"/>
                  <a:gd name="connsiteY162" fmla="*/ 2125774 h 3033282"/>
                  <a:gd name="connsiteX163" fmla="*/ 3524755 w 3907177"/>
                  <a:gd name="connsiteY163" fmla="*/ 2128437 h 3033282"/>
                  <a:gd name="connsiteX164" fmla="*/ 3520991 w 3907177"/>
                  <a:gd name="connsiteY164" fmla="*/ 2130652 h 3033282"/>
                  <a:gd name="connsiteX165" fmla="*/ 3519898 w 3907177"/>
                  <a:gd name="connsiteY165" fmla="*/ 2125754 h 3033282"/>
                  <a:gd name="connsiteX166" fmla="*/ 3513061 w 3907177"/>
                  <a:gd name="connsiteY166" fmla="*/ 2102599 h 3033282"/>
                  <a:gd name="connsiteX167" fmla="*/ 3485716 w 3907177"/>
                  <a:gd name="connsiteY167" fmla="*/ 2058392 h 3033282"/>
                  <a:gd name="connsiteX168" fmla="*/ 3422611 w 3907177"/>
                  <a:gd name="connsiteY168" fmla="*/ 2039446 h 3033282"/>
                  <a:gd name="connsiteX169" fmla="*/ 3384747 w 3907177"/>
                  <a:gd name="connsiteY169" fmla="*/ 2043657 h 3033282"/>
                  <a:gd name="connsiteX170" fmla="*/ 3334263 w 3907177"/>
                  <a:gd name="connsiteY170" fmla="*/ 2031026 h 3033282"/>
                  <a:gd name="connsiteX171" fmla="*/ 3378437 w 3907177"/>
                  <a:gd name="connsiteY171" fmla="*/ 2058392 h 3033282"/>
                  <a:gd name="connsiteX172" fmla="*/ 3357402 w 3907177"/>
                  <a:gd name="connsiteY172" fmla="*/ 2092073 h 3033282"/>
                  <a:gd name="connsiteX173" fmla="*/ 3351091 w 3907177"/>
                  <a:gd name="connsiteY173" fmla="*/ 2140490 h 3033282"/>
                  <a:gd name="connsiteX174" fmla="*/ 3317435 w 3907177"/>
                  <a:gd name="connsiteY174" fmla="*/ 2140490 h 3033282"/>
                  <a:gd name="connsiteX175" fmla="*/ 3359505 w 3907177"/>
                  <a:gd name="connsiteY175" fmla="*/ 2155225 h 3033282"/>
                  <a:gd name="connsiteX176" fmla="*/ 3416300 w 3907177"/>
                  <a:gd name="connsiteY176" fmla="*/ 2180486 h 3033282"/>
                  <a:gd name="connsiteX177" fmla="*/ 3468953 w 3907177"/>
                  <a:gd name="connsiteY177" fmla="*/ 2204760 h 3033282"/>
                  <a:gd name="connsiteX178" fmla="*/ 3471183 w 3907177"/>
                  <a:gd name="connsiteY178" fmla="*/ 2205864 h 3033282"/>
                  <a:gd name="connsiteX179" fmla="*/ 3465112 w 3907177"/>
                  <a:gd name="connsiteY179" fmla="*/ 2222558 h 3033282"/>
                  <a:gd name="connsiteX180" fmla="*/ 3404088 w 3907177"/>
                  <a:gd name="connsiteY180" fmla="*/ 2397188 h 3033282"/>
                  <a:gd name="connsiteX181" fmla="*/ 3303083 w 3907177"/>
                  <a:gd name="connsiteY181" fmla="*/ 2544467 h 3033282"/>
                  <a:gd name="connsiteX182" fmla="*/ 3395671 w 3907177"/>
                  <a:gd name="connsiteY182" fmla="*/ 2456100 h 3033282"/>
                  <a:gd name="connsiteX183" fmla="*/ 3450382 w 3907177"/>
                  <a:gd name="connsiteY183" fmla="*/ 2386668 h 3033282"/>
                  <a:gd name="connsiteX184" fmla="*/ 3526136 w 3907177"/>
                  <a:gd name="connsiteY184" fmla="*/ 2184686 h 3033282"/>
                  <a:gd name="connsiteX185" fmla="*/ 3618725 w 3907177"/>
                  <a:gd name="connsiteY185" fmla="*/ 2163646 h 3033282"/>
                  <a:gd name="connsiteX186" fmla="*/ 3751294 w 3907177"/>
                  <a:gd name="connsiteY186" fmla="*/ 2136294 h 3033282"/>
                  <a:gd name="connsiteX187" fmla="*/ 3799430 w 3907177"/>
                  <a:gd name="connsiteY187" fmla="*/ 2104735 h 3033282"/>
                  <a:gd name="connsiteX188" fmla="*/ 3810437 w 3907177"/>
                  <a:gd name="connsiteY188" fmla="*/ 2099831 h 3033282"/>
                  <a:gd name="connsiteX189" fmla="*/ 3824461 w 3907177"/>
                  <a:gd name="connsiteY189" fmla="*/ 2097367 h 3033282"/>
                  <a:gd name="connsiteX190" fmla="*/ 3829342 w 3907177"/>
                  <a:gd name="connsiteY190" fmla="*/ 2096510 h 3033282"/>
                  <a:gd name="connsiteX191" fmla="*/ 3845987 w 3907177"/>
                  <a:gd name="connsiteY191" fmla="*/ 2098423 h 3033282"/>
                  <a:gd name="connsiteX192" fmla="*/ 3904907 w 3907177"/>
                  <a:gd name="connsiteY192" fmla="*/ 2180478 h 3033282"/>
                  <a:gd name="connsiteX193" fmla="*/ 3885968 w 3907177"/>
                  <a:gd name="connsiteY193" fmla="*/ 2315133 h 3033282"/>
                  <a:gd name="connsiteX194" fmla="*/ 3884225 w 3907177"/>
                  <a:gd name="connsiteY194" fmla="*/ 2328571 h 3033282"/>
                  <a:gd name="connsiteX195" fmla="*/ 3881324 w 3907177"/>
                  <a:gd name="connsiteY195" fmla="*/ 2344937 h 3033282"/>
                  <a:gd name="connsiteX196" fmla="*/ 3878738 w 3907177"/>
                  <a:gd name="connsiteY196" fmla="*/ 2354578 h 3033282"/>
                  <a:gd name="connsiteX197" fmla="*/ 3857107 w 3907177"/>
                  <a:gd name="connsiteY197" fmla="*/ 2435219 h 3033282"/>
                  <a:gd name="connsiteX198" fmla="*/ 3839183 w 3907177"/>
                  <a:gd name="connsiteY198" fmla="*/ 2502042 h 3033282"/>
                  <a:gd name="connsiteX199" fmla="*/ 3806236 w 3907177"/>
                  <a:gd name="connsiteY199" fmla="*/ 2584501 h 3033282"/>
                  <a:gd name="connsiteX200" fmla="*/ 3612412 w 3907177"/>
                  <a:gd name="connsiteY200" fmla="*/ 2876897 h 3033282"/>
                  <a:gd name="connsiteX201" fmla="*/ 3004275 w 3907177"/>
                  <a:gd name="connsiteY201" fmla="*/ 2912665 h 3033282"/>
                  <a:gd name="connsiteX202" fmla="*/ 2812785 w 3907177"/>
                  <a:gd name="connsiteY202" fmla="*/ 2759074 h 3033282"/>
                  <a:gd name="connsiteX203" fmla="*/ 2726510 w 3907177"/>
                  <a:gd name="connsiteY203" fmla="*/ 2651771 h 3033282"/>
                  <a:gd name="connsiteX204" fmla="*/ 2722301 w 3907177"/>
                  <a:gd name="connsiteY204" fmla="*/ 2655979 h 3033282"/>
                  <a:gd name="connsiteX205" fmla="*/ 2686529 w 3907177"/>
                  <a:gd name="connsiteY205" fmla="*/ 2750658 h 3033282"/>
                  <a:gd name="connsiteX206" fmla="*/ 2646547 w 3907177"/>
                  <a:gd name="connsiteY206" fmla="*/ 2799050 h 3033282"/>
                  <a:gd name="connsiteX207" fmla="*/ 2593940 w 3907177"/>
                  <a:gd name="connsiteY207" fmla="*/ 2887417 h 3033282"/>
                  <a:gd name="connsiteX208" fmla="*/ 2606566 w 3907177"/>
                  <a:gd name="connsiteY208" fmla="*/ 2963160 h 3033282"/>
                  <a:gd name="connsiteX209" fmla="*/ 2724406 w 3907177"/>
                  <a:gd name="connsiteY209" fmla="*/ 3001032 h 3033282"/>
                  <a:gd name="connsiteX210" fmla="*/ 2614983 w 3907177"/>
                  <a:gd name="connsiteY210" fmla="*/ 2916873 h 3033282"/>
                  <a:gd name="connsiteX211" fmla="*/ 2636026 w 3907177"/>
                  <a:gd name="connsiteY211" fmla="*/ 2931601 h 3033282"/>
                  <a:gd name="connsiteX212" fmla="*/ 2741240 w 3907177"/>
                  <a:gd name="connsiteY212" fmla="*/ 2975784 h 3033282"/>
                  <a:gd name="connsiteX213" fmla="*/ 2823307 w 3907177"/>
                  <a:gd name="connsiteY213" fmla="*/ 2935809 h 3033282"/>
                  <a:gd name="connsiteX214" fmla="*/ 2869601 w 3907177"/>
                  <a:gd name="connsiteY214" fmla="*/ 2874793 h 3033282"/>
                  <a:gd name="connsiteX215" fmla="*/ 2909582 w 3907177"/>
                  <a:gd name="connsiteY215" fmla="*/ 2914769 h 3033282"/>
                  <a:gd name="connsiteX216" fmla="*/ 2804368 w 3907177"/>
                  <a:gd name="connsiteY216" fmla="*/ 3009448 h 3033282"/>
                  <a:gd name="connsiteX217" fmla="*/ 2631817 w 3907177"/>
                  <a:gd name="connsiteY217" fmla="*/ 3019968 h 3033282"/>
                  <a:gd name="connsiteX218" fmla="*/ 2592812 w 3907177"/>
                  <a:gd name="connsiteY218" fmla="*/ 2997729 h 3033282"/>
                  <a:gd name="connsiteX219" fmla="*/ 2571463 w 3907177"/>
                  <a:gd name="connsiteY219" fmla="*/ 2978979 h 3033282"/>
                  <a:gd name="connsiteX220" fmla="*/ 2569646 w 3907177"/>
                  <a:gd name="connsiteY220" fmla="*/ 2977384 h 3033282"/>
                  <a:gd name="connsiteX221" fmla="*/ 2550477 w 3907177"/>
                  <a:gd name="connsiteY221" fmla="*/ 2953365 h 3033282"/>
                  <a:gd name="connsiteX222" fmla="*/ 2543509 w 3907177"/>
                  <a:gd name="connsiteY222" fmla="*/ 2942341 h 3033282"/>
                  <a:gd name="connsiteX223" fmla="*/ 2527951 w 3907177"/>
                  <a:gd name="connsiteY223" fmla="*/ 2910199 h 3033282"/>
                  <a:gd name="connsiteX224" fmla="*/ 2522395 w 3907177"/>
                  <a:gd name="connsiteY224" fmla="*/ 2893729 h 3033282"/>
                  <a:gd name="connsiteX225" fmla="*/ 2457162 w 3907177"/>
                  <a:gd name="connsiteY225" fmla="*/ 2748554 h 3033282"/>
                  <a:gd name="connsiteX226" fmla="*/ 2362469 w 3907177"/>
                  <a:gd name="connsiteY226" fmla="*/ 2651771 h 3033282"/>
                  <a:gd name="connsiteX227" fmla="*/ 2340024 w 3907177"/>
                  <a:gd name="connsiteY227" fmla="*/ 2621933 h 3033282"/>
                  <a:gd name="connsiteX228" fmla="*/ 2338457 w 3907177"/>
                  <a:gd name="connsiteY228" fmla="*/ 2619477 h 3033282"/>
                  <a:gd name="connsiteX229" fmla="*/ 2304048 w 3907177"/>
                  <a:gd name="connsiteY229" fmla="*/ 2565541 h 3033282"/>
                  <a:gd name="connsiteX230" fmla="*/ 2335655 w 3907177"/>
                  <a:gd name="connsiteY230" fmla="*/ 2318674 h 3033282"/>
                  <a:gd name="connsiteX231" fmla="*/ 2366996 w 3907177"/>
                  <a:gd name="connsiteY231" fmla="*/ 2274192 h 3033282"/>
                  <a:gd name="connsiteX232" fmla="*/ 2347572 w 3907177"/>
                  <a:gd name="connsiteY232" fmla="*/ 2275513 h 3033282"/>
                  <a:gd name="connsiteX233" fmla="*/ 2320522 w 3907177"/>
                  <a:gd name="connsiteY233" fmla="*/ 2269084 h 3033282"/>
                  <a:gd name="connsiteX234" fmla="*/ 2038565 w 3907177"/>
                  <a:gd name="connsiteY234" fmla="*/ 2062847 h 3033282"/>
                  <a:gd name="connsiteX235" fmla="*/ 2043892 w 3907177"/>
                  <a:gd name="connsiteY235" fmla="*/ 1618938 h 3033282"/>
                  <a:gd name="connsiteX236" fmla="*/ 2058099 w 3907177"/>
                  <a:gd name="connsiteY236" fmla="*/ 1557525 h 3033282"/>
                  <a:gd name="connsiteX237" fmla="*/ 2055755 w 3907177"/>
                  <a:gd name="connsiteY237" fmla="*/ 1558228 h 3033282"/>
                  <a:gd name="connsiteX238" fmla="*/ 2050316 w 3907177"/>
                  <a:gd name="connsiteY238" fmla="*/ 1559430 h 3033282"/>
                  <a:gd name="connsiteX239" fmla="*/ 1525518 w 3907177"/>
                  <a:gd name="connsiteY239" fmla="*/ 1690090 h 3033282"/>
                  <a:gd name="connsiteX240" fmla="*/ 946985 w 3907177"/>
                  <a:gd name="connsiteY240" fmla="*/ 1875211 h 3033282"/>
                  <a:gd name="connsiteX241" fmla="*/ 559893 w 3907177"/>
                  <a:gd name="connsiteY241" fmla="*/ 1858382 h 3033282"/>
                  <a:gd name="connsiteX242" fmla="*/ 412630 w 3907177"/>
                  <a:gd name="connsiteY242" fmla="*/ 1498659 h 3033282"/>
                  <a:gd name="connsiteX243" fmla="*/ 46576 w 3907177"/>
                  <a:gd name="connsiteY243" fmla="*/ 1063204 h 3033282"/>
                  <a:gd name="connsiteX244" fmla="*/ 36057 w 3907177"/>
                  <a:gd name="connsiteY244" fmla="*/ 665615 h 3033282"/>
                  <a:gd name="connsiteX245" fmla="*/ 191735 w 3907177"/>
                  <a:gd name="connsiteY245" fmla="*/ 459457 h 3033282"/>
                  <a:gd name="connsiteX246" fmla="*/ 374762 w 3907177"/>
                  <a:gd name="connsiteY246" fmla="*/ 465768 h 3033282"/>
                  <a:gd name="connsiteX247" fmla="*/ 677704 w 3907177"/>
                  <a:gd name="connsiteY247" fmla="*/ 528878 h 3033282"/>
                  <a:gd name="connsiteX248" fmla="*/ 1090040 w 3907177"/>
                  <a:gd name="connsiteY248" fmla="*/ 713999 h 3033282"/>
                  <a:gd name="connsiteX249" fmla="*/ 736609 w 3907177"/>
                  <a:gd name="connsiteY249" fmla="*/ 514152 h 3033282"/>
                  <a:gd name="connsiteX250" fmla="*/ 503092 w 3907177"/>
                  <a:gd name="connsiteY250" fmla="*/ 423695 h 3033282"/>
                  <a:gd name="connsiteX251" fmla="*/ 700845 w 3907177"/>
                  <a:gd name="connsiteY251" fmla="*/ 246989 h 3033282"/>
                  <a:gd name="connsiteX252" fmla="*/ 867042 w 3907177"/>
                  <a:gd name="connsiteY252" fmla="*/ 47143 h 3033282"/>
                  <a:gd name="connsiteX253" fmla="*/ 990408 w 3907177"/>
                  <a:gd name="connsiteY253" fmla="*/ 698 h 3033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Lst>
                <a:rect l="l" t="t" r="r" b="b"/>
                <a:pathLst>
                  <a:path w="3907177" h="3033282">
                    <a:moveTo>
                      <a:pt x="3283994" y="2199606"/>
                    </a:moveTo>
                    <a:cubicBezTo>
                      <a:pt x="3260886" y="2199606"/>
                      <a:pt x="3239879" y="2208029"/>
                      <a:pt x="3216771" y="2237508"/>
                    </a:cubicBezTo>
                    <a:cubicBezTo>
                      <a:pt x="3206268" y="2252247"/>
                      <a:pt x="3191038" y="2271198"/>
                      <a:pt x="3176070" y="2287254"/>
                    </a:cubicBezTo>
                    <a:lnTo>
                      <a:pt x="3157902" y="2304911"/>
                    </a:lnTo>
                    <a:lnTo>
                      <a:pt x="3148728" y="2311436"/>
                    </a:lnTo>
                    <a:cubicBezTo>
                      <a:pt x="3141540" y="2316470"/>
                      <a:pt x="3136944" y="2319628"/>
                      <a:pt x="3136944" y="2319628"/>
                    </a:cubicBezTo>
                    <a:cubicBezTo>
                      <a:pt x="3141671" y="2318049"/>
                      <a:pt x="3147710" y="2313969"/>
                      <a:pt x="3154439" y="2308277"/>
                    </a:cubicBezTo>
                    <a:lnTo>
                      <a:pt x="3157902" y="2304911"/>
                    </a:lnTo>
                    <a:lnTo>
                      <a:pt x="3176070" y="2291992"/>
                    </a:lnTo>
                    <a:cubicBezTo>
                      <a:pt x="3196815" y="2276989"/>
                      <a:pt x="3219922" y="2259617"/>
                      <a:pt x="3229375" y="2250142"/>
                    </a:cubicBezTo>
                    <a:cubicBezTo>
                      <a:pt x="3248282" y="2231191"/>
                      <a:pt x="3283994" y="2231191"/>
                      <a:pt x="3317605" y="2231191"/>
                    </a:cubicBezTo>
                    <a:cubicBezTo>
                      <a:pt x="3341238" y="2231191"/>
                      <a:pt x="3367234" y="2240666"/>
                      <a:pt x="3378755" y="2245404"/>
                    </a:cubicBezTo>
                    <a:lnTo>
                      <a:pt x="3382808" y="2247161"/>
                    </a:lnTo>
                    <a:lnTo>
                      <a:pt x="3351550" y="2248260"/>
                    </a:lnTo>
                    <a:cubicBezTo>
                      <a:pt x="3337425" y="2251320"/>
                      <a:pt x="3324650" y="2257505"/>
                      <a:pt x="3315694" y="2268558"/>
                    </a:cubicBezTo>
                    <a:cubicBezTo>
                      <a:pt x="3281978" y="2310668"/>
                      <a:pt x="3267228" y="2335934"/>
                      <a:pt x="3248262" y="2369622"/>
                    </a:cubicBezTo>
                    <a:cubicBezTo>
                      <a:pt x="3229297" y="2403310"/>
                      <a:pt x="3195581" y="2443314"/>
                      <a:pt x="3195581" y="2443314"/>
                    </a:cubicBezTo>
                    <a:cubicBezTo>
                      <a:pt x="3195581" y="2443314"/>
                      <a:pt x="3273549" y="2363305"/>
                      <a:pt x="3288300" y="2346462"/>
                    </a:cubicBezTo>
                    <a:cubicBezTo>
                      <a:pt x="3303051" y="2327512"/>
                      <a:pt x="3309372" y="2312774"/>
                      <a:pt x="3334660" y="2295930"/>
                    </a:cubicBezTo>
                    <a:cubicBezTo>
                      <a:pt x="3357839" y="2279086"/>
                      <a:pt x="3381019" y="2279086"/>
                      <a:pt x="3404199" y="2281191"/>
                    </a:cubicBezTo>
                    <a:cubicBezTo>
                      <a:pt x="3427378" y="2283297"/>
                      <a:pt x="3442129" y="2291719"/>
                      <a:pt x="3442129" y="2291719"/>
                    </a:cubicBezTo>
                    <a:lnTo>
                      <a:pt x="3448451" y="2258031"/>
                    </a:lnTo>
                    <a:cubicBezTo>
                      <a:pt x="3448451" y="2258031"/>
                      <a:pt x="3442393" y="2255926"/>
                      <a:pt x="3432746" y="2253458"/>
                    </a:cubicBezTo>
                    <a:lnTo>
                      <a:pt x="3399309" y="2247403"/>
                    </a:lnTo>
                    <a:lnTo>
                      <a:pt x="3406885" y="2246720"/>
                    </a:lnTo>
                    <a:cubicBezTo>
                      <a:pt x="3417388" y="2244878"/>
                      <a:pt x="3426842" y="2240666"/>
                      <a:pt x="3422640" y="2231191"/>
                    </a:cubicBezTo>
                    <a:cubicBezTo>
                      <a:pt x="3412137" y="2214346"/>
                      <a:pt x="3391130" y="2216451"/>
                      <a:pt x="3370122" y="2208029"/>
                    </a:cubicBezTo>
                    <a:cubicBezTo>
                      <a:pt x="3349115" y="2201712"/>
                      <a:pt x="3309202" y="2199606"/>
                      <a:pt x="3283994" y="2199606"/>
                    </a:cubicBezTo>
                    <a:close/>
                    <a:moveTo>
                      <a:pt x="3868985" y="2136388"/>
                    </a:moveTo>
                    <a:cubicBezTo>
                      <a:pt x="3868985" y="2136388"/>
                      <a:pt x="3778558" y="2193138"/>
                      <a:pt x="3734396" y="2199444"/>
                    </a:cubicBezTo>
                    <a:cubicBezTo>
                      <a:pt x="3690235" y="2205750"/>
                      <a:pt x="3646073" y="2235176"/>
                      <a:pt x="3559852" y="2182629"/>
                    </a:cubicBezTo>
                    <a:cubicBezTo>
                      <a:pt x="3555646" y="2180527"/>
                      <a:pt x="3604014" y="2239379"/>
                      <a:pt x="3641867" y="2241481"/>
                    </a:cubicBezTo>
                    <a:cubicBezTo>
                      <a:pt x="3681823" y="2243583"/>
                      <a:pt x="3702852" y="2239379"/>
                      <a:pt x="3702852" y="2239379"/>
                    </a:cubicBezTo>
                    <a:cubicBezTo>
                      <a:pt x="3784867" y="2228870"/>
                      <a:pt x="3820617" y="2188935"/>
                      <a:pt x="3831132" y="2178425"/>
                    </a:cubicBezTo>
                    <a:cubicBezTo>
                      <a:pt x="3843750" y="2170018"/>
                      <a:pt x="3868985" y="2136388"/>
                      <a:pt x="3868985" y="2136388"/>
                    </a:cubicBezTo>
                    <a:close/>
                    <a:moveTo>
                      <a:pt x="3385344" y="2089937"/>
                    </a:moveTo>
                    <a:cubicBezTo>
                      <a:pt x="3391674" y="2089411"/>
                      <a:pt x="3398532" y="2089937"/>
                      <a:pt x="3403807" y="2092045"/>
                    </a:cubicBezTo>
                    <a:cubicBezTo>
                      <a:pt x="3412247" y="2096259"/>
                      <a:pt x="3418577" y="2104688"/>
                      <a:pt x="3420687" y="2119439"/>
                    </a:cubicBezTo>
                    <a:cubicBezTo>
                      <a:pt x="3422797" y="2132083"/>
                      <a:pt x="3410137" y="2151048"/>
                      <a:pt x="3410137" y="2151048"/>
                    </a:cubicBezTo>
                    <a:cubicBezTo>
                      <a:pt x="3410137" y="2151048"/>
                      <a:pt x="3389037" y="2144726"/>
                      <a:pt x="3380596" y="2144726"/>
                    </a:cubicBezTo>
                    <a:cubicBezTo>
                      <a:pt x="3374266" y="2142619"/>
                      <a:pt x="3353166" y="2146834"/>
                      <a:pt x="3353166" y="2146834"/>
                    </a:cubicBezTo>
                    <a:lnTo>
                      <a:pt x="3353166" y="2113117"/>
                    </a:lnTo>
                    <a:cubicBezTo>
                      <a:pt x="3353166" y="2113117"/>
                      <a:pt x="3365826" y="2096259"/>
                      <a:pt x="3370046" y="2094152"/>
                    </a:cubicBezTo>
                    <a:cubicBezTo>
                      <a:pt x="3373211" y="2092045"/>
                      <a:pt x="3379014" y="2090464"/>
                      <a:pt x="3385344" y="2089937"/>
                    </a:cubicBezTo>
                    <a:close/>
                    <a:moveTo>
                      <a:pt x="2921466" y="1940074"/>
                    </a:moveTo>
                    <a:cubicBezTo>
                      <a:pt x="2903875" y="1940863"/>
                      <a:pt x="2886546" y="1942966"/>
                      <a:pt x="2876044" y="1945069"/>
                    </a:cubicBezTo>
                    <a:cubicBezTo>
                      <a:pt x="2857140" y="1951377"/>
                      <a:pt x="2819332" y="1968200"/>
                      <a:pt x="2796228" y="1980818"/>
                    </a:cubicBezTo>
                    <a:cubicBezTo>
                      <a:pt x="2773123" y="1995538"/>
                      <a:pt x="2716411" y="2018670"/>
                      <a:pt x="2716411" y="2018670"/>
                    </a:cubicBezTo>
                    <a:cubicBezTo>
                      <a:pt x="2716411" y="2018670"/>
                      <a:pt x="2756319" y="2016567"/>
                      <a:pt x="2773123" y="2014464"/>
                    </a:cubicBezTo>
                    <a:cubicBezTo>
                      <a:pt x="2789926" y="2014464"/>
                      <a:pt x="2813031" y="2008155"/>
                      <a:pt x="2813031" y="2008155"/>
                    </a:cubicBezTo>
                    <a:cubicBezTo>
                      <a:pt x="2813031" y="2008155"/>
                      <a:pt x="2802529" y="2046007"/>
                      <a:pt x="2810931" y="2075448"/>
                    </a:cubicBezTo>
                    <a:cubicBezTo>
                      <a:pt x="2817232" y="2102785"/>
                      <a:pt x="2825634" y="2117505"/>
                      <a:pt x="2825634" y="2117505"/>
                    </a:cubicBezTo>
                    <a:cubicBezTo>
                      <a:pt x="2825634" y="2117505"/>
                      <a:pt x="2825634" y="2119608"/>
                      <a:pt x="2817232" y="2123814"/>
                    </a:cubicBezTo>
                    <a:cubicBezTo>
                      <a:pt x="2810931" y="2125917"/>
                      <a:pt x="2773123" y="2157460"/>
                      <a:pt x="2773123" y="2157460"/>
                    </a:cubicBezTo>
                    <a:cubicBezTo>
                      <a:pt x="2773123" y="2157460"/>
                      <a:pt x="2831935" y="2132226"/>
                      <a:pt x="2848738" y="2125917"/>
                    </a:cubicBezTo>
                    <a:cubicBezTo>
                      <a:pt x="2865542" y="2121711"/>
                      <a:pt x="2901249" y="2113300"/>
                      <a:pt x="2941157" y="2104888"/>
                    </a:cubicBezTo>
                    <a:cubicBezTo>
                      <a:pt x="2981066" y="2096476"/>
                      <a:pt x="3111292" y="2106991"/>
                      <a:pt x="3111292" y="2106991"/>
                    </a:cubicBezTo>
                    <a:cubicBezTo>
                      <a:pt x="3111292" y="2106991"/>
                      <a:pt x="3073484" y="2092271"/>
                      <a:pt x="3056681" y="2085962"/>
                    </a:cubicBezTo>
                    <a:cubicBezTo>
                      <a:pt x="3039878" y="2081756"/>
                      <a:pt x="3016773" y="2081756"/>
                      <a:pt x="3016773" y="2081756"/>
                    </a:cubicBezTo>
                    <a:cubicBezTo>
                      <a:pt x="3016773" y="2081756"/>
                      <a:pt x="3029375" y="2052316"/>
                      <a:pt x="3023074" y="2027081"/>
                    </a:cubicBezTo>
                    <a:cubicBezTo>
                      <a:pt x="3016773" y="1999744"/>
                      <a:pt x="2995769" y="1970303"/>
                      <a:pt x="2995769" y="1970303"/>
                    </a:cubicBezTo>
                    <a:cubicBezTo>
                      <a:pt x="2995769" y="1970303"/>
                      <a:pt x="3002070" y="1966098"/>
                      <a:pt x="3018873" y="1966098"/>
                    </a:cubicBezTo>
                    <a:cubicBezTo>
                      <a:pt x="3035677" y="1963995"/>
                      <a:pt x="3065083" y="1957686"/>
                      <a:pt x="3065083" y="1957686"/>
                    </a:cubicBezTo>
                    <a:cubicBezTo>
                      <a:pt x="3065083" y="1957686"/>
                      <a:pt x="2991568" y="1949274"/>
                      <a:pt x="2968463" y="1942966"/>
                    </a:cubicBezTo>
                    <a:cubicBezTo>
                      <a:pt x="2956910" y="1939811"/>
                      <a:pt x="2939057" y="1939286"/>
                      <a:pt x="2921466" y="1940074"/>
                    </a:cubicBezTo>
                    <a:close/>
                    <a:moveTo>
                      <a:pt x="2882143" y="1689578"/>
                    </a:moveTo>
                    <a:cubicBezTo>
                      <a:pt x="2843731" y="1689315"/>
                      <a:pt x="2800057" y="1691418"/>
                      <a:pt x="2779009" y="1700880"/>
                    </a:cubicBezTo>
                    <a:cubicBezTo>
                      <a:pt x="2736913" y="1717702"/>
                      <a:pt x="2720075" y="1810222"/>
                      <a:pt x="2720075" y="1810222"/>
                    </a:cubicBezTo>
                    <a:cubicBezTo>
                      <a:pt x="2720075" y="1810222"/>
                      <a:pt x="2760066" y="1759756"/>
                      <a:pt x="2806371" y="1730318"/>
                    </a:cubicBezTo>
                    <a:cubicBezTo>
                      <a:pt x="2852676" y="1698777"/>
                      <a:pt x="2953705" y="1692469"/>
                      <a:pt x="2953705" y="1692469"/>
                    </a:cubicBezTo>
                    <a:cubicBezTo>
                      <a:pt x="2953705" y="1692469"/>
                      <a:pt x="2920555" y="1689840"/>
                      <a:pt x="2882143" y="1689578"/>
                    </a:cubicBezTo>
                    <a:close/>
                    <a:moveTo>
                      <a:pt x="2751741" y="1152523"/>
                    </a:moveTo>
                    <a:lnTo>
                      <a:pt x="2752273" y="1154187"/>
                    </a:lnTo>
                    <a:lnTo>
                      <a:pt x="2764036" y="1192874"/>
                    </a:lnTo>
                    <a:lnTo>
                      <a:pt x="2787833" y="1274009"/>
                    </a:lnTo>
                    <a:lnTo>
                      <a:pt x="2819472" y="1283014"/>
                    </a:lnTo>
                    <a:lnTo>
                      <a:pt x="2820261" y="1283258"/>
                    </a:lnTo>
                    <a:lnTo>
                      <a:pt x="2825890" y="1283302"/>
                    </a:lnTo>
                    <a:lnTo>
                      <a:pt x="2903747" y="1291542"/>
                    </a:lnTo>
                    <a:lnTo>
                      <a:pt x="2899550" y="1288295"/>
                    </a:lnTo>
                    <a:cubicBezTo>
                      <a:pt x="2806596" y="1216396"/>
                      <a:pt x="2806596" y="1216396"/>
                      <a:pt x="2806596" y="1216396"/>
                    </a:cubicBezTo>
                    <a:cubicBezTo>
                      <a:pt x="2806596" y="1216396"/>
                      <a:pt x="2794376" y="1202454"/>
                      <a:pt x="2775061" y="1179930"/>
                    </a:cubicBezTo>
                    <a:close/>
                    <a:moveTo>
                      <a:pt x="1695768" y="862876"/>
                    </a:moveTo>
                    <a:cubicBezTo>
                      <a:pt x="2078780" y="919680"/>
                      <a:pt x="2078780" y="919680"/>
                      <a:pt x="2078780" y="919680"/>
                    </a:cubicBezTo>
                    <a:cubicBezTo>
                      <a:pt x="2078780" y="919680"/>
                      <a:pt x="2137705" y="923888"/>
                      <a:pt x="2177689" y="938615"/>
                    </a:cubicBezTo>
                    <a:cubicBezTo>
                      <a:pt x="2217674" y="951238"/>
                      <a:pt x="2274495" y="997523"/>
                      <a:pt x="2274495" y="997523"/>
                    </a:cubicBezTo>
                    <a:cubicBezTo>
                      <a:pt x="2274495" y="997523"/>
                      <a:pt x="2226092" y="984900"/>
                      <a:pt x="2192421" y="984900"/>
                    </a:cubicBezTo>
                    <a:cubicBezTo>
                      <a:pt x="2160854" y="987004"/>
                      <a:pt x="2101929" y="1026977"/>
                      <a:pt x="2082989" y="1031185"/>
                    </a:cubicBezTo>
                    <a:cubicBezTo>
                      <a:pt x="2061944" y="1035392"/>
                      <a:pt x="2013542" y="1064846"/>
                      <a:pt x="2013542" y="1064846"/>
                    </a:cubicBezTo>
                    <a:cubicBezTo>
                      <a:pt x="2013542" y="1064846"/>
                      <a:pt x="2118765" y="1039600"/>
                      <a:pt x="2177689" y="1060639"/>
                    </a:cubicBezTo>
                    <a:cubicBezTo>
                      <a:pt x="2234510" y="1081677"/>
                      <a:pt x="2276599" y="1062742"/>
                      <a:pt x="2320793" y="1102716"/>
                    </a:cubicBezTo>
                    <a:cubicBezTo>
                      <a:pt x="2362882" y="1142689"/>
                      <a:pt x="2402867" y="1193182"/>
                      <a:pt x="2402867" y="1193182"/>
                    </a:cubicBezTo>
                    <a:lnTo>
                      <a:pt x="2477977" y="1304520"/>
                    </a:lnTo>
                    <a:lnTo>
                      <a:pt x="2495231" y="1302276"/>
                    </a:lnTo>
                    <a:lnTo>
                      <a:pt x="2479203" y="1263722"/>
                    </a:lnTo>
                    <a:cubicBezTo>
                      <a:pt x="2435552" y="1159125"/>
                      <a:pt x="2373405" y="1012512"/>
                      <a:pt x="2352360" y="974380"/>
                    </a:cubicBezTo>
                    <a:cubicBezTo>
                      <a:pt x="2320793" y="913369"/>
                      <a:pt x="2238719" y="886019"/>
                      <a:pt x="2194525" y="875499"/>
                    </a:cubicBezTo>
                    <a:cubicBezTo>
                      <a:pt x="2150331" y="862876"/>
                      <a:pt x="1695768" y="862876"/>
                      <a:pt x="1695768" y="862876"/>
                    </a:cubicBezTo>
                    <a:close/>
                    <a:moveTo>
                      <a:pt x="2884074" y="435929"/>
                    </a:moveTo>
                    <a:cubicBezTo>
                      <a:pt x="2884074" y="435929"/>
                      <a:pt x="2919884" y="555927"/>
                      <a:pt x="2987291" y="631716"/>
                    </a:cubicBezTo>
                    <a:cubicBezTo>
                      <a:pt x="3054698" y="705399"/>
                      <a:pt x="3130531" y="1008552"/>
                      <a:pt x="3130531" y="1008552"/>
                    </a:cubicBezTo>
                    <a:cubicBezTo>
                      <a:pt x="3130531" y="1008552"/>
                      <a:pt x="3115786" y="812766"/>
                      <a:pt x="3063124" y="682241"/>
                    </a:cubicBezTo>
                    <a:cubicBezTo>
                      <a:pt x="3063124" y="682241"/>
                      <a:pt x="2993611" y="549612"/>
                      <a:pt x="2970440" y="520138"/>
                    </a:cubicBezTo>
                    <a:cubicBezTo>
                      <a:pt x="2945162" y="490665"/>
                      <a:pt x="2884074" y="435929"/>
                      <a:pt x="2884074" y="435929"/>
                    </a:cubicBezTo>
                    <a:close/>
                    <a:moveTo>
                      <a:pt x="990408" y="698"/>
                    </a:moveTo>
                    <a:cubicBezTo>
                      <a:pt x="1005101" y="-321"/>
                      <a:pt x="1021142" y="-189"/>
                      <a:pt x="1039550" y="863"/>
                    </a:cubicBezTo>
                    <a:cubicBezTo>
                      <a:pt x="1111078" y="5070"/>
                      <a:pt x="1258341" y="38728"/>
                      <a:pt x="1348803" y="72387"/>
                    </a:cubicBezTo>
                    <a:cubicBezTo>
                      <a:pt x="1439264" y="103941"/>
                      <a:pt x="1653848" y="181776"/>
                      <a:pt x="1737998" y="232264"/>
                    </a:cubicBezTo>
                    <a:cubicBezTo>
                      <a:pt x="1830564" y="284855"/>
                      <a:pt x="1914714" y="318513"/>
                      <a:pt x="2005176" y="371104"/>
                    </a:cubicBezTo>
                    <a:cubicBezTo>
                      <a:pt x="2051459" y="397400"/>
                      <a:pt x="2127194" y="436317"/>
                      <a:pt x="2203455" y="477601"/>
                    </a:cubicBezTo>
                    <a:lnTo>
                      <a:pt x="2296994" y="530121"/>
                    </a:lnTo>
                    <a:lnTo>
                      <a:pt x="2323986" y="546882"/>
                    </a:lnTo>
                    <a:lnTo>
                      <a:pt x="2357160" y="567482"/>
                    </a:lnTo>
                    <a:lnTo>
                      <a:pt x="2404890" y="598298"/>
                    </a:lnTo>
                    <a:lnTo>
                      <a:pt x="2415440" y="605928"/>
                    </a:lnTo>
                    <a:lnTo>
                      <a:pt x="2362991" y="493093"/>
                    </a:lnTo>
                    <a:cubicBezTo>
                      <a:pt x="2362991" y="493093"/>
                      <a:pt x="2362991" y="493093"/>
                      <a:pt x="2329266" y="483333"/>
                    </a:cubicBezTo>
                    <a:lnTo>
                      <a:pt x="2307060" y="476906"/>
                    </a:lnTo>
                    <a:lnTo>
                      <a:pt x="2313198" y="470584"/>
                    </a:lnTo>
                    <a:cubicBezTo>
                      <a:pt x="2335494" y="447752"/>
                      <a:pt x="2406858" y="375701"/>
                      <a:pt x="2460566" y="333037"/>
                    </a:cubicBezTo>
                    <a:lnTo>
                      <a:pt x="2482676" y="317005"/>
                    </a:lnTo>
                    <a:lnTo>
                      <a:pt x="2522361" y="296868"/>
                    </a:lnTo>
                    <a:lnTo>
                      <a:pt x="2554579" y="283748"/>
                    </a:lnTo>
                    <a:cubicBezTo>
                      <a:pt x="2588217" y="269017"/>
                      <a:pt x="2633417" y="251656"/>
                      <a:pt x="2694384" y="254812"/>
                    </a:cubicBezTo>
                    <a:cubicBezTo>
                      <a:pt x="2724868" y="256391"/>
                      <a:pt x="2759293" y="263098"/>
                      <a:pt x="2798186" y="277829"/>
                    </a:cubicBezTo>
                    <a:cubicBezTo>
                      <a:pt x="2951656" y="336753"/>
                      <a:pt x="2857052" y="260994"/>
                      <a:pt x="2857052" y="260994"/>
                    </a:cubicBezTo>
                    <a:cubicBezTo>
                      <a:pt x="2857052" y="260994"/>
                      <a:pt x="2858530" y="261224"/>
                      <a:pt x="2861191" y="261705"/>
                    </a:cubicBezTo>
                    <a:lnTo>
                      <a:pt x="2866568" y="262766"/>
                    </a:lnTo>
                    <a:lnTo>
                      <a:pt x="2867847" y="263215"/>
                    </a:lnTo>
                    <a:cubicBezTo>
                      <a:pt x="2872013" y="264887"/>
                      <a:pt x="2874182" y="265939"/>
                      <a:pt x="2874182" y="265939"/>
                    </a:cubicBezTo>
                    <a:cubicBezTo>
                      <a:pt x="2874182" y="265939"/>
                      <a:pt x="2875760" y="265775"/>
                      <a:pt x="2878772" y="265783"/>
                    </a:cubicBezTo>
                    <a:lnTo>
                      <a:pt x="2879970" y="265863"/>
                    </a:lnTo>
                    <a:lnTo>
                      <a:pt x="2909084" y="273357"/>
                    </a:lnTo>
                    <a:cubicBezTo>
                      <a:pt x="2937466" y="282038"/>
                      <a:pt x="2970577" y="295717"/>
                      <a:pt x="2989498" y="315709"/>
                    </a:cubicBezTo>
                    <a:cubicBezTo>
                      <a:pt x="3027340" y="357797"/>
                      <a:pt x="3391043" y="702920"/>
                      <a:pt x="3365815" y="925987"/>
                    </a:cubicBezTo>
                    <a:cubicBezTo>
                      <a:pt x="3351098" y="1060670"/>
                      <a:pt x="3227061" y="1315303"/>
                      <a:pt x="3233368" y="1376331"/>
                    </a:cubicBezTo>
                    <a:cubicBezTo>
                      <a:pt x="3234682" y="1385538"/>
                      <a:pt x="3236920" y="1397159"/>
                      <a:pt x="3239761" y="1410216"/>
                    </a:cubicBezTo>
                    <a:lnTo>
                      <a:pt x="3243622" y="1426604"/>
                    </a:lnTo>
                    <a:lnTo>
                      <a:pt x="3302854" y="1472111"/>
                    </a:lnTo>
                    <a:cubicBezTo>
                      <a:pt x="3370331" y="1532754"/>
                      <a:pt x="3422311" y="1609600"/>
                      <a:pt x="3442037" y="1705090"/>
                    </a:cubicBezTo>
                    <a:lnTo>
                      <a:pt x="3433973" y="1732860"/>
                    </a:lnTo>
                    <a:lnTo>
                      <a:pt x="3404867" y="1673697"/>
                    </a:lnTo>
                    <a:cubicBezTo>
                      <a:pt x="3399074" y="1661664"/>
                      <a:pt x="3393479" y="1649944"/>
                      <a:pt x="3388345" y="1639131"/>
                    </a:cubicBezTo>
                    <a:lnTo>
                      <a:pt x="3377441" y="1616053"/>
                    </a:lnTo>
                    <a:lnTo>
                      <a:pt x="3359581" y="1565598"/>
                    </a:lnTo>
                    <a:cubicBezTo>
                      <a:pt x="3359581" y="1565598"/>
                      <a:pt x="3359581" y="1565598"/>
                      <a:pt x="3361687" y="1582431"/>
                    </a:cubicBezTo>
                    <a:cubicBezTo>
                      <a:pt x="3361687" y="1582431"/>
                      <a:pt x="3366690" y="1593215"/>
                      <a:pt x="3374588" y="1610015"/>
                    </a:cubicBezTo>
                    <a:lnTo>
                      <a:pt x="3377441" y="1616053"/>
                    </a:lnTo>
                    <a:lnTo>
                      <a:pt x="3442901" y="1800978"/>
                    </a:lnTo>
                    <a:lnTo>
                      <a:pt x="3440408" y="1796829"/>
                    </a:lnTo>
                    <a:cubicBezTo>
                      <a:pt x="3438644" y="1793891"/>
                      <a:pt x="3436291" y="1789974"/>
                      <a:pt x="3433154" y="1784752"/>
                    </a:cubicBezTo>
                    <a:cubicBezTo>
                      <a:pt x="3433154" y="1784752"/>
                      <a:pt x="3414332" y="1768041"/>
                      <a:pt x="3397602" y="1761774"/>
                    </a:cubicBezTo>
                    <a:cubicBezTo>
                      <a:pt x="3380871" y="1753418"/>
                      <a:pt x="3349501" y="1755507"/>
                      <a:pt x="3349501" y="1755507"/>
                    </a:cubicBezTo>
                    <a:cubicBezTo>
                      <a:pt x="3349501" y="1755507"/>
                      <a:pt x="3380871" y="1768041"/>
                      <a:pt x="3395510" y="1772218"/>
                    </a:cubicBezTo>
                    <a:cubicBezTo>
                      <a:pt x="3406489" y="1773785"/>
                      <a:pt x="3429233" y="1791802"/>
                      <a:pt x="3439918" y="1800713"/>
                    </a:cubicBezTo>
                    <a:lnTo>
                      <a:pt x="3444055" y="1804238"/>
                    </a:lnTo>
                    <a:lnTo>
                      <a:pt x="3555468" y="2118980"/>
                    </a:lnTo>
                    <a:cubicBezTo>
                      <a:pt x="3555468" y="2118980"/>
                      <a:pt x="3553888" y="2108460"/>
                      <a:pt x="3553362" y="2091890"/>
                    </a:cubicBezTo>
                    <a:lnTo>
                      <a:pt x="3553487" y="2080908"/>
                    </a:lnTo>
                    <a:lnTo>
                      <a:pt x="3554536" y="2083695"/>
                    </a:lnTo>
                    <a:cubicBezTo>
                      <a:pt x="3566426" y="2115277"/>
                      <a:pt x="3569399" y="2123172"/>
                      <a:pt x="3570142" y="2125146"/>
                    </a:cubicBezTo>
                    <a:lnTo>
                      <a:pt x="3570375" y="2125765"/>
                    </a:lnTo>
                    <a:lnTo>
                      <a:pt x="3570326" y="2125774"/>
                    </a:lnTo>
                    <a:cubicBezTo>
                      <a:pt x="3545075" y="2130508"/>
                      <a:pt x="3536395" y="2124591"/>
                      <a:pt x="3524755" y="2128437"/>
                    </a:cubicBezTo>
                    <a:lnTo>
                      <a:pt x="3520991" y="2130652"/>
                    </a:lnTo>
                    <a:lnTo>
                      <a:pt x="3519898" y="2125754"/>
                    </a:lnTo>
                    <a:cubicBezTo>
                      <a:pt x="3517794" y="2116808"/>
                      <a:pt x="3515165" y="2106809"/>
                      <a:pt x="3513061" y="2102599"/>
                    </a:cubicBezTo>
                    <a:cubicBezTo>
                      <a:pt x="3510958" y="2096283"/>
                      <a:pt x="3498337" y="2064707"/>
                      <a:pt x="3485716" y="2058392"/>
                    </a:cubicBezTo>
                    <a:cubicBezTo>
                      <a:pt x="3475198" y="2052077"/>
                      <a:pt x="3435232" y="2037341"/>
                      <a:pt x="3422611" y="2039446"/>
                    </a:cubicBezTo>
                    <a:cubicBezTo>
                      <a:pt x="3409989" y="2039446"/>
                      <a:pt x="3397368" y="2045762"/>
                      <a:pt x="3384747" y="2043657"/>
                    </a:cubicBezTo>
                    <a:cubicBezTo>
                      <a:pt x="3372126" y="2041551"/>
                      <a:pt x="3334263" y="2031026"/>
                      <a:pt x="3334263" y="2031026"/>
                    </a:cubicBezTo>
                    <a:cubicBezTo>
                      <a:pt x="3378437" y="2058392"/>
                      <a:pt x="3378437" y="2058392"/>
                      <a:pt x="3378437" y="2058392"/>
                    </a:cubicBezTo>
                    <a:cubicBezTo>
                      <a:pt x="3378437" y="2058392"/>
                      <a:pt x="3359505" y="2079443"/>
                      <a:pt x="3357402" y="2092073"/>
                    </a:cubicBezTo>
                    <a:cubicBezTo>
                      <a:pt x="3348988" y="2111019"/>
                      <a:pt x="3351091" y="2140490"/>
                      <a:pt x="3351091" y="2140490"/>
                    </a:cubicBezTo>
                    <a:cubicBezTo>
                      <a:pt x="3317435" y="2140490"/>
                      <a:pt x="3317435" y="2140490"/>
                      <a:pt x="3317435" y="2140490"/>
                    </a:cubicBezTo>
                    <a:cubicBezTo>
                      <a:pt x="3317435" y="2140490"/>
                      <a:pt x="3348988" y="2148910"/>
                      <a:pt x="3359505" y="2155225"/>
                    </a:cubicBezTo>
                    <a:cubicBezTo>
                      <a:pt x="3370023" y="2161541"/>
                      <a:pt x="3395265" y="2172066"/>
                      <a:pt x="3416300" y="2180486"/>
                    </a:cubicBezTo>
                    <a:cubicBezTo>
                      <a:pt x="3432076" y="2186801"/>
                      <a:pt x="3457318" y="2199037"/>
                      <a:pt x="3468953" y="2204760"/>
                    </a:cubicBezTo>
                    <a:lnTo>
                      <a:pt x="3471183" y="2205864"/>
                    </a:lnTo>
                    <a:lnTo>
                      <a:pt x="3465112" y="2222558"/>
                    </a:lnTo>
                    <a:cubicBezTo>
                      <a:pt x="3458799" y="2247805"/>
                      <a:pt x="3418818" y="2359317"/>
                      <a:pt x="3404088" y="2397188"/>
                    </a:cubicBezTo>
                    <a:cubicBezTo>
                      <a:pt x="3389358" y="2435060"/>
                      <a:pt x="3303083" y="2544467"/>
                      <a:pt x="3303083" y="2544467"/>
                    </a:cubicBezTo>
                    <a:cubicBezTo>
                      <a:pt x="3303083" y="2544467"/>
                      <a:pt x="3383045" y="2468724"/>
                      <a:pt x="3395671" y="2456100"/>
                    </a:cubicBezTo>
                    <a:cubicBezTo>
                      <a:pt x="3410401" y="2443476"/>
                      <a:pt x="3429339" y="2411916"/>
                      <a:pt x="3450382" y="2386668"/>
                    </a:cubicBezTo>
                    <a:cubicBezTo>
                      <a:pt x="3469321" y="2363525"/>
                      <a:pt x="3515615" y="2209934"/>
                      <a:pt x="3526136" y="2184686"/>
                    </a:cubicBezTo>
                    <a:cubicBezTo>
                      <a:pt x="3538762" y="2157334"/>
                      <a:pt x="3574535" y="2159438"/>
                      <a:pt x="3618725" y="2163646"/>
                    </a:cubicBezTo>
                    <a:cubicBezTo>
                      <a:pt x="3665019" y="2167854"/>
                      <a:pt x="3707104" y="2155230"/>
                      <a:pt x="3751294" y="2136294"/>
                    </a:cubicBezTo>
                    <a:cubicBezTo>
                      <a:pt x="3772337" y="2126826"/>
                      <a:pt x="3786015" y="2113676"/>
                      <a:pt x="3799430" y="2104735"/>
                    </a:cubicBezTo>
                    <a:lnTo>
                      <a:pt x="3810437" y="2099831"/>
                    </a:lnTo>
                    <a:lnTo>
                      <a:pt x="3824461" y="2097367"/>
                    </a:lnTo>
                    <a:lnTo>
                      <a:pt x="3829342" y="2096510"/>
                    </a:lnTo>
                    <a:lnTo>
                      <a:pt x="3845987" y="2098423"/>
                    </a:lnTo>
                    <a:cubicBezTo>
                      <a:pt x="3885968" y="2111046"/>
                      <a:pt x="3894385" y="2134190"/>
                      <a:pt x="3904907" y="2180478"/>
                    </a:cubicBezTo>
                    <a:cubicBezTo>
                      <a:pt x="3915428" y="2226766"/>
                      <a:pt x="3885968" y="2315133"/>
                      <a:pt x="3885968" y="2315133"/>
                    </a:cubicBezTo>
                    <a:cubicBezTo>
                      <a:pt x="3885968" y="2315133"/>
                      <a:pt x="3885508" y="2319834"/>
                      <a:pt x="3884225" y="2328571"/>
                    </a:cubicBezTo>
                    <a:lnTo>
                      <a:pt x="3881324" y="2344937"/>
                    </a:lnTo>
                    <a:lnTo>
                      <a:pt x="3878738" y="2354578"/>
                    </a:lnTo>
                    <a:cubicBezTo>
                      <a:pt x="3870987" y="2383473"/>
                      <a:pt x="3863790" y="2410304"/>
                      <a:pt x="3857107" y="2435219"/>
                    </a:cubicBezTo>
                    <a:lnTo>
                      <a:pt x="3839183" y="2502042"/>
                    </a:lnTo>
                    <a:lnTo>
                      <a:pt x="3806236" y="2584501"/>
                    </a:lnTo>
                    <a:cubicBezTo>
                      <a:pt x="3765301" y="2675605"/>
                      <a:pt x="3703948" y="2779062"/>
                      <a:pt x="3612412" y="2876897"/>
                    </a:cubicBezTo>
                    <a:cubicBezTo>
                      <a:pt x="3370419" y="3137791"/>
                      <a:pt x="3046360" y="2935809"/>
                      <a:pt x="3004275" y="2912665"/>
                    </a:cubicBezTo>
                    <a:cubicBezTo>
                      <a:pt x="2962189" y="2889521"/>
                      <a:pt x="2852767" y="2792738"/>
                      <a:pt x="2812785" y="2759074"/>
                    </a:cubicBezTo>
                    <a:cubicBezTo>
                      <a:pt x="2770700" y="2725410"/>
                      <a:pt x="2726510" y="2651771"/>
                      <a:pt x="2726510" y="2651771"/>
                    </a:cubicBezTo>
                    <a:cubicBezTo>
                      <a:pt x="2726510" y="2651771"/>
                      <a:pt x="2724406" y="2649667"/>
                      <a:pt x="2722301" y="2655979"/>
                    </a:cubicBezTo>
                    <a:cubicBezTo>
                      <a:pt x="2720197" y="2662291"/>
                      <a:pt x="2699154" y="2727514"/>
                      <a:pt x="2686529" y="2750658"/>
                    </a:cubicBezTo>
                    <a:cubicBezTo>
                      <a:pt x="2676007" y="2771698"/>
                      <a:pt x="2661277" y="2782218"/>
                      <a:pt x="2646547" y="2799050"/>
                    </a:cubicBezTo>
                    <a:cubicBezTo>
                      <a:pt x="2633922" y="2817986"/>
                      <a:pt x="2612879" y="2845337"/>
                      <a:pt x="2593940" y="2887417"/>
                    </a:cubicBezTo>
                    <a:cubicBezTo>
                      <a:pt x="2575002" y="2929497"/>
                      <a:pt x="2606566" y="2963160"/>
                      <a:pt x="2606566" y="2963160"/>
                    </a:cubicBezTo>
                    <a:cubicBezTo>
                      <a:pt x="2627609" y="2988408"/>
                      <a:pt x="2697050" y="3005240"/>
                      <a:pt x="2724406" y="3001032"/>
                    </a:cubicBezTo>
                    <a:cubicBezTo>
                      <a:pt x="2654964" y="2986304"/>
                      <a:pt x="2614983" y="2916873"/>
                      <a:pt x="2614983" y="2916873"/>
                    </a:cubicBezTo>
                    <a:cubicBezTo>
                      <a:pt x="2614983" y="2916873"/>
                      <a:pt x="2614983" y="2916873"/>
                      <a:pt x="2636026" y="2931601"/>
                    </a:cubicBezTo>
                    <a:cubicBezTo>
                      <a:pt x="2654964" y="2946329"/>
                      <a:pt x="2688633" y="2969472"/>
                      <a:pt x="2741240" y="2975784"/>
                    </a:cubicBezTo>
                    <a:cubicBezTo>
                      <a:pt x="2793847" y="2982096"/>
                      <a:pt x="2823307" y="2935809"/>
                      <a:pt x="2823307" y="2935809"/>
                    </a:cubicBezTo>
                    <a:cubicBezTo>
                      <a:pt x="2823307" y="2935809"/>
                      <a:pt x="2823307" y="2935809"/>
                      <a:pt x="2869601" y="2874793"/>
                    </a:cubicBezTo>
                    <a:cubicBezTo>
                      <a:pt x="2869601" y="2874793"/>
                      <a:pt x="2869601" y="2874793"/>
                      <a:pt x="2909582" y="2914769"/>
                    </a:cubicBezTo>
                    <a:cubicBezTo>
                      <a:pt x="2909582" y="2914769"/>
                      <a:pt x="2838037" y="2988408"/>
                      <a:pt x="2804368" y="3009448"/>
                    </a:cubicBezTo>
                    <a:cubicBezTo>
                      <a:pt x="2770700" y="3030488"/>
                      <a:pt x="2715988" y="3045216"/>
                      <a:pt x="2631817" y="3019968"/>
                    </a:cubicBezTo>
                    <a:lnTo>
                      <a:pt x="2592812" y="2997729"/>
                    </a:lnTo>
                    <a:lnTo>
                      <a:pt x="2571463" y="2978979"/>
                    </a:lnTo>
                    <a:lnTo>
                      <a:pt x="2569646" y="2977384"/>
                    </a:lnTo>
                    <a:lnTo>
                      <a:pt x="2550477" y="2953365"/>
                    </a:lnTo>
                    <a:lnTo>
                      <a:pt x="2543509" y="2942341"/>
                    </a:lnTo>
                    <a:lnTo>
                      <a:pt x="2527951" y="2910199"/>
                    </a:lnTo>
                    <a:cubicBezTo>
                      <a:pt x="2524104" y="2900173"/>
                      <a:pt x="2522395" y="2893729"/>
                      <a:pt x="2522395" y="2893729"/>
                    </a:cubicBezTo>
                    <a:cubicBezTo>
                      <a:pt x="2522395" y="2893729"/>
                      <a:pt x="2522395" y="2893729"/>
                      <a:pt x="2457162" y="2748554"/>
                    </a:cubicBezTo>
                    <a:cubicBezTo>
                      <a:pt x="2457162" y="2748554"/>
                      <a:pt x="2396138" y="2689642"/>
                      <a:pt x="2362469" y="2651771"/>
                    </a:cubicBezTo>
                    <a:lnTo>
                      <a:pt x="2340024" y="2621933"/>
                    </a:lnTo>
                    <a:lnTo>
                      <a:pt x="2338457" y="2619477"/>
                    </a:lnTo>
                    <a:cubicBezTo>
                      <a:pt x="2304048" y="2565541"/>
                      <a:pt x="2304048" y="2565541"/>
                      <a:pt x="2304048" y="2565541"/>
                    </a:cubicBezTo>
                    <a:cubicBezTo>
                      <a:pt x="2304048" y="2565541"/>
                      <a:pt x="2271838" y="2433449"/>
                      <a:pt x="2335655" y="2318674"/>
                    </a:cubicBezTo>
                    <a:lnTo>
                      <a:pt x="2366996" y="2274192"/>
                    </a:lnTo>
                    <a:lnTo>
                      <a:pt x="2347572" y="2275513"/>
                    </a:lnTo>
                    <a:cubicBezTo>
                      <a:pt x="2338243" y="2274970"/>
                      <a:pt x="2329202" y="2273030"/>
                      <a:pt x="2320522" y="2269084"/>
                    </a:cubicBezTo>
                    <a:cubicBezTo>
                      <a:pt x="2253189" y="2237517"/>
                      <a:pt x="2057503" y="2182801"/>
                      <a:pt x="2038565" y="2062847"/>
                    </a:cubicBezTo>
                    <a:cubicBezTo>
                      <a:pt x="2024363" y="1972882"/>
                      <a:pt x="2014894" y="1779929"/>
                      <a:pt x="2043892" y="1618938"/>
                    </a:cubicBezTo>
                    <a:lnTo>
                      <a:pt x="2058099" y="1557525"/>
                    </a:lnTo>
                    <a:lnTo>
                      <a:pt x="2055755" y="1558228"/>
                    </a:lnTo>
                    <a:lnTo>
                      <a:pt x="2050316" y="1559430"/>
                    </a:lnTo>
                    <a:cubicBezTo>
                      <a:pt x="1969609" y="1577348"/>
                      <a:pt x="1639648" y="1651436"/>
                      <a:pt x="1525518" y="1690090"/>
                    </a:cubicBezTo>
                    <a:cubicBezTo>
                      <a:pt x="1395085" y="1734267"/>
                      <a:pt x="1087937" y="1875211"/>
                      <a:pt x="946985" y="1875211"/>
                    </a:cubicBezTo>
                    <a:cubicBezTo>
                      <a:pt x="751335" y="1873108"/>
                      <a:pt x="559893" y="1858382"/>
                      <a:pt x="559893" y="1858382"/>
                    </a:cubicBezTo>
                    <a:cubicBezTo>
                      <a:pt x="559893" y="1858382"/>
                      <a:pt x="488365" y="1593323"/>
                      <a:pt x="412630" y="1498659"/>
                    </a:cubicBezTo>
                    <a:cubicBezTo>
                      <a:pt x="334791" y="1403995"/>
                      <a:pt x="94962" y="1208355"/>
                      <a:pt x="46576" y="1063204"/>
                    </a:cubicBezTo>
                    <a:cubicBezTo>
                      <a:pt x="293" y="915949"/>
                      <a:pt x="-24952" y="798144"/>
                      <a:pt x="36057" y="665615"/>
                    </a:cubicBezTo>
                    <a:cubicBezTo>
                      <a:pt x="94962" y="535189"/>
                      <a:pt x="191735" y="459457"/>
                      <a:pt x="191735" y="459457"/>
                    </a:cubicBezTo>
                    <a:cubicBezTo>
                      <a:pt x="191735" y="459457"/>
                      <a:pt x="294819" y="455250"/>
                      <a:pt x="374762" y="465768"/>
                    </a:cubicBezTo>
                    <a:cubicBezTo>
                      <a:pt x="456809" y="476287"/>
                      <a:pt x="587242" y="499427"/>
                      <a:pt x="677704" y="528878"/>
                    </a:cubicBezTo>
                    <a:cubicBezTo>
                      <a:pt x="766061" y="558329"/>
                      <a:pt x="1090040" y="713999"/>
                      <a:pt x="1090040" y="713999"/>
                    </a:cubicBezTo>
                    <a:cubicBezTo>
                      <a:pt x="736609" y="514152"/>
                      <a:pt x="736609" y="514152"/>
                      <a:pt x="736609" y="514152"/>
                    </a:cubicBezTo>
                    <a:cubicBezTo>
                      <a:pt x="503092" y="423695"/>
                      <a:pt x="503092" y="423695"/>
                      <a:pt x="503092" y="423695"/>
                    </a:cubicBezTo>
                    <a:cubicBezTo>
                      <a:pt x="503092" y="423695"/>
                      <a:pt x="606176" y="362690"/>
                      <a:pt x="700845" y="246989"/>
                    </a:cubicBezTo>
                    <a:cubicBezTo>
                      <a:pt x="795514" y="131289"/>
                      <a:pt x="803929" y="89216"/>
                      <a:pt x="867042" y="47143"/>
                    </a:cubicBezTo>
                    <a:cubicBezTo>
                      <a:pt x="914377" y="17166"/>
                      <a:pt x="946327" y="3755"/>
                      <a:pt x="990408" y="698"/>
                    </a:cubicBezTo>
                    <a:close/>
                  </a:path>
                </a:pathLst>
              </a:custGeom>
              <a:solidFill>
                <a:srgbClr val="FAED22"/>
              </a:solidFill>
              <a:ln w="3175">
                <a:solidFill>
                  <a:schemeClr val="tx1"/>
                </a:solidFill>
              </a:ln>
            </p:spPr>
            <p:txBody>
              <a:bodyPr vert="horz" wrap="square" lIns="89642" tIns="44821" rIns="89642" bIns="44821" numCol="1" anchor="t" anchorCtr="0" compatLnSpc="1">
                <a:prstTxWarp prst="textNoShape">
                  <a:avLst/>
                </a:prstTxWarp>
                <a:noAutofit/>
              </a:bodyPr>
              <a:lstStyle/>
              <a:p>
                <a:pPr defTabSz="914367"/>
                <a:endParaRPr lang="en-IN" sz="1765">
                  <a:solidFill>
                    <a:srgbClr val="000000"/>
                  </a:solidFill>
                </a:endParaRPr>
              </a:p>
            </p:txBody>
          </p:sp>
        </p:grpSp>
      </p:grpSp>
      <p:sp>
        <p:nvSpPr>
          <p:cNvPr id="38" name="Oval 37"/>
          <p:cNvSpPr/>
          <p:nvPr/>
        </p:nvSpPr>
        <p:spPr bwMode="auto">
          <a:xfrm>
            <a:off x="2987271" y="1274529"/>
            <a:ext cx="2262618" cy="2262619"/>
          </a:xfrm>
          <a:prstGeom prst="ellipse">
            <a:avLst/>
          </a:prstGeom>
          <a:solidFill>
            <a:schemeClr val="accent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IN" sz="1372" b="1" dirty="0">
              <a:solidFill>
                <a:srgbClr val="FFFFFF"/>
              </a:solidFill>
              <a:latin typeface="Segoe UI Light"/>
              <a:ea typeface="Segoe UI" pitchFamily="34" charset="0"/>
              <a:cs typeface="Segoe UI" pitchFamily="34" charset="0"/>
            </a:endParaRPr>
          </a:p>
        </p:txBody>
      </p:sp>
      <p:sp>
        <p:nvSpPr>
          <p:cNvPr id="39" name="Oval 38"/>
          <p:cNvSpPr/>
          <p:nvPr/>
        </p:nvSpPr>
        <p:spPr bwMode="auto">
          <a:xfrm>
            <a:off x="4964691" y="1274529"/>
            <a:ext cx="2262618" cy="2262619"/>
          </a:xfrm>
          <a:prstGeom prst="ellipse">
            <a:avLst/>
          </a:prstGeom>
          <a:solidFill>
            <a:schemeClr val="accent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IN" sz="1372" b="1" dirty="0">
              <a:solidFill>
                <a:srgbClr val="FFFFFF"/>
              </a:solidFill>
              <a:latin typeface="Segoe UI Light"/>
              <a:ea typeface="Segoe UI" pitchFamily="34" charset="0"/>
              <a:cs typeface="Segoe UI" pitchFamily="34" charset="0"/>
            </a:endParaRPr>
          </a:p>
        </p:txBody>
      </p:sp>
      <p:sp>
        <p:nvSpPr>
          <p:cNvPr id="40" name="Oval 39"/>
          <p:cNvSpPr/>
          <p:nvPr/>
        </p:nvSpPr>
        <p:spPr bwMode="auto">
          <a:xfrm>
            <a:off x="6942112" y="1274529"/>
            <a:ext cx="2262618" cy="2262619"/>
          </a:xfrm>
          <a:prstGeom prst="ellipse">
            <a:avLst/>
          </a:prstGeom>
          <a:solidFill>
            <a:schemeClr val="accent3"/>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IN" sz="1372" b="1" dirty="0">
              <a:solidFill>
                <a:srgbClr val="FFFFFF"/>
              </a:solidFill>
              <a:latin typeface="Segoe UI Light"/>
              <a:ea typeface="Segoe UI" pitchFamily="34" charset="0"/>
              <a:cs typeface="Segoe UI" pitchFamily="34" charset="0"/>
            </a:endParaRPr>
          </a:p>
        </p:txBody>
      </p:sp>
      <p:sp>
        <p:nvSpPr>
          <p:cNvPr id="41" name="Rectangle 40"/>
          <p:cNvSpPr/>
          <p:nvPr/>
        </p:nvSpPr>
        <p:spPr bwMode="auto">
          <a:xfrm>
            <a:off x="3374650" y="1497851"/>
            <a:ext cx="1472015" cy="42063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algn="ctr" defTabSz="914102" fontAlgn="base">
              <a:spcBef>
                <a:spcPct val="0"/>
              </a:spcBef>
              <a:spcAft>
                <a:spcPct val="0"/>
              </a:spcAft>
            </a:pPr>
            <a:r>
              <a:rPr lang="en-IN" sz="1372" b="1" dirty="0">
                <a:solidFill>
                  <a:srgbClr val="FFFFFF"/>
                </a:solidFill>
                <a:ea typeface="Segoe UI" pitchFamily="34" charset="0"/>
                <a:cs typeface="Segoe UI Semibold" panose="020B0702040204020203" pitchFamily="34" charset="0"/>
              </a:rPr>
              <a:t>Hive 0.10</a:t>
            </a:r>
          </a:p>
        </p:txBody>
      </p:sp>
      <p:sp>
        <p:nvSpPr>
          <p:cNvPr id="42" name="Rectangle 41"/>
          <p:cNvSpPr/>
          <p:nvPr/>
        </p:nvSpPr>
        <p:spPr bwMode="auto">
          <a:xfrm>
            <a:off x="3374650" y="1929716"/>
            <a:ext cx="1472015" cy="30172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44821" numCol="1" spcCol="0" rtlCol="0" fromWordArt="0" anchor="ctr" anchorCtr="0" forceAA="0" compatLnSpc="1">
            <a:prstTxWarp prst="textNoShape">
              <a:avLst/>
            </a:prstTxWarp>
            <a:spAutoFit/>
          </a:bodyPr>
          <a:lstStyle/>
          <a:p>
            <a:pPr algn="ctr" defTabSz="914102" fontAlgn="base">
              <a:spcBef>
                <a:spcPct val="0"/>
              </a:spcBef>
              <a:spcAft>
                <a:spcPct val="0"/>
              </a:spcAft>
            </a:pPr>
            <a:r>
              <a:rPr lang="en-IN" sz="1372" dirty="0">
                <a:solidFill>
                  <a:srgbClr val="FFFFFF"/>
                </a:solidFill>
                <a:latin typeface="Segoe UI Semibold" panose="020B0702040204020203" pitchFamily="34" charset="0"/>
                <a:ea typeface="Segoe UI" pitchFamily="34" charset="0"/>
                <a:cs typeface="Segoe UI Semibold" panose="020B0702040204020203" pitchFamily="34" charset="0"/>
              </a:rPr>
              <a:t>BATCH</a:t>
            </a:r>
          </a:p>
        </p:txBody>
      </p:sp>
      <p:sp>
        <p:nvSpPr>
          <p:cNvPr id="48" name="Rectangle 47"/>
          <p:cNvSpPr/>
          <p:nvPr/>
        </p:nvSpPr>
        <p:spPr bwMode="auto">
          <a:xfrm>
            <a:off x="5359992" y="1497851"/>
            <a:ext cx="1472015" cy="42063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algn="ctr" defTabSz="914102" fontAlgn="base">
              <a:spcBef>
                <a:spcPct val="0"/>
              </a:spcBef>
              <a:spcAft>
                <a:spcPct val="0"/>
              </a:spcAft>
            </a:pPr>
            <a:r>
              <a:rPr lang="en-IN" sz="1372" b="1" dirty="0">
                <a:solidFill>
                  <a:srgbClr val="FFFFFF"/>
                </a:solidFill>
                <a:ea typeface="Segoe UI" pitchFamily="34" charset="0"/>
                <a:cs typeface="Segoe UI Semibold" panose="020B0702040204020203" pitchFamily="34" charset="0"/>
              </a:rPr>
              <a:t>Hive 0.13</a:t>
            </a:r>
          </a:p>
        </p:txBody>
      </p:sp>
      <p:sp>
        <p:nvSpPr>
          <p:cNvPr id="49" name="Rectangle 48"/>
          <p:cNvSpPr/>
          <p:nvPr/>
        </p:nvSpPr>
        <p:spPr bwMode="auto">
          <a:xfrm>
            <a:off x="5359992" y="1929718"/>
            <a:ext cx="1472015" cy="30172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44821" numCol="1" spcCol="0" rtlCol="0" fromWordArt="0" anchor="ctr" anchorCtr="0" forceAA="0" compatLnSpc="1">
            <a:prstTxWarp prst="textNoShape">
              <a:avLst/>
            </a:prstTxWarp>
            <a:spAutoFit/>
          </a:bodyPr>
          <a:lstStyle/>
          <a:p>
            <a:pPr algn="ctr" defTabSz="914102" fontAlgn="base">
              <a:spcBef>
                <a:spcPct val="0"/>
              </a:spcBef>
              <a:spcAft>
                <a:spcPct val="0"/>
              </a:spcAft>
            </a:pPr>
            <a:r>
              <a:rPr lang="en-IN" sz="1372" dirty="0">
                <a:solidFill>
                  <a:srgbClr val="FFFFFF"/>
                </a:solidFill>
                <a:latin typeface="Segoe UI Semibold" panose="020B0702040204020203" pitchFamily="34" charset="0"/>
                <a:ea typeface="Segoe UI" pitchFamily="34" charset="0"/>
                <a:cs typeface="Segoe UI Semibold" panose="020B0702040204020203" pitchFamily="34" charset="0"/>
              </a:rPr>
              <a:t>INTERACTIVE</a:t>
            </a:r>
          </a:p>
        </p:txBody>
      </p:sp>
      <p:sp>
        <p:nvSpPr>
          <p:cNvPr id="53" name="Rectangle 52"/>
          <p:cNvSpPr/>
          <p:nvPr/>
        </p:nvSpPr>
        <p:spPr bwMode="auto">
          <a:xfrm>
            <a:off x="7337413" y="1497851"/>
            <a:ext cx="1472015" cy="42063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algn="ctr" defTabSz="914102" fontAlgn="base">
              <a:spcBef>
                <a:spcPct val="0"/>
              </a:spcBef>
              <a:spcAft>
                <a:spcPct val="0"/>
              </a:spcAft>
            </a:pPr>
            <a:r>
              <a:rPr lang="en-IN" sz="1372" b="1" dirty="0">
                <a:solidFill>
                  <a:srgbClr val="FFFFFF"/>
                </a:solidFill>
                <a:ea typeface="Segoe UI" pitchFamily="34" charset="0"/>
                <a:cs typeface="Segoe UI Semibold" panose="020B0702040204020203" pitchFamily="34" charset="0"/>
              </a:rPr>
              <a:t>Hive 0.14 (1.0)</a:t>
            </a:r>
          </a:p>
        </p:txBody>
      </p:sp>
      <p:sp>
        <p:nvSpPr>
          <p:cNvPr id="54" name="Rectangle 53"/>
          <p:cNvSpPr/>
          <p:nvPr/>
        </p:nvSpPr>
        <p:spPr bwMode="auto">
          <a:xfrm>
            <a:off x="7337413" y="1929715"/>
            <a:ext cx="1472015" cy="30172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44821" numCol="1" spcCol="0" rtlCol="0" fromWordArt="0" anchor="ctr" anchorCtr="0" forceAA="0" compatLnSpc="1">
            <a:prstTxWarp prst="textNoShape">
              <a:avLst/>
            </a:prstTxWarp>
            <a:spAutoFit/>
          </a:bodyPr>
          <a:lstStyle/>
          <a:p>
            <a:pPr algn="ctr" defTabSz="914102" fontAlgn="base">
              <a:spcBef>
                <a:spcPct val="0"/>
              </a:spcBef>
              <a:spcAft>
                <a:spcPct val="0"/>
              </a:spcAft>
            </a:pPr>
            <a:r>
              <a:rPr lang="en-IN" sz="1372" dirty="0">
                <a:solidFill>
                  <a:srgbClr val="FFFFFF"/>
                </a:solidFill>
                <a:latin typeface="Segoe UI Semibold" panose="020B0702040204020203" pitchFamily="34" charset="0"/>
                <a:ea typeface="Segoe UI" pitchFamily="34" charset="0"/>
                <a:cs typeface="Segoe UI Semibold" panose="020B0702040204020203" pitchFamily="34" charset="0"/>
              </a:rPr>
              <a:t>SUB-SECOND</a:t>
            </a:r>
          </a:p>
        </p:txBody>
      </p:sp>
      <p:sp>
        <p:nvSpPr>
          <p:cNvPr id="43" name="Rectangle 42"/>
          <p:cNvSpPr/>
          <p:nvPr/>
        </p:nvSpPr>
        <p:spPr bwMode="auto">
          <a:xfrm>
            <a:off x="3374650" y="2270843"/>
            <a:ext cx="1472015" cy="30172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44821" numCol="1" spcCol="0" rtlCol="0" fromWordArt="0" anchor="ctr" anchorCtr="0" forceAA="0" compatLnSpc="1">
            <a:prstTxWarp prst="textNoShape">
              <a:avLst/>
            </a:prstTxWarp>
            <a:spAutoFit/>
          </a:bodyPr>
          <a:lstStyle/>
          <a:p>
            <a:pPr algn="ctr" defTabSz="914102" fontAlgn="base">
              <a:spcBef>
                <a:spcPct val="0"/>
              </a:spcBef>
              <a:spcAft>
                <a:spcPct val="0"/>
              </a:spcAft>
            </a:pPr>
            <a:r>
              <a:rPr lang="en-IN" sz="1372" dirty="0">
                <a:solidFill>
                  <a:srgbClr val="FFFFFF"/>
                </a:solidFill>
                <a:latin typeface="Segoe UI Semibold" panose="020B0702040204020203" pitchFamily="34" charset="0"/>
                <a:ea typeface="Segoe UI" pitchFamily="34" charset="0"/>
                <a:cs typeface="Segoe UI Semibold" panose="020B0702040204020203" pitchFamily="34" charset="0"/>
              </a:rPr>
              <a:t>Read-only Data</a:t>
            </a:r>
          </a:p>
        </p:txBody>
      </p:sp>
      <p:sp>
        <p:nvSpPr>
          <p:cNvPr id="46" name="Rectangle 45"/>
          <p:cNvSpPr/>
          <p:nvPr/>
        </p:nvSpPr>
        <p:spPr bwMode="auto">
          <a:xfrm>
            <a:off x="3374650" y="2611971"/>
            <a:ext cx="1472015" cy="30172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44821" numCol="1" spcCol="0" rtlCol="0" fromWordArt="0" anchor="ctr" anchorCtr="0" forceAA="0" compatLnSpc="1">
            <a:prstTxWarp prst="textNoShape">
              <a:avLst/>
            </a:prstTxWarp>
            <a:spAutoFit/>
          </a:bodyPr>
          <a:lstStyle/>
          <a:p>
            <a:pPr algn="ctr" defTabSz="914102" fontAlgn="base">
              <a:spcBef>
                <a:spcPct val="0"/>
              </a:spcBef>
              <a:spcAft>
                <a:spcPct val="0"/>
              </a:spcAft>
            </a:pPr>
            <a:r>
              <a:rPr lang="en-IN" sz="1372" dirty="0">
                <a:solidFill>
                  <a:srgbClr val="FFFFFF"/>
                </a:solidFill>
                <a:latin typeface="Segoe UI Semibold" panose="020B0702040204020203" pitchFamily="34" charset="0"/>
                <a:ea typeface="Segoe UI" pitchFamily="34" charset="0"/>
                <a:cs typeface="Segoe UI Semibold" panose="020B0702040204020203" pitchFamily="34" charset="0"/>
              </a:rPr>
              <a:t>Hive QL</a:t>
            </a:r>
          </a:p>
        </p:txBody>
      </p:sp>
      <p:sp>
        <p:nvSpPr>
          <p:cNvPr id="47" name="Rectangle 46"/>
          <p:cNvSpPr/>
          <p:nvPr/>
        </p:nvSpPr>
        <p:spPr bwMode="auto">
          <a:xfrm>
            <a:off x="3374650" y="2953099"/>
            <a:ext cx="1472015" cy="30172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44821" numCol="1" spcCol="0" rtlCol="0" fromWordArt="0" anchor="ctr" anchorCtr="0" forceAA="0" compatLnSpc="1">
            <a:prstTxWarp prst="textNoShape">
              <a:avLst/>
            </a:prstTxWarp>
            <a:spAutoFit/>
          </a:bodyPr>
          <a:lstStyle/>
          <a:p>
            <a:pPr algn="ctr" defTabSz="914102" fontAlgn="base">
              <a:spcBef>
                <a:spcPct val="0"/>
              </a:spcBef>
              <a:spcAft>
                <a:spcPct val="0"/>
              </a:spcAft>
            </a:pPr>
            <a:r>
              <a:rPr lang="en-IN" sz="1372" dirty="0">
                <a:solidFill>
                  <a:srgbClr val="FFFFFF"/>
                </a:solidFill>
                <a:latin typeface="Segoe UI Semibold" panose="020B0702040204020203" pitchFamily="34" charset="0"/>
                <a:ea typeface="Segoe UI" pitchFamily="34" charset="0"/>
                <a:cs typeface="Segoe UI Semibold" panose="020B0702040204020203" pitchFamily="34" charset="0"/>
              </a:rPr>
              <a:t>MR</a:t>
            </a:r>
          </a:p>
        </p:txBody>
      </p:sp>
      <p:sp>
        <p:nvSpPr>
          <p:cNvPr id="50" name="Rectangle 49"/>
          <p:cNvSpPr/>
          <p:nvPr/>
        </p:nvSpPr>
        <p:spPr bwMode="auto">
          <a:xfrm>
            <a:off x="5359992" y="2270845"/>
            <a:ext cx="1472015" cy="30172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44821" numCol="1" spcCol="0" rtlCol="0" fromWordArt="0" anchor="ctr" anchorCtr="0" forceAA="0" compatLnSpc="1">
            <a:prstTxWarp prst="textNoShape">
              <a:avLst/>
            </a:prstTxWarp>
            <a:spAutoFit/>
          </a:bodyPr>
          <a:lstStyle/>
          <a:p>
            <a:pPr algn="ctr" defTabSz="914102" fontAlgn="base">
              <a:spcBef>
                <a:spcPct val="0"/>
              </a:spcBef>
              <a:spcAft>
                <a:spcPct val="0"/>
              </a:spcAft>
            </a:pPr>
            <a:r>
              <a:rPr lang="en-IN" sz="1372" dirty="0">
                <a:solidFill>
                  <a:srgbClr val="FFFFFF"/>
                </a:solidFill>
                <a:latin typeface="Segoe UI Semibold" panose="020B0702040204020203" pitchFamily="34" charset="0"/>
                <a:ea typeface="Segoe UI" pitchFamily="34" charset="0"/>
                <a:cs typeface="Segoe UI Semibold" panose="020B0702040204020203" pitchFamily="34" charset="0"/>
              </a:rPr>
              <a:t>Read-only Data</a:t>
            </a:r>
          </a:p>
        </p:txBody>
      </p:sp>
      <p:sp>
        <p:nvSpPr>
          <p:cNvPr id="51" name="Rectangle 50"/>
          <p:cNvSpPr/>
          <p:nvPr/>
        </p:nvSpPr>
        <p:spPr bwMode="auto">
          <a:xfrm>
            <a:off x="5359992" y="2611973"/>
            <a:ext cx="1472015" cy="30172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44821" numCol="1" spcCol="0" rtlCol="0" fromWordArt="0" anchor="ctr" anchorCtr="0" forceAA="0" compatLnSpc="1">
            <a:prstTxWarp prst="textNoShape">
              <a:avLst/>
            </a:prstTxWarp>
            <a:spAutoFit/>
          </a:bodyPr>
          <a:lstStyle/>
          <a:p>
            <a:pPr algn="ctr" defTabSz="914102" fontAlgn="base">
              <a:spcBef>
                <a:spcPct val="0"/>
              </a:spcBef>
              <a:spcAft>
                <a:spcPct val="0"/>
              </a:spcAft>
            </a:pPr>
            <a:r>
              <a:rPr lang="en-IN" sz="1372" dirty="0">
                <a:solidFill>
                  <a:srgbClr val="FFFFFF"/>
                </a:solidFill>
                <a:latin typeface="Segoe UI Semibold" panose="020B0702040204020203" pitchFamily="34" charset="0"/>
                <a:ea typeface="Segoe UI" pitchFamily="34" charset="0"/>
                <a:cs typeface="Segoe UI Semibold" panose="020B0702040204020203" pitchFamily="34" charset="0"/>
              </a:rPr>
              <a:t>Substantial SQL</a:t>
            </a:r>
          </a:p>
        </p:txBody>
      </p:sp>
      <p:sp>
        <p:nvSpPr>
          <p:cNvPr id="52" name="Rectangle 51"/>
          <p:cNvSpPr/>
          <p:nvPr/>
        </p:nvSpPr>
        <p:spPr bwMode="auto">
          <a:xfrm>
            <a:off x="5359992" y="2953099"/>
            <a:ext cx="1472015" cy="30172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44821" numCol="1" spcCol="0" rtlCol="0" fromWordArt="0" anchor="ctr" anchorCtr="0" forceAA="0" compatLnSpc="1">
            <a:prstTxWarp prst="textNoShape">
              <a:avLst/>
            </a:prstTxWarp>
            <a:spAutoFit/>
          </a:bodyPr>
          <a:lstStyle/>
          <a:p>
            <a:pPr algn="ctr" defTabSz="914102" fontAlgn="base">
              <a:spcBef>
                <a:spcPct val="0"/>
              </a:spcBef>
              <a:spcAft>
                <a:spcPct val="0"/>
              </a:spcAft>
            </a:pPr>
            <a:r>
              <a:rPr lang="en-IN" sz="1372" dirty="0">
                <a:solidFill>
                  <a:srgbClr val="FFFFFF"/>
                </a:solidFill>
                <a:latin typeface="Segoe UI Semibold" panose="020B0702040204020203" pitchFamily="34" charset="0"/>
                <a:ea typeface="Segoe UI" pitchFamily="34" charset="0"/>
                <a:cs typeface="Segoe UI Semibold" panose="020B0702040204020203" pitchFamily="34" charset="0"/>
              </a:rPr>
              <a:t>MR, </a:t>
            </a:r>
            <a:r>
              <a:rPr lang="en-IN" sz="1372" dirty="0" err="1">
                <a:solidFill>
                  <a:srgbClr val="FFFFFF"/>
                </a:solidFill>
                <a:latin typeface="Segoe UI Semibold" panose="020B0702040204020203" pitchFamily="34" charset="0"/>
                <a:ea typeface="Segoe UI" pitchFamily="34" charset="0"/>
                <a:cs typeface="Segoe UI Semibold" panose="020B0702040204020203" pitchFamily="34" charset="0"/>
              </a:rPr>
              <a:t>Tez</a:t>
            </a:r>
            <a:endParaRPr lang="en-IN" sz="1372"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55" name="Rectangle 54"/>
          <p:cNvSpPr/>
          <p:nvPr/>
        </p:nvSpPr>
        <p:spPr bwMode="auto">
          <a:xfrm>
            <a:off x="6956407" y="2270873"/>
            <a:ext cx="1906244" cy="3016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44821" numCol="1" spcCol="0" rtlCol="0" fromWordArt="0" anchor="ctr" anchorCtr="0" forceAA="0" compatLnSpc="1">
            <a:prstTxWarp prst="textNoShape">
              <a:avLst/>
            </a:prstTxWarp>
            <a:spAutoFit/>
          </a:bodyPr>
          <a:lstStyle/>
          <a:p>
            <a:pPr algn="ctr" defTabSz="914102" fontAlgn="base">
              <a:spcBef>
                <a:spcPct val="0"/>
              </a:spcBef>
              <a:spcAft>
                <a:spcPct val="0"/>
              </a:spcAft>
            </a:pPr>
            <a:r>
              <a:rPr lang="en-IN" sz="1372" dirty="0">
                <a:solidFill>
                  <a:srgbClr val="FFFFFF"/>
                </a:solidFill>
                <a:latin typeface="Segoe UI Semibold" panose="020B0702040204020203" pitchFamily="34" charset="0"/>
                <a:ea typeface="Segoe UI" pitchFamily="34" charset="0"/>
                <a:cs typeface="Segoe UI Semibold" panose="020B0702040204020203" pitchFamily="34" charset="0"/>
              </a:rPr>
              <a:t>Modify w/Transactions</a:t>
            </a:r>
          </a:p>
        </p:txBody>
      </p:sp>
      <p:sp>
        <p:nvSpPr>
          <p:cNvPr id="57" name="Rectangle 56"/>
          <p:cNvSpPr/>
          <p:nvPr/>
        </p:nvSpPr>
        <p:spPr bwMode="auto">
          <a:xfrm>
            <a:off x="7337413" y="2953100"/>
            <a:ext cx="1472015" cy="30172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44821" numCol="1" spcCol="0" rtlCol="0" fromWordArt="0" anchor="ctr" anchorCtr="0" forceAA="0" compatLnSpc="1">
            <a:prstTxWarp prst="textNoShape">
              <a:avLst/>
            </a:prstTxWarp>
            <a:spAutoFit/>
          </a:bodyPr>
          <a:lstStyle/>
          <a:p>
            <a:pPr algn="ctr" defTabSz="914102" fontAlgn="base">
              <a:spcBef>
                <a:spcPct val="0"/>
              </a:spcBef>
              <a:spcAft>
                <a:spcPct val="0"/>
              </a:spcAft>
            </a:pPr>
            <a:r>
              <a:rPr lang="en-IN" sz="1372" dirty="0">
                <a:solidFill>
                  <a:srgbClr val="FFFFFF"/>
                </a:solidFill>
                <a:latin typeface="Segoe UI Semibold" panose="020B0702040204020203" pitchFamily="34" charset="0"/>
                <a:ea typeface="Segoe UI" pitchFamily="34" charset="0"/>
                <a:cs typeface="Segoe UI Semibold" panose="020B0702040204020203" pitchFamily="34" charset="0"/>
              </a:rPr>
              <a:t>MR, </a:t>
            </a:r>
            <a:r>
              <a:rPr lang="en-IN" sz="1372" dirty="0" err="1">
                <a:solidFill>
                  <a:srgbClr val="FFFFFF"/>
                </a:solidFill>
                <a:latin typeface="Segoe UI Semibold" panose="020B0702040204020203" pitchFamily="34" charset="0"/>
                <a:ea typeface="Segoe UI" pitchFamily="34" charset="0"/>
                <a:cs typeface="Segoe UI Semibold" panose="020B0702040204020203" pitchFamily="34" charset="0"/>
              </a:rPr>
              <a:t>Tez</a:t>
            </a:r>
            <a:r>
              <a:rPr lang="en-IN" sz="1372" dirty="0">
                <a:solidFill>
                  <a:srgbClr val="FFFFFF"/>
                </a:solidFill>
                <a:latin typeface="Segoe UI Semibold" panose="020B0702040204020203" pitchFamily="34" charset="0"/>
                <a:ea typeface="Segoe UI" pitchFamily="34" charset="0"/>
                <a:cs typeface="Segoe UI Semibold" panose="020B0702040204020203" pitchFamily="34" charset="0"/>
              </a:rPr>
              <a:t>, Spark</a:t>
            </a:r>
          </a:p>
        </p:txBody>
      </p:sp>
      <p:sp>
        <p:nvSpPr>
          <p:cNvPr id="56" name="Rectangle 55"/>
          <p:cNvSpPr/>
          <p:nvPr/>
        </p:nvSpPr>
        <p:spPr bwMode="auto">
          <a:xfrm>
            <a:off x="7337413" y="2611971"/>
            <a:ext cx="1472015" cy="30172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44821" numCol="1" spcCol="0" rtlCol="0" fromWordArt="0" anchor="ctr" anchorCtr="0" forceAA="0" compatLnSpc="1">
            <a:prstTxWarp prst="textNoShape">
              <a:avLst/>
            </a:prstTxWarp>
            <a:spAutoFit/>
          </a:bodyPr>
          <a:lstStyle/>
          <a:p>
            <a:pPr algn="ctr" defTabSz="914102" fontAlgn="base">
              <a:spcBef>
                <a:spcPct val="0"/>
              </a:spcBef>
              <a:spcAft>
                <a:spcPct val="0"/>
              </a:spcAft>
            </a:pPr>
            <a:r>
              <a:rPr lang="en-IN" sz="1372" dirty="0">
                <a:solidFill>
                  <a:srgbClr val="FFFFFF"/>
                </a:solidFill>
                <a:latin typeface="Segoe UI Semibold" panose="020B0702040204020203" pitchFamily="34" charset="0"/>
                <a:ea typeface="Segoe UI" pitchFamily="34" charset="0"/>
                <a:cs typeface="Segoe UI Semibold" panose="020B0702040204020203" pitchFamily="34" charset="0"/>
              </a:rPr>
              <a:t>SQL:2011 Analytics</a:t>
            </a:r>
          </a:p>
        </p:txBody>
      </p:sp>
      <p:sp>
        <p:nvSpPr>
          <p:cNvPr id="29" name="Shape 28"/>
          <p:cNvSpPr/>
          <p:nvPr/>
        </p:nvSpPr>
        <p:spPr>
          <a:xfrm rot="1440085">
            <a:off x="4938672" y="1395535"/>
            <a:ext cx="499499" cy="348339"/>
          </a:xfrm>
          <a:prstGeom prst="swooshArrow">
            <a:avLst>
              <a:gd name="adj1" fmla="val 27699"/>
              <a:gd name="adj2" fmla="val 51589"/>
            </a:avLst>
          </a:prstGeom>
          <a:solidFill>
            <a:schemeClr val="bg1">
              <a:lumMod val="65000"/>
            </a:schemeClr>
          </a:solidFill>
          <a:ln w="6350"/>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07" name="Freeform 106"/>
          <p:cNvSpPr/>
          <p:nvPr/>
        </p:nvSpPr>
        <p:spPr bwMode="auto">
          <a:xfrm>
            <a:off x="4469061" y="3290416"/>
            <a:ext cx="5674006" cy="303897"/>
          </a:xfrm>
          <a:custGeom>
            <a:avLst/>
            <a:gdLst>
              <a:gd name="connsiteX0" fmla="*/ 5073271 w 5250409"/>
              <a:gd name="connsiteY0" fmla="*/ 0 h 392880"/>
              <a:gd name="connsiteX1" fmla="*/ 5250409 w 5250409"/>
              <a:gd name="connsiteY1" fmla="*/ 196440 h 392880"/>
              <a:gd name="connsiteX2" fmla="*/ 5073271 w 5250409"/>
              <a:gd name="connsiteY2" fmla="*/ 392880 h 392880"/>
              <a:gd name="connsiteX3" fmla="*/ 5073271 w 5250409"/>
              <a:gd name="connsiteY3" fmla="*/ 320276 h 392880"/>
              <a:gd name="connsiteX4" fmla="*/ 0 w 5250409"/>
              <a:gd name="connsiteY4" fmla="*/ 320276 h 392880"/>
              <a:gd name="connsiteX5" fmla="*/ 2499 w 5250409"/>
              <a:gd name="connsiteY5" fmla="*/ 319634 h 392880"/>
              <a:gd name="connsiteX6" fmla="*/ 403512 w 5250409"/>
              <a:gd name="connsiteY6" fmla="*/ 126855 h 392880"/>
              <a:gd name="connsiteX7" fmla="*/ 476060 w 5250409"/>
              <a:gd name="connsiteY7" fmla="*/ 72604 h 392880"/>
              <a:gd name="connsiteX8" fmla="*/ 5073271 w 5250409"/>
              <a:gd name="connsiteY8" fmla="*/ 72604 h 39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250409" h="392880">
                <a:moveTo>
                  <a:pt x="5073271" y="0"/>
                </a:moveTo>
                <a:lnTo>
                  <a:pt x="5250409" y="196440"/>
                </a:lnTo>
                <a:lnTo>
                  <a:pt x="5073271" y="392880"/>
                </a:lnTo>
                <a:lnTo>
                  <a:pt x="5073271" y="320276"/>
                </a:lnTo>
                <a:lnTo>
                  <a:pt x="0" y="320276"/>
                </a:lnTo>
                <a:lnTo>
                  <a:pt x="2499" y="319634"/>
                </a:lnTo>
                <a:cubicBezTo>
                  <a:pt x="146423" y="274869"/>
                  <a:pt x="281249" y="209454"/>
                  <a:pt x="403512" y="126855"/>
                </a:cubicBezTo>
                <a:lnTo>
                  <a:pt x="476060" y="72604"/>
                </a:lnTo>
                <a:lnTo>
                  <a:pt x="5073271" y="72604"/>
                </a:lnTo>
                <a:close/>
              </a:path>
            </a:pathLst>
          </a:custGeom>
          <a:gradFill flip="none" rotWithShape="1">
            <a:gsLst>
              <a:gs pos="54451">
                <a:schemeClr val="accent2">
                  <a:lumMod val="75000"/>
                </a:schemeClr>
              </a:gs>
              <a:gs pos="0">
                <a:schemeClr val="accent1">
                  <a:lumMod val="75000"/>
                </a:schemeClr>
              </a:gs>
              <a:gs pos="100000">
                <a:schemeClr val="accent3">
                  <a:lumMod val="7500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spcBef>
                <a:spcPct val="0"/>
              </a:spcBef>
              <a:spcAft>
                <a:spcPct val="0"/>
              </a:spcAft>
            </a:pPr>
            <a:r>
              <a:rPr lang="en-IN" sz="1372" b="1" dirty="0">
                <a:solidFill>
                  <a:srgbClr val="FFFFFF"/>
                </a:solidFill>
                <a:ea typeface="Segoe UI" pitchFamily="34" charset="0"/>
                <a:cs typeface="Segoe UI Semibold" panose="020B0702040204020203" pitchFamily="34" charset="0"/>
              </a:rPr>
              <a:t>Enterprise SQL at Hadoop Scale</a:t>
            </a:r>
          </a:p>
        </p:txBody>
      </p:sp>
      <p:sp>
        <p:nvSpPr>
          <p:cNvPr id="109" name="Shape 108"/>
          <p:cNvSpPr/>
          <p:nvPr/>
        </p:nvSpPr>
        <p:spPr>
          <a:xfrm rot="1440085">
            <a:off x="6788584" y="1395535"/>
            <a:ext cx="499499" cy="348339"/>
          </a:xfrm>
          <a:prstGeom prst="swooshArrow">
            <a:avLst>
              <a:gd name="adj1" fmla="val 27699"/>
              <a:gd name="adj2" fmla="val 51589"/>
            </a:avLst>
          </a:prstGeom>
          <a:solidFill>
            <a:schemeClr val="bg1">
              <a:lumMod val="65000"/>
            </a:schemeClr>
          </a:solidFill>
          <a:ln w="6350"/>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10" name="Rectangle 109"/>
          <p:cNvSpPr/>
          <p:nvPr/>
        </p:nvSpPr>
        <p:spPr bwMode="auto">
          <a:xfrm>
            <a:off x="4877727" y="1232689"/>
            <a:ext cx="565360" cy="21120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defTabSz="914102" fontAlgn="base">
              <a:spcBef>
                <a:spcPct val="0"/>
              </a:spcBef>
              <a:spcAft>
                <a:spcPct val="0"/>
              </a:spcAft>
            </a:pPr>
            <a:r>
              <a:rPr lang="en-IN" sz="1372" dirty="0">
                <a:solidFill>
                  <a:srgbClr val="505050"/>
                </a:solidFill>
                <a:latin typeface="Segoe UI Semibold" panose="020B0702040204020203" pitchFamily="34" charset="0"/>
                <a:ea typeface="Segoe UI" pitchFamily="34" charset="0"/>
                <a:cs typeface="Segoe UI Semibold" panose="020B0702040204020203" pitchFamily="34" charset="0"/>
              </a:rPr>
              <a:t>Stinger</a:t>
            </a:r>
          </a:p>
        </p:txBody>
      </p:sp>
      <p:sp>
        <p:nvSpPr>
          <p:cNvPr id="2" name="Slide Number Placeholder 1"/>
          <p:cNvSpPr>
            <a:spLocks noGrp="1"/>
          </p:cNvSpPr>
          <p:nvPr>
            <p:ph type="sldNum" sz="quarter" idx="11"/>
          </p:nvPr>
        </p:nvSpPr>
        <p:spPr/>
        <p:txBody>
          <a:bodyPr/>
          <a:lstStyle/>
          <a:p>
            <a:pPr>
              <a:defRPr/>
            </a:pPr>
            <a:fld id="{F8A0AC42-AA1D-4944-8D96-660DE70C7E1B}" type="slidenum">
              <a:rPr lang="en-IN"/>
              <a:pPr>
                <a:defRPr/>
              </a:pPr>
              <a:t>42</a:t>
            </a:fld>
            <a:endParaRPr lang="en-IN" dirty="0"/>
          </a:p>
        </p:txBody>
      </p:sp>
      <p:grpSp>
        <p:nvGrpSpPr>
          <p:cNvPr id="58" name="Group 57"/>
          <p:cNvGrpSpPr/>
          <p:nvPr/>
        </p:nvGrpSpPr>
        <p:grpSpPr>
          <a:xfrm>
            <a:off x="2469847" y="5065872"/>
            <a:ext cx="224932" cy="219617"/>
            <a:chOff x="306837" y="2966952"/>
            <a:chExt cx="1385600" cy="1352860"/>
          </a:xfrm>
        </p:grpSpPr>
        <p:sp>
          <p:nvSpPr>
            <p:cNvPr id="59" name="Freeform 58"/>
            <p:cNvSpPr/>
            <p:nvPr/>
          </p:nvSpPr>
          <p:spPr bwMode="auto">
            <a:xfrm>
              <a:off x="688501" y="3519487"/>
              <a:ext cx="752155" cy="800325"/>
            </a:xfrm>
            <a:custGeom>
              <a:avLst/>
              <a:gdLst>
                <a:gd name="connsiteX0" fmla="*/ 338138 w 728663"/>
                <a:gd name="connsiteY0" fmla="*/ 0 h 823912"/>
                <a:gd name="connsiteX1" fmla="*/ 73819 w 728663"/>
                <a:gd name="connsiteY1" fmla="*/ 97631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38138 w 728663"/>
                <a:gd name="connsiteY0" fmla="*/ 0 h 823912"/>
                <a:gd name="connsiteX1" fmla="*/ 35719 w 728663"/>
                <a:gd name="connsiteY1" fmla="*/ 73819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38138 w 728663"/>
                <a:gd name="connsiteY0" fmla="*/ 0 h 823912"/>
                <a:gd name="connsiteX1" fmla="*/ 97631 w 728663"/>
                <a:gd name="connsiteY1" fmla="*/ 66675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38138 w 728663"/>
                <a:gd name="connsiteY0" fmla="*/ 0 h 823912"/>
                <a:gd name="connsiteX1" fmla="*/ 97631 w 728663"/>
                <a:gd name="connsiteY1" fmla="*/ 66675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38138 w 728663"/>
                <a:gd name="connsiteY0" fmla="*/ 0 h 823912"/>
                <a:gd name="connsiteX1" fmla="*/ 97631 w 728663"/>
                <a:gd name="connsiteY1" fmla="*/ 66675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21470 w 711995"/>
                <a:gd name="connsiteY0" fmla="*/ 0 h 823912"/>
                <a:gd name="connsiteX1" fmla="*/ 80963 w 711995"/>
                <a:gd name="connsiteY1" fmla="*/ 66675 h 823912"/>
                <a:gd name="connsiteX2" fmla="*/ 0 w 711995"/>
                <a:gd name="connsiteY2" fmla="*/ 497681 h 823912"/>
                <a:gd name="connsiteX3" fmla="*/ 450057 w 711995"/>
                <a:gd name="connsiteY3" fmla="*/ 823912 h 823912"/>
                <a:gd name="connsiteX4" fmla="*/ 711995 w 711995"/>
                <a:gd name="connsiteY4" fmla="*/ 733425 h 823912"/>
                <a:gd name="connsiteX5" fmla="*/ 476251 w 711995"/>
                <a:gd name="connsiteY5" fmla="*/ 707231 h 823912"/>
                <a:gd name="connsiteX6" fmla="*/ 495301 w 711995"/>
                <a:gd name="connsiteY6" fmla="*/ 621506 h 823912"/>
                <a:gd name="connsiteX7" fmla="*/ 497682 w 711995"/>
                <a:gd name="connsiteY7" fmla="*/ 571500 h 823912"/>
                <a:gd name="connsiteX8" fmla="*/ 350045 w 711995"/>
                <a:gd name="connsiteY8" fmla="*/ 423862 h 823912"/>
                <a:gd name="connsiteX9" fmla="*/ 521495 w 711995"/>
                <a:gd name="connsiteY9" fmla="*/ 528637 h 823912"/>
                <a:gd name="connsiteX10" fmla="*/ 521495 w 711995"/>
                <a:gd name="connsiteY10" fmla="*/ 302418 h 823912"/>
                <a:gd name="connsiteX11" fmla="*/ 357189 w 711995"/>
                <a:gd name="connsiteY11" fmla="*/ 54768 h 823912"/>
                <a:gd name="connsiteX12" fmla="*/ 321470 w 711995"/>
                <a:gd name="connsiteY12" fmla="*/ 0 h 823912"/>
                <a:gd name="connsiteX0" fmla="*/ 347343 w 737868"/>
                <a:gd name="connsiteY0" fmla="*/ 0 h 823912"/>
                <a:gd name="connsiteX1" fmla="*/ 106836 w 737868"/>
                <a:gd name="connsiteY1" fmla="*/ 66675 h 823912"/>
                <a:gd name="connsiteX2" fmla="*/ 25873 w 737868"/>
                <a:gd name="connsiteY2" fmla="*/ 497681 h 823912"/>
                <a:gd name="connsiteX3" fmla="*/ 475930 w 737868"/>
                <a:gd name="connsiteY3" fmla="*/ 823912 h 823912"/>
                <a:gd name="connsiteX4" fmla="*/ 737868 w 737868"/>
                <a:gd name="connsiteY4" fmla="*/ 733425 h 823912"/>
                <a:gd name="connsiteX5" fmla="*/ 502124 w 737868"/>
                <a:gd name="connsiteY5" fmla="*/ 707231 h 823912"/>
                <a:gd name="connsiteX6" fmla="*/ 521174 w 737868"/>
                <a:gd name="connsiteY6" fmla="*/ 621506 h 823912"/>
                <a:gd name="connsiteX7" fmla="*/ 523555 w 737868"/>
                <a:gd name="connsiteY7" fmla="*/ 571500 h 823912"/>
                <a:gd name="connsiteX8" fmla="*/ 375918 w 737868"/>
                <a:gd name="connsiteY8" fmla="*/ 423862 h 823912"/>
                <a:gd name="connsiteX9" fmla="*/ 547368 w 737868"/>
                <a:gd name="connsiteY9" fmla="*/ 528637 h 823912"/>
                <a:gd name="connsiteX10" fmla="*/ 547368 w 737868"/>
                <a:gd name="connsiteY10" fmla="*/ 302418 h 823912"/>
                <a:gd name="connsiteX11" fmla="*/ 383062 w 737868"/>
                <a:gd name="connsiteY11" fmla="*/ 54768 h 823912"/>
                <a:gd name="connsiteX12" fmla="*/ 347343 w 737868"/>
                <a:gd name="connsiteY12" fmla="*/ 0 h 823912"/>
                <a:gd name="connsiteX0" fmla="*/ 347343 w 737868"/>
                <a:gd name="connsiteY0" fmla="*/ 0 h 823912"/>
                <a:gd name="connsiteX1" fmla="*/ 106836 w 737868"/>
                <a:gd name="connsiteY1" fmla="*/ 66675 h 823912"/>
                <a:gd name="connsiteX2" fmla="*/ 25873 w 737868"/>
                <a:gd name="connsiteY2" fmla="*/ 497681 h 823912"/>
                <a:gd name="connsiteX3" fmla="*/ 475930 w 737868"/>
                <a:gd name="connsiteY3" fmla="*/ 823912 h 823912"/>
                <a:gd name="connsiteX4" fmla="*/ 737868 w 737868"/>
                <a:gd name="connsiteY4" fmla="*/ 733425 h 823912"/>
                <a:gd name="connsiteX5" fmla="*/ 502124 w 737868"/>
                <a:gd name="connsiteY5" fmla="*/ 707231 h 823912"/>
                <a:gd name="connsiteX6" fmla="*/ 521174 w 737868"/>
                <a:gd name="connsiteY6" fmla="*/ 621506 h 823912"/>
                <a:gd name="connsiteX7" fmla="*/ 523555 w 737868"/>
                <a:gd name="connsiteY7" fmla="*/ 571500 h 823912"/>
                <a:gd name="connsiteX8" fmla="*/ 375918 w 737868"/>
                <a:gd name="connsiteY8" fmla="*/ 423862 h 823912"/>
                <a:gd name="connsiteX9" fmla="*/ 547368 w 737868"/>
                <a:gd name="connsiteY9" fmla="*/ 528637 h 823912"/>
                <a:gd name="connsiteX10" fmla="*/ 547368 w 737868"/>
                <a:gd name="connsiteY10" fmla="*/ 302418 h 823912"/>
                <a:gd name="connsiteX11" fmla="*/ 383062 w 737868"/>
                <a:gd name="connsiteY11" fmla="*/ 54768 h 823912"/>
                <a:gd name="connsiteX12" fmla="*/ 347343 w 737868"/>
                <a:gd name="connsiteY12" fmla="*/ 0 h 823912"/>
                <a:gd name="connsiteX0" fmla="*/ 347343 w 737868"/>
                <a:gd name="connsiteY0" fmla="*/ 0 h 795337"/>
                <a:gd name="connsiteX1" fmla="*/ 106836 w 737868"/>
                <a:gd name="connsiteY1" fmla="*/ 66675 h 795337"/>
                <a:gd name="connsiteX2" fmla="*/ 25873 w 737868"/>
                <a:gd name="connsiteY2" fmla="*/ 497681 h 795337"/>
                <a:gd name="connsiteX3" fmla="*/ 487836 w 737868"/>
                <a:gd name="connsiteY3" fmla="*/ 795337 h 795337"/>
                <a:gd name="connsiteX4" fmla="*/ 737868 w 737868"/>
                <a:gd name="connsiteY4" fmla="*/ 733425 h 795337"/>
                <a:gd name="connsiteX5" fmla="*/ 502124 w 737868"/>
                <a:gd name="connsiteY5" fmla="*/ 707231 h 795337"/>
                <a:gd name="connsiteX6" fmla="*/ 521174 w 737868"/>
                <a:gd name="connsiteY6" fmla="*/ 621506 h 795337"/>
                <a:gd name="connsiteX7" fmla="*/ 523555 w 737868"/>
                <a:gd name="connsiteY7" fmla="*/ 571500 h 795337"/>
                <a:gd name="connsiteX8" fmla="*/ 375918 w 737868"/>
                <a:gd name="connsiteY8" fmla="*/ 423862 h 795337"/>
                <a:gd name="connsiteX9" fmla="*/ 547368 w 737868"/>
                <a:gd name="connsiteY9" fmla="*/ 528637 h 795337"/>
                <a:gd name="connsiteX10" fmla="*/ 547368 w 737868"/>
                <a:gd name="connsiteY10" fmla="*/ 302418 h 795337"/>
                <a:gd name="connsiteX11" fmla="*/ 383062 w 737868"/>
                <a:gd name="connsiteY11" fmla="*/ 54768 h 795337"/>
                <a:gd name="connsiteX12" fmla="*/ 347343 w 737868"/>
                <a:gd name="connsiteY12" fmla="*/ 0 h 795337"/>
                <a:gd name="connsiteX0" fmla="*/ 347343 w 737868"/>
                <a:gd name="connsiteY0" fmla="*/ 0 h 800325"/>
                <a:gd name="connsiteX1" fmla="*/ 106836 w 737868"/>
                <a:gd name="connsiteY1" fmla="*/ 66675 h 800325"/>
                <a:gd name="connsiteX2" fmla="*/ 25873 w 737868"/>
                <a:gd name="connsiteY2" fmla="*/ 497681 h 800325"/>
                <a:gd name="connsiteX3" fmla="*/ 487836 w 737868"/>
                <a:gd name="connsiteY3" fmla="*/ 795337 h 800325"/>
                <a:gd name="connsiteX4" fmla="*/ 737868 w 737868"/>
                <a:gd name="connsiteY4" fmla="*/ 733425 h 800325"/>
                <a:gd name="connsiteX5" fmla="*/ 502124 w 737868"/>
                <a:gd name="connsiteY5" fmla="*/ 707231 h 800325"/>
                <a:gd name="connsiteX6" fmla="*/ 521174 w 737868"/>
                <a:gd name="connsiteY6" fmla="*/ 621506 h 800325"/>
                <a:gd name="connsiteX7" fmla="*/ 523555 w 737868"/>
                <a:gd name="connsiteY7" fmla="*/ 571500 h 800325"/>
                <a:gd name="connsiteX8" fmla="*/ 375918 w 737868"/>
                <a:gd name="connsiteY8" fmla="*/ 423862 h 800325"/>
                <a:gd name="connsiteX9" fmla="*/ 547368 w 737868"/>
                <a:gd name="connsiteY9" fmla="*/ 528637 h 800325"/>
                <a:gd name="connsiteX10" fmla="*/ 547368 w 737868"/>
                <a:gd name="connsiteY10" fmla="*/ 302418 h 800325"/>
                <a:gd name="connsiteX11" fmla="*/ 383062 w 737868"/>
                <a:gd name="connsiteY11" fmla="*/ 54768 h 800325"/>
                <a:gd name="connsiteX12" fmla="*/ 347343 w 737868"/>
                <a:gd name="connsiteY12" fmla="*/ 0 h 800325"/>
                <a:gd name="connsiteX0" fmla="*/ 347343 w 771205"/>
                <a:gd name="connsiteY0" fmla="*/ 0 h 800325"/>
                <a:gd name="connsiteX1" fmla="*/ 106836 w 771205"/>
                <a:gd name="connsiteY1" fmla="*/ 66675 h 800325"/>
                <a:gd name="connsiteX2" fmla="*/ 25873 w 771205"/>
                <a:gd name="connsiteY2" fmla="*/ 497681 h 800325"/>
                <a:gd name="connsiteX3" fmla="*/ 487836 w 771205"/>
                <a:gd name="connsiteY3" fmla="*/ 795337 h 800325"/>
                <a:gd name="connsiteX4" fmla="*/ 771205 w 771205"/>
                <a:gd name="connsiteY4" fmla="*/ 707232 h 800325"/>
                <a:gd name="connsiteX5" fmla="*/ 502124 w 771205"/>
                <a:gd name="connsiteY5" fmla="*/ 707231 h 800325"/>
                <a:gd name="connsiteX6" fmla="*/ 521174 w 771205"/>
                <a:gd name="connsiteY6" fmla="*/ 621506 h 800325"/>
                <a:gd name="connsiteX7" fmla="*/ 523555 w 771205"/>
                <a:gd name="connsiteY7" fmla="*/ 571500 h 800325"/>
                <a:gd name="connsiteX8" fmla="*/ 375918 w 771205"/>
                <a:gd name="connsiteY8" fmla="*/ 423862 h 800325"/>
                <a:gd name="connsiteX9" fmla="*/ 547368 w 771205"/>
                <a:gd name="connsiteY9" fmla="*/ 528637 h 800325"/>
                <a:gd name="connsiteX10" fmla="*/ 547368 w 771205"/>
                <a:gd name="connsiteY10" fmla="*/ 302418 h 800325"/>
                <a:gd name="connsiteX11" fmla="*/ 383062 w 771205"/>
                <a:gd name="connsiteY11" fmla="*/ 54768 h 800325"/>
                <a:gd name="connsiteX12" fmla="*/ 347343 w 771205"/>
                <a:gd name="connsiteY12" fmla="*/ 0 h 800325"/>
                <a:gd name="connsiteX0" fmla="*/ 347343 w 771205"/>
                <a:gd name="connsiteY0" fmla="*/ 0 h 800325"/>
                <a:gd name="connsiteX1" fmla="*/ 106836 w 771205"/>
                <a:gd name="connsiteY1" fmla="*/ 66675 h 800325"/>
                <a:gd name="connsiteX2" fmla="*/ 25873 w 771205"/>
                <a:gd name="connsiteY2" fmla="*/ 497681 h 800325"/>
                <a:gd name="connsiteX3" fmla="*/ 487836 w 771205"/>
                <a:gd name="connsiteY3" fmla="*/ 795337 h 800325"/>
                <a:gd name="connsiteX4" fmla="*/ 771205 w 771205"/>
                <a:gd name="connsiteY4" fmla="*/ 707232 h 800325"/>
                <a:gd name="connsiteX5" fmla="*/ 502124 w 771205"/>
                <a:gd name="connsiteY5" fmla="*/ 707231 h 800325"/>
                <a:gd name="connsiteX6" fmla="*/ 521174 w 771205"/>
                <a:gd name="connsiteY6" fmla="*/ 621506 h 800325"/>
                <a:gd name="connsiteX7" fmla="*/ 523555 w 771205"/>
                <a:gd name="connsiteY7" fmla="*/ 571500 h 800325"/>
                <a:gd name="connsiteX8" fmla="*/ 375918 w 771205"/>
                <a:gd name="connsiteY8" fmla="*/ 423862 h 800325"/>
                <a:gd name="connsiteX9" fmla="*/ 547368 w 771205"/>
                <a:gd name="connsiteY9" fmla="*/ 528637 h 800325"/>
                <a:gd name="connsiteX10" fmla="*/ 547368 w 771205"/>
                <a:gd name="connsiteY10" fmla="*/ 302418 h 800325"/>
                <a:gd name="connsiteX11" fmla="*/ 383062 w 771205"/>
                <a:gd name="connsiteY11" fmla="*/ 54768 h 800325"/>
                <a:gd name="connsiteX12" fmla="*/ 347343 w 77120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502124 w 752155"/>
                <a:gd name="connsiteY5" fmla="*/ 707231 h 800325"/>
                <a:gd name="connsiteX6" fmla="*/ 521174 w 752155"/>
                <a:gd name="connsiteY6" fmla="*/ 621506 h 800325"/>
                <a:gd name="connsiteX7" fmla="*/ 523555 w 752155"/>
                <a:gd name="connsiteY7" fmla="*/ 571500 h 800325"/>
                <a:gd name="connsiteX8" fmla="*/ 375918 w 752155"/>
                <a:gd name="connsiteY8" fmla="*/ 423862 h 800325"/>
                <a:gd name="connsiteX9" fmla="*/ 547368 w 752155"/>
                <a:gd name="connsiteY9" fmla="*/ 528637 h 800325"/>
                <a:gd name="connsiteX10" fmla="*/ 547368 w 752155"/>
                <a:gd name="connsiteY10" fmla="*/ 302418 h 800325"/>
                <a:gd name="connsiteX11" fmla="*/ 383062 w 752155"/>
                <a:gd name="connsiteY11" fmla="*/ 54768 h 800325"/>
                <a:gd name="connsiteX12" fmla="*/ 347343 w 75215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1174 w 752155"/>
                <a:gd name="connsiteY6" fmla="*/ 621506 h 800325"/>
                <a:gd name="connsiteX7" fmla="*/ 523555 w 752155"/>
                <a:gd name="connsiteY7" fmla="*/ 571500 h 800325"/>
                <a:gd name="connsiteX8" fmla="*/ 375918 w 752155"/>
                <a:gd name="connsiteY8" fmla="*/ 423862 h 800325"/>
                <a:gd name="connsiteX9" fmla="*/ 547368 w 752155"/>
                <a:gd name="connsiteY9" fmla="*/ 528637 h 800325"/>
                <a:gd name="connsiteX10" fmla="*/ 547368 w 752155"/>
                <a:gd name="connsiteY10" fmla="*/ 302418 h 800325"/>
                <a:gd name="connsiteX11" fmla="*/ 383062 w 752155"/>
                <a:gd name="connsiteY11" fmla="*/ 54768 h 800325"/>
                <a:gd name="connsiteX12" fmla="*/ 347343 w 75215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1174 w 752155"/>
                <a:gd name="connsiteY6" fmla="*/ 621506 h 800325"/>
                <a:gd name="connsiteX7" fmla="*/ 523555 w 752155"/>
                <a:gd name="connsiteY7" fmla="*/ 571500 h 800325"/>
                <a:gd name="connsiteX8" fmla="*/ 375918 w 752155"/>
                <a:gd name="connsiteY8" fmla="*/ 423862 h 800325"/>
                <a:gd name="connsiteX9" fmla="*/ 547368 w 752155"/>
                <a:gd name="connsiteY9" fmla="*/ 528637 h 800325"/>
                <a:gd name="connsiteX10" fmla="*/ 547368 w 752155"/>
                <a:gd name="connsiteY10" fmla="*/ 302418 h 800325"/>
                <a:gd name="connsiteX11" fmla="*/ 383062 w 752155"/>
                <a:gd name="connsiteY11" fmla="*/ 54768 h 800325"/>
                <a:gd name="connsiteX12" fmla="*/ 347343 w 75215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1174 w 752155"/>
                <a:gd name="connsiteY6" fmla="*/ 621506 h 800325"/>
                <a:gd name="connsiteX7" fmla="*/ 523555 w 752155"/>
                <a:gd name="connsiteY7" fmla="*/ 571500 h 800325"/>
                <a:gd name="connsiteX8" fmla="*/ 375918 w 752155"/>
                <a:gd name="connsiteY8" fmla="*/ 423862 h 800325"/>
                <a:gd name="connsiteX9" fmla="*/ 547368 w 752155"/>
                <a:gd name="connsiteY9" fmla="*/ 528637 h 800325"/>
                <a:gd name="connsiteX10" fmla="*/ 547368 w 752155"/>
                <a:gd name="connsiteY10" fmla="*/ 302418 h 800325"/>
                <a:gd name="connsiteX11" fmla="*/ 383062 w 752155"/>
                <a:gd name="connsiteY11" fmla="*/ 54768 h 800325"/>
                <a:gd name="connsiteX12" fmla="*/ 347343 w 75215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11649 w 752155"/>
                <a:gd name="connsiteY6" fmla="*/ 666751 h 800325"/>
                <a:gd name="connsiteX7" fmla="*/ 521174 w 752155"/>
                <a:gd name="connsiteY7" fmla="*/ 621506 h 800325"/>
                <a:gd name="connsiteX8" fmla="*/ 523555 w 752155"/>
                <a:gd name="connsiteY8" fmla="*/ 571500 h 800325"/>
                <a:gd name="connsiteX9" fmla="*/ 375918 w 752155"/>
                <a:gd name="connsiteY9" fmla="*/ 423862 h 800325"/>
                <a:gd name="connsiteX10" fmla="*/ 547368 w 752155"/>
                <a:gd name="connsiteY10" fmla="*/ 528637 h 800325"/>
                <a:gd name="connsiteX11" fmla="*/ 547368 w 752155"/>
                <a:gd name="connsiteY11" fmla="*/ 302418 h 800325"/>
                <a:gd name="connsiteX12" fmla="*/ 383062 w 752155"/>
                <a:gd name="connsiteY12" fmla="*/ 54768 h 800325"/>
                <a:gd name="connsiteX13" fmla="*/ 347343 w 752155"/>
                <a:gd name="connsiteY13"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3419 h 800325"/>
                <a:gd name="connsiteX7" fmla="*/ 521174 w 752155"/>
                <a:gd name="connsiteY7" fmla="*/ 621506 h 800325"/>
                <a:gd name="connsiteX8" fmla="*/ 523555 w 752155"/>
                <a:gd name="connsiteY8" fmla="*/ 571500 h 800325"/>
                <a:gd name="connsiteX9" fmla="*/ 375918 w 752155"/>
                <a:gd name="connsiteY9" fmla="*/ 423862 h 800325"/>
                <a:gd name="connsiteX10" fmla="*/ 547368 w 752155"/>
                <a:gd name="connsiteY10" fmla="*/ 528637 h 800325"/>
                <a:gd name="connsiteX11" fmla="*/ 547368 w 752155"/>
                <a:gd name="connsiteY11" fmla="*/ 302418 h 800325"/>
                <a:gd name="connsiteX12" fmla="*/ 383062 w 752155"/>
                <a:gd name="connsiteY12" fmla="*/ 54768 h 800325"/>
                <a:gd name="connsiteX13" fmla="*/ 347343 w 752155"/>
                <a:gd name="connsiteY13"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3419 h 800325"/>
                <a:gd name="connsiteX7" fmla="*/ 528318 w 752155"/>
                <a:gd name="connsiteY7" fmla="*/ 642938 h 800325"/>
                <a:gd name="connsiteX8" fmla="*/ 521174 w 752155"/>
                <a:gd name="connsiteY8" fmla="*/ 621506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3419 h 800325"/>
                <a:gd name="connsiteX7" fmla="*/ 387824 w 752155"/>
                <a:gd name="connsiteY7" fmla="*/ 614363 h 800325"/>
                <a:gd name="connsiteX8" fmla="*/ 521174 w 752155"/>
                <a:gd name="connsiteY8" fmla="*/ 621506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3419 h 800325"/>
                <a:gd name="connsiteX7" fmla="*/ 387824 w 752155"/>
                <a:gd name="connsiteY7" fmla="*/ 614363 h 800325"/>
                <a:gd name="connsiteX8" fmla="*/ 521174 w 752155"/>
                <a:gd name="connsiteY8" fmla="*/ 621506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1174 w 752155"/>
                <a:gd name="connsiteY8" fmla="*/ 621506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547368 w 752155"/>
                <a:gd name="connsiteY9" fmla="*/ 545306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537843 w 752155"/>
                <a:gd name="connsiteY9" fmla="*/ 578644 h 800325"/>
                <a:gd name="connsiteX10" fmla="*/ 547368 w 752155"/>
                <a:gd name="connsiteY10" fmla="*/ 545306 h 800325"/>
                <a:gd name="connsiteX11" fmla="*/ 375918 w 752155"/>
                <a:gd name="connsiteY11" fmla="*/ 423862 h 800325"/>
                <a:gd name="connsiteX12" fmla="*/ 547368 w 752155"/>
                <a:gd name="connsiteY12" fmla="*/ 528637 h 800325"/>
                <a:gd name="connsiteX13" fmla="*/ 547368 w 752155"/>
                <a:gd name="connsiteY13" fmla="*/ 302418 h 800325"/>
                <a:gd name="connsiteX14" fmla="*/ 383062 w 752155"/>
                <a:gd name="connsiteY14" fmla="*/ 54768 h 800325"/>
                <a:gd name="connsiteX15" fmla="*/ 347343 w 752155"/>
                <a:gd name="connsiteY15"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1630 w 752155"/>
                <a:gd name="connsiteY9" fmla="*/ 554831 h 800325"/>
                <a:gd name="connsiteX10" fmla="*/ 547368 w 752155"/>
                <a:gd name="connsiteY10" fmla="*/ 545306 h 800325"/>
                <a:gd name="connsiteX11" fmla="*/ 375918 w 752155"/>
                <a:gd name="connsiteY11" fmla="*/ 423862 h 800325"/>
                <a:gd name="connsiteX12" fmla="*/ 547368 w 752155"/>
                <a:gd name="connsiteY12" fmla="*/ 528637 h 800325"/>
                <a:gd name="connsiteX13" fmla="*/ 547368 w 752155"/>
                <a:gd name="connsiteY13" fmla="*/ 302418 h 800325"/>
                <a:gd name="connsiteX14" fmla="*/ 383062 w 752155"/>
                <a:gd name="connsiteY14" fmla="*/ 54768 h 800325"/>
                <a:gd name="connsiteX15" fmla="*/ 347343 w 752155"/>
                <a:gd name="connsiteY15"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1630 w 752155"/>
                <a:gd name="connsiteY9" fmla="*/ 554831 h 800325"/>
                <a:gd name="connsiteX10" fmla="*/ 447355 w 752155"/>
                <a:gd name="connsiteY10" fmla="*/ 552451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1630 w 752155"/>
                <a:gd name="connsiteY9" fmla="*/ 554831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99730 w 752155"/>
                <a:gd name="connsiteY12" fmla="*/ 428624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99730 w 752155"/>
                <a:gd name="connsiteY12" fmla="*/ 428624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99730 w 752155"/>
                <a:gd name="connsiteY12" fmla="*/ 428624 h 800325"/>
                <a:gd name="connsiteX13" fmla="*/ 533080 w 752155"/>
                <a:gd name="connsiteY13" fmla="*/ 435768 h 800325"/>
                <a:gd name="connsiteX14" fmla="*/ 547368 w 752155"/>
                <a:gd name="connsiteY14" fmla="*/ 302418 h 800325"/>
                <a:gd name="connsiteX15" fmla="*/ 383062 w 752155"/>
                <a:gd name="connsiteY15" fmla="*/ 54768 h 800325"/>
                <a:gd name="connsiteX16" fmla="*/ 347343 w 752155"/>
                <a:gd name="connsiteY16" fmla="*/ 0 h 800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52155" h="800325">
                  <a:moveTo>
                    <a:pt x="347343" y="0"/>
                  </a:moveTo>
                  <a:cubicBezTo>
                    <a:pt x="267174" y="22225"/>
                    <a:pt x="165574" y="11112"/>
                    <a:pt x="106836" y="66675"/>
                  </a:cubicBezTo>
                  <a:cubicBezTo>
                    <a:pt x="-11433" y="199230"/>
                    <a:pt x="-20164" y="298450"/>
                    <a:pt x="25873" y="497681"/>
                  </a:cubicBezTo>
                  <a:cubicBezTo>
                    <a:pt x="106835" y="742156"/>
                    <a:pt x="421161" y="822324"/>
                    <a:pt x="487836" y="795337"/>
                  </a:cubicBezTo>
                  <a:lnTo>
                    <a:pt x="752155" y="709613"/>
                  </a:lnTo>
                  <a:cubicBezTo>
                    <a:pt x="660079" y="719138"/>
                    <a:pt x="534668" y="731044"/>
                    <a:pt x="464024" y="695325"/>
                  </a:cubicBezTo>
                  <a:cubicBezTo>
                    <a:pt x="423940" y="688181"/>
                    <a:pt x="518793" y="698103"/>
                    <a:pt x="528318" y="685800"/>
                  </a:cubicBezTo>
                  <a:cubicBezTo>
                    <a:pt x="539034" y="677069"/>
                    <a:pt x="431878" y="688975"/>
                    <a:pt x="387824" y="614363"/>
                  </a:cubicBezTo>
                  <a:cubicBezTo>
                    <a:pt x="469976" y="611188"/>
                    <a:pt x="524349" y="619123"/>
                    <a:pt x="523555" y="607217"/>
                  </a:cubicBezTo>
                  <a:cubicBezTo>
                    <a:pt x="474343" y="604837"/>
                    <a:pt x="408461" y="600074"/>
                    <a:pt x="366392" y="557212"/>
                  </a:cubicBezTo>
                  <a:lnTo>
                    <a:pt x="383061" y="483395"/>
                  </a:lnTo>
                  <a:cubicBezTo>
                    <a:pt x="425923" y="532607"/>
                    <a:pt x="473550" y="553243"/>
                    <a:pt x="533080" y="559594"/>
                  </a:cubicBezTo>
                  <a:cubicBezTo>
                    <a:pt x="466405" y="540544"/>
                    <a:pt x="418779" y="488155"/>
                    <a:pt x="399730" y="428624"/>
                  </a:cubicBezTo>
                  <a:lnTo>
                    <a:pt x="533080" y="435768"/>
                  </a:lnTo>
                  <a:lnTo>
                    <a:pt x="547368" y="302418"/>
                  </a:lnTo>
                  <a:lnTo>
                    <a:pt x="383062" y="54768"/>
                  </a:lnTo>
                  <a:lnTo>
                    <a:pt x="347343" y="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IN" sz="1961" b="1" dirty="0">
                <a:solidFill>
                  <a:srgbClr val="FFFFFF"/>
                </a:solidFill>
                <a:latin typeface="Segoe UI Light"/>
                <a:ea typeface="Segoe UI" pitchFamily="34" charset="0"/>
                <a:cs typeface="Segoe UI" pitchFamily="34" charset="0"/>
              </a:endParaRPr>
            </a:p>
          </p:txBody>
        </p:sp>
        <p:grpSp>
          <p:nvGrpSpPr>
            <p:cNvPr id="60" name="Group 59"/>
            <p:cNvGrpSpPr/>
            <p:nvPr/>
          </p:nvGrpSpPr>
          <p:grpSpPr>
            <a:xfrm>
              <a:off x="306837" y="2966952"/>
              <a:ext cx="1385600" cy="1351044"/>
              <a:chOff x="1058398" y="3354141"/>
              <a:chExt cx="533724" cy="520412"/>
            </a:xfrm>
          </p:grpSpPr>
          <p:sp>
            <p:nvSpPr>
              <p:cNvPr id="61" name="Freeform 60"/>
              <p:cNvSpPr/>
              <p:nvPr/>
            </p:nvSpPr>
            <p:spPr bwMode="auto">
              <a:xfrm>
                <a:off x="1058398" y="3354142"/>
                <a:ext cx="533723" cy="415322"/>
              </a:xfrm>
              <a:custGeom>
                <a:avLst/>
                <a:gdLst>
                  <a:gd name="connsiteX0" fmla="*/ 528506 w 533723"/>
                  <a:gd name="connsiteY0" fmla="*/ 291832 h 418083"/>
                  <a:gd name="connsiteX1" fmla="*/ 510121 w 533723"/>
                  <a:gd name="connsiteY1" fmla="*/ 300446 h 418083"/>
                  <a:gd name="connsiteX2" fmla="*/ 500354 w 533723"/>
                  <a:gd name="connsiteY2" fmla="*/ 302312 h 418083"/>
                  <a:gd name="connsiteX3" fmla="*/ 489695 w 533723"/>
                  <a:gd name="connsiteY3" fmla="*/ 299159 h 418083"/>
                  <a:gd name="connsiteX4" fmla="*/ 490953 w 533723"/>
                  <a:gd name="connsiteY4" fmla="*/ 302242 h 418083"/>
                  <a:gd name="connsiteX5" fmla="*/ 490826 w 533723"/>
                  <a:gd name="connsiteY5" fmla="*/ 302554 h 418083"/>
                  <a:gd name="connsiteX6" fmla="*/ 497481 w 533723"/>
                  <a:gd name="connsiteY6" fmla="*/ 306188 h 418083"/>
                  <a:gd name="connsiteX7" fmla="*/ 505812 w 533723"/>
                  <a:gd name="connsiteY7" fmla="*/ 305901 h 418083"/>
                  <a:gd name="connsiteX8" fmla="*/ 523335 w 533723"/>
                  <a:gd name="connsiteY8" fmla="*/ 297575 h 418083"/>
                  <a:gd name="connsiteX9" fmla="*/ 528506 w 533723"/>
                  <a:gd name="connsiteY9" fmla="*/ 291832 h 418083"/>
                  <a:gd name="connsiteX10" fmla="*/ 459095 w 533723"/>
                  <a:gd name="connsiteY10" fmla="*/ 214354 h 418083"/>
                  <a:gd name="connsiteX11" fmla="*/ 470185 w 533723"/>
                  <a:gd name="connsiteY11" fmla="*/ 232917 h 418083"/>
                  <a:gd name="connsiteX12" fmla="*/ 469083 w 533723"/>
                  <a:gd name="connsiteY12" fmla="*/ 236710 h 418083"/>
                  <a:gd name="connsiteX13" fmla="*/ 465107 w 533723"/>
                  <a:gd name="connsiteY13" fmla="*/ 228628 h 418083"/>
                  <a:gd name="connsiteX14" fmla="*/ 462850 w 533723"/>
                  <a:gd name="connsiteY14" fmla="*/ 223907 h 418083"/>
                  <a:gd name="connsiteX15" fmla="*/ 461361 w 533723"/>
                  <a:gd name="connsiteY15" fmla="*/ 220754 h 418083"/>
                  <a:gd name="connsiteX16" fmla="*/ 458921 w 533723"/>
                  <a:gd name="connsiteY16" fmla="*/ 213862 h 418083"/>
                  <a:gd name="connsiteX17" fmla="*/ 459095 w 533723"/>
                  <a:gd name="connsiteY17" fmla="*/ 214354 h 418083"/>
                  <a:gd name="connsiteX18" fmla="*/ 458953 w 533723"/>
                  <a:gd name="connsiteY18" fmla="*/ 214116 h 418083"/>
                  <a:gd name="connsiteX19" fmla="*/ 231642 w 533723"/>
                  <a:gd name="connsiteY19" fmla="*/ 117869 h 418083"/>
                  <a:gd name="connsiteX20" fmla="*/ 245739 w 533723"/>
                  <a:gd name="connsiteY20" fmla="*/ 119960 h 418083"/>
                  <a:gd name="connsiteX21" fmla="*/ 247479 w 533723"/>
                  <a:gd name="connsiteY21" fmla="*/ 117948 h 418083"/>
                  <a:gd name="connsiteX22" fmla="*/ 241439 w 533723"/>
                  <a:gd name="connsiteY22" fmla="*/ 117896 h 418083"/>
                  <a:gd name="connsiteX23" fmla="*/ 231642 w 533723"/>
                  <a:gd name="connsiteY23" fmla="*/ 117869 h 418083"/>
                  <a:gd name="connsiteX24" fmla="*/ 393966 w 533723"/>
                  <a:gd name="connsiteY24" fmla="*/ 59548 h 418083"/>
                  <a:gd name="connsiteX25" fmla="*/ 394760 w 533723"/>
                  <a:gd name="connsiteY25" fmla="*/ 61641 h 418083"/>
                  <a:gd name="connsiteX26" fmla="*/ 396543 w 533723"/>
                  <a:gd name="connsiteY26" fmla="*/ 61922 h 418083"/>
                  <a:gd name="connsiteX27" fmla="*/ 135290 w 533723"/>
                  <a:gd name="connsiteY27" fmla="*/ 95 h 418083"/>
                  <a:gd name="connsiteX28" fmla="*/ 142002 w 533723"/>
                  <a:gd name="connsiteY28" fmla="*/ 118 h 418083"/>
                  <a:gd name="connsiteX29" fmla="*/ 184247 w 533723"/>
                  <a:gd name="connsiteY29" fmla="*/ 9888 h 418083"/>
                  <a:gd name="connsiteX30" fmla="*/ 237411 w 533723"/>
                  <a:gd name="connsiteY30" fmla="*/ 31727 h 418083"/>
                  <a:gd name="connsiteX31" fmla="*/ 273908 w 533723"/>
                  <a:gd name="connsiteY31" fmla="*/ 50693 h 418083"/>
                  <a:gd name="connsiteX32" fmla="*/ 300993 w 533723"/>
                  <a:gd name="connsiteY32" fmla="*/ 65241 h 418083"/>
                  <a:gd name="connsiteX33" fmla="*/ 313770 w 533723"/>
                  <a:gd name="connsiteY33" fmla="*/ 72415 h 418083"/>
                  <a:gd name="connsiteX34" fmla="*/ 317458 w 533723"/>
                  <a:gd name="connsiteY34" fmla="*/ 74704 h 418083"/>
                  <a:gd name="connsiteX35" fmla="*/ 321989 w 533723"/>
                  <a:gd name="connsiteY35" fmla="*/ 77518 h 418083"/>
                  <a:gd name="connsiteX36" fmla="*/ 328509 w 533723"/>
                  <a:gd name="connsiteY36" fmla="*/ 81728 h 418083"/>
                  <a:gd name="connsiteX37" fmla="*/ 329950 w 533723"/>
                  <a:gd name="connsiteY37" fmla="*/ 82770 h 418083"/>
                  <a:gd name="connsiteX38" fmla="*/ 322786 w 533723"/>
                  <a:gd name="connsiteY38" fmla="*/ 67357 h 418083"/>
                  <a:gd name="connsiteX39" fmla="*/ 318179 w 533723"/>
                  <a:gd name="connsiteY39" fmla="*/ 66024 h 418083"/>
                  <a:gd name="connsiteX40" fmla="*/ 315145 w 533723"/>
                  <a:gd name="connsiteY40" fmla="*/ 65146 h 418083"/>
                  <a:gd name="connsiteX41" fmla="*/ 315984 w 533723"/>
                  <a:gd name="connsiteY41" fmla="*/ 64282 h 418083"/>
                  <a:gd name="connsiteX42" fmla="*/ 336115 w 533723"/>
                  <a:gd name="connsiteY42" fmla="*/ 45493 h 418083"/>
                  <a:gd name="connsiteX43" fmla="*/ 339135 w 533723"/>
                  <a:gd name="connsiteY43" fmla="*/ 43303 h 418083"/>
                  <a:gd name="connsiteX44" fmla="*/ 344556 w 533723"/>
                  <a:gd name="connsiteY44" fmla="*/ 40552 h 418083"/>
                  <a:gd name="connsiteX45" fmla="*/ 348957 w 533723"/>
                  <a:gd name="connsiteY45" fmla="*/ 38760 h 418083"/>
                  <a:gd name="connsiteX46" fmla="*/ 368054 w 533723"/>
                  <a:gd name="connsiteY46" fmla="*/ 34807 h 418083"/>
                  <a:gd name="connsiteX47" fmla="*/ 382234 w 533723"/>
                  <a:gd name="connsiteY47" fmla="*/ 37952 h 418083"/>
                  <a:gd name="connsiteX48" fmla="*/ 390275 w 533723"/>
                  <a:gd name="connsiteY48" fmla="*/ 35652 h 418083"/>
                  <a:gd name="connsiteX49" fmla="*/ 390840 w 533723"/>
                  <a:gd name="connsiteY49" fmla="*/ 35749 h 418083"/>
                  <a:gd name="connsiteX50" fmla="*/ 391575 w 533723"/>
                  <a:gd name="connsiteY50" fmla="*/ 35894 h 418083"/>
                  <a:gd name="connsiteX51" fmla="*/ 391750 w 533723"/>
                  <a:gd name="connsiteY51" fmla="*/ 35955 h 418083"/>
                  <a:gd name="connsiteX52" fmla="*/ 392615 w 533723"/>
                  <a:gd name="connsiteY52" fmla="*/ 36327 h 418083"/>
                  <a:gd name="connsiteX53" fmla="*/ 393242 w 533723"/>
                  <a:gd name="connsiteY53" fmla="*/ 36306 h 418083"/>
                  <a:gd name="connsiteX54" fmla="*/ 393406 w 533723"/>
                  <a:gd name="connsiteY54" fmla="*/ 36317 h 418083"/>
                  <a:gd name="connsiteX55" fmla="*/ 397383 w 533723"/>
                  <a:gd name="connsiteY55" fmla="*/ 37341 h 418083"/>
                  <a:gd name="connsiteX56" fmla="*/ 408367 w 533723"/>
                  <a:gd name="connsiteY56" fmla="*/ 43126 h 418083"/>
                  <a:gd name="connsiteX57" fmla="*/ 459773 w 533723"/>
                  <a:gd name="connsiteY57" fmla="*/ 126491 h 418083"/>
                  <a:gd name="connsiteX58" fmla="*/ 441680 w 533723"/>
                  <a:gd name="connsiteY58" fmla="*/ 188008 h 418083"/>
                  <a:gd name="connsiteX59" fmla="*/ 442553 w 533723"/>
                  <a:gd name="connsiteY59" fmla="*/ 192637 h 418083"/>
                  <a:gd name="connsiteX60" fmla="*/ 443081 w 533723"/>
                  <a:gd name="connsiteY60" fmla="*/ 194875 h 418083"/>
                  <a:gd name="connsiteX61" fmla="*/ 451172 w 533723"/>
                  <a:gd name="connsiteY61" fmla="*/ 201092 h 418083"/>
                  <a:gd name="connsiteX62" fmla="*/ 458953 w 533723"/>
                  <a:gd name="connsiteY62" fmla="*/ 214116 h 418083"/>
                  <a:gd name="connsiteX63" fmla="*/ 459209 w 533723"/>
                  <a:gd name="connsiteY63" fmla="*/ 216161 h 418083"/>
                  <a:gd name="connsiteX64" fmla="*/ 460971 w 533723"/>
                  <a:gd name="connsiteY64" fmla="*/ 219929 h 418083"/>
                  <a:gd name="connsiteX65" fmla="*/ 461361 w 533723"/>
                  <a:gd name="connsiteY65" fmla="*/ 220754 h 418083"/>
                  <a:gd name="connsiteX66" fmla="*/ 470303 w 533723"/>
                  <a:gd name="connsiteY66" fmla="*/ 246015 h 418083"/>
                  <a:gd name="connsiteX67" fmla="*/ 469962 w 533723"/>
                  <a:gd name="connsiteY67" fmla="*/ 245448 h 418083"/>
                  <a:gd name="connsiteX68" fmla="*/ 468971 w 533723"/>
                  <a:gd name="connsiteY68" fmla="*/ 243799 h 418083"/>
                  <a:gd name="connsiteX69" fmla="*/ 464115 w 533723"/>
                  <a:gd name="connsiteY69" fmla="*/ 240660 h 418083"/>
                  <a:gd name="connsiteX70" fmla="*/ 457544 w 533723"/>
                  <a:gd name="connsiteY70" fmla="*/ 239804 h 418083"/>
                  <a:gd name="connsiteX71" fmla="*/ 463829 w 533723"/>
                  <a:gd name="connsiteY71" fmla="*/ 242086 h 418083"/>
                  <a:gd name="connsiteX72" fmla="*/ 469895 w 533723"/>
                  <a:gd name="connsiteY72" fmla="*/ 245979 h 418083"/>
                  <a:gd name="connsiteX73" fmla="*/ 470460 w 533723"/>
                  <a:gd name="connsiteY73" fmla="*/ 246460 h 418083"/>
                  <a:gd name="connsiteX74" fmla="*/ 485321 w 533723"/>
                  <a:gd name="connsiteY74" fmla="*/ 288443 h 418083"/>
                  <a:gd name="connsiteX75" fmla="*/ 485666 w 533723"/>
                  <a:gd name="connsiteY75" fmla="*/ 289289 h 418083"/>
                  <a:gd name="connsiteX76" fmla="*/ 485392 w 533723"/>
                  <a:gd name="connsiteY76" fmla="*/ 285754 h 418083"/>
                  <a:gd name="connsiteX77" fmla="*/ 485409 w 533723"/>
                  <a:gd name="connsiteY77" fmla="*/ 284254 h 418083"/>
                  <a:gd name="connsiteX78" fmla="*/ 485552 w 533723"/>
                  <a:gd name="connsiteY78" fmla="*/ 284634 h 418083"/>
                  <a:gd name="connsiteX79" fmla="*/ 487684 w 533723"/>
                  <a:gd name="connsiteY79" fmla="*/ 290297 h 418083"/>
                  <a:gd name="connsiteX80" fmla="*/ 487716 w 533723"/>
                  <a:gd name="connsiteY80" fmla="*/ 290381 h 418083"/>
                  <a:gd name="connsiteX81" fmla="*/ 487709 w 533723"/>
                  <a:gd name="connsiteY81" fmla="*/ 290382 h 418083"/>
                  <a:gd name="connsiteX82" fmla="*/ 486150 w 533723"/>
                  <a:gd name="connsiteY82" fmla="*/ 290474 h 418083"/>
                  <a:gd name="connsiteX83" fmla="*/ 488742 w 533723"/>
                  <a:gd name="connsiteY83" fmla="*/ 296824 h 418083"/>
                  <a:gd name="connsiteX84" fmla="*/ 494320 w 533723"/>
                  <a:gd name="connsiteY84" fmla="*/ 295556 h 418083"/>
                  <a:gd name="connsiteX85" fmla="*/ 512429 w 533723"/>
                  <a:gd name="connsiteY85" fmla="*/ 291820 h 418083"/>
                  <a:gd name="connsiteX86" fmla="*/ 519005 w 533723"/>
                  <a:gd name="connsiteY86" fmla="*/ 287509 h 418083"/>
                  <a:gd name="connsiteX87" fmla="*/ 520508 w 533723"/>
                  <a:gd name="connsiteY87" fmla="*/ 286839 h 418083"/>
                  <a:gd name="connsiteX88" fmla="*/ 522424 w 533723"/>
                  <a:gd name="connsiteY88" fmla="*/ 286502 h 418083"/>
                  <a:gd name="connsiteX89" fmla="*/ 523091 w 533723"/>
                  <a:gd name="connsiteY89" fmla="*/ 286385 h 418083"/>
                  <a:gd name="connsiteX90" fmla="*/ 525364 w 533723"/>
                  <a:gd name="connsiteY90" fmla="*/ 286646 h 418083"/>
                  <a:gd name="connsiteX91" fmla="*/ 533413 w 533723"/>
                  <a:gd name="connsiteY91" fmla="*/ 297855 h 418083"/>
                  <a:gd name="connsiteX92" fmla="*/ 530826 w 533723"/>
                  <a:gd name="connsiteY92" fmla="*/ 316249 h 418083"/>
                  <a:gd name="connsiteX93" fmla="*/ 530588 w 533723"/>
                  <a:gd name="connsiteY93" fmla="*/ 318085 h 418083"/>
                  <a:gd name="connsiteX94" fmla="*/ 530192 w 533723"/>
                  <a:gd name="connsiteY94" fmla="*/ 320320 h 418083"/>
                  <a:gd name="connsiteX95" fmla="*/ 529838 w 533723"/>
                  <a:gd name="connsiteY95" fmla="*/ 321637 h 418083"/>
                  <a:gd name="connsiteX96" fmla="*/ 526883 w 533723"/>
                  <a:gd name="connsiteY96" fmla="*/ 332653 h 418083"/>
                  <a:gd name="connsiteX97" fmla="*/ 524435 w 533723"/>
                  <a:gd name="connsiteY97" fmla="*/ 341781 h 418083"/>
                  <a:gd name="connsiteX98" fmla="*/ 519934 w 533723"/>
                  <a:gd name="connsiteY98" fmla="*/ 353045 h 418083"/>
                  <a:gd name="connsiteX99" fmla="*/ 493458 w 533723"/>
                  <a:gd name="connsiteY99" fmla="*/ 392987 h 418083"/>
                  <a:gd name="connsiteX100" fmla="*/ 421143 w 533723"/>
                  <a:gd name="connsiteY100" fmla="*/ 403455 h 418083"/>
                  <a:gd name="connsiteX101" fmla="*/ 416615 w 533723"/>
                  <a:gd name="connsiteY101" fmla="*/ 401105 h 418083"/>
                  <a:gd name="connsiteX102" fmla="*/ 415306 w 533723"/>
                  <a:gd name="connsiteY102" fmla="*/ 404311 h 418083"/>
                  <a:gd name="connsiteX103" fmla="*/ 382546 w 533723"/>
                  <a:gd name="connsiteY103" fmla="*/ 418083 h 418083"/>
                  <a:gd name="connsiteX104" fmla="*/ 364512 w 533723"/>
                  <a:gd name="connsiteY104" fmla="*/ 414388 h 418083"/>
                  <a:gd name="connsiteX105" fmla="*/ 362260 w 533723"/>
                  <a:gd name="connsiteY105" fmla="*/ 412847 h 418083"/>
                  <a:gd name="connsiteX106" fmla="*/ 359508 w 533723"/>
                  <a:gd name="connsiteY106" fmla="*/ 412530 h 418083"/>
                  <a:gd name="connsiteX107" fmla="*/ 354180 w 533723"/>
                  <a:gd name="connsiteY107" fmla="*/ 409493 h 418083"/>
                  <a:gd name="connsiteX108" fmla="*/ 351263 w 533723"/>
                  <a:gd name="connsiteY108" fmla="*/ 406931 h 418083"/>
                  <a:gd name="connsiteX109" fmla="*/ 351015 w 533723"/>
                  <a:gd name="connsiteY109" fmla="*/ 406713 h 418083"/>
                  <a:gd name="connsiteX110" fmla="*/ 348397 w 533723"/>
                  <a:gd name="connsiteY110" fmla="*/ 403432 h 418083"/>
                  <a:gd name="connsiteX111" fmla="*/ 347445 w 533723"/>
                  <a:gd name="connsiteY111" fmla="*/ 401927 h 418083"/>
                  <a:gd name="connsiteX112" fmla="*/ 345319 w 533723"/>
                  <a:gd name="connsiteY112" fmla="*/ 397536 h 418083"/>
                  <a:gd name="connsiteX113" fmla="*/ 344561 w 533723"/>
                  <a:gd name="connsiteY113" fmla="*/ 395286 h 418083"/>
                  <a:gd name="connsiteX114" fmla="*/ 335650 w 533723"/>
                  <a:gd name="connsiteY114" fmla="*/ 375455 h 418083"/>
                  <a:gd name="connsiteX115" fmla="*/ 322714 w 533723"/>
                  <a:gd name="connsiteY115" fmla="*/ 362234 h 418083"/>
                  <a:gd name="connsiteX116" fmla="*/ 319648 w 533723"/>
                  <a:gd name="connsiteY116" fmla="*/ 358159 h 418083"/>
                  <a:gd name="connsiteX117" fmla="*/ 319434 w 533723"/>
                  <a:gd name="connsiteY117" fmla="*/ 357823 h 418083"/>
                  <a:gd name="connsiteX118" fmla="*/ 314734 w 533723"/>
                  <a:gd name="connsiteY118" fmla="*/ 350455 h 418083"/>
                  <a:gd name="connsiteX119" fmla="*/ 319052 w 533723"/>
                  <a:gd name="connsiteY119" fmla="*/ 316733 h 418083"/>
                  <a:gd name="connsiteX120" fmla="*/ 323333 w 533723"/>
                  <a:gd name="connsiteY120" fmla="*/ 310656 h 418083"/>
                  <a:gd name="connsiteX121" fmla="*/ 320679 w 533723"/>
                  <a:gd name="connsiteY121" fmla="*/ 310837 h 418083"/>
                  <a:gd name="connsiteX122" fmla="*/ 316984 w 533723"/>
                  <a:gd name="connsiteY122" fmla="*/ 309959 h 418083"/>
                  <a:gd name="connsiteX123" fmla="*/ 278469 w 533723"/>
                  <a:gd name="connsiteY123" fmla="*/ 281787 h 418083"/>
                  <a:gd name="connsiteX124" fmla="*/ 279196 w 533723"/>
                  <a:gd name="connsiteY124" fmla="*/ 221148 h 418083"/>
                  <a:gd name="connsiteX125" fmla="*/ 281137 w 533723"/>
                  <a:gd name="connsiteY125" fmla="*/ 212759 h 418083"/>
                  <a:gd name="connsiteX126" fmla="*/ 280817 w 533723"/>
                  <a:gd name="connsiteY126" fmla="*/ 212855 h 418083"/>
                  <a:gd name="connsiteX127" fmla="*/ 280074 w 533723"/>
                  <a:gd name="connsiteY127" fmla="*/ 213019 h 418083"/>
                  <a:gd name="connsiteX128" fmla="*/ 208386 w 533723"/>
                  <a:gd name="connsiteY128" fmla="*/ 230868 h 418083"/>
                  <a:gd name="connsiteX129" fmla="*/ 129358 w 533723"/>
                  <a:gd name="connsiteY129" fmla="*/ 256155 h 418083"/>
                  <a:gd name="connsiteX130" fmla="*/ 76481 w 533723"/>
                  <a:gd name="connsiteY130" fmla="*/ 253856 h 418083"/>
                  <a:gd name="connsiteX131" fmla="*/ 56365 w 533723"/>
                  <a:gd name="connsiteY131" fmla="*/ 204718 h 418083"/>
                  <a:gd name="connsiteX132" fmla="*/ 6361 w 533723"/>
                  <a:gd name="connsiteY132" fmla="*/ 145234 h 418083"/>
                  <a:gd name="connsiteX133" fmla="*/ 4924 w 533723"/>
                  <a:gd name="connsiteY133" fmla="*/ 90923 h 418083"/>
                  <a:gd name="connsiteX134" fmla="*/ 26190 w 533723"/>
                  <a:gd name="connsiteY134" fmla="*/ 62762 h 418083"/>
                  <a:gd name="connsiteX135" fmla="*/ 51192 w 533723"/>
                  <a:gd name="connsiteY135" fmla="*/ 63624 h 418083"/>
                  <a:gd name="connsiteX136" fmla="*/ 92574 w 533723"/>
                  <a:gd name="connsiteY136" fmla="*/ 72245 h 418083"/>
                  <a:gd name="connsiteX137" fmla="*/ 148899 w 533723"/>
                  <a:gd name="connsiteY137" fmla="*/ 97533 h 418083"/>
                  <a:gd name="connsiteX138" fmla="*/ 100620 w 533723"/>
                  <a:gd name="connsiteY138" fmla="*/ 70233 h 418083"/>
                  <a:gd name="connsiteX139" fmla="*/ 68722 w 533723"/>
                  <a:gd name="connsiteY139" fmla="*/ 57877 h 418083"/>
                  <a:gd name="connsiteX140" fmla="*/ 95735 w 533723"/>
                  <a:gd name="connsiteY140" fmla="*/ 33739 h 418083"/>
                  <a:gd name="connsiteX141" fmla="*/ 118438 w 533723"/>
                  <a:gd name="connsiteY141" fmla="*/ 6440 h 418083"/>
                  <a:gd name="connsiteX142" fmla="*/ 135290 w 533723"/>
                  <a:gd name="connsiteY142" fmla="*/ 95 h 418083"/>
                  <a:gd name="connsiteX0" fmla="*/ 528506 w 533723"/>
                  <a:gd name="connsiteY0" fmla="*/ 291832 h 419386"/>
                  <a:gd name="connsiteX1" fmla="*/ 510121 w 533723"/>
                  <a:gd name="connsiteY1" fmla="*/ 300446 h 419386"/>
                  <a:gd name="connsiteX2" fmla="*/ 500354 w 533723"/>
                  <a:gd name="connsiteY2" fmla="*/ 302312 h 419386"/>
                  <a:gd name="connsiteX3" fmla="*/ 489695 w 533723"/>
                  <a:gd name="connsiteY3" fmla="*/ 299159 h 419386"/>
                  <a:gd name="connsiteX4" fmla="*/ 490953 w 533723"/>
                  <a:gd name="connsiteY4" fmla="*/ 302242 h 419386"/>
                  <a:gd name="connsiteX5" fmla="*/ 490826 w 533723"/>
                  <a:gd name="connsiteY5" fmla="*/ 302554 h 419386"/>
                  <a:gd name="connsiteX6" fmla="*/ 497481 w 533723"/>
                  <a:gd name="connsiteY6" fmla="*/ 306188 h 419386"/>
                  <a:gd name="connsiteX7" fmla="*/ 505812 w 533723"/>
                  <a:gd name="connsiteY7" fmla="*/ 305901 h 419386"/>
                  <a:gd name="connsiteX8" fmla="*/ 523335 w 533723"/>
                  <a:gd name="connsiteY8" fmla="*/ 297575 h 419386"/>
                  <a:gd name="connsiteX9" fmla="*/ 528506 w 533723"/>
                  <a:gd name="connsiteY9" fmla="*/ 291832 h 419386"/>
                  <a:gd name="connsiteX10" fmla="*/ 459095 w 533723"/>
                  <a:gd name="connsiteY10" fmla="*/ 214354 h 419386"/>
                  <a:gd name="connsiteX11" fmla="*/ 470185 w 533723"/>
                  <a:gd name="connsiteY11" fmla="*/ 232917 h 419386"/>
                  <a:gd name="connsiteX12" fmla="*/ 469083 w 533723"/>
                  <a:gd name="connsiteY12" fmla="*/ 236710 h 419386"/>
                  <a:gd name="connsiteX13" fmla="*/ 465107 w 533723"/>
                  <a:gd name="connsiteY13" fmla="*/ 228628 h 419386"/>
                  <a:gd name="connsiteX14" fmla="*/ 462850 w 533723"/>
                  <a:gd name="connsiteY14" fmla="*/ 223907 h 419386"/>
                  <a:gd name="connsiteX15" fmla="*/ 461361 w 533723"/>
                  <a:gd name="connsiteY15" fmla="*/ 220754 h 419386"/>
                  <a:gd name="connsiteX16" fmla="*/ 459095 w 533723"/>
                  <a:gd name="connsiteY16" fmla="*/ 214354 h 419386"/>
                  <a:gd name="connsiteX17" fmla="*/ 458921 w 533723"/>
                  <a:gd name="connsiteY17" fmla="*/ 213862 h 419386"/>
                  <a:gd name="connsiteX18" fmla="*/ 459095 w 533723"/>
                  <a:gd name="connsiteY18" fmla="*/ 214354 h 419386"/>
                  <a:gd name="connsiteX19" fmla="*/ 458953 w 533723"/>
                  <a:gd name="connsiteY19" fmla="*/ 214116 h 419386"/>
                  <a:gd name="connsiteX20" fmla="*/ 458921 w 533723"/>
                  <a:gd name="connsiteY20" fmla="*/ 213862 h 419386"/>
                  <a:gd name="connsiteX21" fmla="*/ 231642 w 533723"/>
                  <a:gd name="connsiteY21" fmla="*/ 117869 h 419386"/>
                  <a:gd name="connsiteX22" fmla="*/ 245739 w 533723"/>
                  <a:gd name="connsiteY22" fmla="*/ 119960 h 419386"/>
                  <a:gd name="connsiteX23" fmla="*/ 247479 w 533723"/>
                  <a:gd name="connsiteY23" fmla="*/ 117948 h 419386"/>
                  <a:gd name="connsiteX24" fmla="*/ 241439 w 533723"/>
                  <a:gd name="connsiteY24" fmla="*/ 117896 h 419386"/>
                  <a:gd name="connsiteX25" fmla="*/ 231642 w 533723"/>
                  <a:gd name="connsiteY25" fmla="*/ 117869 h 419386"/>
                  <a:gd name="connsiteX26" fmla="*/ 393966 w 533723"/>
                  <a:gd name="connsiteY26" fmla="*/ 59548 h 419386"/>
                  <a:gd name="connsiteX27" fmla="*/ 394760 w 533723"/>
                  <a:gd name="connsiteY27" fmla="*/ 61641 h 419386"/>
                  <a:gd name="connsiteX28" fmla="*/ 396543 w 533723"/>
                  <a:gd name="connsiteY28" fmla="*/ 61922 h 419386"/>
                  <a:gd name="connsiteX29" fmla="*/ 393966 w 533723"/>
                  <a:gd name="connsiteY29" fmla="*/ 59548 h 419386"/>
                  <a:gd name="connsiteX30" fmla="*/ 135290 w 533723"/>
                  <a:gd name="connsiteY30" fmla="*/ 95 h 419386"/>
                  <a:gd name="connsiteX31" fmla="*/ 142002 w 533723"/>
                  <a:gd name="connsiteY31" fmla="*/ 118 h 419386"/>
                  <a:gd name="connsiteX32" fmla="*/ 184247 w 533723"/>
                  <a:gd name="connsiteY32" fmla="*/ 9888 h 419386"/>
                  <a:gd name="connsiteX33" fmla="*/ 237411 w 533723"/>
                  <a:gd name="connsiteY33" fmla="*/ 31727 h 419386"/>
                  <a:gd name="connsiteX34" fmla="*/ 273908 w 533723"/>
                  <a:gd name="connsiteY34" fmla="*/ 50693 h 419386"/>
                  <a:gd name="connsiteX35" fmla="*/ 300993 w 533723"/>
                  <a:gd name="connsiteY35" fmla="*/ 65241 h 419386"/>
                  <a:gd name="connsiteX36" fmla="*/ 313770 w 533723"/>
                  <a:gd name="connsiteY36" fmla="*/ 72415 h 419386"/>
                  <a:gd name="connsiteX37" fmla="*/ 317458 w 533723"/>
                  <a:gd name="connsiteY37" fmla="*/ 74704 h 419386"/>
                  <a:gd name="connsiteX38" fmla="*/ 321989 w 533723"/>
                  <a:gd name="connsiteY38" fmla="*/ 77518 h 419386"/>
                  <a:gd name="connsiteX39" fmla="*/ 328509 w 533723"/>
                  <a:gd name="connsiteY39" fmla="*/ 81728 h 419386"/>
                  <a:gd name="connsiteX40" fmla="*/ 329950 w 533723"/>
                  <a:gd name="connsiteY40" fmla="*/ 82770 h 419386"/>
                  <a:gd name="connsiteX41" fmla="*/ 322786 w 533723"/>
                  <a:gd name="connsiteY41" fmla="*/ 67357 h 419386"/>
                  <a:gd name="connsiteX42" fmla="*/ 318179 w 533723"/>
                  <a:gd name="connsiteY42" fmla="*/ 66024 h 419386"/>
                  <a:gd name="connsiteX43" fmla="*/ 315145 w 533723"/>
                  <a:gd name="connsiteY43" fmla="*/ 65146 h 419386"/>
                  <a:gd name="connsiteX44" fmla="*/ 315984 w 533723"/>
                  <a:gd name="connsiteY44" fmla="*/ 64282 h 419386"/>
                  <a:gd name="connsiteX45" fmla="*/ 336115 w 533723"/>
                  <a:gd name="connsiteY45" fmla="*/ 45493 h 419386"/>
                  <a:gd name="connsiteX46" fmla="*/ 339135 w 533723"/>
                  <a:gd name="connsiteY46" fmla="*/ 43303 h 419386"/>
                  <a:gd name="connsiteX47" fmla="*/ 344556 w 533723"/>
                  <a:gd name="connsiteY47" fmla="*/ 40552 h 419386"/>
                  <a:gd name="connsiteX48" fmla="*/ 348957 w 533723"/>
                  <a:gd name="connsiteY48" fmla="*/ 38760 h 419386"/>
                  <a:gd name="connsiteX49" fmla="*/ 368054 w 533723"/>
                  <a:gd name="connsiteY49" fmla="*/ 34807 h 419386"/>
                  <a:gd name="connsiteX50" fmla="*/ 382234 w 533723"/>
                  <a:gd name="connsiteY50" fmla="*/ 37952 h 419386"/>
                  <a:gd name="connsiteX51" fmla="*/ 390275 w 533723"/>
                  <a:gd name="connsiteY51" fmla="*/ 35652 h 419386"/>
                  <a:gd name="connsiteX52" fmla="*/ 390840 w 533723"/>
                  <a:gd name="connsiteY52" fmla="*/ 35749 h 419386"/>
                  <a:gd name="connsiteX53" fmla="*/ 391575 w 533723"/>
                  <a:gd name="connsiteY53" fmla="*/ 35894 h 419386"/>
                  <a:gd name="connsiteX54" fmla="*/ 391750 w 533723"/>
                  <a:gd name="connsiteY54" fmla="*/ 35955 h 419386"/>
                  <a:gd name="connsiteX55" fmla="*/ 392615 w 533723"/>
                  <a:gd name="connsiteY55" fmla="*/ 36327 h 419386"/>
                  <a:gd name="connsiteX56" fmla="*/ 393242 w 533723"/>
                  <a:gd name="connsiteY56" fmla="*/ 36306 h 419386"/>
                  <a:gd name="connsiteX57" fmla="*/ 393406 w 533723"/>
                  <a:gd name="connsiteY57" fmla="*/ 36317 h 419386"/>
                  <a:gd name="connsiteX58" fmla="*/ 397383 w 533723"/>
                  <a:gd name="connsiteY58" fmla="*/ 37341 h 419386"/>
                  <a:gd name="connsiteX59" fmla="*/ 408367 w 533723"/>
                  <a:gd name="connsiteY59" fmla="*/ 43126 h 419386"/>
                  <a:gd name="connsiteX60" fmla="*/ 459773 w 533723"/>
                  <a:gd name="connsiteY60" fmla="*/ 126491 h 419386"/>
                  <a:gd name="connsiteX61" fmla="*/ 441680 w 533723"/>
                  <a:gd name="connsiteY61" fmla="*/ 188008 h 419386"/>
                  <a:gd name="connsiteX62" fmla="*/ 442553 w 533723"/>
                  <a:gd name="connsiteY62" fmla="*/ 192637 h 419386"/>
                  <a:gd name="connsiteX63" fmla="*/ 443081 w 533723"/>
                  <a:gd name="connsiteY63" fmla="*/ 194875 h 419386"/>
                  <a:gd name="connsiteX64" fmla="*/ 451172 w 533723"/>
                  <a:gd name="connsiteY64" fmla="*/ 201092 h 419386"/>
                  <a:gd name="connsiteX65" fmla="*/ 458953 w 533723"/>
                  <a:gd name="connsiteY65" fmla="*/ 214116 h 419386"/>
                  <a:gd name="connsiteX66" fmla="*/ 459209 w 533723"/>
                  <a:gd name="connsiteY66" fmla="*/ 216161 h 419386"/>
                  <a:gd name="connsiteX67" fmla="*/ 460971 w 533723"/>
                  <a:gd name="connsiteY67" fmla="*/ 219929 h 419386"/>
                  <a:gd name="connsiteX68" fmla="*/ 461361 w 533723"/>
                  <a:gd name="connsiteY68" fmla="*/ 220754 h 419386"/>
                  <a:gd name="connsiteX69" fmla="*/ 470303 w 533723"/>
                  <a:gd name="connsiteY69" fmla="*/ 246015 h 419386"/>
                  <a:gd name="connsiteX70" fmla="*/ 469962 w 533723"/>
                  <a:gd name="connsiteY70" fmla="*/ 245448 h 419386"/>
                  <a:gd name="connsiteX71" fmla="*/ 468971 w 533723"/>
                  <a:gd name="connsiteY71" fmla="*/ 243799 h 419386"/>
                  <a:gd name="connsiteX72" fmla="*/ 464115 w 533723"/>
                  <a:gd name="connsiteY72" fmla="*/ 240660 h 419386"/>
                  <a:gd name="connsiteX73" fmla="*/ 457544 w 533723"/>
                  <a:gd name="connsiteY73" fmla="*/ 239804 h 419386"/>
                  <a:gd name="connsiteX74" fmla="*/ 463829 w 533723"/>
                  <a:gd name="connsiteY74" fmla="*/ 242086 h 419386"/>
                  <a:gd name="connsiteX75" fmla="*/ 469895 w 533723"/>
                  <a:gd name="connsiteY75" fmla="*/ 245979 h 419386"/>
                  <a:gd name="connsiteX76" fmla="*/ 470460 w 533723"/>
                  <a:gd name="connsiteY76" fmla="*/ 246460 h 419386"/>
                  <a:gd name="connsiteX77" fmla="*/ 485321 w 533723"/>
                  <a:gd name="connsiteY77" fmla="*/ 288443 h 419386"/>
                  <a:gd name="connsiteX78" fmla="*/ 485666 w 533723"/>
                  <a:gd name="connsiteY78" fmla="*/ 289289 h 419386"/>
                  <a:gd name="connsiteX79" fmla="*/ 485392 w 533723"/>
                  <a:gd name="connsiteY79" fmla="*/ 285754 h 419386"/>
                  <a:gd name="connsiteX80" fmla="*/ 485409 w 533723"/>
                  <a:gd name="connsiteY80" fmla="*/ 284254 h 419386"/>
                  <a:gd name="connsiteX81" fmla="*/ 485552 w 533723"/>
                  <a:gd name="connsiteY81" fmla="*/ 284634 h 419386"/>
                  <a:gd name="connsiteX82" fmla="*/ 487684 w 533723"/>
                  <a:gd name="connsiteY82" fmla="*/ 290297 h 419386"/>
                  <a:gd name="connsiteX83" fmla="*/ 487716 w 533723"/>
                  <a:gd name="connsiteY83" fmla="*/ 290381 h 419386"/>
                  <a:gd name="connsiteX84" fmla="*/ 487709 w 533723"/>
                  <a:gd name="connsiteY84" fmla="*/ 290382 h 419386"/>
                  <a:gd name="connsiteX85" fmla="*/ 486150 w 533723"/>
                  <a:gd name="connsiteY85" fmla="*/ 290474 h 419386"/>
                  <a:gd name="connsiteX86" fmla="*/ 488742 w 533723"/>
                  <a:gd name="connsiteY86" fmla="*/ 296824 h 419386"/>
                  <a:gd name="connsiteX87" fmla="*/ 494320 w 533723"/>
                  <a:gd name="connsiteY87" fmla="*/ 295556 h 419386"/>
                  <a:gd name="connsiteX88" fmla="*/ 512429 w 533723"/>
                  <a:gd name="connsiteY88" fmla="*/ 291820 h 419386"/>
                  <a:gd name="connsiteX89" fmla="*/ 519005 w 533723"/>
                  <a:gd name="connsiteY89" fmla="*/ 287509 h 419386"/>
                  <a:gd name="connsiteX90" fmla="*/ 520508 w 533723"/>
                  <a:gd name="connsiteY90" fmla="*/ 286839 h 419386"/>
                  <a:gd name="connsiteX91" fmla="*/ 522424 w 533723"/>
                  <a:gd name="connsiteY91" fmla="*/ 286502 h 419386"/>
                  <a:gd name="connsiteX92" fmla="*/ 523091 w 533723"/>
                  <a:gd name="connsiteY92" fmla="*/ 286385 h 419386"/>
                  <a:gd name="connsiteX93" fmla="*/ 525364 w 533723"/>
                  <a:gd name="connsiteY93" fmla="*/ 286646 h 419386"/>
                  <a:gd name="connsiteX94" fmla="*/ 533413 w 533723"/>
                  <a:gd name="connsiteY94" fmla="*/ 297855 h 419386"/>
                  <a:gd name="connsiteX95" fmla="*/ 530826 w 533723"/>
                  <a:gd name="connsiteY95" fmla="*/ 316249 h 419386"/>
                  <a:gd name="connsiteX96" fmla="*/ 530588 w 533723"/>
                  <a:gd name="connsiteY96" fmla="*/ 318085 h 419386"/>
                  <a:gd name="connsiteX97" fmla="*/ 530192 w 533723"/>
                  <a:gd name="connsiteY97" fmla="*/ 320320 h 419386"/>
                  <a:gd name="connsiteX98" fmla="*/ 529838 w 533723"/>
                  <a:gd name="connsiteY98" fmla="*/ 321637 h 419386"/>
                  <a:gd name="connsiteX99" fmla="*/ 526883 w 533723"/>
                  <a:gd name="connsiteY99" fmla="*/ 332653 h 419386"/>
                  <a:gd name="connsiteX100" fmla="*/ 524435 w 533723"/>
                  <a:gd name="connsiteY100" fmla="*/ 341781 h 419386"/>
                  <a:gd name="connsiteX101" fmla="*/ 519934 w 533723"/>
                  <a:gd name="connsiteY101" fmla="*/ 353045 h 419386"/>
                  <a:gd name="connsiteX102" fmla="*/ 493458 w 533723"/>
                  <a:gd name="connsiteY102" fmla="*/ 392987 h 419386"/>
                  <a:gd name="connsiteX103" fmla="*/ 421143 w 533723"/>
                  <a:gd name="connsiteY103" fmla="*/ 403455 h 419386"/>
                  <a:gd name="connsiteX104" fmla="*/ 416615 w 533723"/>
                  <a:gd name="connsiteY104" fmla="*/ 401105 h 419386"/>
                  <a:gd name="connsiteX105" fmla="*/ 401019 w 533723"/>
                  <a:gd name="connsiteY105" fmla="*/ 392405 h 419386"/>
                  <a:gd name="connsiteX106" fmla="*/ 382546 w 533723"/>
                  <a:gd name="connsiteY106" fmla="*/ 418083 h 419386"/>
                  <a:gd name="connsiteX107" fmla="*/ 364512 w 533723"/>
                  <a:gd name="connsiteY107" fmla="*/ 414388 h 419386"/>
                  <a:gd name="connsiteX108" fmla="*/ 362260 w 533723"/>
                  <a:gd name="connsiteY108" fmla="*/ 412847 h 419386"/>
                  <a:gd name="connsiteX109" fmla="*/ 359508 w 533723"/>
                  <a:gd name="connsiteY109" fmla="*/ 412530 h 419386"/>
                  <a:gd name="connsiteX110" fmla="*/ 354180 w 533723"/>
                  <a:gd name="connsiteY110" fmla="*/ 409493 h 419386"/>
                  <a:gd name="connsiteX111" fmla="*/ 351263 w 533723"/>
                  <a:gd name="connsiteY111" fmla="*/ 406931 h 419386"/>
                  <a:gd name="connsiteX112" fmla="*/ 351015 w 533723"/>
                  <a:gd name="connsiteY112" fmla="*/ 406713 h 419386"/>
                  <a:gd name="connsiteX113" fmla="*/ 348397 w 533723"/>
                  <a:gd name="connsiteY113" fmla="*/ 403432 h 419386"/>
                  <a:gd name="connsiteX114" fmla="*/ 347445 w 533723"/>
                  <a:gd name="connsiteY114" fmla="*/ 401927 h 419386"/>
                  <a:gd name="connsiteX115" fmla="*/ 345319 w 533723"/>
                  <a:gd name="connsiteY115" fmla="*/ 397536 h 419386"/>
                  <a:gd name="connsiteX116" fmla="*/ 344561 w 533723"/>
                  <a:gd name="connsiteY116" fmla="*/ 395286 h 419386"/>
                  <a:gd name="connsiteX117" fmla="*/ 335650 w 533723"/>
                  <a:gd name="connsiteY117" fmla="*/ 375455 h 419386"/>
                  <a:gd name="connsiteX118" fmla="*/ 322714 w 533723"/>
                  <a:gd name="connsiteY118" fmla="*/ 362234 h 419386"/>
                  <a:gd name="connsiteX119" fmla="*/ 319648 w 533723"/>
                  <a:gd name="connsiteY119" fmla="*/ 358159 h 419386"/>
                  <a:gd name="connsiteX120" fmla="*/ 319434 w 533723"/>
                  <a:gd name="connsiteY120" fmla="*/ 357823 h 419386"/>
                  <a:gd name="connsiteX121" fmla="*/ 314734 w 533723"/>
                  <a:gd name="connsiteY121" fmla="*/ 350455 h 419386"/>
                  <a:gd name="connsiteX122" fmla="*/ 319052 w 533723"/>
                  <a:gd name="connsiteY122" fmla="*/ 316733 h 419386"/>
                  <a:gd name="connsiteX123" fmla="*/ 323333 w 533723"/>
                  <a:gd name="connsiteY123" fmla="*/ 310656 h 419386"/>
                  <a:gd name="connsiteX124" fmla="*/ 320679 w 533723"/>
                  <a:gd name="connsiteY124" fmla="*/ 310837 h 419386"/>
                  <a:gd name="connsiteX125" fmla="*/ 316984 w 533723"/>
                  <a:gd name="connsiteY125" fmla="*/ 309959 h 419386"/>
                  <a:gd name="connsiteX126" fmla="*/ 278469 w 533723"/>
                  <a:gd name="connsiteY126" fmla="*/ 281787 h 419386"/>
                  <a:gd name="connsiteX127" fmla="*/ 279196 w 533723"/>
                  <a:gd name="connsiteY127" fmla="*/ 221148 h 419386"/>
                  <a:gd name="connsiteX128" fmla="*/ 281137 w 533723"/>
                  <a:gd name="connsiteY128" fmla="*/ 212759 h 419386"/>
                  <a:gd name="connsiteX129" fmla="*/ 280817 w 533723"/>
                  <a:gd name="connsiteY129" fmla="*/ 212855 h 419386"/>
                  <a:gd name="connsiteX130" fmla="*/ 280074 w 533723"/>
                  <a:gd name="connsiteY130" fmla="*/ 213019 h 419386"/>
                  <a:gd name="connsiteX131" fmla="*/ 208386 w 533723"/>
                  <a:gd name="connsiteY131" fmla="*/ 230868 h 419386"/>
                  <a:gd name="connsiteX132" fmla="*/ 129358 w 533723"/>
                  <a:gd name="connsiteY132" fmla="*/ 256155 h 419386"/>
                  <a:gd name="connsiteX133" fmla="*/ 76481 w 533723"/>
                  <a:gd name="connsiteY133" fmla="*/ 253856 h 419386"/>
                  <a:gd name="connsiteX134" fmla="*/ 56365 w 533723"/>
                  <a:gd name="connsiteY134" fmla="*/ 204718 h 419386"/>
                  <a:gd name="connsiteX135" fmla="*/ 6361 w 533723"/>
                  <a:gd name="connsiteY135" fmla="*/ 145234 h 419386"/>
                  <a:gd name="connsiteX136" fmla="*/ 4924 w 533723"/>
                  <a:gd name="connsiteY136" fmla="*/ 90923 h 419386"/>
                  <a:gd name="connsiteX137" fmla="*/ 26190 w 533723"/>
                  <a:gd name="connsiteY137" fmla="*/ 62762 h 419386"/>
                  <a:gd name="connsiteX138" fmla="*/ 51192 w 533723"/>
                  <a:gd name="connsiteY138" fmla="*/ 63624 h 419386"/>
                  <a:gd name="connsiteX139" fmla="*/ 92574 w 533723"/>
                  <a:gd name="connsiteY139" fmla="*/ 72245 h 419386"/>
                  <a:gd name="connsiteX140" fmla="*/ 148899 w 533723"/>
                  <a:gd name="connsiteY140" fmla="*/ 97533 h 419386"/>
                  <a:gd name="connsiteX141" fmla="*/ 100620 w 533723"/>
                  <a:gd name="connsiteY141" fmla="*/ 70233 h 419386"/>
                  <a:gd name="connsiteX142" fmla="*/ 68722 w 533723"/>
                  <a:gd name="connsiteY142" fmla="*/ 57877 h 419386"/>
                  <a:gd name="connsiteX143" fmla="*/ 95735 w 533723"/>
                  <a:gd name="connsiteY143" fmla="*/ 33739 h 419386"/>
                  <a:gd name="connsiteX144" fmla="*/ 118438 w 533723"/>
                  <a:gd name="connsiteY144" fmla="*/ 6440 h 419386"/>
                  <a:gd name="connsiteX145" fmla="*/ 135290 w 533723"/>
                  <a:gd name="connsiteY145" fmla="*/ 95 h 419386"/>
                  <a:gd name="connsiteX0" fmla="*/ 528506 w 533723"/>
                  <a:gd name="connsiteY0" fmla="*/ 291832 h 415347"/>
                  <a:gd name="connsiteX1" fmla="*/ 510121 w 533723"/>
                  <a:gd name="connsiteY1" fmla="*/ 300446 h 415347"/>
                  <a:gd name="connsiteX2" fmla="*/ 500354 w 533723"/>
                  <a:gd name="connsiteY2" fmla="*/ 302312 h 415347"/>
                  <a:gd name="connsiteX3" fmla="*/ 489695 w 533723"/>
                  <a:gd name="connsiteY3" fmla="*/ 299159 h 415347"/>
                  <a:gd name="connsiteX4" fmla="*/ 490953 w 533723"/>
                  <a:gd name="connsiteY4" fmla="*/ 302242 h 415347"/>
                  <a:gd name="connsiteX5" fmla="*/ 490826 w 533723"/>
                  <a:gd name="connsiteY5" fmla="*/ 302554 h 415347"/>
                  <a:gd name="connsiteX6" fmla="*/ 497481 w 533723"/>
                  <a:gd name="connsiteY6" fmla="*/ 306188 h 415347"/>
                  <a:gd name="connsiteX7" fmla="*/ 505812 w 533723"/>
                  <a:gd name="connsiteY7" fmla="*/ 305901 h 415347"/>
                  <a:gd name="connsiteX8" fmla="*/ 523335 w 533723"/>
                  <a:gd name="connsiteY8" fmla="*/ 297575 h 415347"/>
                  <a:gd name="connsiteX9" fmla="*/ 528506 w 533723"/>
                  <a:gd name="connsiteY9" fmla="*/ 291832 h 415347"/>
                  <a:gd name="connsiteX10" fmla="*/ 459095 w 533723"/>
                  <a:gd name="connsiteY10" fmla="*/ 214354 h 415347"/>
                  <a:gd name="connsiteX11" fmla="*/ 470185 w 533723"/>
                  <a:gd name="connsiteY11" fmla="*/ 232917 h 415347"/>
                  <a:gd name="connsiteX12" fmla="*/ 469083 w 533723"/>
                  <a:gd name="connsiteY12" fmla="*/ 236710 h 415347"/>
                  <a:gd name="connsiteX13" fmla="*/ 465107 w 533723"/>
                  <a:gd name="connsiteY13" fmla="*/ 228628 h 415347"/>
                  <a:gd name="connsiteX14" fmla="*/ 462850 w 533723"/>
                  <a:gd name="connsiteY14" fmla="*/ 223907 h 415347"/>
                  <a:gd name="connsiteX15" fmla="*/ 461361 w 533723"/>
                  <a:gd name="connsiteY15" fmla="*/ 220754 h 415347"/>
                  <a:gd name="connsiteX16" fmla="*/ 459095 w 533723"/>
                  <a:gd name="connsiteY16" fmla="*/ 214354 h 415347"/>
                  <a:gd name="connsiteX17" fmla="*/ 458921 w 533723"/>
                  <a:gd name="connsiteY17" fmla="*/ 213862 h 415347"/>
                  <a:gd name="connsiteX18" fmla="*/ 459095 w 533723"/>
                  <a:gd name="connsiteY18" fmla="*/ 214354 h 415347"/>
                  <a:gd name="connsiteX19" fmla="*/ 458953 w 533723"/>
                  <a:gd name="connsiteY19" fmla="*/ 214116 h 415347"/>
                  <a:gd name="connsiteX20" fmla="*/ 458921 w 533723"/>
                  <a:gd name="connsiteY20" fmla="*/ 213862 h 415347"/>
                  <a:gd name="connsiteX21" fmla="*/ 231642 w 533723"/>
                  <a:gd name="connsiteY21" fmla="*/ 117869 h 415347"/>
                  <a:gd name="connsiteX22" fmla="*/ 245739 w 533723"/>
                  <a:gd name="connsiteY22" fmla="*/ 119960 h 415347"/>
                  <a:gd name="connsiteX23" fmla="*/ 247479 w 533723"/>
                  <a:gd name="connsiteY23" fmla="*/ 117948 h 415347"/>
                  <a:gd name="connsiteX24" fmla="*/ 241439 w 533723"/>
                  <a:gd name="connsiteY24" fmla="*/ 117896 h 415347"/>
                  <a:gd name="connsiteX25" fmla="*/ 231642 w 533723"/>
                  <a:gd name="connsiteY25" fmla="*/ 117869 h 415347"/>
                  <a:gd name="connsiteX26" fmla="*/ 393966 w 533723"/>
                  <a:gd name="connsiteY26" fmla="*/ 59548 h 415347"/>
                  <a:gd name="connsiteX27" fmla="*/ 394760 w 533723"/>
                  <a:gd name="connsiteY27" fmla="*/ 61641 h 415347"/>
                  <a:gd name="connsiteX28" fmla="*/ 396543 w 533723"/>
                  <a:gd name="connsiteY28" fmla="*/ 61922 h 415347"/>
                  <a:gd name="connsiteX29" fmla="*/ 393966 w 533723"/>
                  <a:gd name="connsiteY29" fmla="*/ 59548 h 415347"/>
                  <a:gd name="connsiteX30" fmla="*/ 135290 w 533723"/>
                  <a:gd name="connsiteY30" fmla="*/ 95 h 415347"/>
                  <a:gd name="connsiteX31" fmla="*/ 142002 w 533723"/>
                  <a:gd name="connsiteY31" fmla="*/ 118 h 415347"/>
                  <a:gd name="connsiteX32" fmla="*/ 184247 w 533723"/>
                  <a:gd name="connsiteY32" fmla="*/ 9888 h 415347"/>
                  <a:gd name="connsiteX33" fmla="*/ 237411 w 533723"/>
                  <a:gd name="connsiteY33" fmla="*/ 31727 h 415347"/>
                  <a:gd name="connsiteX34" fmla="*/ 273908 w 533723"/>
                  <a:gd name="connsiteY34" fmla="*/ 50693 h 415347"/>
                  <a:gd name="connsiteX35" fmla="*/ 300993 w 533723"/>
                  <a:gd name="connsiteY35" fmla="*/ 65241 h 415347"/>
                  <a:gd name="connsiteX36" fmla="*/ 313770 w 533723"/>
                  <a:gd name="connsiteY36" fmla="*/ 72415 h 415347"/>
                  <a:gd name="connsiteX37" fmla="*/ 317458 w 533723"/>
                  <a:gd name="connsiteY37" fmla="*/ 74704 h 415347"/>
                  <a:gd name="connsiteX38" fmla="*/ 321989 w 533723"/>
                  <a:gd name="connsiteY38" fmla="*/ 77518 h 415347"/>
                  <a:gd name="connsiteX39" fmla="*/ 328509 w 533723"/>
                  <a:gd name="connsiteY39" fmla="*/ 81728 h 415347"/>
                  <a:gd name="connsiteX40" fmla="*/ 329950 w 533723"/>
                  <a:gd name="connsiteY40" fmla="*/ 82770 h 415347"/>
                  <a:gd name="connsiteX41" fmla="*/ 322786 w 533723"/>
                  <a:gd name="connsiteY41" fmla="*/ 67357 h 415347"/>
                  <a:gd name="connsiteX42" fmla="*/ 318179 w 533723"/>
                  <a:gd name="connsiteY42" fmla="*/ 66024 h 415347"/>
                  <a:gd name="connsiteX43" fmla="*/ 315145 w 533723"/>
                  <a:gd name="connsiteY43" fmla="*/ 65146 h 415347"/>
                  <a:gd name="connsiteX44" fmla="*/ 315984 w 533723"/>
                  <a:gd name="connsiteY44" fmla="*/ 64282 h 415347"/>
                  <a:gd name="connsiteX45" fmla="*/ 336115 w 533723"/>
                  <a:gd name="connsiteY45" fmla="*/ 45493 h 415347"/>
                  <a:gd name="connsiteX46" fmla="*/ 339135 w 533723"/>
                  <a:gd name="connsiteY46" fmla="*/ 43303 h 415347"/>
                  <a:gd name="connsiteX47" fmla="*/ 344556 w 533723"/>
                  <a:gd name="connsiteY47" fmla="*/ 40552 h 415347"/>
                  <a:gd name="connsiteX48" fmla="*/ 348957 w 533723"/>
                  <a:gd name="connsiteY48" fmla="*/ 38760 h 415347"/>
                  <a:gd name="connsiteX49" fmla="*/ 368054 w 533723"/>
                  <a:gd name="connsiteY49" fmla="*/ 34807 h 415347"/>
                  <a:gd name="connsiteX50" fmla="*/ 382234 w 533723"/>
                  <a:gd name="connsiteY50" fmla="*/ 37952 h 415347"/>
                  <a:gd name="connsiteX51" fmla="*/ 390275 w 533723"/>
                  <a:gd name="connsiteY51" fmla="*/ 35652 h 415347"/>
                  <a:gd name="connsiteX52" fmla="*/ 390840 w 533723"/>
                  <a:gd name="connsiteY52" fmla="*/ 35749 h 415347"/>
                  <a:gd name="connsiteX53" fmla="*/ 391575 w 533723"/>
                  <a:gd name="connsiteY53" fmla="*/ 35894 h 415347"/>
                  <a:gd name="connsiteX54" fmla="*/ 391750 w 533723"/>
                  <a:gd name="connsiteY54" fmla="*/ 35955 h 415347"/>
                  <a:gd name="connsiteX55" fmla="*/ 392615 w 533723"/>
                  <a:gd name="connsiteY55" fmla="*/ 36327 h 415347"/>
                  <a:gd name="connsiteX56" fmla="*/ 393242 w 533723"/>
                  <a:gd name="connsiteY56" fmla="*/ 36306 h 415347"/>
                  <a:gd name="connsiteX57" fmla="*/ 393406 w 533723"/>
                  <a:gd name="connsiteY57" fmla="*/ 36317 h 415347"/>
                  <a:gd name="connsiteX58" fmla="*/ 397383 w 533723"/>
                  <a:gd name="connsiteY58" fmla="*/ 37341 h 415347"/>
                  <a:gd name="connsiteX59" fmla="*/ 408367 w 533723"/>
                  <a:gd name="connsiteY59" fmla="*/ 43126 h 415347"/>
                  <a:gd name="connsiteX60" fmla="*/ 459773 w 533723"/>
                  <a:gd name="connsiteY60" fmla="*/ 126491 h 415347"/>
                  <a:gd name="connsiteX61" fmla="*/ 441680 w 533723"/>
                  <a:gd name="connsiteY61" fmla="*/ 188008 h 415347"/>
                  <a:gd name="connsiteX62" fmla="*/ 442553 w 533723"/>
                  <a:gd name="connsiteY62" fmla="*/ 192637 h 415347"/>
                  <a:gd name="connsiteX63" fmla="*/ 443081 w 533723"/>
                  <a:gd name="connsiteY63" fmla="*/ 194875 h 415347"/>
                  <a:gd name="connsiteX64" fmla="*/ 451172 w 533723"/>
                  <a:gd name="connsiteY64" fmla="*/ 201092 h 415347"/>
                  <a:gd name="connsiteX65" fmla="*/ 458953 w 533723"/>
                  <a:gd name="connsiteY65" fmla="*/ 214116 h 415347"/>
                  <a:gd name="connsiteX66" fmla="*/ 459209 w 533723"/>
                  <a:gd name="connsiteY66" fmla="*/ 216161 h 415347"/>
                  <a:gd name="connsiteX67" fmla="*/ 460971 w 533723"/>
                  <a:gd name="connsiteY67" fmla="*/ 219929 h 415347"/>
                  <a:gd name="connsiteX68" fmla="*/ 461361 w 533723"/>
                  <a:gd name="connsiteY68" fmla="*/ 220754 h 415347"/>
                  <a:gd name="connsiteX69" fmla="*/ 470303 w 533723"/>
                  <a:gd name="connsiteY69" fmla="*/ 246015 h 415347"/>
                  <a:gd name="connsiteX70" fmla="*/ 469962 w 533723"/>
                  <a:gd name="connsiteY70" fmla="*/ 245448 h 415347"/>
                  <a:gd name="connsiteX71" fmla="*/ 468971 w 533723"/>
                  <a:gd name="connsiteY71" fmla="*/ 243799 h 415347"/>
                  <a:gd name="connsiteX72" fmla="*/ 464115 w 533723"/>
                  <a:gd name="connsiteY72" fmla="*/ 240660 h 415347"/>
                  <a:gd name="connsiteX73" fmla="*/ 457544 w 533723"/>
                  <a:gd name="connsiteY73" fmla="*/ 239804 h 415347"/>
                  <a:gd name="connsiteX74" fmla="*/ 463829 w 533723"/>
                  <a:gd name="connsiteY74" fmla="*/ 242086 h 415347"/>
                  <a:gd name="connsiteX75" fmla="*/ 469895 w 533723"/>
                  <a:gd name="connsiteY75" fmla="*/ 245979 h 415347"/>
                  <a:gd name="connsiteX76" fmla="*/ 470460 w 533723"/>
                  <a:gd name="connsiteY76" fmla="*/ 246460 h 415347"/>
                  <a:gd name="connsiteX77" fmla="*/ 485321 w 533723"/>
                  <a:gd name="connsiteY77" fmla="*/ 288443 h 415347"/>
                  <a:gd name="connsiteX78" fmla="*/ 485666 w 533723"/>
                  <a:gd name="connsiteY78" fmla="*/ 289289 h 415347"/>
                  <a:gd name="connsiteX79" fmla="*/ 485392 w 533723"/>
                  <a:gd name="connsiteY79" fmla="*/ 285754 h 415347"/>
                  <a:gd name="connsiteX80" fmla="*/ 485409 w 533723"/>
                  <a:gd name="connsiteY80" fmla="*/ 284254 h 415347"/>
                  <a:gd name="connsiteX81" fmla="*/ 485552 w 533723"/>
                  <a:gd name="connsiteY81" fmla="*/ 284634 h 415347"/>
                  <a:gd name="connsiteX82" fmla="*/ 487684 w 533723"/>
                  <a:gd name="connsiteY82" fmla="*/ 290297 h 415347"/>
                  <a:gd name="connsiteX83" fmla="*/ 487716 w 533723"/>
                  <a:gd name="connsiteY83" fmla="*/ 290381 h 415347"/>
                  <a:gd name="connsiteX84" fmla="*/ 487709 w 533723"/>
                  <a:gd name="connsiteY84" fmla="*/ 290382 h 415347"/>
                  <a:gd name="connsiteX85" fmla="*/ 486150 w 533723"/>
                  <a:gd name="connsiteY85" fmla="*/ 290474 h 415347"/>
                  <a:gd name="connsiteX86" fmla="*/ 488742 w 533723"/>
                  <a:gd name="connsiteY86" fmla="*/ 296824 h 415347"/>
                  <a:gd name="connsiteX87" fmla="*/ 494320 w 533723"/>
                  <a:gd name="connsiteY87" fmla="*/ 295556 h 415347"/>
                  <a:gd name="connsiteX88" fmla="*/ 512429 w 533723"/>
                  <a:gd name="connsiteY88" fmla="*/ 291820 h 415347"/>
                  <a:gd name="connsiteX89" fmla="*/ 519005 w 533723"/>
                  <a:gd name="connsiteY89" fmla="*/ 287509 h 415347"/>
                  <a:gd name="connsiteX90" fmla="*/ 520508 w 533723"/>
                  <a:gd name="connsiteY90" fmla="*/ 286839 h 415347"/>
                  <a:gd name="connsiteX91" fmla="*/ 522424 w 533723"/>
                  <a:gd name="connsiteY91" fmla="*/ 286502 h 415347"/>
                  <a:gd name="connsiteX92" fmla="*/ 523091 w 533723"/>
                  <a:gd name="connsiteY92" fmla="*/ 286385 h 415347"/>
                  <a:gd name="connsiteX93" fmla="*/ 525364 w 533723"/>
                  <a:gd name="connsiteY93" fmla="*/ 286646 h 415347"/>
                  <a:gd name="connsiteX94" fmla="*/ 533413 w 533723"/>
                  <a:gd name="connsiteY94" fmla="*/ 297855 h 415347"/>
                  <a:gd name="connsiteX95" fmla="*/ 530826 w 533723"/>
                  <a:gd name="connsiteY95" fmla="*/ 316249 h 415347"/>
                  <a:gd name="connsiteX96" fmla="*/ 530588 w 533723"/>
                  <a:gd name="connsiteY96" fmla="*/ 318085 h 415347"/>
                  <a:gd name="connsiteX97" fmla="*/ 530192 w 533723"/>
                  <a:gd name="connsiteY97" fmla="*/ 320320 h 415347"/>
                  <a:gd name="connsiteX98" fmla="*/ 529838 w 533723"/>
                  <a:gd name="connsiteY98" fmla="*/ 321637 h 415347"/>
                  <a:gd name="connsiteX99" fmla="*/ 526883 w 533723"/>
                  <a:gd name="connsiteY99" fmla="*/ 332653 h 415347"/>
                  <a:gd name="connsiteX100" fmla="*/ 524435 w 533723"/>
                  <a:gd name="connsiteY100" fmla="*/ 341781 h 415347"/>
                  <a:gd name="connsiteX101" fmla="*/ 519934 w 533723"/>
                  <a:gd name="connsiteY101" fmla="*/ 353045 h 415347"/>
                  <a:gd name="connsiteX102" fmla="*/ 493458 w 533723"/>
                  <a:gd name="connsiteY102" fmla="*/ 392987 h 415347"/>
                  <a:gd name="connsiteX103" fmla="*/ 421143 w 533723"/>
                  <a:gd name="connsiteY103" fmla="*/ 403455 h 415347"/>
                  <a:gd name="connsiteX104" fmla="*/ 416615 w 533723"/>
                  <a:gd name="connsiteY104" fmla="*/ 401105 h 415347"/>
                  <a:gd name="connsiteX105" fmla="*/ 401019 w 533723"/>
                  <a:gd name="connsiteY105" fmla="*/ 392405 h 415347"/>
                  <a:gd name="connsiteX106" fmla="*/ 381629 w 533723"/>
                  <a:gd name="connsiteY106" fmla="*/ 410745 h 415347"/>
                  <a:gd name="connsiteX107" fmla="*/ 364512 w 533723"/>
                  <a:gd name="connsiteY107" fmla="*/ 414388 h 415347"/>
                  <a:gd name="connsiteX108" fmla="*/ 362260 w 533723"/>
                  <a:gd name="connsiteY108" fmla="*/ 412847 h 415347"/>
                  <a:gd name="connsiteX109" fmla="*/ 359508 w 533723"/>
                  <a:gd name="connsiteY109" fmla="*/ 412530 h 415347"/>
                  <a:gd name="connsiteX110" fmla="*/ 354180 w 533723"/>
                  <a:gd name="connsiteY110" fmla="*/ 409493 h 415347"/>
                  <a:gd name="connsiteX111" fmla="*/ 351263 w 533723"/>
                  <a:gd name="connsiteY111" fmla="*/ 406931 h 415347"/>
                  <a:gd name="connsiteX112" fmla="*/ 351015 w 533723"/>
                  <a:gd name="connsiteY112" fmla="*/ 406713 h 415347"/>
                  <a:gd name="connsiteX113" fmla="*/ 348397 w 533723"/>
                  <a:gd name="connsiteY113" fmla="*/ 403432 h 415347"/>
                  <a:gd name="connsiteX114" fmla="*/ 347445 w 533723"/>
                  <a:gd name="connsiteY114" fmla="*/ 401927 h 415347"/>
                  <a:gd name="connsiteX115" fmla="*/ 345319 w 533723"/>
                  <a:gd name="connsiteY115" fmla="*/ 397536 h 415347"/>
                  <a:gd name="connsiteX116" fmla="*/ 344561 w 533723"/>
                  <a:gd name="connsiteY116" fmla="*/ 395286 h 415347"/>
                  <a:gd name="connsiteX117" fmla="*/ 335650 w 533723"/>
                  <a:gd name="connsiteY117" fmla="*/ 375455 h 415347"/>
                  <a:gd name="connsiteX118" fmla="*/ 322714 w 533723"/>
                  <a:gd name="connsiteY118" fmla="*/ 362234 h 415347"/>
                  <a:gd name="connsiteX119" fmla="*/ 319648 w 533723"/>
                  <a:gd name="connsiteY119" fmla="*/ 358159 h 415347"/>
                  <a:gd name="connsiteX120" fmla="*/ 319434 w 533723"/>
                  <a:gd name="connsiteY120" fmla="*/ 357823 h 415347"/>
                  <a:gd name="connsiteX121" fmla="*/ 314734 w 533723"/>
                  <a:gd name="connsiteY121" fmla="*/ 350455 h 415347"/>
                  <a:gd name="connsiteX122" fmla="*/ 319052 w 533723"/>
                  <a:gd name="connsiteY122" fmla="*/ 316733 h 415347"/>
                  <a:gd name="connsiteX123" fmla="*/ 323333 w 533723"/>
                  <a:gd name="connsiteY123" fmla="*/ 310656 h 415347"/>
                  <a:gd name="connsiteX124" fmla="*/ 320679 w 533723"/>
                  <a:gd name="connsiteY124" fmla="*/ 310837 h 415347"/>
                  <a:gd name="connsiteX125" fmla="*/ 316984 w 533723"/>
                  <a:gd name="connsiteY125" fmla="*/ 309959 h 415347"/>
                  <a:gd name="connsiteX126" fmla="*/ 278469 w 533723"/>
                  <a:gd name="connsiteY126" fmla="*/ 281787 h 415347"/>
                  <a:gd name="connsiteX127" fmla="*/ 279196 w 533723"/>
                  <a:gd name="connsiteY127" fmla="*/ 221148 h 415347"/>
                  <a:gd name="connsiteX128" fmla="*/ 281137 w 533723"/>
                  <a:gd name="connsiteY128" fmla="*/ 212759 h 415347"/>
                  <a:gd name="connsiteX129" fmla="*/ 280817 w 533723"/>
                  <a:gd name="connsiteY129" fmla="*/ 212855 h 415347"/>
                  <a:gd name="connsiteX130" fmla="*/ 280074 w 533723"/>
                  <a:gd name="connsiteY130" fmla="*/ 213019 h 415347"/>
                  <a:gd name="connsiteX131" fmla="*/ 208386 w 533723"/>
                  <a:gd name="connsiteY131" fmla="*/ 230868 h 415347"/>
                  <a:gd name="connsiteX132" fmla="*/ 129358 w 533723"/>
                  <a:gd name="connsiteY132" fmla="*/ 256155 h 415347"/>
                  <a:gd name="connsiteX133" fmla="*/ 76481 w 533723"/>
                  <a:gd name="connsiteY133" fmla="*/ 253856 h 415347"/>
                  <a:gd name="connsiteX134" fmla="*/ 56365 w 533723"/>
                  <a:gd name="connsiteY134" fmla="*/ 204718 h 415347"/>
                  <a:gd name="connsiteX135" fmla="*/ 6361 w 533723"/>
                  <a:gd name="connsiteY135" fmla="*/ 145234 h 415347"/>
                  <a:gd name="connsiteX136" fmla="*/ 4924 w 533723"/>
                  <a:gd name="connsiteY136" fmla="*/ 90923 h 415347"/>
                  <a:gd name="connsiteX137" fmla="*/ 26190 w 533723"/>
                  <a:gd name="connsiteY137" fmla="*/ 62762 h 415347"/>
                  <a:gd name="connsiteX138" fmla="*/ 51192 w 533723"/>
                  <a:gd name="connsiteY138" fmla="*/ 63624 h 415347"/>
                  <a:gd name="connsiteX139" fmla="*/ 92574 w 533723"/>
                  <a:gd name="connsiteY139" fmla="*/ 72245 h 415347"/>
                  <a:gd name="connsiteX140" fmla="*/ 148899 w 533723"/>
                  <a:gd name="connsiteY140" fmla="*/ 97533 h 415347"/>
                  <a:gd name="connsiteX141" fmla="*/ 100620 w 533723"/>
                  <a:gd name="connsiteY141" fmla="*/ 70233 h 415347"/>
                  <a:gd name="connsiteX142" fmla="*/ 68722 w 533723"/>
                  <a:gd name="connsiteY142" fmla="*/ 57877 h 415347"/>
                  <a:gd name="connsiteX143" fmla="*/ 95735 w 533723"/>
                  <a:gd name="connsiteY143" fmla="*/ 33739 h 415347"/>
                  <a:gd name="connsiteX144" fmla="*/ 118438 w 533723"/>
                  <a:gd name="connsiteY144" fmla="*/ 6440 h 415347"/>
                  <a:gd name="connsiteX145" fmla="*/ 135290 w 533723"/>
                  <a:gd name="connsiteY145" fmla="*/ 95 h 415347"/>
                  <a:gd name="connsiteX0" fmla="*/ 528506 w 533723"/>
                  <a:gd name="connsiteY0" fmla="*/ 291832 h 415322"/>
                  <a:gd name="connsiteX1" fmla="*/ 510121 w 533723"/>
                  <a:gd name="connsiteY1" fmla="*/ 300446 h 415322"/>
                  <a:gd name="connsiteX2" fmla="*/ 500354 w 533723"/>
                  <a:gd name="connsiteY2" fmla="*/ 302312 h 415322"/>
                  <a:gd name="connsiteX3" fmla="*/ 489695 w 533723"/>
                  <a:gd name="connsiteY3" fmla="*/ 299159 h 415322"/>
                  <a:gd name="connsiteX4" fmla="*/ 490953 w 533723"/>
                  <a:gd name="connsiteY4" fmla="*/ 302242 h 415322"/>
                  <a:gd name="connsiteX5" fmla="*/ 490826 w 533723"/>
                  <a:gd name="connsiteY5" fmla="*/ 302554 h 415322"/>
                  <a:gd name="connsiteX6" fmla="*/ 497481 w 533723"/>
                  <a:gd name="connsiteY6" fmla="*/ 306188 h 415322"/>
                  <a:gd name="connsiteX7" fmla="*/ 505812 w 533723"/>
                  <a:gd name="connsiteY7" fmla="*/ 305901 h 415322"/>
                  <a:gd name="connsiteX8" fmla="*/ 523335 w 533723"/>
                  <a:gd name="connsiteY8" fmla="*/ 297575 h 415322"/>
                  <a:gd name="connsiteX9" fmla="*/ 528506 w 533723"/>
                  <a:gd name="connsiteY9" fmla="*/ 291832 h 415322"/>
                  <a:gd name="connsiteX10" fmla="*/ 459095 w 533723"/>
                  <a:gd name="connsiteY10" fmla="*/ 214354 h 415322"/>
                  <a:gd name="connsiteX11" fmla="*/ 470185 w 533723"/>
                  <a:gd name="connsiteY11" fmla="*/ 232917 h 415322"/>
                  <a:gd name="connsiteX12" fmla="*/ 469083 w 533723"/>
                  <a:gd name="connsiteY12" fmla="*/ 236710 h 415322"/>
                  <a:gd name="connsiteX13" fmla="*/ 465107 w 533723"/>
                  <a:gd name="connsiteY13" fmla="*/ 228628 h 415322"/>
                  <a:gd name="connsiteX14" fmla="*/ 462850 w 533723"/>
                  <a:gd name="connsiteY14" fmla="*/ 223907 h 415322"/>
                  <a:gd name="connsiteX15" fmla="*/ 461361 w 533723"/>
                  <a:gd name="connsiteY15" fmla="*/ 220754 h 415322"/>
                  <a:gd name="connsiteX16" fmla="*/ 459095 w 533723"/>
                  <a:gd name="connsiteY16" fmla="*/ 214354 h 415322"/>
                  <a:gd name="connsiteX17" fmla="*/ 458921 w 533723"/>
                  <a:gd name="connsiteY17" fmla="*/ 213862 h 415322"/>
                  <a:gd name="connsiteX18" fmla="*/ 459095 w 533723"/>
                  <a:gd name="connsiteY18" fmla="*/ 214354 h 415322"/>
                  <a:gd name="connsiteX19" fmla="*/ 458953 w 533723"/>
                  <a:gd name="connsiteY19" fmla="*/ 214116 h 415322"/>
                  <a:gd name="connsiteX20" fmla="*/ 458921 w 533723"/>
                  <a:gd name="connsiteY20" fmla="*/ 213862 h 415322"/>
                  <a:gd name="connsiteX21" fmla="*/ 231642 w 533723"/>
                  <a:gd name="connsiteY21" fmla="*/ 117869 h 415322"/>
                  <a:gd name="connsiteX22" fmla="*/ 245739 w 533723"/>
                  <a:gd name="connsiteY22" fmla="*/ 119960 h 415322"/>
                  <a:gd name="connsiteX23" fmla="*/ 247479 w 533723"/>
                  <a:gd name="connsiteY23" fmla="*/ 117948 h 415322"/>
                  <a:gd name="connsiteX24" fmla="*/ 241439 w 533723"/>
                  <a:gd name="connsiteY24" fmla="*/ 117896 h 415322"/>
                  <a:gd name="connsiteX25" fmla="*/ 231642 w 533723"/>
                  <a:gd name="connsiteY25" fmla="*/ 117869 h 415322"/>
                  <a:gd name="connsiteX26" fmla="*/ 393966 w 533723"/>
                  <a:gd name="connsiteY26" fmla="*/ 59548 h 415322"/>
                  <a:gd name="connsiteX27" fmla="*/ 394760 w 533723"/>
                  <a:gd name="connsiteY27" fmla="*/ 61641 h 415322"/>
                  <a:gd name="connsiteX28" fmla="*/ 396543 w 533723"/>
                  <a:gd name="connsiteY28" fmla="*/ 61922 h 415322"/>
                  <a:gd name="connsiteX29" fmla="*/ 393966 w 533723"/>
                  <a:gd name="connsiteY29" fmla="*/ 59548 h 415322"/>
                  <a:gd name="connsiteX30" fmla="*/ 135290 w 533723"/>
                  <a:gd name="connsiteY30" fmla="*/ 95 h 415322"/>
                  <a:gd name="connsiteX31" fmla="*/ 142002 w 533723"/>
                  <a:gd name="connsiteY31" fmla="*/ 118 h 415322"/>
                  <a:gd name="connsiteX32" fmla="*/ 184247 w 533723"/>
                  <a:gd name="connsiteY32" fmla="*/ 9888 h 415322"/>
                  <a:gd name="connsiteX33" fmla="*/ 237411 w 533723"/>
                  <a:gd name="connsiteY33" fmla="*/ 31727 h 415322"/>
                  <a:gd name="connsiteX34" fmla="*/ 273908 w 533723"/>
                  <a:gd name="connsiteY34" fmla="*/ 50693 h 415322"/>
                  <a:gd name="connsiteX35" fmla="*/ 300993 w 533723"/>
                  <a:gd name="connsiteY35" fmla="*/ 65241 h 415322"/>
                  <a:gd name="connsiteX36" fmla="*/ 313770 w 533723"/>
                  <a:gd name="connsiteY36" fmla="*/ 72415 h 415322"/>
                  <a:gd name="connsiteX37" fmla="*/ 317458 w 533723"/>
                  <a:gd name="connsiteY37" fmla="*/ 74704 h 415322"/>
                  <a:gd name="connsiteX38" fmla="*/ 321989 w 533723"/>
                  <a:gd name="connsiteY38" fmla="*/ 77518 h 415322"/>
                  <a:gd name="connsiteX39" fmla="*/ 328509 w 533723"/>
                  <a:gd name="connsiteY39" fmla="*/ 81728 h 415322"/>
                  <a:gd name="connsiteX40" fmla="*/ 329950 w 533723"/>
                  <a:gd name="connsiteY40" fmla="*/ 82770 h 415322"/>
                  <a:gd name="connsiteX41" fmla="*/ 322786 w 533723"/>
                  <a:gd name="connsiteY41" fmla="*/ 67357 h 415322"/>
                  <a:gd name="connsiteX42" fmla="*/ 318179 w 533723"/>
                  <a:gd name="connsiteY42" fmla="*/ 66024 h 415322"/>
                  <a:gd name="connsiteX43" fmla="*/ 315145 w 533723"/>
                  <a:gd name="connsiteY43" fmla="*/ 65146 h 415322"/>
                  <a:gd name="connsiteX44" fmla="*/ 315984 w 533723"/>
                  <a:gd name="connsiteY44" fmla="*/ 64282 h 415322"/>
                  <a:gd name="connsiteX45" fmla="*/ 336115 w 533723"/>
                  <a:gd name="connsiteY45" fmla="*/ 45493 h 415322"/>
                  <a:gd name="connsiteX46" fmla="*/ 339135 w 533723"/>
                  <a:gd name="connsiteY46" fmla="*/ 43303 h 415322"/>
                  <a:gd name="connsiteX47" fmla="*/ 344556 w 533723"/>
                  <a:gd name="connsiteY47" fmla="*/ 40552 h 415322"/>
                  <a:gd name="connsiteX48" fmla="*/ 348957 w 533723"/>
                  <a:gd name="connsiteY48" fmla="*/ 38760 h 415322"/>
                  <a:gd name="connsiteX49" fmla="*/ 368054 w 533723"/>
                  <a:gd name="connsiteY49" fmla="*/ 34807 h 415322"/>
                  <a:gd name="connsiteX50" fmla="*/ 382234 w 533723"/>
                  <a:gd name="connsiteY50" fmla="*/ 37952 h 415322"/>
                  <a:gd name="connsiteX51" fmla="*/ 390275 w 533723"/>
                  <a:gd name="connsiteY51" fmla="*/ 35652 h 415322"/>
                  <a:gd name="connsiteX52" fmla="*/ 390840 w 533723"/>
                  <a:gd name="connsiteY52" fmla="*/ 35749 h 415322"/>
                  <a:gd name="connsiteX53" fmla="*/ 391575 w 533723"/>
                  <a:gd name="connsiteY53" fmla="*/ 35894 h 415322"/>
                  <a:gd name="connsiteX54" fmla="*/ 391750 w 533723"/>
                  <a:gd name="connsiteY54" fmla="*/ 35955 h 415322"/>
                  <a:gd name="connsiteX55" fmla="*/ 392615 w 533723"/>
                  <a:gd name="connsiteY55" fmla="*/ 36327 h 415322"/>
                  <a:gd name="connsiteX56" fmla="*/ 393242 w 533723"/>
                  <a:gd name="connsiteY56" fmla="*/ 36306 h 415322"/>
                  <a:gd name="connsiteX57" fmla="*/ 393406 w 533723"/>
                  <a:gd name="connsiteY57" fmla="*/ 36317 h 415322"/>
                  <a:gd name="connsiteX58" fmla="*/ 397383 w 533723"/>
                  <a:gd name="connsiteY58" fmla="*/ 37341 h 415322"/>
                  <a:gd name="connsiteX59" fmla="*/ 408367 w 533723"/>
                  <a:gd name="connsiteY59" fmla="*/ 43126 h 415322"/>
                  <a:gd name="connsiteX60" fmla="*/ 459773 w 533723"/>
                  <a:gd name="connsiteY60" fmla="*/ 126491 h 415322"/>
                  <a:gd name="connsiteX61" fmla="*/ 441680 w 533723"/>
                  <a:gd name="connsiteY61" fmla="*/ 188008 h 415322"/>
                  <a:gd name="connsiteX62" fmla="*/ 442553 w 533723"/>
                  <a:gd name="connsiteY62" fmla="*/ 192637 h 415322"/>
                  <a:gd name="connsiteX63" fmla="*/ 443081 w 533723"/>
                  <a:gd name="connsiteY63" fmla="*/ 194875 h 415322"/>
                  <a:gd name="connsiteX64" fmla="*/ 451172 w 533723"/>
                  <a:gd name="connsiteY64" fmla="*/ 201092 h 415322"/>
                  <a:gd name="connsiteX65" fmla="*/ 458953 w 533723"/>
                  <a:gd name="connsiteY65" fmla="*/ 214116 h 415322"/>
                  <a:gd name="connsiteX66" fmla="*/ 459209 w 533723"/>
                  <a:gd name="connsiteY66" fmla="*/ 216161 h 415322"/>
                  <a:gd name="connsiteX67" fmla="*/ 460971 w 533723"/>
                  <a:gd name="connsiteY67" fmla="*/ 219929 h 415322"/>
                  <a:gd name="connsiteX68" fmla="*/ 461361 w 533723"/>
                  <a:gd name="connsiteY68" fmla="*/ 220754 h 415322"/>
                  <a:gd name="connsiteX69" fmla="*/ 470303 w 533723"/>
                  <a:gd name="connsiteY69" fmla="*/ 246015 h 415322"/>
                  <a:gd name="connsiteX70" fmla="*/ 469962 w 533723"/>
                  <a:gd name="connsiteY70" fmla="*/ 245448 h 415322"/>
                  <a:gd name="connsiteX71" fmla="*/ 468971 w 533723"/>
                  <a:gd name="connsiteY71" fmla="*/ 243799 h 415322"/>
                  <a:gd name="connsiteX72" fmla="*/ 464115 w 533723"/>
                  <a:gd name="connsiteY72" fmla="*/ 240660 h 415322"/>
                  <a:gd name="connsiteX73" fmla="*/ 457544 w 533723"/>
                  <a:gd name="connsiteY73" fmla="*/ 239804 h 415322"/>
                  <a:gd name="connsiteX74" fmla="*/ 463829 w 533723"/>
                  <a:gd name="connsiteY74" fmla="*/ 242086 h 415322"/>
                  <a:gd name="connsiteX75" fmla="*/ 469895 w 533723"/>
                  <a:gd name="connsiteY75" fmla="*/ 245979 h 415322"/>
                  <a:gd name="connsiteX76" fmla="*/ 470460 w 533723"/>
                  <a:gd name="connsiteY76" fmla="*/ 246460 h 415322"/>
                  <a:gd name="connsiteX77" fmla="*/ 485321 w 533723"/>
                  <a:gd name="connsiteY77" fmla="*/ 288443 h 415322"/>
                  <a:gd name="connsiteX78" fmla="*/ 485666 w 533723"/>
                  <a:gd name="connsiteY78" fmla="*/ 289289 h 415322"/>
                  <a:gd name="connsiteX79" fmla="*/ 485392 w 533723"/>
                  <a:gd name="connsiteY79" fmla="*/ 285754 h 415322"/>
                  <a:gd name="connsiteX80" fmla="*/ 485409 w 533723"/>
                  <a:gd name="connsiteY80" fmla="*/ 284254 h 415322"/>
                  <a:gd name="connsiteX81" fmla="*/ 485552 w 533723"/>
                  <a:gd name="connsiteY81" fmla="*/ 284634 h 415322"/>
                  <a:gd name="connsiteX82" fmla="*/ 487684 w 533723"/>
                  <a:gd name="connsiteY82" fmla="*/ 290297 h 415322"/>
                  <a:gd name="connsiteX83" fmla="*/ 487716 w 533723"/>
                  <a:gd name="connsiteY83" fmla="*/ 290381 h 415322"/>
                  <a:gd name="connsiteX84" fmla="*/ 487709 w 533723"/>
                  <a:gd name="connsiteY84" fmla="*/ 290382 h 415322"/>
                  <a:gd name="connsiteX85" fmla="*/ 486150 w 533723"/>
                  <a:gd name="connsiteY85" fmla="*/ 290474 h 415322"/>
                  <a:gd name="connsiteX86" fmla="*/ 488742 w 533723"/>
                  <a:gd name="connsiteY86" fmla="*/ 296824 h 415322"/>
                  <a:gd name="connsiteX87" fmla="*/ 494320 w 533723"/>
                  <a:gd name="connsiteY87" fmla="*/ 295556 h 415322"/>
                  <a:gd name="connsiteX88" fmla="*/ 512429 w 533723"/>
                  <a:gd name="connsiteY88" fmla="*/ 291820 h 415322"/>
                  <a:gd name="connsiteX89" fmla="*/ 519005 w 533723"/>
                  <a:gd name="connsiteY89" fmla="*/ 287509 h 415322"/>
                  <a:gd name="connsiteX90" fmla="*/ 520508 w 533723"/>
                  <a:gd name="connsiteY90" fmla="*/ 286839 h 415322"/>
                  <a:gd name="connsiteX91" fmla="*/ 522424 w 533723"/>
                  <a:gd name="connsiteY91" fmla="*/ 286502 h 415322"/>
                  <a:gd name="connsiteX92" fmla="*/ 523091 w 533723"/>
                  <a:gd name="connsiteY92" fmla="*/ 286385 h 415322"/>
                  <a:gd name="connsiteX93" fmla="*/ 525364 w 533723"/>
                  <a:gd name="connsiteY93" fmla="*/ 286646 h 415322"/>
                  <a:gd name="connsiteX94" fmla="*/ 533413 w 533723"/>
                  <a:gd name="connsiteY94" fmla="*/ 297855 h 415322"/>
                  <a:gd name="connsiteX95" fmla="*/ 530826 w 533723"/>
                  <a:gd name="connsiteY95" fmla="*/ 316249 h 415322"/>
                  <a:gd name="connsiteX96" fmla="*/ 530588 w 533723"/>
                  <a:gd name="connsiteY96" fmla="*/ 318085 h 415322"/>
                  <a:gd name="connsiteX97" fmla="*/ 530192 w 533723"/>
                  <a:gd name="connsiteY97" fmla="*/ 320320 h 415322"/>
                  <a:gd name="connsiteX98" fmla="*/ 529838 w 533723"/>
                  <a:gd name="connsiteY98" fmla="*/ 321637 h 415322"/>
                  <a:gd name="connsiteX99" fmla="*/ 526883 w 533723"/>
                  <a:gd name="connsiteY99" fmla="*/ 332653 h 415322"/>
                  <a:gd name="connsiteX100" fmla="*/ 524435 w 533723"/>
                  <a:gd name="connsiteY100" fmla="*/ 341781 h 415322"/>
                  <a:gd name="connsiteX101" fmla="*/ 519934 w 533723"/>
                  <a:gd name="connsiteY101" fmla="*/ 353045 h 415322"/>
                  <a:gd name="connsiteX102" fmla="*/ 493458 w 533723"/>
                  <a:gd name="connsiteY102" fmla="*/ 392987 h 415322"/>
                  <a:gd name="connsiteX103" fmla="*/ 421143 w 533723"/>
                  <a:gd name="connsiteY103" fmla="*/ 403455 h 415322"/>
                  <a:gd name="connsiteX104" fmla="*/ 416615 w 533723"/>
                  <a:gd name="connsiteY104" fmla="*/ 401105 h 415322"/>
                  <a:gd name="connsiteX105" fmla="*/ 403771 w 533723"/>
                  <a:gd name="connsiteY105" fmla="*/ 393322 h 415322"/>
                  <a:gd name="connsiteX106" fmla="*/ 381629 w 533723"/>
                  <a:gd name="connsiteY106" fmla="*/ 410745 h 415322"/>
                  <a:gd name="connsiteX107" fmla="*/ 364512 w 533723"/>
                  <a:gd name="connsiteY107" fmla="*/ 414388 h 415322"/>
                  <a:gd name="connsiteX108" fmla="*/ 362260 w 533723"/>
                  <a:gd name="connsiteY108" fmla="*/ 412847 h 415322"/>
                  <a:gd name="connsiteX109" fmla="*/ 359508 w 533723"/>
                  <a:gd name="connsiteY109" fmla="*/ 412530 h 415322"/>
                  <a:gd name="connsiteX110" fmla="*/ 354180 w 533723"/>
                  <a:gd name="connsiteY110" fmla="*/ 409493 h 415322"/>
                  <a:gd name="connsiteX111" fmla="*/ 351263 w 533723"/>
                  <a:gd name="connsiteY111" fmla="*/ 406931 h 415322"/>
                  <a:gd name="connsiteX112" fmla="*/ 351015 w 533723"/>
                  <a:gd name="connsiteY112" fmla="*/ 406713 h 415322"/>
                  <a:gd name="connsiteX113" fmla="*/ 348397 w 533723"/>
                  <a:gd name="connsiteY113" fmla="*/ 403432 h 415322"/>
                  <a:gd name="connsiteX114" fmla="*/ 347445 w 533723"/>
                  <a:gd name="connsiteY114" fmla="*/ 401927 h 415322"/>
                  <a:gd name="connsiteX115" fmla="*/ 345319 w 533723"/>
                  <a:gd name="connsiteY115" fmla="*/ 397536 h 415322"/>
                  <a:gd name="connsiteX116" fmla="*/ 344561 w 533723"/>
                  <a:gd name="connsiteY116" fmla="*/ 395286 h 415322"/>
                  <a:gd name="connsiteX117" fmla="*/ 335650 w 533723"/>
                  <a:gd name="connsiteY117" fmla="*/ 375455 h 415322"/>
                  <a:gd name="connsiteX118" fmla="*/ 322714 w 533723"/>
                  <a:gd name="connsiteY118" fmla="*/ 362234 h 415322"/>
                  <a:gd name="connsiteX119" fmla="*/ 319648 w 533723"/>
                  <a:gd name="connsiteY119" fmla="*/ 358159 h 415322"/>
                  <a:gd name="connsiteX120" fmla="*/ 319434 w 533723"/>
                  <a:gd name="connsiteY120" fmla="*/ 357823 h 415322"/>
                  <a:gd name="connsiteX121" fmla="*/ 314734 w 533723"/>
                  <a:gd name="connsiteY121" fmla="*/ 350455 h 415322"/>
                  <a:gd name="connsiteX122" fmla="*/ 319052 w 533723"/>
                  <a:gd name="connsiteY122" fmla="*/ 316733 h 415322"/>
                  <a:gd name="connsiteX123" fmla="*/ 323333 w 533723"/>
                  <a:gd name="connsiteY123" fmla="*/ 310656 h 415322"/>
                  <a:gd name="connsiteX124" fmla="*/ 320679 w 533723"/>
                  <a:gd name="connsiteY124" fmla="*/ 310837 h 415322"/>
                  <a:gd name="connsiteX125" fmla="*/ 316984 w 533723"/>
                  <a:gd name="connsiteY125" fmla="*/ 309959 h 415322"/>
                  <a:gd name="connsiteX126" fmla="*/ 278469 w 533723"/>
                  <a:gd name="connsiteY126" fmla="*/ 281787 h 415322"/>
                  <a:gd name="connsiteX127" fmla="*/ 279196 w 533723"/>
                  <a:gd name="connsiteY127" fmla="*/ 221148 h 415322"/>
                  <a:gd name="connsiteX128" fmla="*/ 281137 w 533723"/>
                  <a:gd name="connsiteY128" fmla="*/ 212759 h 415322"/>
                  <a:gd name="connsiteX129" fmla="*/ 280817 w 533723"/>
                  <a:gd name="connsiteY129" fmla="*/ 212855 h 415322"/>
                  <a:gd name="connsiteX130" fmla="*/ 280074 w 533723"/>
                  <a:gd name="connsiteY130" fmla="*/ 213019 h 415322"/>
                  <a:gd name="connsiteX131" fmla="*/ 208386 w 533723"/>
                  <a:gd name="connsiteY131" fmla="*/ 230868 h 415322"/>
                  <a:gd name="connsiteX132" fmla="*/ 129358 w 533723"/>
                  <a:gd name="connsiteY132" fmla="*/ 256155 h 415322"/>
                  <a:gd name="connsiteX133" fmla="*/ 76481 w 533723"/>
                  <a:gd name="connsiteY133" fmla="*/ 253856 h 415322"/>
                  <a:gd name="connsiteX134" fmla="*/ 56365 w 533723"/>
                  <a:gd name="connsiteY134" fmla="*/ 204718 h 415322"/>
                  <a:gd name="connsiteX135" fmla="*/ 6361 w 533723"/>
                  <a:gd name="connsiteY135" fmla="*/ 145234 h 415322"/>
                  <a:gd name="connsiteX136" fmla="*/ 4924 w 533723"/>
                  <a:gd name="connsiteY136" fmla="*/ 90923 h 415322"/>
                  <a:gd name="connsiteX137" fmla="*/ 26190 w 533723"/>
                  <a:gd name="connsiteY137" fmla="*/ 62762 h 415322"/>
                  <a:gd name="connsiteX138" fmla="*/ 51192 w 533723"/>
                  <a:gd name="connsiteY138" fmla="*/ 63624 h 415322"/>
                  <a:gd name="connsiteX139" fmla="*/ 92574 w 533723"/>
                  <a:gd name="connsiteY139" fmla="*/ 72245 h 415322"/>
                  <a:gd name="connsiteX140" fmla="*/ 148899 w 533723"/>
                  <a:gd name="connsiteY140" fmla="*/ 97533 h 415322"/>
                  <a:gd name="connsiteX141" fmla="*/ 100620 w 533723"/>
                  <a:gd name="connsiteY141" fmla="*/ 70233 h 415322"/>
                  <a:gd name="connsiteX142" fmla="*/ 68722 w 533723"/>
                  <a:gd name="connsiteY142" fmla="*/ 57877 h 415322"/>
                  <a:gd name="connsiteX143" fmla="*/ 95735 w 533723"/>
                  <a:gd name="connsiteY143" fmla="*/ 33739 h 415322"/>
                  <a:gd name="connsiteX144" fmla="*/ 118438 w 533723"/>
                  <a:gd name="connsiteY144" fmla="*/ 6440 h 415322"/>
                  <a:gd name="connsiteX145" fmla="*/ 135290 w 533723"/>
                  <a:gd name="connsiteY145" fmla="*/ 95 h 415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533723" h="415322">
                    <a:moveTo>
                      <a:pt x="528506" y="291832"/>
                    </a:moveTo>
                    <a:cubicBezTo>
                      <a:pt x="528506" y="291832"/>
                      <a:pt x="516154" y="299584"/>
                      <a:pt x="510121" y="300446"/>
                    </a:cubicBezTo>
                    <a:cubicBezTo>
                      <a:pt x="507105" y="300877"/>
                      <a:pt x="504089" y="302097"/>
                      <a:pt x="500354" y="302312"/>
                    </a:cubicBezTo>
                    <a:lnTo>
                      <a:pt x="489695" y="299159"/>
                    </a:lnTo>
                    <a:lnTo>
                      <a:pt x="490953" y="302242"/>
                    </a:lnTo>
                    <a:cubicBezTo>
                      <a:pt x="490911" y="302346"/>
                      <a:pt x="490868" y="302450"/>
                      <a:pt x="490826" y="302554"/>
                    </a:cubicBezTo>
                    <a:lnTo>
                      <a:pt x="497481" y="306188"/>
                    </a:lnTo>
                    <a:cubicBezTo>
                      <a:pt x="502940" y="306475"/>
                      <a:pt x="505812" y="305901"/>
                      <a:pt x="505812" y="305901"/>
                    </a:cubicBezTo>
                    <a:cubicBezTo>
                      <a:pt x="517015" y="304465"/>
                      <a:pt x="521899" y="299010"/>
                      <a:pt x="523335" y="297575"/>
                    </a:cubicBezTo>
                    <a:cubicBezTo>
                      <a:pt x="525059" y="296426"/>
                      <a:pt x="528506" y="291832"/>
                      <a:pt x="528506" y="291832"/>
                    </a:cubicBezTo>
                    <a:close/>
                    <a:moveTo>
                      <a:pt x="459095" y="214354"/>
                    </a:moveTo>
                    <a:lnTo>
                      <a:pt x="470185" y="232917"/>
                    </a:lnTo>
                    <a:lnTo>
                      <a:pt x="469083" y="236710"/>
                    </a:lnTo>
                    <a:lnTo>
                      <a:pt x="465107" y="228628"/>
                    </a:lnTo>
                    <a:cubicBezTo>
                      <a:pt x="464316" y="226985"/>
                      <a:pt x="463551" y="225384"/>
                      <a:pt x="462850" y="223907"/>
                    </a:cubicBezTo>
                    <a:lnTo>
                      <a:pt x="461361" y="220754"/>
                    </a:lnTo>
                    <a:lnTo>
                      <a:pt x="459095" y="214354"/>
                    </a:lnTo>
                    <a:close/>
                    <a:moveTo>
                      <a:pt x="458921" y="213862"/>
                    </a:moveTo>
                    <a:lnTo>
                      <a:pt x="459095" y="214354"/>
                    </a:lnTo>
                    <a:lnTo>
                      <a:pt x="458953" y="214116"/>
                    </a:lnTo>
                    <a:cubicBezTo>
                      <a:pt x="458942" y="214031"/>
                      <a:pt x="458932" y="213947"/>
                      <a:pt x="458921" y="213862"/>
                    </a:cubicBezTo>
                    <a:close/>
                    <a:moveTo>
                      <a:pt x="231642" y="117869"/>
                    </a:moveTo>
                    <a:lnTo>
                      <a:pt x="245739" y="119960"/>
                    </a:lnTo>
                    <a:lnTo>
                      <a:pt x="247479" y="117948"/>
                    </a:lnTo>
                    <a:lnTo>
                      <a:pt x="241439" y="117896"/>
                    </a:lnTo>
                    <a:lnTo>
                      <a:pt x="231642" y="117869"/>
                    </a:lnTo>
                    <a:close/>
                    <a:moveTo>
                      <a:pt x="393966" y="59548"/>
                    </a:moveTo>
                    <a:lnTo>
                      <a:pt x="394760" y="61641"/>
                    </a:lnTo>
                    <a:lnTo>
                      <a:pt x="396543" y="61922"/>
                    </a:lnTo>
                    <a:lnTo>
                      <a:pt x="393966" y="59548"/>
                    </a:lnTo>
                    <a:close/>
                    <a:moveTo>
                      <a:pt x="135290" y="95"/>
                    </a:moveTo>
                    <a:cubicBezTo>
                      <a:pt x="137297" y="-44"/>
                      <a:pt x="139488" y="-26"/>
                      <a:pt x="142002" y="118"/>
                    </a:cubicBezTo>
                    <a:cubicBezTo>
                      <a:pt x="151773" y="692"/>
                      <a:pt x="171890" y="5290"/>
                      <a:pt x="184247" y="9888"/>
                    </a:cubicBezTo>
                    <a:cubicBezTo>
                      <a:pt x="196604" y="14198"/>
                      <a:pt x="225916" y="24831"/>
                      <a:pt x="237411" y="31727"/>
                    </a:cubicBezTo>
                    <a:cubicBezTo>
                      <a:pt x="250056" y="38911"/>
                      <a:pt x="261551" y="43509"/>
                      <a:pt x="273908" y="50693"/>
                    </a:cubicBezTo>
                    <a:cubicBezTo>
                      <a:pt x="280230" y="54285"/>
                      <a:pt x="290576" y="59601"/>
                      <a:pt x="300993" y="65241"/>
                    </a:cubicBezTo>
                    <a:lnTo>
                      <a:pt x="313770" y="72415"/>
                    </a:lnTo>
                    <a:lnTo>
                      <a:pt x="317458" y="74704"/>
                    </a:lnTo>
                    <a:lnTo>
                      <a:pt x="321989" y="77518"/>
                    </a:lnTo>
                    <a:lnTo>
                      <a:pt x="328509" y="81728"/>
                    </a:lnTo>
                    <a:lnTo>
                      <a:pt x="329950" y="82770"/>
                    </a:lnTo>
                    <a:lnTo>
                      <a:pt x="322786" y="67357"/>
                    </a:lnTo>
                    <a:lnTo>
                      <a:pt x="318179" y="66024"/>
                    </a:lnTo>
                    <a:lnTo>
                      <a:pt x="315145" y="65146"/>
                    </a:lnTo>
                    <a:lnTo>
                      <a:pt x="315984" y="64282"/>
                    </a:lnTo>
                    <a:cubicBezTo>
                      <a:pt x="319030" y="61163"/>
                      <a:pt x="328778" y="51321"/>
                      <a:pt x="336115" y="45493"/>
                    </a:cubicBezTo>
                    <a:lnTo>
                      <a:pt x="339135" y="43303"/>
                    </a:lnTo>
                    <a:lnTo>
                      <a:pt x="344556" y="40552"/>
                    </a:lnTo>
                    <a:lnTo>
                      <a:pt x="348957" y="38760"/>
                    </a:lnTo>
                    <a:cubicBezTo>
                      <a:pt x="353552" y="36748"/>
                      <a:pt x="359726" y="34376"/>
                      <a:pt x="368054" y="34807"/>
                    </a:cubicBezTo>
                    <a:cubicBezTo>
                      <a:pt x="372219" y="35023"/>
                      <a:pt x="376921" y="35939"/>
                      <a:pt x="382234" y="37952"/>
                    </a:cubicBezTo>
                    <a:cubicBezTo>
                      <a:pt x="403198" y="46001"/>
                      <a:pt x="390275" y="35652"/>
                      <a:pt x="390275" y="35652"/>
                    </a:cubicBezTo>
                    <a:cubicBezTo>
                      <a:pt x="390275" y="35652"/>
                      <a:pt x="390477" y="35683"/>
                      <a:pt x="390840" y="35749"/>
                    </a:cubicBezTo>
                    <a:lnTo>
                      <a:pt x="391575" y="35894"/>
                    </a:lnTo>
                    <a:lnTo>
                      <a:pt x="391750" y="35955"/>
                    </a:lnTo>
                    <a:cubicBezTo>
                      <a:pt x="392319" y="36184"/>
                      <a:pt x="392615" y="36327"/>
                      <a:pt x="392615" y="36327"/>
                    </a:cubicBezTo>
                    <a:cubicBezTo>
                      <a:pt x="392615" y="36327"/>
                      <a:pt x="392831" y="36305"/>
                      <a:pt x="393242" y="36306"/>
                    </a:cubicBezTo>
                    <a:lnTo>
                      <a:pt x="393406" y="36317"/>
                    </a:lnTo>
                    <a:lnTo>
                      <a:pt x="397383" y="37341"/>
                    </a:lnTo>
                    <a:cubicBezTo>
                      <a:pt x="401260" y="38527"/>
                      <a:pt x="405783" y="40395"/>
                      <a:pt x="408367" y="43126"/>
                    </a:cubicBezTo>
                    <a:cubicBezTo>
                      <a:pt x="413537" y="48875"/>
                      <a:pt x="463219" y="96019"/>
                      <a:pt x="459773" y="126491"/>
                    </a:cubicBezTo>
                    <a:cubicBezTo>
                      <a:pt x="457762" y="144888"/>
                      <a:pt x="440819" y="179671"/>
                      <a:pt x="441680" y="188008"/>
                    </a:cubicBezTo>
                    <a:cubicBezTo>
                      <a:pt x="441860" y="189266"/>
                      <a:pt x="442165" y="190853"/>
                      <a:pt x="442553" y="192637"/>
                    </a:cubicBezTo>
                    <a:lnTo>
                      <a:pt x="443081" y="194875"/>
                    </a:lnTo>
                    <a:lnTo>
                      <a:pt x="451172" y="201092"/>
                    </a:lnTo>
                    <a:lnTo>
                      <a:pt x="458953" y="214116"/>
                    </a:lnTo>
                    <a:cubicBezTo>
                      <a:pt x="459038" y="214798"/>
                      <a:pt x="459124" y="215479"/>
                      <a:pt x="459209" y="216161"/>
                    </a:cubicBezTo>
                    <a:cubicBezTo>
                      <a:pt x="459209" y="216161"/>
                      <a:pt x="459892" y="217634"/>
                      <a:pt x="460971" y="219929"/>
                    </a:cubicBezTo>
                    <a:lnTo>
                      <a:pt x="461361" y="220754"/>
                    </a:lnTo>
                    <a:lnTo>
                      <a:pt x="470303" y="246015"/>
                    </a:lnTo>
                    <a:lnTo>
                      <a:pt x="469962" y="245448"/>
                    </a:lnTo>
                    <a:lnTo>
                      <a:pt x="468971" y="243799"/>
                    </a:lnTo>
                    <a:cubicBezTo>
                      <a:pt x="468971" y="243799"/>
                      <a:pt x="466400" y="241516"/>
                      <a:pt x="464115" y="240660"/>
                    </a:cubicBezTo>
                    <a:cubicBezTo>
                      <a:pt x="461829" y="239518"/>
                      <a:pt x="457544" y="239804"/>
                      <a:pt x="457544" y="239804"/>
                    </a:cubicBezTo>
                    <a:cubicBezTo>
                      <a:pt x="457544" y="239804"/>
                      <a:pt x="461829" y="241516"/>
                      <a:pt x="463829" y="242086"/>
                    </a:cubicBezTo>
                    <a:cubicBezTo>
                      <a:pt x="465329" y="242300"/>
                      <a:pt x="468435" y="244762"/>
                      <a:pt x="469895" y="245979"/>
                    </a:cubicBezTo>
                    <a:lnTo>
                      <a:pt x="470460" y="246460"/>
                    </a:lnTo>
                    <a:lnTo>
                      <a:pt x="485321" y="288443"/>
                    </a:lnTo>
                    <a:lnTo>
                      <a:pt x="485666" y="289289"/>
                    </a:lnTo>
                    <a:cubicBezTo>
                      <a:pt x="485575" y="288111"/>
                      <a:pt x="485483" y="286932"/>
                      <a:pt x="485392" y="285754"/>
                    </a:cubicBezTo>
                    <a:cubicBezTo>
                      <a:pt x="485398" y="285254"/>
                      <a:pt x="485403" y="284754"/>
                      <a:pt x="485409" y="284254"/>
                    </a:cubicBezTo>
                    <a:cubicBezTo>
                      <a:pt x="485457" y="284381"/>
                      <a:pt x="485504" y="284507"/>
                      <a:pt x="485552" y="284634"/>
                    </a:cubicBezTo>
                    <a:lnTo>
                      <a:pt x="487684" y="290297"/>
                    </a:lnTo>
                    <a:cubicBezTo>
                      <a:pt x="487695" y="290325"/>
                      <a:pt x="487705" y="290353"/>
                      <a:pt x="487716" y="290381"/>
                    </a:cubicBezTo>
                    <a:cubicBezTo>
                      <a:pt x="487714" y="290381"/>
                      <a:pt x="487711" y="290382"/>
                      <a:pt x="487709" y="290382"/>
                    </a:cubicBezTo>
                    <a:lnTo>
                      <a:pt x="486150" y="290474"/>
                    </a:lnTo>
                    <a:lnTo>
                      <a:pt x="488742" y="296824"/>
                    </a:lnTo>
                    <a:lnTo>
                      <a:pt x="494320" y="295556"/>
                    </a:lnTo>
                    <a:cubicBezTo>
                      <a:pt x="500644" y="296131"/>
                      <a:pt x="506393" y="294406"/>
                      <a:pt x="512429" y="291820"/>
                    </a:cubicBezTo>
                    <a:cubicBezTo>
                      <a:pt x="515304" y="290526"/>
                      <a:pt x="517172" y="288730"/>
                      <a:pt x="519005" y="287509"/>
                    </a:cubicBezTo>
                    <a:lnTo>
                      <a:pt x="520508" y="286839"/>
                    </a:lnTo>
                    <a:lnTo>
                      <a:pt x="522424" y="286502"/>
                    </a:lnTo>
                    <a:lnTo>
                      <a:pt x="523091" y="286385"/>
                    </a:lnTo>
                    <a:lnTo>
                      <a:pt x="525364" y="286646"/>
                    </a:lnTo>
                    <a:cubicBezTo>
                      <a:pt x="530826" y="288371"/>
                      <a:pt x="531976" y="291532"/>
                      <a:pt x="533413" y="297855"/>
                    </a:cubicBezTo>
                    <a:cubicBezTo>
                      <a:pt x="534850" y="304178"/>
                      <a:pt x="530826" y="316249"/>
                      <a:pt x="530826" y="316249"/>
                    </a:cubicBezTo>
                    <a:cubicBezTo>
                      <a:pt x="530826" y="316249"/>
                      <a:pt x="530763" y="316891"/>
                      <a:pt x="530588" y="318085"/>
                    </a:cubicBezTo>
                    <a:lnTo>
                      <a:pt x="530192" y="320320"/>
                    </a:lnTo>
                    <a:lnTo>
                      <a:pt x="529838" y="321637"/>
                    </a:lnTo>
                    <a:lnTo>
                      <a:pt x="526883" y="332653"/>
                    </a:lnTo>
                    <a:lnTo>
                      <a:pt x="524435" y="341781"/>
                    </a:lnTo>
                    <a:lnTo>
                      <a:pt x="519934" y="353045"/>
                    </a:lnTo>
                    <a:cubicBezTo>
                      <a:pt x="514343" y="365490"/>
                      <a:pt x="505962" y="379622"/>
                      <a:pt x="493458" y="392987"/>
                    </a:cubicBezTo>
                    <a:cubicBezTo>
                      <a:pt x="468666" y="419716"/>
                      <a:pt x="437567" y="410878"/>
                      <a:pt x="421143" y="403455"/>
                    </a:cubicBezTo>
                    <a:lnTo>
                      <a:pt x="416615" y="401105"/>
                    </a:lnTo>
                    <a:cubicBezTo>
                      <a:pt x="416179" y="402174"/>
                      <a:pt x="404207" y="392253"/>
                      <a:pt x="403771" y="393322"/>
                    </a:cubicBezTo>
                    <a:cubicBezTo>
                      <a:pt x="395387" y="401831"/>
                      <a:pt x="388172" y="407234"/>
                      <a:pt x="381629" y="410745"/>
                    </a:cubicBezTo>
                    <a:cubicBezTo>
                      <a:pt x="375086" y="414256"/>
                      <a:pt x="370055" y="416767"/>
                      <a:pt x="364512" y="414388"/>
                    </a:cubicBezTo>
                    <a:lnTo>
                      <a:pt x="362260" y="412847"/>
                    </a:lnTo>
                    <a:lnTo>
                      <a:pt x="359508" y="412530"/>
                    </a:lnTo>
                    <a:lnTo>
                      <a:pt x="354180" y="409493"/>
                    </a:lnTo>
                    <a:lnTo>
                      <a:pt x="351263" y="406931"/>
                    </a:lnTo>
                    <a:lnTo>
                      <a:pt x="351015" y="406713"/>
                    </a:lnTo>
                    <a:lnTo>
                      <a:pt x="348397" y="403432"/>
                    </a:lnTo>
                    <a:lnTo>
                      <a:pt x="347445" y="401927"/>
                    </a:lnTo>
                    <a:lnTo>
                      <a:pt x="345319" y="397536"/>
                    </a:lnTo>
                    <a:cubicBezTo>
                      <a:pt x="344794" y="396166"/>
                      <a:pt x="344561" y="395286"/>
                      <a:pt x="344561" y="395286"/>
                    </a:cubicBezTo>
                    <a:lnTo>
                      <a:pt x="335650" y="375455"/>
                    </a:lnTo>
                    <a:cubicBezTo>
                      <a:pt x="335650" y="375455"/>
                      <a:pt x="327314" y="367408"/>
                      <a:pt x="322714" y="362234"/>
                    </a:cubicBezTo>
                    <a:lnTo>
                      <a:pt x="319648" y="358159"/>
                    </a:lnTo>
                    <a:lnTo>
                      <a:pt x="319434" y="357823"/>
                    </a:lnTo>
                    <a:lnTo>
                      <a:pt x="314734" y="350455"/>
                    </a:lnTo>
                    <a:cubicBezTo>
                      <a:pt x="314734" y="350455"/>
                      <a:pt x="310334" y="332411"/>
                      <a:pt x="319052" y="316733"/>
                    </a:cubicBezTo>
                    <a:lnTo>
                      <a:pt x="323333" y="310656"/>
                    </a:lnTo>
                    <a:lnTo>
                      <a:pt x="320679" y="310837"/>
                    </a:lnTo>
                    <a:cubicBezTo>
                      <a:pt x="319405" y="310763"/>
                      <a:pt x="318170" y="310498"/>
                      <a:pt x="316984" y="309959"/>
                    </a:cubicBezTo>
                    <a:cubicBezTo>
                      <a:pt x="307787" y="305647"/>
                      <a:pt x="281056" y="298172"/>
                      <a:pt x="278469" y="281787"/>
                    </a:cubicBezTo>
                    <a:cubicBezTo>
                      <a:pt x="276529" y="269497"/>
                      <a:pt x="275235" y="243140"/>
                      <a:pt x="279196" y="221148"/>
                    </a:cubicBezTo>
                    <a:lnTo>
                      <a:pt x="281137" y="212759"/>
                    </a:lnTo>
                    <a:lnTo>
                      <a:pt x="280817" y="212855"/>
                    </a:lnTo>
                    <a:lnTo>
                      <a:pt x="280074" y="213019"/>
                    </a:lnTo>
                    <a:cubicBezTo>
                      <a:pt x="269049" y="215467"/>
                      <a:pt x="223976" y="225587"/>
                      <a:pt x="208386" y="230868"/>
                    </a:cubicBezTo>
                    <a:cubicBezTo>
                      <a:pt x="190569" y="236902"/>
                      <a:pt x="148612" y="256155"/>
                      <a:pt x="129358" y="256155"/>
                    </a:cubicBezTo>
                    <a:cubicBezTo>
                      <a:pt x="102632" y="255868"/>
                      <a:pt x="76481" y="253856"/>
                      <a:pt x="76481" y="253856"/>
                    </a:cubicBezTo>
                    <a:cubicBezTo>
                      <a:pt x="76481" y="253856"/>
                      <a:pt x="66710" y="217649"/>
                      <a:pt x="56365" y="204718"/>
                    </a:cubicBezTo>
                    <a:cubicBezTo>
                      <a:pt x="45732" y="191787"/>
                      <a:pt x="12971" y="165062"/>
                      <a:pt x="6361" y="145234"/>
                    </a:cubicBezTo>
                    <a:cubicBezTo>
                      <a:pt x="39" y="125119"/>
                      <a:pt x="-3409" y="109027"/>
                      <a:pt x="4924" y="90923"/>
                    </a:cubicBezTo>
                    <a:cubicBezTo>
                      <a:pt x="12971" y="73107"/>
                      <a:pt x="26190" y="62762"/>
                      <a:pt x="26190" y="62762"/>
                    </a:cubicBezTo>
                    <a:lnTo>
                      <a:pt x="51192" y="63624"/>
                    </a:lnTo>
                    <a:cubicBezTo>
                      <a:pt x="62399" y="65061"/>
                      <a:pt x="80217" y="68222"/>
                      <a:pt x="92574" y="72245"/>
                    </a:cubicBezTo>
                    <a:cubicBezTo>
                      <a:pt x="104644" y="76268"/>
                      <a:pt x="148899" y="97533"/>
                      <a:pt x="148899" y="97533"/>
                    </a:cubicBezTo>
                    <a:lnTo>
                      <a:pt x="100620" y="70233"/>
                    </a:lnTo>
                    <a:lnTo>
                      <a:pt x="68722" y="57877"/>
                    </a:lnTo>
                    <a:cubicBezTo>
                      <a:pt x="68722" y="57877"/>
                      <a:pt x="82803" y="49544"/>
                      <a:pt x="95735" y="33739"/>
                    </a:cubicBezTo>
                    <a:cubicBezTo>
                      <a:pt x="108667" y="17934"/>
                      <a:pt x="109816" y="12187"/>
                      <a:pt x="118438" y="6440"/>
                    </a:cubicBezTo>
                    <a:cubicBezTo>
                      <a:pt x="124904" y="2345"/>
                      <a:pt x="129268" y="513"/>
                      <a:pt x="135290" y="95"/>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IN" sz="1961" b="1" dirty="0">
                  <a:solidFill>
                    <a:srgbClr val="FFFFFF"/>
                  </a:solidFill>
                  <a:latin typeface="Segoe UI Light"/>
                  <a:ea typeface="Segoe UI" pitchFamily="34" charset="0"/>
                  <a:cs typeface="Segoe UI" pitchFamily="34" charset="0"/>
                </a:endParaRPr>
              </a:p>
            </p:txBody>
          </p:sp>
          <p:sp>
            <p:nvSpPr>
              <p:cNvPr id="62" name="Freeform 61"/>
              <p:cNvSpPr>
                <a:spLocks/>
              </p:cNvSpPr>
              <p:nvPr/>
            </p:nvSpPr>
            <p:spPr bwMode="auto">
              <a:xfrm>
                <a:off x="1203881" y="3576757"/>
                <a:ext cx="290830" cy="297796"/>
              </a:xfrm>
              <a:custGeom>
                <a:avLst/>
                <a:gdLst>
                  <a:gd name="connsiteX0" fmla="*/ 1222186 w 2129049"/>
                  <a:gd name="connsiteY0" fmla="*/ 1839320 h 2180047"/>
                  <a:gd name="connsiteX1" fmla="*/ 1208400 w 2129049"/>
                  <a:gd name="connsiteY1" fmla="*/ 1841119 h 2180047"/>
                  <a:gd name="connsiteX2" fmla="*/ 1186099 w 2129049"/>
                  <a:gd name="connsiteY2" fmla="*/ 1843640 h 2180047"/>
                  <a:gd name="connsiteX3" fmla="*/ 1188379 w 2129049"/>
                  <a:gd name="connsiteY3" fmla="*/ 1844841 h 2180047"/>
                  <a:gd name="connsiteX4" fmla="*/ 1243194 w 2129049"/>
                  <a:gd name="connsiteY4" fmla="*/ 1939957 h 2180047"/>
                  <a:gd name="connsiteX5" fmla="*/ 1223702 w 2129049"/>
                  <a:gd name="connsiteY5" fmla="*/ 1853174 h 2180047"/>
                  <a:gd name="connsiteX6" fmla="*/ 1222569 w 2129049"/>
                  <a:gd name="connsiteY6" fmla="*/ 1839342 h 2180047"/>
                  <a:gd name="connsiteX7" fmla="*/ 441891 w 2129049"/>
                  <a:gd name="connsiteY7" fmla="*/ 1746105 h 2180047"/>
                  <a:gd name="connsiteX8" fmla="*/ 450977 w 2129049"/>
                  <a:gd name="connsiteY8" fmla="*/ 1757606 h 2180047"/>
                  <a:gd name="connsiteX9" fmla="*/ 707370 w 2129049"/>
                  <a:gd name="connsiteY9" fmla="*/ 1976776 h 2180047"/>
                  <a:gd name="connsiteX10" fmla="*/ 766453 w 2129049"/>
                  <a:gd name="connsiteY10" fmla="*/ 2010648 h 2180047"/>
                  <a:gd name="connsiteX11" fmla="*/ 831225 w 2129049"/>
                  <a:gd name="connsiteY11" fmla="*/ 2015356 h 2180047"/>
                  <a:gd name="connsiteX12" fmla="*/ 999836 w 2129049"/>
                  <a:gd name="connsiteY12" fmla="*/ 2014732 h 2180047"/>
                  <a:gd name="connsiteX13" fmla="*/ 1033552 w 2129049"/>
                  <a:gd name="connsiteY13" fmla="*/ 2011934 h 2180047"/>
                  <a:gd name="connsiteX14" fmla="*/ 1030508 w 2129049"/>
                  <a:gd name="connsiteY14" fmla="*/ 1991231 h 2180047"/>
                  <a:gd name="connsiteX15" fmla="*/ 1069280 w 2129049"/>
                  <a:gd name="connsiteY15" fmla="*/ 1869985 h 2180047"/>
                  <a:gd name="connsiteX16" fmla="*/ 1086998 w 2129049"/>
                  <a:gd name="connsiteY16" fmla="*/ 1852207 h 2180047"/>
                  <a:gd name="connsiteX17" fmla="*/ 1040249 w 2129049"/>
                  <a:gd name="connsiteY17" fmla="*/ 1855089 h 2180047"/>
                  <a:gd name="connsiteX18" fmla="*/ 700561 w 2129049"/>
                  <a:gd name="connsiteY18" fmla="*/ 1833012 h 2180047"/>
                  <a:gd name="connsiteX19" fmla="*/ 442094 w 2129049"/>
                  <a:gd name="connsiteY19" fmla="*/ 1746192 h 2180047"/>
                  <a:gd name="connsiteX20" fmla="*/ 1059954 w 2129049"/>
                  <a:gd name="connsiteY20" fmla="*/ 1504433 h 2180047"/>
                  <a:gd name="connsiteX21" fmla="*/ 1137935 w 2129049"/>
                  <a:gd name="connsiteY21" fmla="*/ 1553560 h 2180047"/>
                  <a:gd name="connsiteX22" fmla="*/ 1232714 w 2129049"/>
                  <a:gd name="connsiteY22" fmla="*/ 1597039 h 2180047"/>
                  <a:gd name="connsiteX23" fmla="*/ 1498003 w 2129049"/>
                  <a:gd name="connsiteY23" fmla="*/ 1620193 h 2180047"/>
                  <a:gd name="connsiteX24" fmla="*/ 1417995 w 2129049"/>
                  <a:gd name="connsiteY24" fmla="*/ 1660186 h 2180047"/>
                  <a:gd name="connsiteX25" fmla="*/ 1260085 w 2129049"/>
                  <a:gd name="connsiteY25" fmla="*/ 1660186 h 2180047"/>
                  <a:gd name="connsiteX26" fmla="*/ 1110597 w 2129049"/>
                  <a:gd name="connsiteY26" fmla="*/ 1640189 h 2180047"/>
                  <a:gd name="connsiteX27" fmla="*/ 1099046 w 2129049"/>
                  <a:gd name="connsiteY27" fmla="*/ 1638682 h 2180047"/>
                  <a:gd name="connsiteX28" fmla="*/ 251840 w 2129049"/>
                  <a:gd name="connsiteY28" fmla="*/ 316333 h 2180047"/>
                  <a:gd name="connsiteX29" fmla="*/ 246796 w 2129049"/>
                  <a:gd name="connsiteY29" fmla="*/ 329846 h 2180047"/>
                  <a:gd name="connsiteX30" fmla="*/ 161902 w 2129049"/>
                  <a:gd name="connsiteY30" fmla="*/ 686152 h 2180047"/>
                  <a:gd name="connsiteX31" fmla="*/ 163319 w 2129049"/>
                  <a:gd name="connsiteY31" fmla="*/ 765157 h 2180047"/>
                  <a:gd name="connsiteX32" fmla="*/ 168120 w 2129049"/>
                  <a:gd name="connsiteY32" fmla="*/ 772124 h 2180047"/>
                  <a:gd name="connsiteX33" fmla="*/ 462568 w 2129049"/>
                  <a:gd name="connsiteY33" fmla="*/ 1054574 h 2180047"/>
                  <a:gd name="connsiteX34" fmla="*/ 1083519 w 2129049"/>
                  <a:gd name="connsiteY34" fmla="*/ 1296666 h 2180047"/>
                  <a:gd name="connsiteX35" fmla="*/ 1112988 w 2129049"/>
                  <a:gd name="connsiteY35" fmla="*/ 1212460 h 2180047"/>
                  <a:gd name="connsiteX36" fmla="*/ 635171 w 2129049"/>
                  <a:gd name="connsiteY36" fmla="*/ 913528 h 2180047"/>
                  <a:gd name="connsiteX37" fmla="*/ 256327 w 2129049"/>
                  <a:gd name="connsiteY37" fmla="*/ 344726 h 2180047"/>
                  <a:gd name="connsiteX38" fmla="*/ 203697 w 2129049"/>
                  <a:gd name="connsiteY38" fmla="*/ 216555 h 2180047"/>
                  <a:gd name="connsiteX39" fmla="*/ 195507 w 2129049"/>
                  <a:gd name="connsiteY39" fmla="*/ 224152 h 2180047"/>
                  <a:gd name="connsiteX40" fmla="*/ 153435 w 2129049"/>
                  <a:gd name="connsiteY40" fmla="*/ 280530 h 2180047"/>
                  <a:gd name="connsiteX41" fmla="*/ 119142 w 2129049"/>
                  <a:gd name="connsiteY41" fmla="*/ 338248 h 2180047"/>
                  <a:gd name="connsiteX42" fmla="*/ 162420 w 2129049"/>
                  <a:gd name="connsiteY42" fmla="*/ 270250 h 2180047"/>
                  <a:gd name="connsiteX43" fmla="*/ 200473 w 2129049"/>
                  <a:gd name="connsiteY43" fmla="*/ 220227 h 2180047"/>
                  <a:gd name="connsiteX44" fmla="*/ 545326 w 2129049"/>
                  <a:gd name="connsiteY44" fmla="*/ 37476 h 2180047"/>
                  <a:gd name="connsiteX45" fmla="*/ 541800 w 2129049"/>
                  <a:gd name="connsiteY45" fmla="*/ 40991 h 2180047"/>
                  <a:gd name="connsiteX46" fmla="*/ 536701 w 2129049"/>
                  <a:gd name="connsiteY46" fmla="*/ 46149 h 2180047"/>
                  <a:gd name="connsiteX47" fmla="*/ 940947 w 2129049"/>
                  <a:gd name="connsiteY47" fmla="*/ 939893 h 2180047"/>
                  <a:gd name="connsiteX48" fmla="*/ 978333 w 2129049"/>
                  <a:gd name="connsiteY48" fmla="*/ 993267 h 2180047"/>
                  <a:gd name="connsiteX49" fmla="*/ 1095859 w 2129049"/>
                  <a:gd name="connsiteY49" fmla="*/ 1039243 h 2180047"/>
                  <a:gd name="connsiteX50" fmla="*/ 1131484 w 2129049"/>
                  <a:gd name="connsiteY50" fmla="*/ 1124187 h 2180047"/>
                  <a:gd name="connsiteX51" fmla="*/ 1146506 w 2129049"/>
                  <a:gd name="connsiteY51" fmla="*/ 1133109 h 2180047"/>
                  <a:gd name="connsiteX52" fmla="*/ 1148541 w 2129049"/>
                  <a:gd name="connsiteY52" fmla="*/ 1133748 h 2180047"/>
                  <a:gd name="connsiteX53" fmla="*/ 1141842 w 2129049"/>
                  <a:gd name="connsiteY53" fmla="*/ 1144915 h 2180047"/>
                  <a:gd name="connsiteX54" fmla="*/ 1141505 w 2129049"/>
                  <a:gd name="connsiteY54" fmla="*/ 1145660 h 2180047"/>
                  <a:gd name="connsiteX55" fmla="*/ 1187973 w 2129049"/>
                  <a:gd name="connsiteY55" fmla="*/ 1232630 h 2180047"/>
                  <a:gd name="connsiteX56" fmla="*/ 1289562 w 2129049"/>
                  <a:gd name="connsiteY56" fmla="*/ 1373921 h 2180047"/>
                  <a:gd name="connsiteX57" fmla="*/ 1531690 w 2129049"/>
                  <a:gd name="connsiteY57" fmla="*/ 1481270 h 2180047"/>
                  <a:gd name="connsiteX58" fmla="*/ 1426417 w 2129049"/>
                  <a:gd name="connsiteY58" fmla="*/ 1496004 h 2180047"/>
                  <a:gd name="connsiteX59" fmla="*/ 1194816 w 2129049"/>
                  <a:gd name="connsiteY59" fmla="*/ 1399179 h 2180047"/>
                  <a:gd name="connsiteX60" fmla="*/ 1145436 w 2129049"/>
                  <a:gd name="connsiteY60" fmla="*/ 1340670 h 2180047"/>
                  <a:gd name="connsiteX61" fmla="*/ 1091189 w 2129049"/>
                  <a:gd name="connsiteY61" fmla="*/ 1275923 h 2180047"/>
                  <a:gd name="connsiteX62" fmla="*/ 1064249 w 2129049"/>
                  <a:gd name="connsiteY62" fmla="*/ 1369079 h 2180047"/>
                  <a:gd name="connsiteX63" fmla="*/ 1046007 w 2129049"/>
                  <a:gd name="connsiteY63" fmla="*/ 1483657 h 2180047"/>
                  <a:gd name="connsiteX64" fmla="*/ 1046013 w 2129049"/>
                  <a:gd name="connsiteY64" fmla="*/ 1495461 h 2180047"/>
                  <a:gd name="connsiteX65" fmla="*/ 1012870 w 2129049"/>
                  <a:gd name="connsiteY65" fmla="*/ 1487283 h 2180047"/>
                  <a:gd name="connsiteX66" fmla="*/ 561761 w 2129049"/>
                  <a:gd name="connsiteY66" fmla="*/ 1355377 h 2180047"/>
                  <a:gd name="connsiteX67" fmla="*/ 245802 w 2129049"/>
                  <a:gd name="connsiteY67" fmla="*/ 1165644 h 2180047"/>
                  <a:gd name="connsiteX68" fmla="*/ 203985 w 2129049"/>
                  <a:gd name="connsiteY68" fmla="*/ 1132152 h 2180047"/>
                  <a:gd name="connsiteX69" fmla="*/ 234345 w 2129049"/>
                  <a:gd name="connsiteY69" fmla="*/ 1297625 h 2180047"/>
                  <a:gd name="connsiteX70" fmla="*/ 260418 w 2129049"/>
                  <a:gd name="connsiteY70" fmla="*/ 1401636 h 2180047"/>
                  <a:gd name="connsiteX71" fmla="*/ 276086 w 2129049"/>
                  <a:gd name="connsiteY71" fmla="*/ 1451374 h 2180047"/>
                  <a:gd name="connsiteX72" fmla="*/ 305709 w 2129049"/>
                  <a:gd name="connsiteY72" fmla="*/ 1466895 h 2180047"/>
                  <a:gd name="connsiteX73" fmla="*/ 561761 w 2129049"/>
                  <a:gd name="connsiteY73" fmla="*/ 1572001 h 2180047"/>
                  <a:gd name="connsiteX74" fmla="*/ 1106575 w 2129049"/>
                  <a:gd name="connsiteY74" fmla="*/ 1664539 h 2180047"/>
                  <a:gd name="connsiteX75" fmla="*/ 1106413 w 2129049"/>
                  <a:gd name="connsiteY75" fmla="*/ 1663981 h 2180047"/>
                  <a:gd name="connsiteX76" fmla="*/ 1109394 w 2129049"/>
                  <a:gd name="connsiteY76" fmla="*/ 1669032 h 2180047"/>
                  <a:gd name="connsiteX77" fmla="*/ 1145872 w 2129049"/>
                  <a:gd name="connsiteY77" fmla="*/ 1724864 h 2180047"/>
                  <a:gd name="connsiteX78" fmla="*/ 1151390 w 2129049"/>
                  <a:gd name="connsiteY78" fmla="*/ 1728726 h 2180047"/>
                  <a:gd name="connsiteX79" fmla="*/ 1244657 w 2129049"/>
                  <a:gd name="connsiteY79" fmla="*/ 1793994 h 2180047"/>
                  <a:gd name="connsiteX80" fmla="*/ 1255282 w 2129049"/>
                  <a:gd name="connsiteY80" fmla="*/ 1801430 h 2180047"/>
                  <a:gd name="connsiteX81" fmla="*/ 1259765 w 2129049"/>
                  <a:gd name="connsiteY81" fmla="*/ 1803273 h 2180047"/>
                  <a:gd name="connsiteX82" fmla="*/ 1262425 w 2129049"/>
                  <a:gd name="connsiteY82" fmla="*/ 1805592 h 2180047"/>
                  <a:gd name="connsiteX83" fmla="*/ 1274330 w 2129049"/>
                  <a:gd name="connsiteY83" fmla="*/ 1811179 h 2180047"/>
                  <a:gd name="connsiteX84" fmla="*/ 1470632 w 2129049"/>
                  <a:gd name="connsiteY84" fmla="*/ 1851731 h 2180047"/>
                  <a:gd name="connsiteX85" fmla="*/ 1337987 w 2129049"/>
                  <a:gd name="connsiteY85" fmla="*/ 1879094 h 2180047"/>
                  <a:gd name="connsiteX86" fmla="*/ 1331095 w 2129049"/>
                  <a:gd name="connsiteY86" fmla="*/ 1878426 h 2180047"/>
                  <a:gd name="connsiteX87" fmla="*/ 1337882 w 2129049"/>
                  <a:gd name="connsiteY87" fmla="*/ 1887387 h 2180047"/>
                  <a:gd name="connsiteX88" fmla="*/ 2129049 w 2129049"/>
                  <a:gd name="connsiteY88" fmla="*/ 1929443 h 2180047"/>
                  <a:gd name="connsiteX89" fmla="*/ 1413632 w 2129049"/>
                  <a:gd name="connsiteY89" fmla="*/ 2169166 h 2180047"/>
                  <a:gd name="connsiteX90" fmla="*/ 1301496 w 2129049"/>
                  <a:gd name="connsiteY90" fmla="*/ 2177335 h 2180047"/>
                  <a:gd name="connsiteX91" fmla="*/ 1281595 w 2129049"/>
                  <a:gd name="connsiteY91" fmla="*/ 2175656 h 2180047"/>
                  <a:gd name="connsiteX92" fmla="*/ 1272759 w 2129049"/>
                  <a:gd name="connsiteY92" fmla="*/ 2177928 h 2180047"/>
                  <a:gd name="connsiteX93" fmla="*/ 1063402 w 2129049"/>
                  <a:gd name="connsiteY93" fmla="*/ 2155016 h 2180047"/>
                  <a:gd name="connsiteX94" fmla="*/ 994039 w 2129049"/>
                  <a:gd name="connsiteY94" fmla="*/ 2133739 h 2180047"/>
                  <a:gd name="connsiteX95" fmla="*/ 954380 w 2129049"/>
                  <a:gd name="connsiteY95" fmla="*/ 2125140 h 2180047"/>
                  <a:gd name="connsiteX96" fmla="*/ 485181 w 2129049"/>
                  <a:gd name="connsiteY96" fmla="*/ 1869194 h 2180047"/>
                  <a:gd name="connsiteX97" fmla="*/ 424111 w 2129049"/>
                  <a:gd name="connsiteY97" fmla="*/ 1817746 h 2180047"/>
                  <a:gd name="connsiteX98" fmla="*/ 407264 w 2129049"/>
                  <a:gd name="connsiteY98" fmla="*/ 1804650 h 2180047"/>
                  <a:gd name="connsiteX99" fmla="*/ 400242 w 2129049"/>
                  <a:gd name="connsiteY99" fmla="*/ 1797638 h 2180047"/>
                  <a:gd name="connsiteX100" fmla="*/ 373060 w 2129049"/>
                  <a:gd name="connsiteY100" fmla="*/ 1774739 h 2180047"/>
                  <a:gd name="connsiteX101" fmla="*/ 178723 w 2129049"/>
                  <a:gd name="connsiteY101" fmla="*/ 1546546 h 2180047"/>
                  <a:gd name="connsiteX102" fmla="*/ 0 w 2129049"/>
                  <a:gd name="connsiteY102" fmla="*/ 780817 h 2180047"/>
                  <a:gd name="connsiteX103" fmla="*/ 75177 w 2129049"/>
                  <a:gd name="connsiteY103" fmla="*/ 424975 h 2180047"/>
                  <a:gd name="connsiteX104" fmla="*/ 118668 w 2129049"/>
                  <a:gd name="connsiteY104" fmla="*/ 339046 h 2180047"/>
                  <a:gd name="connsiteX105" fmla="*/ 116953 w 2129049"/>
                  <a:gd name="connsiteY105" fmla="*/ 341932 h 2180047"/>
                  <a:gd name="connsiteX106" fmla="*/ 93993 w 2129049"/>
                  <a:gd name="connsiteY106" fmla="*/ 385485 h 2180047"/>
                  <a:gd name="connsiteX107" fmla="*/ 93509 w 2129049"/>
                  <a:gd name="connsiteY107" fmla="*/ 386464 h 2180047"/>
                  <a:gd name="connsiteX108" fmla="*/ 95671 w 2129049"/>
                  <a:gd name="connsiteY108" fmla="*/ 380966 h 2180047"/>
                  <a:gd name="connsiteX109" fmla="*/ 182624 w 2129049"/>
                  <a:gd name="connsiteY109" fmla="*/ 235436 h 2180047"/>
                  <a:gd name="connsiteX110" fmla="*/ 478385 w 2129049"/>
                  <a:gd name="connsiteY110" fmla="*/ 56179 h 2180047"/>
                  <a:gd name="connsiteX111" fmla="*/ 999928 w 2129049"/>
                  <a:gd name="connsiteY111" fmla="*/ 0 h 2180047"/>
                  <a:gd name="connsiteX112" fmla="*/ 1676449 w 2129049"/>
                  <a:gd name="connsiteY112" fmla="*/ 525838 h 2180047"/>
                  <a:gd name="connsiteX113" fmla="*/ 1579666 w 2129049"/>
                  <a:gd name="connsiteY113" fmla="*/ 999319 h 2180047"/>
                  <a:gd name="connsiteX114" fmla="*/ 1467605 w 2129049"/>
                  <a:gd name="connsiteY114" fmla="*/ 1154947 h 2180047"/>
                  <a:gd name="connsiteX115" fmla="*/ 1464597 w 2129049"/>
                  <a:gd name="connsiteY115" fmla="*/ 1153889 h 2180047"/>
                  <a:gd name="connsiteX116" fmla="*/ 1452025 w 2129049"/>
                  <a:gd name="connsiteY116" fmla="*/ 1125910 h 2180047"/>
                  <a:gd name="connsiteX117" fmla="*/ 1421781 w 2129049"/>
                  <a:gd name="connsiteY117" fmla="*/ 1058603 h 2180047"/>
                  <a:gd name="connsiteX118" fmla="*/ 1327088 w 2129049"/>
                  <a:gd name="connsiteY118" fmla="*/ 961820 h 2180047"/>
                  <a:gd name="connsiteX119" fmla="*/ 1304643 w 2129049"/>
                  <a:gd name="connsiteY119" fmla="*/ 931982 h 2180047"/>
                  <a:gd name="connsiteX120" fmla="*/ 1303076 w 2129049"/>
                  <a:gd name="connsiteY120" fmla="*/ 929526 h 2180047"/>
                  <a:gd name="connsiteX121" fmla="*/ 1268667 w 2129049"/>
                  <a:gd name="connsiteY121" fmla="*/ 875590 h 2180047"/>
                  <a:gd name="connsiteX122" fmla="*/ 1300274 w 2129049"/>
                  <a:gd name="connsiteY122" fmla="*/ 628723 h 2180047"/>
                  <a:gd name="connsiteX123" fmla="*/ 1307563 w 2129049"/>
                  <a:gd name="connsiteY123" fmla="*/ 618378 h 2180047"/>
                  <a:gd name="connsiteX124" fmla="*/ 1298642 w 2129049"/>
                  <a:gd name="connsiteY124" fmla="*/ 596988 h 2180047"/>
                  <a:gd name="connsiteX125" fmla="*/ 1292154 w 2129049"/>
                  <a:gd name="connsiteY125" fmla="*/ 580800 h 2180047"/>
                  <a:gd name="connsiteX126" fmla="*/ 1285141 w 2129049"/>
                  <a:gd name="connsiteY126" fmla="*/ 579133 h 2180047"/>
                  <a:gd name="connsiteX127" fmla="*/ 1003184 w 2129049"/>
                  <a:gd name="connsiteY127" fmla="*/ 372896 h 2180047"/>
                  <a:gd name="connsiteX128" fmla="*/ 993448 w 2129049"/>
                  <a:gd name="connsiteY128" fmla="*/ 53615 h 2180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Lst>
                <a:rect l="l" t="t" r="r" b="b"/>
                <a:pathLst>
                  <a:path w="2129049" h="2180047">
                    <a:moveTo>
                      <a:pt x="1222186" y="1839320"/>
                    </a:moveTo>
                    <a:cubicBezTo>
                      <a:pt x="1222186" y="1839320"/>
                      <a:pt x="1217322" y="1840010"/>
                      <a:pt x="1208400" y="1841119"/>
                    </a:cubicBezTo>
                    <a:lnTo>
                      <a:pt x="1186099" y="1843640"/>
                    </a:lnTo>
                    <a:lnTo>
                      <a:pt x="1188379" y="1844841"/>
                    </a:lnTo>
                    <a:cubicBezTo>
                      <a:pt x="1208837" y="1862152"/>
                      <a:pt x="1227939" y="1892644"/>
                      <a:pt x="1243194" y="1939957"/>
                    </a:cubicBezTo>
                    <a:cubicBezTo>
                      <a:pt x="1232936" y="1903158"/>
                      <a:pt x="1226723" y="1874737"/>
                      <a:pt x="1223702" y="1853174"/>
                    </a:cubicBezTo>
                    <a:lnTo>
                      <a:pt x="1222569" y="1839342"/>
                    </a:lnTo>
                    <a:close/>
                    <a:moveTo>
                      <a:pt x="441891" y="1746105"/>
                    </a:moveTo>
                    <a:lnTo>
                      <a:pt x="450977" y="1757606"/>
                    </a:lnTo>
                    <a:cubicBezTo>
                      <a:pt x="523579" y="1840277"/>
                      <a:pt x="612111" y="1915885"/>
                      <a:pt x="707370" y="1976776"/>
                    </a:cubicBezTo>
                    <a:lnTo>
                      <a:pt x="766453" y="2010648"/>
                    </a:lnTo>
                    <a:lnTo>
                      <a:pt x="831225" y="2015356"/>
                    </a:lnTo>
                    <a:cubicBezTo>
                      <a:pt x="884464" y="2017808"/>
                      <a:pt x="942877" y="2017788"/>
                      <a:pt x="999836" y="2014732"/>
                    </a:cubicBezTo>
                    <a:lnTo>
                      <a:pt x="1033552" y="2011934"/>
                    </a:lnTo>
                    <a:lnTo>
                      <a:pt x="1030508" y="1991231"/>
                    </a:lnTo>
                    <a:cubicBezTo>
                      <a:pt x="1029673" y="1945751"/>
                      <a:pt x="1045399" y="1901238"/>
                      <a:pt x="1069280" y="1869985"/>
                    </a:cubicBezTo>
                    <a:lnTo>
                      <a:pt x="1086998" y="1852207"/>
                    </a:lnTo>
                    <a:lnTo>
                      <a:pt x="1040249" y="1855089"/>
                    </a:lnTo>
                    <a:cubicBezTo>
                      <a:pt x="936134" y="1859819"/>
                      <a:pt x="805728" y="1858242"/>
                      <a:pt x="700561" y="1833012"/>
                    </a:cubicBezTo>
                    <a:cubicBezTo>
                      <a:pt x="607620" y="1810016"/>
                      <a:pt x="515887" y="1776557"/>
                      <a:pt x="442094" y="1746192"/>
                    </a:cubicBezTo>
                    <a:close/>
                    <a:moveTo>
                      <a:pt x="1059954" y="1504433"/>
                    </a:moveTo>
                    <a:lnTo>
                      <a:pt x="1137935" y="1553560"/>
                    </a:lnTo>
                    <a:cubicBezTo>
                      <a:pt x="1171787" y="1572701"/>
                      <a:pt x="1204817" y="1588620"/>
                      <a:pt x="1232714" y="1597039"/>
                    </a:cubicBezTo>
                    <a:cubicBezTo>
                      <a:pt x="1361148" y="1634927"/>
                      <a:pt x="1457999" y="1643347"/>
                      <a:pt x="1498003" y="1620193"/>
                    </a:cubicBezTo>
                    <a:cubicBezTo>
                      <a:pt x="1498003" y="1620193"/>
                      <a:pt x="1462210" y="1649661"/>
                      <a:pt x="1417995" y="1660186"/>
                    </a:cubicBezTo>
                    <a:cubicBezTo>
                      <a:pt x="1373780" y="1668605"/>
                      <a:pt x="1319038" y="1668605"/>
                      <a:pt x="1260085" y="1660186"/>
                    </a:cubicBezTo>
                    <a:cubicBezTo>
                      <a:pt x="1230609" y="1655976"/>
                      <a:pt x="1166918" y="1647556"/>
                      <a:pt x="1110597" y="1640189"/>
                    </a:cubicBezTo>
                    <a:lnTo>
                      <a:pt x="1099046" y="1638682"/>
                    </a:lnTo>
                    <a:close/>
                    <a:moveTo>
                      <a:pt x="251840" y="316333"/>
                    </a:moveTo>
                    <a:lnTo>
                      <a:pt x="246796" y="329846"/>
                    </a:lnTo>
                    <a:cubicBezTo>
                      <a:pt x="205006" y="446862"/>
                      <a:pt x="162954" y="588333"/>
                      <a:pt x="161902" y="686152"/>
                    </a:cubicBezTo>
                    <a:lnTo>
                      <a:pt x="163319" y="765157"/>
                    </a:lnTo>
                    <a:lnTo>
                      <a:pt x="168120" y="772124"/>
                    </a:lnTo>
                    <a:cubicBezTo>
                      <a:pt x="237177" y="866056"/>
                      <a:pt x="334563" y="972605"/>
                      <a:pt x="462568" y="1054574"/>
                    </a:cubicBezTo>
                    <a:cubicBezTo>
                      <a:pt x="755152" y="1239827"/>
                      <a:pt x="1083519" y="1296666"/>
                      <a:pt x="1083519" y="1296666"/>
                    </a:cubicBezTo>
                    <a:cubicBezTo>
                      <a:pt x="1112988" y="1212460"/>
                      <a:pt x="1112988" y="1212460"/>
                      <a:pt x="1112988" y="1212460"/>
                    </a:cubicBezTo>
                    <a:cubicBezTo>
                      <a:pt x="1112988" y="1212460"/>
                      <a:pt x="1058260" y="1208250"/>
                      <a:pt x="635171" y="913528"/>
                    </a:cubicBezTo>
                    <a:cubicBezTo>
                      <a:pt x="372057" y="730643"/>
                      <a:pt x="286544" y="495129"/>
                      <a:pt x="256327" y="344726"/>
                    </a:cubicBezTo>
                    <a:close/>
                    <a:moveTo>
                      <a:pt x="203697" y="216555"/>
                    </a:moveTo>
                    <a:lnTo>
                      <a:pt x="195507" y="224152"/>
                    </a:lnTo>
                    <a:cubicBezTo>
                      <a:pt x="181433" y="239566"/>
                      <a:pt x="166968" y="259629"/>
                      <a:pt x="153435" y="280530"/>
                    </a:cubicBezTo>
                    <a:lnTo>
                      <a:pt x="119142" y="338248"/>
                    </a:lnTo>
                    <a:lnTo>
                      <a:pt x="162420" y="270250"/>
                    </a:lnTo>
                    <a:cubicBezTo>
                      <a:pt x="176342" y="250442"/>
                      <a:pt x="189335" y="233719"/>
                      <a:pt x="200473" y="220227"/>
                    </a:cubicBezTo>
                    <a:close/>
                    <a:moveTo>
                      <a:pt x="545326" y="37476"/>
                    </a:moveTo>
                    <a:lnTo>
                      <a:pt x="541800" y="40991"/>
                    </a:lnTo>
                    <a:cubicBezTo>
                      <a:pt x="538494" y="44318"/>
                      <a:pt x="536701" y="46149"/>
                      <a:pt x="536701" y="46149"/>
                    </a:cubicBezTo>
                    <a:cubicBezTo>
                      <a:pt x="536701" y="131636"/>
                      <a:pt x="760164" y="665826"/>
                      <a:pt x="940947" y="939893"/>
                    </a:cubicBezTo>
                    <a:lnTo>
                      <a:pt x="978333" y="993267"/>
                    </a:lnTo>
                    <a:lnTo>
                      <a:pt x="1095859" y="1039243"/>
                    </a:lnTo>
                    <a:lnTo>
                      <a:pt x="1131484" y="1124187"/>
                    </a:lnTo>
                    <a:lnTo>
                      <a:pt x="1146506" y="1133109"/>
                    </a:lnTo>
                    <a:lnTo>
                      <a:pt x="1148541" y="1133748"/>
                    </a:lnTo>
                    <a:lnTo>
                      <a:pt x="1141842" y="1144915"/>
                    </a:lnTo>
                    <a:lnTo>
                      <a:pt x="1141505" y="1145660"/>
                    </a:lnTo>
                    <a:lnTo>
                      <a:pt x="1187973" y="1232630"/>
                    </a:lnTo>
                    <a:cubicBezTo>
                      <a:pt x="1223766" y="1293409"/>
                      <a:pt x="1261138" y="1345505"/>
                      <a:pt x="1289562" y="1373921"/>
                    </a:cubicBezTo>
                    <a:cubicBezTo>
                      <a:pt x="1344304" y="1428648"/>
                      <a:pt x="1426417" y="1496004"/>
                      <a:pt x="1531690" y="1481270"/>
                    </a:cubicBezTo>
                    <a:cubicBezTo>
                      <a:pt x="1531690" y="1481270"/>
                      <a:pt x="1476948" y="1504424"/>
                      <a:pt x="1426417" y="1496004"/>
                    </a:cubicBezTo>
                    <a:cubicBezTo>
                      <a:pt x="1377991" y="1485480"/>
                      <a:pt x="1245347" y="1456011"/>
                      <a:pt x="1194816" y="1399179"/>
                    </a:cubicBezTo>
                    <a:cubicBezTo>
                      <a:pt x="1182709" y="1384971"/>
                      <a:pt x="1165076" y="1364054"/>
                      <a:pt x="1145436" y="1340670"/>
                    </a:cubicBezTo>
                    <a:lnTo>
                      <a:pt x="1091189" y="1275923"/>
                    </a:lnTo>
                    <a:lnTo>
                      <a:pt x="1064249" y="1369079"/>
                    </a:lnTo>
                    <a:cubicBezTo>
                      <a:pt x="1054868" y="1409695"/>
                      <a:pt x="1048279" y="1449238"/>
                      <a:pt x="1046007" y="1483657"/>
                    </a:cubicBezTo>
                    <a:lnTo>
                      <a:pt x="1046013" y="1495461"/>
                    </a:lnTo>
                    <a:lnTo>
                      <a:pt x="1012870" y="1487283"/>
                    </a:lnTo>
                    <a:cubicBezTo>
                      <a:pt x="926987" y="1465792"/>
                      <a:pt x="733725" y="1415316"/>
                      <a:pt x="561761" y="1355377"/>
                    </a:cubicBezTo>
                    <a:cubicBezTo>
                      <a:pt x="461449" y="1320412"/>
                      <a:pt x="345032" y="1242374"/>
                      <a:pt x="245802" y="1165644"/>
                    </a:cubicBezTo>
                    <a:lnTo>
                      <a:pt x="203985" y="1132152"/>
                    </a:lnTo>
                    <a:lnTo>
                      <a:pt x="234345" y="1297625"/>
                    </a:lnTo>
                    <a:cubicBezTo>
                      <a:pt x="242410" y="1333469"/>
                      <a:pt x="251108" y="1368352"/>
                      <a:pt x="260418" y="1401636"/>
                    </a:cubicBezTo>
                    <a:lnTo>
                      <a:pt x="276086" y="1451374"/>
                    </a:lnTo>
                    <a:lnTo>
                      <a:pt x="305709" y="1466895"/>
                    </a:lnTo>
                    <a:cubicBezTo>
                      <a:pt x="373741" y="1500727"/>
                      <a:pt x="458919" y="1537496"/>
                      <a:pt x="561761" y="1572001"/>
                    </a:cubicBezTo>
                    <a:cubicBezTo>
                      <a:pt x="875187" y="1675055"/>
                      <a:pt x="1106575" y="1664539"/>
                      <a:pt x="1106575" y="1664539"/>
                    </a:cubicBezTo>
                    <a:lnTo>
                      <a:pt x="1106413" y="1663981"/>
                    </a:lnTo>
                    <a:lnTo>
                      <a:pt x="1109394" y="1669032"/>
                    </a:lnTo>
                    <a:lnTo>
                      <a:pt x="1145872" y="1724864"/>
                    </a:lnTo>
                    <a:lnTo>
                      <a:pt x="1151390" y="1728726"/>
                    </a:lnTo>
                    <a:cubicBezTo>
                      <a:pt x="1204685" y="1766022"/>
                      <a:pt x="1231333" y="1784670"/>
                      <a:pt x="1244657" y="1793994"/>
                    </a:cubicBezTo>
                    <a:lnTo>
                      <a:pt x="1255282" y="1801430"/>
                    </a:lnTo>
                    <a:lnTo>
                      <a:pt x="1259765" y="1803273"/>
                    </a:lnTo>
                    <a:lnTo>
                      <a:pt x="1262425" y="1805592"/>
                    </a:lnTo>
                    <a:lnTo>
                      <a:pt x="1274330" y="1811179"/>
                    </a:lnTo>
                    <a:cubicBezTo>
                      <a:pt x="1306011" y="1825288"/>
                      <a:pt x="1380623" y="1853310"/>
                      <a:pt x="1470632" y="1851731"/>
                    </a:cubicBezTo>
                    <a:cubicBezTo>
                      <a:pt x="1470632" y="1851731"/>
                      <a:pt x="1375886" y="1881199"/>
                      <a:pt x="1337987" y="1879094"/>
                    </a:cubicBezTo>
                    <a:lnTo>
                      <a:pt x="1331095" y="1878426"/>
                    </a:lnTo>
                    <a:lnTo>
                      <a:pt x="1337882" y="1887387"/>
                    </a:lnTo>
                    <a:cubicBezTo>
                      <a:pt x="1419945" y="2013557"/>
                      <a:pt x="2129049" y="1929443"/>
                      <a:pt x="2129049" y="1929443"/>
                    </a:cubicBezTo>
                    <a:cubicBezTo>
                      <a:pt x="2129049" y="1929443"/>
                      <a:pt x="2129049" y="1929443"/>
                      <a:pt x="1413632" y="2169166"/>
                    </a:cubicBezTo>
                    <a:cubicBezTo>
                      <a:pt x="1372338" y="2174818"/>
                      <a:pt x="1335063" y="2177389"/>
                      <a:pt x="1301496" y="2177335"/>
                    </a:cubicBezTo>
                    <a:lnTo>
                      <a:pt x="1281595" y="2175656"/>
                    </a:lnTo>
                    <a:lnTo>
                      <a:pt x="1272759" y="2177928"/>
                    </a:lnTo>
                    <a:cubicBezTo>
                      <a:pt x="1225811" y="2184118"/>
                      <a:pt x="1152027" y="2176826"/>
                      <a:pt x="1063402" y="2155016"/>
                    </a:cubicBezTo>
                    <a:lnTo>
                      <a:pt x="994039" y="2133739"/>
                    </a:lnTo>
                    <a:lnTo>
                      <a:pt x="954380" y="2125140"/>
                    </a:lnTo>
                    <a:cubicBezTo>
                      <a:pt x="795130" y="2082053"/>
                      <a:pt x="625466" y="1978945"/>
                      <a:pt x="485181" y="1869194"/>
                    </a:cubicBezTo>
                    <a:lnTo>
                      <a:pt x="424111" y="1817746"/>
                    </a:lnTo>
                    <a:lnTo>
                      <a:pt x="407264" y="1804650"/>
                    </a:lnTo>
                    <a:lnTo>
                      <a:pt x="400242" y="1797638"/>
                    </a:lnTo>
                    <a:lnTo>
                      <a:pt x="373060" y="1774739"/>
                    </a:lnTo>
                    <a:cubicBezTo>
                      <a:pt x="269990" y="1681147"/>
                      <a:pt x="196858" y="1593878"/>
                      <a:pt x="178723" y="1546546"/>
                    </a:cubicBezTo>
                    <a:cubicBezTo>
                      <a:pt x="92516" y="1378254"/>
                      <a:pt x="0" y="1054291"/>
                      <a:pt x="0" y="780817"/>
                    </a:cubicBezTo>
                    <a:cubicBezTo>
                      <a:pt x="0" y="639609"/>
                      <a:pt x="33412" y="519701"/>
                      <a:pt x="75177" y="424975"/>
                    </a:cubicBezTo>
                    <a:lnTo>
                      <a:pt x="118668" y="339046"/>
                    </a:lnTo>
                    <a:lnTo>
                      <a:pt x="116953" y="341932"/>
                    </a:lnTo>
                    <a:cubicBezTo>
                      <a:pt x="106605" y="360695"/>
                      <a:pt x="98512" y="376484"/>
                      <a:pt x="93993" y="385485"/>
                    </a:cubicBezTo>
                    <a:lnTo>
                      <a:pt x="93509" y="386464"/>
                    </a:lnTo>
                    <a:lnTo>
                      <a:pt x="95671" y="380966"/>
                    </a:lnTo>
                    <a:cubicBezTo>
                      <a:pt x="123713" y="321057"/>
                      <a:pt x="154747" y="273315"/>
                      <a:pt x="182624" y="235436"/>
                    </a:cubicBezTo>
                    <a:cubicBezTo>
                      <a:pt x="241010" y="154155"/>
                      <a:pt x="355019" y="96548"/>
                      <a:pt x="478385" y="56179"/>
                    </a:cubicBezTo>
                    <a:close/>
                    <a:moveTo>
                      <a:pt x="999928" y="0"/>
                    </a:moveTo>
                    <a:lnTo>
                      <a:pt x="1676449" y="525838"/>
                    </a:lnTo>
                    <a:cubicBezTo>
                      <a:pt x="1676449" y="525838"/>
                      <a:pt x="1594394" y="780465"/>
                      <a:pt x="1579666" y="999319"/>
                    </a:cubicBezTo>
                    <a:cubicBezTo>
                      <a:pt x="1570461" y="1136103"/>
                      <a:pt x="1517697" y="1165202"/>
                      <a:pt x="1467605" y="1154947"/>
                    </a:cubicBezTo>
                    <a:lnTo>
                      <a:pt x="1464597" y="1153889"/>
                    </a:lnTo>
                    <a:lnTo>
                      <a:pt x="1452025" y="1125910"/>
                    </a:lnTo>
                    <a:cubicBezTo>
                      <a:pt x="1443951" y="1107940"/>
                      <a:pt x="1434013" y="1085824"/>
                      <a:pt x="1421781" y="1058603"/>
                    </a:cubicBezTo>
                    <a:cubicBezTo>
                      <a:pt x="1421781" y="1058603"/>
                      <a:pt x="1360757" y="999691"/>
                      <a:pt x="1327088" y="961820"/>
                    </a:cubicBezTo>
                    <a:lnTo>
                      <a:pt x="1304643" y="931982"/>
                    </a:lnTo>
                    <a:lnTo>
                      <a:pt x="1303076" y="929526"/>
                    </a:lnTo>
                    <a:cubicBezTo>
                      <a:pt x="1268667" y="875590"/>
                      <a:pt x="1268667" y="875590"/>
                      <a:pt x="1268667" y="875590"/>
                    </a:cubicBezTo>
                    <a:cubicBezTo>
                      <a:pt x="1268667" y="875590"/>
                      <a:pt x="1236457" y="743498"/>
                      <a:pt x="1300274" y="628723"/>
                    </a:cubicBezTo>
                    <a:lnTo>
                      <a:pt x="1307563" y="618378"/>
                    </a:lnTo>
                    <a:lnTo>
                      <a:pt x="1298642" y="596988"/>
                    </a:lnTo>
                    <a:lnTo>
                      <a:pt x="1292154" y="580800"/>
                    </a:lnTo>
                    <a:lnTo>
                      <a:pt x="1285141" y="579133"/>
                    </a:lnTo>
                    <a:cubicBezTo>
                      <a:pt x="1217808" y="547566"/>
                      <a:pt x="1022122" y="492850"/>
                      <a:pt x="1003184" y="372896"/>
                    </a:cubicBezTo>
                    <a:cubicBezTo>
                      <a:pt x="992533" y="305422"/>
                      <a:pt x="984544" y="180018"/>
                      <a:pt x="993448" y="53615"/>
                    </a:cubicBezTo>
                    <a:close/>
                  </a:path>
                </a:pathLst>
              </a:custGeom>
              <a:solidFill>
                <a:srgbClr val="FAED22"/>
              </a:solidFill>
              <a:ln w="3175" cap="flat">
                <a:solidFill>
                  <a:schemeClr val="tx1"/>
                </a:solidFill>
                <a:prstDash val="solid"/>
                <a:miter lim="800000"/>
                <a:headEnd/>
                <a:tailEnd/>
              </a:ln>
            </p:spPr>
            <p:txBody>
              <a:bodyPr vert="horz" wrap="square" lIns="89642" tIns="44821" rIns="89642" bIns="44821" numCol="1" anchor="t" anchorCtr="0" compatLnSpc="1">
                <a:prstTxWarp prst="textNoShape">
                  <a:avLst/>
                </a:prstTxWarp>
                <a:noAutofit/>
              </a:bodyPr>
              <a:lstStyle/>
              <a:p>
                <a:pPr defTabSz="914367"/>
                <a:endParaRPr lang="en-IN" sz="1765">
                  <a:solidFill>
                    <a:srgbClr val="000000"/>
                  </a:solidFill>
                </a:endParaRPr>
              </a:p>
            </p:txBody>
          </p:sp>
          <p:sp>
            <p:nvSpPr>
              <p:cNvPr id="63" name="Freeform 62"/>
              <p:cNvSpPr>
                <a:spLocks/>
              </p:cNvSpPr>
              <p:nvPr/>
            </p:nvSpPr>
            <p:spPr bwMode="auto">
              <a:xfrm>
                <a:off x="1058398" y="3354141"/>
                <a:ext cx="533724" cy="414349"/>
              </a:xfrm>
              <a:custGeom>
                <a:avLst/>
                <a:gdLst>
                  <a:gd name="connsiteX0" fmla="*/ 3283994 w 3907177"/>
                  <a:gd name="connsiteY0" fmla="*/ 2199606 h 3033282"/>
                  <a:gd name="connsiteX1" fmla="*/ 3216771 w 3907177"/>
                  <a:gd name="connsiteY1" fmla="*/ 2237508 h 3033282"/>
                  <a:gd name="connsiteX2" fmla="*/ 3176070 w 3907177"/>
                  <a:gd name="connsiteY2" fmla="*/ 2287254 h 3033282"/>
                  <a:gd name="connsiteX3" fmla="*/ 3157902 w 3907177"/>
                  <a:gd name="connsiteY3" fmla="*/ 2304911 h 3033282"/>
                  <a:gd name="connsiteX4" fmla="*/ 3148728 w 3907177"/>
                  <a:gd name="connsiteY4" fmla="*/ 2311436 h 3033282"/>
                  <a:gd name="connsiteX5" fmla="*/ 3136944 w 3907177"/>
                  <a:gd name="connsiteY5" fmla="*/ 2319628 h 3033282"/>
                  <a:gd name="connsiteX6" fmla="*/ 3154439 w 3907177"/>
                  <a:gd name="connsiteY6" fmla="*/ 2308277 h 3033282"/>
                  <a:gd name="connsiteX7" fmla="*/ 3157902 w 3907177"/>
                  <a:gd name="connsiteY7" fmla="*/ 2304911 h 3033282"/>
                  <a:gd name="connsiteX8" fmla="*/ 3176070 w 3907177"/>
                  <a:gd name="connsiteY8" fmla="*/ 2291992 h 3033282"/>
                  <a:gd name="connsiteX9" fmla="*/ 3229375 w 3907177"/>
                  <a:gd name="connsiteY9" fmla="*/ 2250142 h 3033282"/>
                  <a:gd name="connsiteX10" fmla="*/ 3317605 w 3907177"/>
                  <a:gd name="connsiteY10" fmla="*/ 2231191 h 3033282"/>
                  <a:gd name="connsiteX11" fmla="*/ 3378755 w 3907177"/>
                  <a:gd name="connsiteY11" fmla="*/ 2245404 h 3033282"/>
                  <a:gd name="connsiteX12" fmla="*/ 3382808 w 3907177"/>
                  <a:gd name="connsiteY12" fmla="*/ 2247161 h 3033282"/>
                  <a:gd name="connsiteX13" fmla="*/ 3351550 w 3907177"/>
                  <a:gd name="connsiteY13" fmla="*/ 2248260 h 3033282"/>
                  <a:gd name="connsiteX14" fmla="*/ 3315694 w 3907177"/>
                  <a:gd name="connsiteY14" fmla="*/ 2268558 h 3033282"/>
                  <a:gd name="connsiteX15" fmla="*/ 3248262 w 3907177"/>
                  <a:gd name="connsiteY15" fmla="*/ 2369622 h 3033282"/>
                  <a:gd name="connsiteX16" fmla="*/ 3195581 w 3907177"/>
                  <a:gd name="connsiteY16" fmla="*/ 2443314 h 3033282"/>
                  <a:gd name="connsiteX17" fmla="*/ 3288300 w 3907177"/>
                  <a:gd name="connsiteY17" fmla="*/ 2346462 h 3033282"/>
                  <a:gd name="connsiteX18" fmla="*/ 3334660 w 3907177"/>
                  <a:gd name="connsiteY18" fmla="*/ 2295930 h 3033282"/>
                  <a:gd name="connsiteX19" fmla="*/ 3404199 w 3907177"/>
                  <a:gd name="connsiteY19" fmla="*/ 2281191 h 3033282"/>
                  <a:gd name="connsiteX20" fmla="*/ 3442129 w 3907177"/>
                  <a:gd name="connsiteY20" fmla="*/ 2291719 h 3033282"/>
                  <a:gd name="connsiteX21" fmla="*/ 3448451 w 3907177"/>
                  <a:gd name="connsiteY21" fmla="*/ 2258031 h 3033282"/>
                  <a:gd name="connsiteX22" fmla="*/ 3432746 w 3907177"/>
                  <a:gd name="connsiteY22" fmla="*/ 2253458 h 3033282"/>
                  <a:gd name="connsiteX23" fmla="*/ 3399309 w 3907177"/>
                  <a:gd name="connsiteY23" fmla="*/ 2247403 h 3033282"/>
                  <a:gd name="connsiteX24" fmla="*/ 3406885 w 3907177"/>
                  <a:gd name="connsiteY24" fmla="*/ 2246720 h 3033282"/>
                  <a:gd name="connsiteX25" fmla="*/ 3422640 w 3907177"/>
                  <a:gd name="connsiteY25" fmla="*/ 2231191 h 3033282"/>
                  <a:gd name="connsiteX26" fmla="*/ 3370122 w 3907177"/>
                  <a:gd name="connsiteY26" fmla="*/ 2208029 h 3033282"/>
                  <a:gd name="connsiteX27" fmla="*/ 3283994 w 3907177"/>
                  <a:gd name="connsiteY27" fmla="*/ 2199606 h 3033282"/>
                  <a:gd name="connsiteX28" fmla="*/ 3868985 w 3907177"/>
                  <a:gd name="connsiteY28" fmla="*/ 2136388 h 3033282"/>
                  <a:gd name="connsiteX29" fmla="*/ 3734396 w 3907177"/>
                  <a:gd name="connsiteY29" fmla="*/ 2199444 h 3033282"/>
                  <a:gd name="connsiteX30" fmla="*/ 3559852 w 3907177"/>
                  <a:gd name="connsiteY30" fmla="*/ 2182629 h 3033282"/>
                  <a:gd name="connsiteX31" fmla="*/ 3641867 w 3907177"/>
                  <a:gd name="connsiteY31" fmla="*/ 2241481 h 3033282"/>
                  <a:gd name="connsiteX32" fmla="*/ 3702852 w 3907177"/>
                  <a:gd name="connsiteY32" fmla="*/ 2239379 h 3033282"/>
                  <a:gd name="connsiteX33" fmla="*/ 3831132 w 3907177"/>
                  <a:gd name="connsiteY33" fmla="*/ 2178425 h 3033282"/>
                  <a:gd name="connsiteX34" fmla="*/ 3868985 w 3907177"/>
                  <a:gd name="connsiteY34" fmla="*/ 2136388 h 3033282"/>
                  <a:gd name="connsiteX35" fmla="*/ 3385344 w 3907177"/>
                  <a:gd name="connsiteY35" fmla="*/ 2089937 h 3033282"/>
                  <a:gd name="connsiteX36" fmla="*/ 3403807 w 3907177"/>
                  <a:gd name="connsiteY36" fmla="*/ 2092045 h 3033282"/>
                  <a:gd name="connsiteX37" fmla="*/ 3420687 w 3907177"/>
                  <a:gd name="connsiteY37" fmla="*/ 2119439 h 3033282"/>
                  <a:gd name="connsiteX38" fmla="*/ 3410137 w 3907177"/>
                  <a:gd name="connsiteY38" fmla="*/ 2151048 h 3033282"/>
                  <a:gd name="connsiteX39" fmla="*/ 3380596 w 3907177"/>
                  <a:gd name="connsiteY39" fmla="*/ 2144726 h 3033282"/>
                  <a:gd name="connsiteX40" fmla="*/ 3353166 w 3907177"/>
                  <a:gd name="connsiteY40" fmla="*/ 2146834 h 3033282"/>
                  <a:gd name="connsiteX41" fmla="*/ 3353166 w 3907177"/>
                  <a:gd name="connsiteY41" fmla="*/ 2113117 h 3033282"/>
                  <a:gd name="connsiteX42" fmla="*/ 3370046 w 3907177"/>
                  <a:gd name="connsiteY42" fmla="*/ 2094152 h 3033282"/>
                  <a:gd name="connsiteX43" fmla="*/ 3385344 w 3907177"/>
                  <a:gd name="connsiteY43" fmla="*/ 2089937 h 3033282"/>
                  <a:gd name="connsiteX44" fmla="*/ 2921466 w 3907177"/>
                  <a:gd name="connsiteY44" fmla="*/ 1940074 h 3033282"/>
                  <a:gd name="connsiteX45" fmla="*/ 2876044 w 3907177"/>
                  <a:gd name="connsiteY45" fmla="*/ 1945069 h 3033282"/>
                  <a:gd name="connsiteX46" fmla="*/ 2796228 w 3907177"/>
                  <a:gd name="connsiteY46" fmla="*/ 1980818 h 3033282"/>
                  <a:gd name="connsiteX47" fmla="*/ 2716411 w 3907177"/>
                  <a:gd name="connsiteY47" fmla="*/ 2018670 h 3033282"/>
                  <a:gd name="connsiteX48" fmla="*/ 2773123 w 3907177"/>
                  <a:gd name="connsiteY48" fmla="*/ 2014464 h 3033282"/>
                  <a:gd name="connsiteX49" fmla="*/ 2813031 w 3907177"/>
                  <a:gd name="connsiteY49" fmla="*/ 2008155 h 3033282"/>
                  <a:gd name="connsiteX50" fmla="*/ 2810931 w 3907177"/>
                  <a:gd name="connsiteY50" fmla="*/ 2075448 h 3033282"/>
                  <a:gd name="connsiteX51" fmla="*/ 2825634 w 3907177"/>
                  <a:gd name="connsiteY51" fmla="*/ 2117505 h 3033282"/>
                  <a:gd name="connsiteX52" fmla="*/ 2817232 w 3907177"/>
                  <a:gd name="connsiteY52" fmla="*/ 2123814 h 3033282"/>
                  <a:gd name="connsiteX53" fmla="*/ 2773123 w 3907177"/>
                  <a:gd name="connsiteY53" fmla="*/ 2157460 h 3033282"/>
                  <a:gd name="connsiteX54" fmla="*/ 2848738 w 3907177"/>
                  <a:gd name="connsiteY54" fmla="*/ 2125917 h 3033282"/>
                  <a:gd name="connsiteX55" fmla="*/ 2941157 w 3907177"/>
                  <a:gd name="connsiteY55" fmla="*/ 2104888 h 3033282"/>
                  <a:gd name="connsiteX56" fmla="*/ 3111292 w 3907177"/>
                  <a:gd name="connsiteY56" fmla="*/ 2106991 h 3033282"/>
                  <a:gd name="connsiteX57" fmla="*/ 3056681 w 3907177"/>
                  <a:gd name="connsiteY57" fmla="*/ 2085962 h 3033282"/>
                  <a:gd name="connsiteX58" fmla="*/ 3016773 w 3907177"/>
                  <a:gd name="connsiteY58" fmla="*/ 2081756 h 3033282"/>
                  <a:gd name="connsiteX59" fmla="*/ 3023074 w 3907177"/>
                  <a:gd name="connsiteY59" fmla="*/ 2027081 h 3033282"/>
                  <a:gd name="connsiteX60" fmla="*/ 2995769 w 3907177"/>
                  <a:gd name="connsiteY60" fmla="*/ 1970303 h 3033282"/>
                  <a:gd name="connsiteX61" fmla="*/ 3018873 w 3907177"/>
                  <a:gd name="connsiteY61" fmla="*/ 1966098 h 3033282"/>
                  <a:gd name="connsiteX62" fmla="*/ 3065083 w 3907177"/>
                  <a:gd name="connsiteY62" fmla="*/ 1957686 h 3033282"/>
                  <a:gd name="connsiteX63" fmla="*/ 2968463 w 3907177"/>
                  <a:gd name="connsiteY63" fmla="*/ 1942966 h 3033282"/>
                  <a:gd name="connsiteX64" fmla="*/ 2921466 w 3907177"/>
                  <a:gd name="connsiteY64" fmla="*/ 1940074 h 3033282"/>
                  <a:gd name="connsiteX65" fmla="*/ 2882143 w 3907177"/>
                  <a:gd name="connsiteY65" fmla="*/ 1689578 h 3033282"/>
                  <a:gd name="connsiteX66" fmla="*/ 2779009 w 3907177"/>
                  <a:gd name="connsiteY66" fmla="*/ 1700880 h 3033282"/>
                  <a:gd name="connsiteX67" fmla="*/ 2720075 w 3907177"/>
                  <a:gd name="connsiteY67" fmla="*/ 1810222 h 3033282"/>
                  <a:gd name="connsiteX68" fmla="*/ 2806371 w 3907177"/>
                  <a:gd name="connsiteY68" fmla="*/ 1730318 h 3033282"/>
                  <a:gd name="connsiteX69" fmla="*/ 2953705 w 3907177"/>
                  <a:gd name="connsiteY69" fmla="*/ 1692469 h 3033282"/>
                  <a:gd name="connsiteX70" fmla="*/ 2882143 w 3907177"/>
                  <a:gd name="connsiteY70" fmla="*/ 1689578 h 3033282"/>
                  <a:gd name="connsiteX71" fmla="*/ 2751741 w 3907177"/>
                  <a:gd name="connsiteY71" fmla="*/ 1152523 h 3033282"/>
                  <a:gd name="connsiteX72" fmla="*/ 2752273 w 3907177"/>
                  <a:gd name="connsiteY72" fmla="*/ 1154187 h 3033282"/>
                  <a:gd name="connsiteX73" fmla="*/ 2764036 w 3907177"/>
                  <a:gd name="connsiteY73" fmla="*/ 1192874 h 3033282"/>
                  <a:gd name="connsiteX74" fmla="*/ 2787833 w 3907177"/>
                  <a:gd name="connsiteY74" fmla="*/ 1274009 h 3033282"/>
                  <a:gd name="connsiteX75" fmla="*/ 2819472 w 3907177"/>
                  <a:gd name="connsiteY75" fmla="*/ 1283014 h 3033282"/>
                  <a:gd name="connsiteX76" fmla="*/ 2820261 w 3907177"/>
                  <a:gd name="connsiteY76" fmla="*/ 1283258 h 3033282"/>
                  <a:gd name="connsiteX77" fmla="*/ 2825890 w 3907177"/>
                  <a:gd name="connsiteY77" fmla="*/ 1283302 h 3033282"/>
                  <a:gd name="connsiteX78" fmla="*/ 2903747 w 3907177"/>
                  <a:gd name="connsiteY78" fmla="*/ 1291542 h 3033282"/>
                  <a:gd name="connsiteX79" fmla="*/ 2899550 w 3907177"/>
                  <a:gd name="connsiteY79" fmla="*/ 1288295 h 3033282"/>
                  <a:gd name="connsiteX80" fmla="*/ 2806596 w 3907177"/>
                  <a:gd name="connsiteY80" fmla="*/ 1216396 h 3033282"/>
                  <a:gd name="connsiteX81" fmla="*/ 2775061 w 3907177"/>
                  <a:gd name="connsiteY81" fmla="*/ 1179930 h 3033282"/>
                  <a:gd name="connsiteX82" fmla="*/ 1695768 w 3907177"/>
                  <a:gd name="connsiteY82" fmla="*/ 862876 h 3033282"/>
                  <a:gd name="connsiteX83" fmla="*/ 2078780 w 3907177"/>
                  <a:gd name="connsiteY83" fmla="*/ 919680 h 3033282"/>
                  <a:gd name="connsiteX84" fmla="*/ 2177689 w 3907177"/>
                  <a:gd name="connsiteY84" fmla="*/ 938615 h 3033282"/>
                  <a:gd name="connsiteX85" fmla="*/ 2274495 w 3907177"/>
                  <a:gd name="connsiteY85" fmla="*/ 997523 h 3033282"/>
                  <a:gd name="connsiteX86" fmla="*/ 2192421 w 3907177"/>
                  <a:gd name="connsiteY86" fmla="*/ 984900 h 3033282"/>
                  <a:gd name="connsiteX87" fmla="*/ 2082989 w 3907177"/>
                  <a:gd name="connsiteY87" fmla="*/ 1031185 h 3033282"/>
                  <a:gd name="connsiteX88" fmla="*/ 2013542 w 3907177"/>
                  <a:gd name="connsiteY88" fmla="*/ 1064846 h 3033282"/>
                  <a:gd name="connsiteX89" fmla="*/ 2177689 w 3907177"/>
                  <a:gd name="connsiteY89" fmla="*/ 1060639 h 3033282"/>
                  <a:gd name="connsiteX90" fmla="*/ 2320793 w 3907177"/>
                  <a:gd name="connsiteY90" fmla="*/ 1102716 h 3033282"/>
                  <a:gd name="connsiteX91" fmla="*/ 2402867 w 3907177"/>
                  <a:gd name="connsiteY91" fmla="*/ 1193182 h 3033282"/>
                  <a:gd name="connsiteX92" fmla="*/ 2477977 w 3907177"/>
                  <a:gd name="connsiteY92" fmla="*/ 1304520 h 3033282"/>
                  <a:gd name="connsiteX93" fmla="*/ 2495231 w 3907177"/>
                  <a:gd name="connsiteY93" fmla="*/ 1302276 h 3033282"/>
                  <a:gd name="connsiteX94" fmla="*/ 2479203 w 3907177"/>
                  <a:gd name="connsiteY94" fmla="*/ 1263722 h 3033282"/>
                  <a:gd name="connsiteX95" fmla="*/ 2352360 w 3907177"/>
                  <a:gd name="connsiteY95" fmla="*/ 974380 h 3033282"/>
                  <a:gd name="connsiteX96" fmla="*/ 2194525 w 3907177"/>
                  <a:gd name="connsiteY96" fmla="*/ 875499 h 3033282"/>
                  <a:gd name="connsiteX97" fmla="*/ 1695768 w 3907177"/>
                  <a:gd name="connsiteY97" fmla="*/ 862876 h 3033282"/>
                  <a:gd name="connsiteX98" fmla="*/ 2884074 w 3907177"/>
                  <a:gd name="connsiteY98" fmla="*/ 435929 h 3033282"/>
                  <a:gd name="connsiteX99" fmla="*/ 2987291 w 3907177"/>
                  <a:gd name="connsiteY99" fmla="*/ 631716 h 3033282"/>
                  <a:gd name="connsiteX100" fmla="*/ 3130531 w 3907177"/>
                  <a:gd name="connsiteY100" fmla="*/ 1008552 h 3033282"/>
                  <a:gd name="connsiteX101" fmla="*/ 3063124 w 3907177"/>
                  <a:gd name="connsiteY101" fmla="*/ 682241 h 3033282"/>
                  <a:gd name="connsiteX102" fmla="*/ 2970440 w 3907177"/>
                  <a:gd name="connsiteY102" fmla="*/ 520138 h 3033282"/>
                  <a:gd name="connsiteX103" fmla="*/ 2884074 w 3907177"/>
                  <a:gd name="connsiteY103" fmla="*/ 435929 h 3033282"/>
                  <a:gd name="connsiteX104" fmla="*/ 990408 w 3907177"/>
                  <a:gd name="connsiteY104" fmla="*/ 698 h 3033282"/>
                  <a:gd name="connsiteX105" fmla="*/ 1039550 w 3907177"/>
                  <a:gd name="connsiteY105" fmla="*/ 863 h 3033282"/>
                  <a:gd name="connsiteX106" fmla="*/ 1348803 w 3907177"/>
                  <a:gd name="connsiteY106" fmla="*/ 72387 h 3033282"/>
                  <a:gd name="connsiteX107" fmla="*/ 1737998 w 3907177"/>
                  <a:gd name="connsiteY107" fmla="*/ 232264 h 3033282"/>
                  <a:gd name="connsiteX108" fmla="*/ 2005176 w 3907177"/>
                  <a:gd name="connsiteY108" fmla="*/ 371104 h 3033282"/>
                  <a:gd name="connsiteX109" fmla="*/ 2203455 w 3907177"/>
                  <a:gd name="connsiteY109" fmla="*/ 477601 h 3033282"/>
                  <a:gd name="connsiteX110" fmla="*/ 2296994 w 3907177"/>
                  <a:gd name="connsiteY110" fmla="*/ 530121 h 3033282"/>
                  <a:gd name="connsiteX111" fmla="*/ 2323986 w 3907177"/>
                  <a:gd name="connsiteY111" fmla="*/ 546882 h 3033282"/>
                  <a:gd name="connsiteX112" fmla="*/ 2357160 w 3907177"/>
                  <a:gd name="connsiteY112" fmla="*/ 567482 h 3033282"/>
                  <a:gd name="connsiteX113" fmla="*/ 2404890 w 3907177"/>
                  <a:gd name="connsiteY113" fmla="*/ 598298 h 3033282"/>
                  <a:gd name="connsiteX114" fmla="*/ 2415440 w 3907177"/>
                  <a:gd name="connsiteY114" fmla="*/ 605928 h 3033282"/>
                  <a:gd name="connsiteX115" fmla="*/ 2362991 w 3907177"/>
                  <a:gd name="connsiteY115" fmla="*/ 493093 h 3033282"/>
                  <a:gd name="connsiteX116" fmla="*/ 2329266 w 3907177"/>
                  <a:gd name="connsiteY116" fmla="*/ 483333 h 3033282"/>
                  <a:gd name="connsiteX117" fmla="*/ 2307060 w 3907177"/>
                  <a:gd name="connsiteY117" fmla="*/ 476906 h 3033282"/>
                  <a:gd name="connsiteX118" fmla="*/ 2313198 w 3907177"/>
                  <a:gd name="connsiteY118" fmla="*/ 470584 h 3033282"/>
                  <a:gd name="connsiteX119" fmla="*/ 2460566 w 3907177"/>
                  <a:gd name="connsiteY119" fmla="*/ 333037 h 3033282"/>
                  <a:gd name="connsiteX120" fmla="*/ 2482676 w 3907177"/>
                  <a:gd name="connsiteY120" fmla="*/ 317005 h 3033282"/>
                  <a:gd name="connsiteX121" fmla="*/ 2522361 w 3907177"/>
                  <a:gd name="connsiteY121" fmla="*/ 296868 h 3033282"/>
                  <a:gd name="connsiteX122" fmla="*/ 2554579 w 3907177"/>
                  <a:gd name="connsiteY122" fmla="*/ 283748 h 3033282"/>
                  <a:gd name="connsiteX123" fmla="*/ 2694384 w 3907177"/>
                  <a:gd name="connsiteY123" fmla="*/ 254812 h 3033282"/>
                  <a:gd name="connsiteX124" fmla="*/ 2798186 w 3907177"/>
                  <a:gd name="connsiteY124" fmla="*/ 277829 h 3033282"/>
                  <a:gd name="connsiteX125" fmla="*/ 2857052 w 3907177"/>
                  <a:gd name="connsiteY125" fmla="*/ 260994 h 3033282"/>
                  <a:gd name="connsiteX126" fmla="*/ 2861191 w 3907177"/>
                  <a:gd name="connsiteY126" fmla="*/ 261705 h 3033282"/>
                  <a:gd name="connsiteX127" fmla="*/ 2866568 w 3907177"/>
                  <a:gd name="connsiteY127" fmla="*/ 262766 h 3033282"/>
                  <a:gd name="connsiteX128" fmla="*/ 2867847 w 3907177"/>
                  <a:gd name="connsiteY128" fmla="*/ 263215 h 3033282"/>
                  <a:gd name="connsiteX129" fmla="*/ 2874182 w 3907177"/>
                  <a:gd name="connsiteY129" fmla="*/ 265939 h 3033282"/>
                  <a:gd name="connsiteX130" fmla="*/ 2878772 w 3907177"/>
                  <a:gd name="connsiteY130" fmla="*/ 265783 h 3033282"/>
                  <a:gd name="connsiteX131" fmla="*/ 2879970 w 3907177"/>
                  <a:gd name="connsiteY131" fmla="*/ 265863 h 3033282"/>
                  <a:gd name="connsiteX132" fmla="*/ 2909084 w 3907177"/>
                  <a:gd name="connsiteY132" fmla="*/ 273357 h 3033282"/>
                  <a:gd name="connsiteX133" fmla="*/ 2989498 w 3907177"/>
                  <a:gd name="connsiteY133" fmla="*/ 315709 h 3033282"/>
                  <a:gd name="connsiteX134" fmla="*/ 3365815 w 3907177"/>
                  <a:gd name="connsiteY134" fmla="*/ 925987 h 3033282"/>
                  <a:gd name="connsiteX135" fmla="*/ 3233368 w 3907177"/>
                  <a:gd name="connsiteY135" fmla="*/ 1376331 h 3033282"/>
                  <a:gd name="connsiteX136" fmla="*/ 3239761 w 3907177"/>
                  <a:gd name="connsiteY136" fmla="*/ 1410216 h 3033282"/>
                  <a:gd name="connsiteX137" fmla="*/ 3243622 w 3907177"/>
                  <a:gd name="connsiteY137" fmla="*/ 1426604 h 3033282"/>
                  <a:gd name="connsiteX138" fmla="*/ 3302854 w 3907177"/>
                  <a:gd name="connsiteY138" fmla="*/ 1472111 h 3033282"/>
                  <a:gd name="connsiteX139" fmla="*/ 3442037 w 3907177"/>
                  <a:gd name="connsiteY139" fmla="*/ 1705090 h 3033282"/>
                  <a:gd name="connsiteX140" fmla="*/ 3433973 w 3907177"/>
                  <a:gd name="connsiteY140" fmla="*/ 1732860 h 3033282"/>
                  <a:gd name="connsiteX141" fmla="*/ 3404867 w 3907177"/>
                  <a:gd name="connsiteY141" fmla="*/ 1673697 h 3033282"/>
                  <a:gd name="connsiteX142" fmla="*/ 3388345 w 3907177"/>
                  <a:gd name="connsiteY142" fmla="*/ 1639131 h 3033282"/>
                  <a:gd name="connsiteX143" fmla="*/ 3377441 w 3907177"/>
                  <a:gd name="connsiteY143" fmla="*/ 1616053 h 3033282"/>
                  <a:gd name="connsiteX144" fmla="*/ 3359581 w 3907177"/>
                  <a:gd name="connsiteY144" fmla="*/ 1565598 h 3033282"/>
                  <a:gd name="connsiteX145" fmla="*/ 3361687 w 3907177"/>
                  <a:gd name="connsiteY145" fmla="*/ 1582431 h 3033282"/>
                  <a:gd name="connsiteX146" fmla="*/ 3374588 w 3907177"/>
                  <a:gd name="connsiteY146" fmla="*/ 1610015 h 3033282"/>
                  <a:gd name="connsiteX147" fmla="*/ 3377441 w 3907177"/>
                  <a:gd name="connsiteY147" fmla="*/ 1616053 h 3033282"/>
                  <a:gd name="connsiteX148" fmla="*/ 3442901 w 3907177"/>
                  <a:gd name="connsiteY148" fmla="*/ 1800978 h 3033282"/>
                  <a:gd name="connsiteX149" fmla="*/ 3440408 w 3907177"/>
                  <a:gd name="connsiteY149" fmla="*/ 1796829 h 3033282"/>
                  <a:gd name="connsiteX150" fmla="*/ 3433154 w 3907177"/>
                  <a:gd name="connsiteY150" fmla="*/ 1784752 h 3033282"/>
                  <a:gd name="connsiteX151" fmla="*/ 3397602 w 3907177"/>
                  <a:gd name="connsiteY151" fmla="*/ 1761774 h 3033282"/>
                  <a:gd name="connsiteX152" fmla="*/ 3349501 w 3907177"/>
                  <a:gd name="connsiteY152" fmla="*/ 1755507 h 3033282"/>
                  <a:gd name="connsiteX153" fmla="*/ 3395510 w 3907177"/>
                  <a:gd name="connsiteY153" fmla="*/ 1772218 h 3033282"/>
                  <a:gd name="connsiteX154" fmla="*/ 3439918 w 3907177"/>
                  <a:gd name="connsiteY154" fmla="*/ 1800713 h 3033282"/>
                  <a:gd name="connsiteX155" fmla="*/ 3444055 w 3907177"/>
                  <a:gd name="connsiteY155" fmla="*/ 1804238 h 3033282"/>
                  <a:gd name="connsiteX156" fmla="*/ 3555468 w 3907177"/>
                  <a:gd name="connsiteY156" fmla="*/ 2118980 h 3033282"/>
                  <a:gd name="connsiteX157" fmla="*/ 3553362 w 3907177"/>
                  <a:gd name="connsiteY157" fmla="*/ 2091890 h 3033282"/>
                  <a:gd name="connsiteX158" fmla="*/ 3553487 w 3907177"/>
                  <a:gd name="connsiteY158" fmla="*/ 2080908 h 3033282"/>
                  <a:gd name="connsiteX159" fmla="*/ 3554536 w 3907177"/>
                  <a:gd name="connsiteY159" fmla="*/ 2083695 h 3033282"/>
                  <a:gd name="connsiteX160" fmla="*/ 3570142 w 3907177"/>
                  <a:gd name="connsiteY160" fmla="*/ 2125146 h 3033282"/>
                  <a:gd name="connsiteX161" fmla="*/ 3570375 w 3907177"/>
                  <a:gd name="connsiteY161" fmla="*/ 2125765 h 3033282"/>
                  <a:gd name="connsiteX162" fmla="*/ 3570326 w 3907177"/>
                  <a:gd name="connsiteY162" fmla="*/ 2125774 h 3033282"/>
                  <a:gd name="connsiteX163" fmla="*/ 3524755 w 3907177"/>
                  <a:gd name="connsiteY163" fmla="*/ 2128437 h 3033282"/>
                  <a:gd name="connsiteX164" fmla="*/ 3520991 w 3907177"/>
                  <a:gd name="connsiteY164" fmla="*/ 2130652 h 3033282"/>
                  <a:gd name="connsiteX165" fmla="*/ 3519898 w 3907177"/>
                  <a:gd name="connsiteY165" fmla="*/ 2125754 h 3033282"/>
                  <a:gd name="connsiteX166" fmla="*/ 3513061 w 3907177"/>
                  <a:gd name="connsiteY166" fmla="*/ 2102599 h 3033282"/>
                  <a:gd name="connsiteX167" fmla="*/ 3485716 w 3907177"/>
                  <a:gd name="connsiteY167" fmla="*/ 2058392 h 3033282"/>
                  <a:gd name="connsiteX168" fmla="*/ 3422611 w 3907177"/>
                  <a:gd name="connsiteY168" fmla="*/ 2039446 h 3033282"/>
                  <a:gd name="connsiteX169" fmla="*/ 3384747 w 3907177"/>
                  <a:gd name="connsiteY169" fmla="*/ 2043657 h 3033282"/>
                  <a:gd name="connsiteX170" fmla="*/ 3334263 w 3907177"/>
                  <a:gd name="connsiteY170" fmla="*/ 2031026 h 3033282"/>
                  <a:gd name="connsiteX171" fmla="*/ 3378437 w 3907177"/>
                  <a:gd name="connsiteY171" fmla="*/ 2058392 h 3033282"/>
                  <a:gd name="connsiteX172" fmla="*/ 3357402 w 3907177"/>
                  <a:gd name="connsiteY172" fmla="*/ 2092073 h 3033282"/>
                  <a:gd name="connsiteX173" fmla="*/ 3351091 w 3907177"/>
                  <a:gd name="connsiteY173" fmla="*/ 2140490 h 3033282"/>
                  <a:gd name="connsiteX174" fmla="*/ 3317435 w 3907177"/>
                  <a:gd name="connsiteY174" fmla="*/ 2140490 h 3033282"/>
                  <a:gd name="connsiteX175" fmla="*/ 3359505 w 3907177"/>
                  <a:gd name="connsiteY175" fmla="*/ 2155225 h 3033282"/>
                  <a:gd name="connsiteX176" fmla="*/ 3416300 w 3907177"/>
                  <a:gd name="connsiteY176" fmla="*/ 2180486 h 3033282"/>
                  <a:gd name="connsiteX177" fmla="*/ 3468953 w 3907177"/>
                  <a:gd name="connsiteY177" fmla="*/ 2204760 h 3033282"/>
                  <a:gd name="connsiteX178" fmla="*/ 3471183 w 3907177"/>
                  <a:gd name="connsiteY178" fmla="*/ 2205864 h 3033282"/>
                  <a:gd name="connsiteX179" fmla="*/ 3465112 w 3907177"/>
                  <a:gd name="connsiteY179" fmla="*/ 2222558 h 3033282"/>
                  <a:gd name="connsiteX180" fmla="*/ 3404088 w 3907177"/>
                  <a:gd name="connsiteY180" fmla="*/ 2397188 h 3033282"/>
                  <a:gd name="connsiteX181" fmla="*/ 3303083 w 3907177"/>
                  <a:gd name="connsiteY181" fmla="*/ 2544467 h 3033282"/>
                  <a:gd name="connsiteX182" fmla="*/ 3395671 w 3907177"/>
                  <a:gd name="connsiteY182" fmla="*/ 2456100 h 3033282"/>
                  <a:gd name="connsiteX183" fmla="*/ 3450382 w 3907177"/>
                  <a:gd name="connsiteY183" fmla="*/ 2386668 h 3033282"/>
                  <a:gd name="connsiteX184" fmla="*/ 3526136 w 3907177"/>
                  <a:gd name="connsiteY184" fmla="*/ 2184686 h 3033282"/>
                  <a:gd name="connsiteX185" fmla="*/ 3618725 w 3907177"/>
                  <a:gd name="connsiteY185" fmla="*/ 2163646 h 3033282"/>
                  <a:gd name="connsiteX186" fmla="*/ 3751294 w 3907177"/>
                  <a:gd name="connsiteY186" fmla="*/ 2136294 h 3033282"/>
                  <a:gd name="connsiteX187" fmla="*/ 3799430 w 3907177"/>
                  <a:gd name="connsiteY187" fmla="*/ 2104735 h 3033282"/>
                  <a:gd name="connsiteX188" fmla="*/ 3810437 w 3907177"/>
                  <a:gd name="connsiteY188" fmla="*/ 2099831 h 3033282"/>
                  <a:gd name="connsiteX189" fmla="*/ 3824461 w 3907177"/>
                  <a:gd name="connsiteY189" fmla="*/ 2097367 h 3033282"/>
                  <a:gd name="connsiteX190" fmla="*/ 3829342 w 3907177"/>
                  <a:gd name="connsiteY190" fmla="*/ 2096510 h 3033282"/>
                  <a:gd name="connsiteX191" fmla="*/ 3845987 w 3907177"/>
                  <a:gd name="connsiteY191" fmla="*/ 2098423 h 3033282"/>
                  <a:gd name="connsiteX192" fmla="*/ 3904907 w 3907177"/>
                  <a:gd name="connsiteY192" fmla="*/ 2180478 h 3033282"/>
                  <a:gd name="connsiteX193" fmla="*/ 3885968 w 3907177"/>
                  <a:gd name="connsiteY193" fmla="*/ 2315133 h 3033282"/>
                  <a:gd name="connsiteX194" fmla="*/ 3884225 w 3907177"/>
                  <a:gd name="connsiteY194" fmla="*/ 2328571 h 3033282"/>
                  <a:gd name="connsiteX195" fmla="*/ 3881324 w 3907177"/>
                  <a:gd name="connsiteY195" fmla="*/ 2344937 h 3033282"/>
                  <a:gd name="connsiteX196" fmla="*/ 3878738 w 3907177"/>
                  <a:gd name="connsiteY196" fmla="*/ 2354578 h 3033282"/>
                  <a:gd name="connsiteX197" fmla="*/ 3857107 w 3907177"/>
                  <a:gd name="connsiteY197" fmla="*/ 2435219 h 3033282"/>
                  <a:gd name="connsiteX198" fmla="*/ 3839183 w 3907177"/>
                  <a:gd name="connsiteY198" fmla="*/ 2502042 h 3033282"/>
                  <a:gd name="connsiteX199" fmla="*/ 3806236 w 3907177"/>
                  <a:gd name="connsiteY199" fmla="*/ 2584501 h 3033282"/>
                  <a:gd name="connsiteX200" fmla="*/ 3612412 w 3907177"/>
                  <a:gd name="connsiteY200" fmla="*/ 2876897 h 3033282"/>
                  <a:gd name="connsiteX201" fmla="*/ 3004275 w 3907177"/>
                  <a:gd name="connsiteY201" fmla="*/ 2912665 h 3033282"/>
                  <a:gd name="connsiteX202" fmla="*/ 2812785 w 3907177"/>
                  <a:gd name="connsiteY202" fmla="*/ 2759074 h 3033282"/>
                  <a:gd name="connsiteX203" fmla="*/ 2726510 w 3907177"/>
                  <a:gd name="connsiteY203" fmla="*/ 2651771 h 3033282"/>
                  <a:gd name="connsiteX204" fmla="*/ 2722301 w 3907177"/>
                  <a:gd name="connsiteY204" fmla="*/ 2655979 h 3033282"/>
                  <a:gd name="connsiteX205" fmla="*/ 2686529 w 3907177"/>
                  <a:gd name="connsiteY205" fmla="*/ 2750658 h 3033282"/>
                  <a:gd name="connsiteX206" fmla="*/ 2646547 w 3907177"/>
                  <a:gd name="connsiteY206" fmla="*/ 2799050 h 3033282"/>
                  <a:gd name="connsiteX207" fmla="*/ 2593940 w 3907177"/>
                  <a:gd name="connsiteY207" fmla="*/ 2887417 h 3033282"/>
                  <a:gd name="connsiteX208" fmla="*/ 2606566 w 3907177"/>
                  <a:gd name="connsiteY208" fmla="*/ 2963160 h 3033282"/>
                  <a:gd name="connsiteX209" fmla="*/ 2724406 w 3907177"/>
                  <a:gd name="connsiteY209" fmla="*/ 3001032 h 3033282"/>
                  <a:gd name="connsiteX210" fmla="*/ 2614983 w 3907177"/>
                  <a:gd name="connsiteY210" fmla="*/ 2916873 h 3033282"/>
                  <a:gd name="connsiteX211" fmla="*/ 2636026 w 3907177"/>
                  <a:gd name="connsiteY211" fmla="*/ 2931601 h 3033282"/>
                  <a:gd name="connsiteX212" fmla="*/ 2741240 w 3907177"/>
                  <a:gd name="connsiteY212" fmla="*/ 2975784 h 3033282"/>
                  <a:gd name="connsiteX213" fmla="*/ 2823307 w 3907177"/>
                  <a:gd name="connsiteY213" fmla="*/ 2935809 h 3033282"/>
                  <a:gd name="connsiteX214" fmla="*/ 2869601 w 3907177"/>
                  <a:gd name="connsiteY214" fmla="*/ 2874793 h 3033282"/>
                  <a:gd name="connsiteX215" fmla="*/ 2909582 w 3907177"/>
                  <a:gd name="connsiteY215" fmla="*/ 2914769 h 3033282"/>
                  <a:gd name="connsiteX216" fmla="*/ 2804368 w 3907177"/>
                  <a:gd name="connsiteY216" fmla="*/ 3009448 h 3033282"/>
                  <a:gd name="connsiteX217" fmla="*/ 2631817 w 3907177"/>
                  <a:gd name="connsiteY217" fmla="*/ 3019968 h 3033282"/>
                  <a:gd name="connsiteX218" fmla="*/ 2592812 w 3907177"/>
                  <a:gd name="connsiteY218" fmla="*/ 2997729 h 3033282"/>
                  <a:gd name="connsiteX219" fmla="*/ 2571463 w 3907177"/>
                  <a:gd name="connsiteY219" fmla="*/ 2978979 h 3033282"/>
                  <a:gd name="connsiteX220" fmla="*/ 2569646 w 3907177"/>
                  <a:gd name="connsiteY220" fmla="*/ 2977384 h 3033282"/>
                  <a:gd name="connsiteX221" fmla="*/ 2550477 w 3907177"/>
                  <a:gd name="connsiteY221" fmla="*/ 2953365 h 3033282"/>
                  <a:gd name="connsiteX222" fmla="*/ 2543509 w 3907177"/>
                  <a:gd name="connsiteY222" fmla="*/ 2942341 h 3033282"/>
                  <a:gd name="connsiteX223" fmla="*/ 2527951 w 3907177"/>
                  <a:gd name="connsiteY223" fmla="*/ 2910199 h 3033282"/>
                  <a:gd name="connsiteX224" fmla="*/ 2522395 w 3907177"/>
                  <a:gd name="connsiteY224" fmla="*/ 2893729 h 3033282"/>
                  <a:gd name="connsiteX225" fmla="*/ 2457162 w 3907177"/>
                  <a:gd name="connsiteY225" fmla="*/ 2748554 h 3033282"/>
                  <a:gd name="connsiteX226" fmla="*/ 2362469 w 3907177"/>
                  <a:gd name="connsiteY226" fmla="*/ 2651771 h 3033282"/>
                  <a:gd name="connsiteX227" fmla="*/ 2340024 w 3907177"/>
                  <a:gd name="connsiteY227" fmla="*/ 2621933 h 3033282"/>
                  <a:gd name="connsiteX228" fmla="*/ 2338457 w 3907177"/>
                  <a:gd name="connsiteY228" fmla="*/ 2619477 h 3033282"/>
                  <a:gd name="connsiteX229" fmla="*/ 2304048 w 3907177"/>
                  <a:gd name="connsiteY229" fmla="*/ 2565541 h 3033282"/>
                  <a:gd name="connsiteX230" fmla="*/ 2335655 w 3907177"/>
                  <a:gd name="connsiteY230" fmla="*/ 2318674 h 3033282"/>
                  <a:gd name="connsiteX231" fmla="*/ 2366996 w 3907177"/>
                  <a:gd name="connsiteY231" fmla="*/ 2274192 h 3033282"/>
                  <a:gd name="connsiteX232" fmla="*/ 2347572 w 3907177"/>
                  <a:gd name="connsiteY232" fmla="*/ 2275513 h 3033282"/>
                  <a:gd name="connsiteX233" fmla="*/ 2320522 w 3907177"/>
                  <a:gd name="connsiteY233" fmla="*/ 2269084 h 3033282"/>
                  <a:gd name="connsiteX234" fmla="*/ 2038565 w 3907177"/>
                  <a:gd name="connsiteY234" fmla="*/ 2062847 h 3033282"/>
                  <a:gd name="connsiteX235" fmla="*/ 2043892 w 3907177"/>
                  <a:gd name="connsiteY235" fmla="*/ 1618938 h 3033282"/>
                  <a:gd name="connsiteX236" fmla="*/ 2058099 w 3907177"/>
                  <a:gd name="connsiteY236" fmla="*/ 1557525 h 3033282"/>
                  <a:gd name="connsiteX237" fmla="*/ 2055755 w 3907177"/>
                  <a:gd name="connsiteY237" fmla="*/ 1558228 h 3033282"/>
                  <a:gd name="connsiteX238" fmla="*/ 2050316 w 3907177"/>
                  <a:gd name="connsiteY238" fmla="*/ 1559430 h 3033282"/>
                  <a:gd name="connsiteX239" fmla="*/ 1525518 w 3907177"/>
                  <a:gd name="connsiteY239" fmla="*/ 1690090 h 3033282"/>
                  <a:gd name="connsiteX240" fmla="*/ 946985 w 3907177"/>
                  <a:gd name="connsiteY240" fmla="*/ 1875211 h 3033282"/>
                  <a:gd name="connsiteX241" fmla="*/ 559893 w 3907177"/>
                  <a:gd name="connsiteY241" fmla="*/ 1858382 h 3033282"/>
                  <a:gd name="connsiteX242" fmla="*/ 412630 w 3907177"/>
                  <a:gd name="connsiteY242" fmla="*/ 1498659 h 3033282"/>
                  <a:gd name="connsiteX243" fmla="*/ 46576 w 3907177"/>
                  <a:gd name="connsiteY243" fmla="*/ 1063204 h 3033282"/>
                  <a:gd name="connsiteX244" fmla="*/ 36057 w 3907177"/>
                  <a:gd name="connsiteY244" fmla="*/ 665615 h 3033282"/>
                  <a:gd name="connsiteX245" fmla="*/ 191735 w 3907177"/>
                  <a:gd name="connsiteY245" fmla="*/ 459457 h 3033282"/>
                  <a:gd name="connsiteX246" fmla="*/ 374762 w 3907177"/>
                  <a:gd name="connsiteY246" fmla="*/ 465768 h 3033282"/>
                  <a:gd name="connsiteX247" fmla="*/ 677704 w 3907177"/>
                  <a:gd name="connsiteY247" fmla="*/ 528878 h 3033282"/>
                  <a:gd name="connsiteX248" fmla="*/ 1090040 w 3907177"/>
                  <a:gd name="connsiteY248" fmla="*/ 713999 h 3033282"/>
                  <a:gd name="connsiteX249" fmla="*/ 736609 w 3907177"/>
                  <a:gd name="connsiteY249" fmla="*/ 514152 h 3033282"/>
                  <a:gd name="connsiteX250" fmla="*/ 503092 w 3907177"/>
                  <a:gd name="connsiteY250" fmla="*/ 423695 h 3033282"/>
                  <a:gd name="connsiteX251" fmla="*/ 700845 w 3907177"/>
                  <a:gd name="connsiteY251" fmla="*/ 246989 h 3033282"/>
                  <a:gd name="connsiteX252" fmla="*/ 867042 w 3907177"/>
                  <a:gd name="connsiteY252" fmla="*/ 47143 h 3033282"/>
                  <a:gd name="connsiteX253" fmla="*/ 990408 w 3907177"/>
                  <a:gd name="connsiteY253" fmla="*/ 698 h 3033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Lst>
                <a:rect l="l" t="t" r="r" b="b"/>
                <a:pathLst>
                  <a:path w="3907177" h="3033282">
                    <a:moveTo>
                      <a:pt x="3283994" y="2199606"/>
                    </a:moveTo>
                    <a:cubicBezTo>
                      <a:pt x="3260886" y="2199606"/>
                      <a:pt x="3239879" y="2208029"/>
                      <a:pt x="3216771" y="2237508"/>
                    </a:cubicBezTo>
                    <a:cubicBezTo>
                      <a:pt x="3206268" y="2252247"/>
                      <a:pt x="3191038" y="2271198"/>
                      <a:pt x="3176070" y="2287254"/>
                    </a:cubicBezTo>
                    <a:lnTo>
                      <a:pt x="3157902" y="2304911"/>
                    </a:lnTo>
                    <a:lnTo>
                      <a:pt x="3148728" y="2311436"/>
                    </a:lnTo>
                    <a:cubicBezTo>
                      <a:pt x="3141540" y="2316470"/>
                      <a:pt x="3136944" y="2319628"/>
                      <a:pt x="3136944" y="2319628"/>
                    </a:cubicBezTo>
                    <a:cubicBezTo>
                      <a:pt x="3141671" y="2318049"/>
                      <a:pt x="3147710" y="2313969"/>
                      <a:pt x="3154439" y="2308277"/>
                    </a:cubicBezTo>
                    <a:lnTo>
                      <a:pt x="3157902" y="2304911"/>
                    </a:lnTo>
                    <a:lnTo>
                      <a:pt x="3176070" y="2291992"/>
                    </a:lnTo>
                    <a:cubicBezTo>
                      <a:pt x="3196815" y="2276989"/>
                      <a:pt x="3219922" y="2259617"/>
                      <a:pt x="3229375" y="2250142"/>
                    </a:cubicBezTo>
                    <a:cubicBezTo>
                      <a:pt x="3248282" y="2231191"/>
                      <a:pt x="3283994" y="2231191"/>
                      <a:pt x="3317605" y="2231191"/>
                    </a:cubicBezTo>
                    <a:cubicBezTo>
                      <a:pt x="3341238" y="2231191"/>
                      <a:pt x="3367234" y="2240666"/>
                      <a:pt x="3378755" y="2245404"/>
                    </a:cubicBezTo>
                    <a:lnTo>
                      <a:pt x="3382808" y="2247161"/>
                    </a:lnTo>
                    <a:lnTo>
                      <a:pt x="3351550" y="2248260"/>
                    </a:lnTo>
                    <a:cubicBezTo>
                      <a:pt x="3337425" y="2251320"/>
                      <a:pt x="3324650" y="2257505"/>
                      <a:pt x="3315694" y="2268558"/>
                    </a:cubicBezTo>
                    <a:cubicBezTo>
                      <a:pt x="3281978" y="2310668"/>
                      <a:pt x="3267228" y="2335934"/>
                      <a:pt x="3248262" y="2369622"/>
                    </a:cubicBezTo>
                    <a:cubicBezTo>
                      <a:pt x="3229297" y="2403310"/>
                      <a:pt x="3195581" y="2443314"/>
                      <a:pt x="3195581" y="2443314"/>
                    </a:cubicBezTo>
                    <a:cubicBezTo>
                      <a:pt x="3195581" y="2443314"/>
                      <a:pt x="3273549" y="2363305"/>
                      <a:pt x="3288300" y="2346462"/>
                    </a:cubicBezTo>
                    <a:cubicBezTo>
                      <a:pt x="3303051" y="2327512"/>
                      <a:pt x="3309372" y="2312774"/>
                      <a:pt x="3334660" y="2295930"/>
                    </a:cubicBezTo>
                    <a:cubicBezTo>
                      <a:pt x="3357839" y="2279086"/>
                      <a:pt x="3381019" y="2279086"/>
                      <a:pt x="3404199" y="2281191"/>
                    </a:cubicBezTo>
                    <a:cubicBezTo>
                      <a:pt x="3427378" y="2283297"/>
                      <a:pt x="3442129" y="2291719"/>
                      <a:pt x="3442129" y="2291719"/>
                    </a:cubicBezTo>
                    <a:lnTo>
                      <a:pt x="3448451" y="2258031"/>
                    </a:lnTo>
                    <a:cubicBezTo>
                      <a:pt x="3448451" y="2258031"/>
                      <a:pt x="3442393" y="2255926"/>
                      <a:pt x="3432746" y="2253458"/>
                    </a:cubicBezTo>
                    <a:lnTo>
                      <a:pt x="3399309" y="2247403"/>
                    </a:lnTo>
                    <a:lnTo>
                      <a:pt x="3406885" y="2246720"/>
                    </a:lnTo>
                    <a:cubicBezTo>
                      <a:pt x="3417388" y="2244878"/>
                      <a:pt x="3426842" y="2240666"/>
                      <a:pt x="3422640" y="2231191"/>
                    </a:cubicBezTo>
                    <a:cubicBezTo>
                      <a:pt x="3412137" y="2214346"/>
                      <a:pt x="3391130" y="2216451"/>
                      <a:pt x="3370122" y="2208029"/>
                    </a:cubicBezTo>
                    <a:cubicBezTo>
                      <a:pt x="3349115" y="2201712"/>
                      <a:pt x="3309202" y="2199606"/>
                      <a:pt x="3283994" y="2199606"/>
                    </a:cubicBezTo>
                    <a:close/>
                    <a:moveTo>
                      <a:pt x="3868985" y="2136388"/>
                    </a:moveTo>
                    <a:cubicBezTo>
                      <a:pt x="3868985" y="2136388"/>
                      <a:pt x="3778558" y="2193138"/>
                      <a:pt x="3734396" y="2199444"/>
                    </a:cubicBezTo>
                    <a:cubicBezTo>
                      <a:pt x="3690235" y="2205750"/>
                      <a:pt x="3646073" y="2235176"/>
                      <a:pt x="3559852" y="2182629"/>
                    </a:cubicBezTo>
                    <a:cubicBezTo>
                      <a:pt x="3555646" y="2180527"/>
                      <a:pt x="3604014" y="2239379"/>
                      <a:pt x="3641867" y="2241481"/>
                    </a:cubicBezTo>
                    <a:cubicBezTo>
                      <a:pt x="3681823" y="2243583"/>
                      <a:pt x="3702852" y="2239379"/>
                      <a:pt x="3702852" y="2239379"/>
                    </a:cubicBezTo>
                    <a:cubicBezTo>
                      <a:pt x="3784867" y="2228870"/>
                      <a:pt x="3820617" y="2188935"/>
                      <a:pt x="3831132" y="2178425"/>
                    </a:cubicBezTo>
                    <a:cubicBezTo>
                      <a:pt x="3843750" y="2170018"/>
                      <a:pt x="3868985" y="2136388"/>
                      <a:pt x="3868985" y="2136388"/>
                    </a:cubicBezTo>
                    <a:close/>
                    <a:moveTo>
                      <a:pt x="3385344" y="2089937"/>
                    </a:moveTo>
                    <a:cubicBezTo>
                      <a:pt x="3391674" y="2089411"/>
                      <a:pt x="3398532" y="2089937"/>
                      <a:pt x="3403807" y="2092045"/>
                    </a:cubicBezTo>
                    <a:cubicBezTo>
                      <a:pt x="3412247" y="2096259"/>
                      <a:pt x="3418577" y="2104688"/>
                      <a:pt x="3420687" y="2119439"/>
                    </a:cubicBezTo>
                    <a:cubicBezTo>
                      <a:pt x="3422797" y="2132083"/>
                      <a:pt x="3410137" y="2151048"/>
                      <a:pt x="3410137" y="2151048"/>
                    </a:cubicBezTo>
                    <a:cubicBezTo>
                      <a:pt x="3410137" y="2151048"/>
                      <a:pt x="3389037" y="2144726"/>
                      <a:pt x="3380596" y="2144726"/>
                    </a:cubicBezTo>
                    <a:cubicBezTo>
                      <a:pt x="3374266" y="2142619"/>
                      <a:pt x="3353166" y="2146834"/>
                      <a:pt x="3353166" y="2146834"/>
                    </a:cubicBezTo>
                    <a:lnTo>
                      <a:pt x="3353166" y="2113117"/>
                    </a:lnTo>
                    <a:cubicBezTo>
                      <a:pt x="3353166" y="2113117"/>
                      <a:pt x="3365826" y="2096259"/>
                      <a:pt x="3370046" y="2094152"/>
                    </a:cubicBezTo>
                    <a:cubicBezTo>
                      <a:pt x="3373211" y="2092045"/>
                      <a:pt x="3379014" y="2090464"/>
                      <a:pt x="3385344" y="2089937"/>
                    </a:cubicBezTo>
                    <a:close/>
                    <a:moveTo>
                      <a:pt x="2921466" y="1940074"/>
                    </a:moveTo>
                    <a:cubicBezTo>
                      <a:pt x="2903875" y="1940863"/>
                      <a:pt x="2886546" y="1942966"/>
                      <a:pt x="2876044" y="1945069"/>
                    </a:cubicBezTo>
                    <a:cubicBezTo>
                      <a:pt x="2857140" y="1951377"/>
                      <a:pt x="2819332" y="1968200"/>
                      <a:pt x="2796228" y="1980818"/>
                    </a:cubicBezTo>
                    <a:cubicBezTo>
                      <a:pt x="2773123" y="1995538"/>
                      <a:pt x="2716411" y="2018670"/>
                      <a:pt x="2716411" y="2018670"/>
                    </a:cubicBezTo>
                    <a:cubicBezTo>
                      <a:pt x="2716411" y="2018670"/>
                      <a:pt x="2756319" y="2016567"/>
                      <a:pt x="2773123" y="2014464"/>
                    </a:cubicBezTo>
                    <a:cubicBezTo>
                      <a:pt x="2789926" y="2014464"/>
                      <a:pt x="2813031" y="2008155"/>
                      <a:pt x="2813031" y="2008155"/>
                    </a:cubicBezTo>
                    <a:cubicBezTo>
                      <a:pt x="2813031" y="2008155"/>
                      <a:pt x="2802529" y="2046007"/>
                      <a:pt x="2810931" y="2075448"/>
                    </a:cubicBezTo>
                    <a:cubicBezTo>
                      <a:pt x="2817232" y="2102785"/>
                      <a:pt x="2825634" y="2117505"/>
                      <a:pt x="2825634" y="2117505"/>
                    </a:cubicBezTo>
                    <a:cubicBezTo>
                      <a:pt x="2825634" y="2117505"/>
                      <a:pt x="2825634" y="2119608"/>
                      <a:pt x="2817232" y="2123814"/>
                    </a:cubicBezTo>
                    <a:cubicBezTo>
                      <a:pt x="2810931" y="2125917"/>
                      <a:pt x="2773123" y="2157460"/>
                      <a:pt x="2773123" y="2157460"/>
                    </a:cubicBezTo>
                    <a:cubicBezTo>
                      <a:pt x="2773123" y="2157460"/>
                      <a:pt x="2831935" y="2132226"/>
                      <a:pt x="2848738" y="2125917"/>
                    </a:cubicBezTo>
                    <a:cubicBezTo>
                      <a:pt x="2865542" y="2121711"/>
                      <a:pt x="2901249" y="2113300"/>
                      <a:pt x="2941157" y="2104888"/>
                    </a:cubicBezTo>
                    <a:cubicBezTo>
                      <a:pt x="2981066" y="2096476"/>
                      <a:pt x="3111292" y="2106991"/>
                      <a:pt x="3111292" y="2106991"/>
                    </a:cubicBezTo>
                    <a:cubicBezTo>
                      <a:pt x="3111292" y="2106991"/>
                      <a:pt x="3073484" y="2092271"/>
                      <a:pt x="3056681" y="2085962"/>
                    </a:cubicBezTo>
                    <a:cubicBezTo>
                      <a:pt x="3039878" y="2081756"/>
                      <a:pt x="3016773" y="2081756"/>
                      <a:pt x="3016773" y="2081756"/>
                    </a:cubicBezTo>
                    <a:cubicBezTo>
                      <a:pt x="3016773" y="2081756"/>
                      <a:pt x="3029375" y="2052316"/>
                      <a:pt x="3023074" y="2027081"/>
                    </a:cubicBezTo>
                    <a:cubicBezTo>
                      <a:pt x="3016773" y="1999744"/>
                      <a:pt x="2995769" y="1970303"/>
                      <a:pt x="2995769" y="1970303"/>
                    </a:cubicBezTo>
                    <a:cubicBezTo>
                      <a:pt x="2995769" y="1970303"/>
                      <a:pt x="3002070" y="1966098"/>
                      <a:pt x="3018873" y="1966098"/>
                    </a:cubicBezTo>
                    <a:cubicBezTo>
                      <a:pt x="3035677" y="1963995"/>
                      <a:pt x="3065083" y="1957686"/>
                      <a:pt x="3065083" y="1957686"/>
                    </a:cubicBezTo>
                    <a:cubicBezTo>
                      <a:pt x="3065083" y="1957686"/>
                      <a:pt x="2991568" y="1949274"/>
                      <a:pt x="2968463" y="1942966"/>
                    </a:cubicBezTo>
                    <a:cubicBezTo>
                      <a:pt x="2956910" y="1939811"/>
                      <a:pt x="2939057" y="1939286"/>
                      <a:pt x="2921466" y="1940074"/>
                    </a:cubicBezTo>
                    <a:close/>
                    <a:moveTo>
                      <a:pt x="2882143" y="1689578"/>
                    </a:moveTo>
                    <a:cubicBezTo>
                      <a:pt x="2843731" y="1689315"/>
                      <a:pt x="2800057" y="1691418"/>
                      <a:pt x="2779009" y="1700880"/>
                    </a:cubicBezTo>
                    <a:cubicBezTo>
                      <a:pt x="2736913" y="1717702"/>
                      <a:pt x="2720075" y="1810222"/>
                      <a:pt x="2720075" y="1810222"/>
                    </a:cubicBezTo>
                    <a:cubicBezTo>
                      <a:pt x="2720075" y="1810222"/>
                      <a:pt x="2760066" y="1759756"/>
                      <a:pt x="2806371" y="1730318"/>
                    </a:cubicBezTo>
                    <a:cubicBezTo>
                      <a:pt x="2852676" y="1698777"/>
                      <a:pt x="2953705" y="1692469"/>
                      <a:pt x="2953705" y="1692469"/>
                    </a:cubicBezTo>
                    <a:cubicBezTo>
                      <a:pt x="2953705" y="1692469"/>
                      <a:pt x="2920555" y="1689840"/>
                      <a:pt x="2882143" y="1689578"/>
                    </a:cubicBezTo>
                    <a:close/>
                    <a:moveTo>
                      <a:pt x="2751741" y="1152523"/>
                    </a:moveTo>
                    <a:lnTo>
                      <a:pt x="2752273" y="1154187"/>
                    </a:lnTo>
                    <a:lnTo>
                      <a:pt x="2764036" y="1192874"/>
                    </a:lnTo>
                    <a:lnTo>
                      <a:pt x="2787833" y="1274009"/>
                    </a:lnTo>
                    <a:lnTo>
                      <a:pt x="2819472" y="1283014"/>
                    </a:lnTo>
                    <a:lnTo>
                      <a:pt x="2820261" y="1283258"/>
                    </a:lnTo>
                    <a:lnTo>
                      <a:pt x="2825890" y="1283302"/>
                    </a:lnTo>
                    <a:lnTo>
                      <a:pt x="2903747" y="1291542"/>
                    </a:lnTo>
                    <a:lnTo>
                      <a:pt x="2899550" y="1288295"/>
                    </a:lnTo>
                    <a:cubicBezTo>
                      <a:pt x="2806596" y="1216396"/>
                      <a:pt x="2806596" y="1216396"/>
                      <a:pt x="2806596" y="1216396"/>
                    </a:cubicBezTo>
                    <a:cubicBezTo>
                      <a:pt x="2806596" y="1216396"/>
                      <a:pt x="2794376" y="1202454"/>
                      <a:pt x="2775061" y="1179930"/>
                    </a:cubicBezTo>
                    <a:close/>
                    <a:moveTo>
                      <a:pt x="1695768" y="862876"/>
                    </a:moveTo>
                    <a:cubicBezTo>
                      <a:pt x="2078780" y="919680"/>
                      <a:pt x="2078780" y="919680"/>
                      <a:pt x="2078780" y="919680"/>
                    </a:cubicBezTo>
                    <a:cubicBezTo>
                      <a:pt x="2078780" y="919680"/>
                      <a:pt x="2137705" y="923888"/>
                      <a:pt x="2177689" y="938615"/>
                    </a:cubicBezTo>
                    <a:cubicBezTo>
                      <a:pt x="2217674" y="951238"/>
                      <a:pt x="2274495" y="997523"/>
                      <a:pt x="2274495" y="997523"/>
                    </a:cubicBezTo>
                    <a:cubicBezTo>
                      <a:pt x="2274495" y="997523"/>
                      <a:pt x="2226092" y="984900"/>
                      <a:pt x="2192421" y="984900"/>
                    </a:cubicBezTo>
                    <a:cubicBezTo>
                      <a:pt x="2160854" y="987004"/>
                      <a:pt x="2101929" y="1026977"/>
                      <a:pt x="2082989" y="1031185"/>
                    </a:cubicBezTo>
                    <a:cubicBezTo>
                      <a:pt x="2061944" y="1035392"/>
                      <a:pt x="2013542" y="1064846"/>
                      <a:pt x="2013542" y="1064846"/>
                    </a:cubicBezTo>
                    <a:cubicBezTo>
                      <a:pt x="2013542" y="1064846"/>
                      <a:pt x="2118765" y="1039600"/>
                      <a:pt x="2177689" y="1060639"/>
                    </a:cubicBezTo>
                    <a:cubicBezTo>
                      <a:pt x="2234510" y="1081677"/>
                      <a:pt x="2276599" y="1062742"/>
                      <a:pt x="2320793" y="1102716"/>
                    </a:cubicBezTo>
                    <a:cubicBezTo>
                      <a:pt x="2362882" y="1142689"/>
                      <a:pt x="2402867" y="1193182"/>
                      <a:pt x="2402867" y="1193182"/>
                    </a:cubicBezTo>
                    <a:lnTo>
                      <a:pt x="2477977" y="1304520"/>
                    </a:lnTo>
                    <a:lnTo>
                      <a:pt x="2495231" y="1302276"/>
                    </a:lnTo>
                    <a:lnTo>
                      <a:pt x="2479203" y="1263722"/>
                    </a:lnTo>
                    <a:cubicBezTo>
                      <a:pt x="2435552" y="1159125"/>
                      <a:pt x="2373405" y="1012512"/>
                      <a:pt x="2352360" y="974380"/>
                    </a:cubicBezTo>
                    <a:cubicBezTo>
                      <a:pt x="2320793" y="913369"/>
                      <a:pt x="2238719" y="886019"/>
                      <a:pt x="2194525" y="875499"/>
                    </a:cubicBezTo>
                    <a:cubicBezTo>
                      <a:pt x="2150331" y="862876"/>
                      <a:pt x="1695768" y="862876"/>
                      <a:pt x="1695768" y="862876"/>
                    </a:cubicBezTo>
                    <a:close/>
                    <a:moveTo>
                      <a:pt x="2884074" y="435929"/>
                    </a:moveTo>
                    <a:cubicBezTo>
                      <a:pt x="2884074" y="435929"/>
                      <a:pt x="2919884" y="555927"/>
                      <a:pt x="2987291" y="631716"/>
                    </a:cubicBezTo>
                    <a:cubicBezTo>
                      <a:pt x="3054698" y="705399"/>
                      <a:pt x="3130531" y="1008552"/>
                      <a:pt x="3130531" y="1008552"/>
                    </a:cubicBezTo>
                    <a:cubicBezTo>
                      <a:pt x="3130531" y="1008552"/>
                      <a:pt x="3115786" y="812766"/>
                      <a:pt x="3063124" y="682241"/>
                    </a:cubicBezTo>
                    <a:cubicBezTo>
                      <a:pt x="3063124" y="682241"/>
                      <a:pt x="2993611" y="549612"/>
                      <a:pt x="2970440" y="520138"/>
                    </a:cubicBezTo>
                    <a:cubicBezTo>
                      <a:pt x="2945162" y="490665"/>
                      <a:pt x="2884074" y="435929"/>
                      <a:pt x="2884074" y="435929"/>
                    </a:cubicBezTo>
                    <a:close/>
                    <a:moveTo>
                      <a:pt x="990408" y="698"/>
                    </a:moveTo>
                    <a:cubicBezTo>
                      <a:pt x="1005101" y="-321"/>
                      <a:pt x="1021142" y="-189"/>
                      <a:pt x="1039550" y="863"/>
                    </a:cubicBezTo>
                    <a:cubicBezTo>
                      <a:pt x="1111078" y="5070"/>
                      <a:pt x="1258341" y="38728"/>
                      <a:pt x="1348803" y="72387"/>
                    </a:cubicBezTo>
                    <a:cubicBezTo>
                      <a:pt x="1439264" y="103941"/>
                      <a:pt x="1653848" y="181776"/>
                      <a:pt x="1737998" y="232264"/>
                    </a:cubicBezTo>
                    <a:cubicBezTo>
                      <a:pt x="1830564" y="284855"/>
                      <a:pt x="1914714" y="318513"/>
                      <a:pt x="2005176" y="371104"/>
                    </a:cubicBezTo>
                    <a:cubicBezTo>
                      <a:pt x="2051459" y="397400"/>
                      <a:pt x="2127194" y="436317"/>
                      <a:pt x="2203455" y="477601"/>
                    </a:cubicBezTo>
                    <a:lnTo>
                      <a:pt x="2296994" y="530121"/>
                    </a:lnTo>
                    <a:lnTo>
                      <a:pt x="2323986" y="546882"/>
                    </a:lnTo>
                    <a:lnTo>
                      <a:pt x="2357160" y="567482"/>
                    </a:lnTo>
                    <a:lnTo>
                      <a:pt x="2404890" y="598298"/>
                    </a:lnTo>
                    <a:lnTo>
                      <a:pt x="2415440" y="605928"/>
                    </a:lnTo>
                    <a:lnTo>
                      <a:pt x="2362991" y="493093"/>
                    </a:lnTo>
                    <a:cubicBezTo>
                      <a:pt x="2362991" y="493093"/>
                      <a:pt x="2362991" y="493093"/>
                      <a:pt x="2329266" y="483333"/>
                    </a:cubicBezTo>
                    <a:lnTo>
                      <a:pt x="2307060" y="476906"/>
                    </a:lnTo>
                    <a:lnTo>
                      <a:pt x="2313198" y="470584"/>
                    </a:lnTo>
                    <a:cubicBezTo>
                      <a:pt x="2335494" y="447752"/>
                      <a:pt x="2406858" y="375701"/>
                      <a:pt x="2460566" y="333037"/>
                    </a:cubicBezTo>
                    <a:lnTo>
                      <a:pt x="2482676" y="317005"/>
                    </a:lnTo>
                    <a:lnTo>
                      <a:pt x="2522361" y="296868"/>
                    </a:lnTo>
                    <a:lnTo>
                      <a:pt x="2554579" y="283748"/>
                    </a:lnTo>
                    <a:cubicBezTo>
                      <a:pt x="2588217" y="269017"/>
                      <a:pt x="2633417" y="251656"/>
                      <a:pt x="2694384" y="254812"/>
                    </a:cubicBezTo>
                    <a:cubicBezTo>
                      <a:pt x="2724868" y="256391"/>
                      <a:pt x="2759293" y="263098"/>
                      <a:pt x="2798186" y="277829"/>
                    </a:cubicBezTo>
                    <a:cubicBezTo>
                      <a:pt x="2951656" y="336753"/>
                      <a:pt x="2857052" y="260994"/>
                      <a:pt x="2857052" y="260994"/>
                    </a:cubicBezTo>
                    <a:cubicBezTo>
                      <a:pt x="2857052" y="260994"/>
                      <a:pt x="2858530" y="261224"/>
                      <a:pt x="2861191" y="261705"/>
                    </a:cubicBezTo>
                    <a:lnTo>
                      <a:pt x="2866568" y="262766"/>
                    </a:lnTo>
                    <a:lnTo>
                      <a:pt x="2867847" y="263215"/>
                    </a:lnTo>
                    <a:cubicBezTo>
                      <a:pt x="2872013" y="264887"/>
                      <a:pt x="2874182" y="265939"/>
                      <a:pt x="2874182" y="265939"/>
                    </a:cubicBezTo>
                    <a:cubicBezTo>
                      <a:pt x="2874182" y="265939"/>
                      <a:pt x="2875760" y="265775"/>
                      <a:pt x="2878772" y="265783"/>
                    </a:cubicBezTo>
                    <a:lnTo>
                      <a:pt x="2879970" y="265863"/>
                    </a:lnTo>
                    <a:lnTo>
                      <a:pt x="2909084" y="273357"/>
                    </a:lnTo>
                    <a:cubicBezTo>
                      <a:pt x="2937466" y="282038"/>
                      <a:pt x="2970577" y="295717"/>
                      <a:pt x="2989498" y="315709"/>
                    </a:cubicBezTo>
                    <a:cubicBezTo>
                      <a:pt x="3027340" y="357797"/>
                      <a:pt x="3391043" y="702920"/>
                      <a:pt x="3365815" y="925987"/>
                    </a:cubicBezTo>
                    <a:cubicBezTo>
                      <a:pt x="3351098" y="1060670"/>
                      <a:pt x="3227061" y="1315303"/>
                      <a:pt x="3233368" y="1376331"/>
                    </a:cubicBezTo>
                    <a:cubicBezTo>
                      <a:pt x="3234682" y="1385538"/>
                      <a:pt x="3236920" y="1397159"/>
                      <a:pt x="3239761" y="1410216"/>
                    </a:cubicBezTo>
                    <a:lnTo>
                      <a:pt x="3243622" y="1426604"/>
                    </a:lnTo>
                    <a:lnTo>
                      <a:pt x="3302854" y="1472111"/>
                    </a:lnTo>
                    <a:cubicBezTo>
                      <a:pt x="3370331" y="1532754"/>
                      <a:pt x="3422311" y="1609600"/>
                      <a:pt x="3442037" y="1705090"/>
                    </a:cubicBezTo>
                    <a:lnTo>
                      <a:pt x="3433973" y="1732860"/>
                    </a:lnTo>
                    <a:lnTo>
                      <a:pt x="3404867" y="1673697"/>
                    </a:lnTo>
                    <a:cubicBezTo>
                      <a:pt x="3399074" y="1661664"/>
                      <a:pt x="3393479" y="1649944"/>
                      <a:pt x="3388345" y="1639131"/>
                    </a:cubicBezTo>
                    <a:lnTo>
                      <a:pt x="3377441" y="1616053"/>
                    </a:lnTo>
                    <a:lnTo>
                      <a:pt x="3359581" y="1565598"/>
                    </a:lnTo>
                    <a:cubicBezTo>
                      <a:pt x="3359581" y="1565598"/>
                      <a:pt x="3359581" y="1565598"/>
                      <a:pt x="3361687" y="1582431"/>
                    </a:cubicBezTo>
                    <a:cubicBezTo>
                      <a:pt x="3361687" y="1582431"/>
                      <a:pt x="3366690" y="1593215"/>
                      <a:pt x="3374588" y="1610015"/>
                    </a:cubicBezTo>
                    <a:lnTo>
                      <a:pt x="3377441" y="1616053"/>
                    </a:lnTo>
                    <a:lnTo>
                      <a:pt x="3442901" y="1800978"/>
                    </a:lnTo>
                    <a:lnTo>
                      <a:pt x="3440408" y="1796829"/>
                    </a:lnTo>
                    <a:cubicBezTo>
                      <a:pt x="3438644" y="1793891"/>
                      <a:pt x="3436291" y="1789974"/>
                      <a:pt x="3433154" y="1784752"/>
                    </a:cubicBezTo>
                    <a:cubicBezTo>
                      <a:pt x="3433154" y="1784752"/>
                      <a:pt x="3414332" y="1768041"/>
                      <a:pt x="3397602" y="1761774"/>
                    </a:cubicBezTo>
                    <a:cubicBezTo>
                      <a:pt x="3380871" y="1753418"/>
                      <a:pt x="3349501" y="1755507"/>
                      <a:pt x="3349501" y="1755507"/>
                    </a:cubicBezTo>
                    <a:cubicBezTo>
                      <a:pt x="3349501" y="1755507"/>
                      <a:pt x="3380871" y="1768041"/>
                      <a:pt x="3395510" y="1772218"/>
                    </a:cubicBezTo>
                    <a:cubicBezTo>
                      <a:pt x="3406489" y="1773785"/>
                      <a:pt x="3429233" y="1791802"/>
                      <a:pt x="3439918" y="1800713"/>
                    </a:cubicBezTo>
                    <a:lnTo>
                      <a:pt x="3444055" y="1804238"/>
                    </a:lnTo>
                    <a:lnTo>
                      <a:pt x="3555468" y="2118980"/>
                    </a:lnTo>
                    <a:cubicBezTo>
                      <a:pt x="3555468" y="2118980"/>
                      <a:pt x="3553888" y="2108460"/>
                      <a:pt x="3553362" y="2091890"/>
                    </a:cubicBezTo>
                    <a:lnTo>
                      <a:pt x="3553487" y="2080908"/>
                    </a:lnTo>
                    <a:lnTo>
                      <a:pt x="3554536" y="2083695"/>
                    </a:lnTo>
                    <a:cubicBezTo>
                      <a:pt x="3566426" y="2115277"/>
                      <a:pt x="3569399" y="2123172"/>
                      <a:pt x="3570142" y="2125146"/>
                    </a:cubicBezTo>
                    <a:lnTo>
                      <a:pt x="3570375" y="2125765"/>
                    </a:lnTo>
                    <a:lnTo>
                      <a:pt x="3570326" y="2125774"/>
                    </a:lnTo>
                    <a:cubicBezTo>
                      <a:pt x="3545075" y="2130508"/>
                      <a:pt x="3536395" y="2124591"/>
                      <a:pt x="3524755" y="2128437"/>
                    </a:cubicBezTo>
                    <a:lnTo>
                      <a:pt x="3520991" y="2130652"/>
                    </a:lnTo>
                    <a:lnTo>
                      <a:pt x="3519898" y="2125754"/>
                    </a:lnTo>
                    <a:cubicBezTo>
                      <a:pt x="3517794" y="2116808"/>
                      <a:pt x="3515165" y="2106809"/>
                      <a:pt x="3513061" y="2102599"/>
                    </a:cubicBezTo>
                    <a:cubicBezTo>
                      <a:pt x="3510958" y="2096283"/>
                      <a:pt x="3498337" y="2064707"/>
                      <a:pt x="3485716" y="2058392"/>
                    </a:cubicBezTo>
                    <a:cubicBezTo>
                      <a:pt x="3475198" y="2052077"/>
                      <a:pt x="3435232" y="2037341"/>
                      <a:pt x="3422611" y="2039446"/>
                    </a:cubicBezTo>
                    <a:cubicBezTo>
                      <a:pt x="3409989" y="2039446"/>
                      <a:pt x="3397368" y="2045762"/>
                      <a:pt x="3384747" y="2043657"/>
                    </a:cubicBezTo>
                    <a:cubicBezTo>
                      <a:pt x="3372126" y="2041551"/>
                      <a:pt x="3334263" y="2031026"/>
                      <a:pt x="3334263" y="2031026"/>
                    </a:cubicBezTo>
                    <a:cubicBezTo>
                      <a:pt x="3378437" y="2058392"/>
                      <a:pt x="3378437" y="2058392"/>
                      <a:pt x="3378437" y="2058392"/>
                    </a:cubicBezTo>
                    <a:cubicBezTo>
                      <a:pt x="3378437" y="2058392"/>
                      <a:pt x="3359505" y="2079443"/>
                      <a:pt x="3357402" y="2092073"/>
                    </a:cubicBezTo>
                    <a:cubicBezTo>
                      <a:pt x="3348988" y="2111019"/>
                      <a:pt x="3351091" y="2140490"/>
                      <a:pt x="3351091" y="2140490"/>
                    </a:cubicBezTo>
                    <a:cubicBezTo>
                      <a:pt x="3317435" y="2140490"/>
                      <a:pt x="3317435" y="2140490"/>
                      <a:pt x="3317435" y="2140490"/>
                    </a:cubicBezTo>
                    <a:cubicBezTo>
                      <a:pt x="3317435" y="2140490"/>
                      <a:pt x="3348988" y="2148910"/>
                      <a:pt x="3359505" y="2155225"/>
                    </a:cubicBezTo>
                    <a:cubicBezTo>
                      <a:pt x="3370023" y="2161541"/>
                      <a:pt x="3395265" y="2172066"/>
                      <a:pt x="3416300" y="2180486"/>
                    </a:cubicBezTo>
                    <a:cubicBezTo>
                      <a:pt x="3432076" y="2186801"/>
                      <a:pt x="3457318" y="2199037"/>
                      <a:pt x="3468953" y="2204760"/>
                    </a:cubicBezTo>
                    <a:lnTo>
                      <a:pt x="3471183" y="2205864"/>
                    </a:lnTo>
                    <a:lnTo>
                      <a:pt x="3465112" y="2222558"/>
                    </a:lnTo>
                    <a:cubicBezTo>
                      <a:pt x="3458799" y="2247805"/>
                      <a:pt x="3418818" y="2359317"/>
                      <a:pt x="3404088" y="2397188"/>
                    </a:cubicBezTo>
                    <a:cubicBezTo>
                      <a:pt x="3389358" y="2435060"/>
                      <a:pt x="3303083" y="2544467"/>
                      <a:pt x="3303083" y="2544467"/>
                    </a:cubicBezTo>
                    <a:cubicBezTo>
                      <a:pt x="3303083" y="2544467"/>
                      <a:pt x="3383045" y="2468724"/>
                      <a:pt x="3395671" y="2456100"/>
                    </a:cubicBezTo>
                    <a:cubicBezTo>
                      <a:pt x="3410401" y="2443476"/>
                      <a:pt x="3429339" y="2411916"/>
                      <a:pt x="3450382" y="2386668"/>
                    </a:cubicBezTo>
                    <a:cubicBezTo>
                      <a:pt x="3469321" y="2363525"/>
                      <a:pt x="3515615" y="2209934"/>
                      <a:pt x="3526136" y="2184686"/>
                    </a:cubicBezTo>
                    <a:cubicBezTo>
                      <a:pt x="3538762" y="2157334"/>
                      <a:pt x="3574535" y="2159438"/>
                      <a:pt x="3618725" y="2163646"/>
                    </a:cubicBezTo>
                    <a:cubicBezTo>
                      <a:pt x="3665019" y="2167854"/>
                      <a:pt x="3707104" y="2155230"/>
                      <a:pt x="3751294" y="2136294"/>
                    </a:cubicBezTo>
                    <a:cubicBezTo>
                      <a:pt x="3772337" y="2126826"/>
                      <a:pt x="3786015" y="2113676"/>
                      <a:pt x="3799430" y="2104735"/>
                    </a:cubicBezTo>
                    <a:lnTo>
                      <a:pt x="3810437" y="2099831"/>
                    </a:lnTo>
                    <a:lnTo>
                      <a:pt x="3824461" y="2097367"/>
                    </a:lnTo>
                    <a:lnTo>
                      <a:pt x="3829342" y="2096510"/>
                    </a:lnTo>
                    <a:lnTo>
                      <a:pt x="3845987" y="2098423"/>
                    </a:lnTo>
                    <a:cubicBezTo>
                      <a:pt x="3885968" y="2111046"/>
                      <a:pt x="3894385" y="2134190"/>
                      <a:pt x="3904907" y="2180478"/>
                    </a:cubicBezTo>
                    <a:cubicBezTo>
                      <a:pt x="3915428" y="2226766"/>
                      <a:pt x="3885968" y="2315133"/>
                      <a:pt x="3885968" y="2315133"/>
                    </a:cubicBezTo>
                    <a:cubicBezTo>
                      <a:pt x="3885968" y="2315133"/>
                      <a:pt x="3885508" y="2319834"/>
                      <a:pt x="3884225" y="2328571"/>
                    </a:cubicBezTo>
                    <a:lnTo>
                      <a:pt x="3881324" y="2344937"/>
                    </a:lnTo>
                    <a:lnTo>
                      <a:pt x="3878738" y="2354578"/>
                    </a:lnTo>
                    <a:cubicBezTo>
                      <a:pt x="3870987" y="2383473"/>
                      <a:pt x="3863790" y="2410304"/>
                      <a:pt x="3857107" y="2435219"/>
                    </a:cubicBezTo>
                    <a:lnTo>
                      <a:pt x="3839183" y="2502042"/>
                    </a:lnTo>
                    <a:lnTo>
                      <a:pt x="3806236" y="2584501"/>
                    </a:lnTo>
                    <a:cubicBezTo>
                      <a:pt x="3765301" y="2675605"/>
                      <a:pt x="3703948" y="2779062"/>
                      <a:pt x="3612412" y="2876897"/>
                    </a:cubicBezTo>
                    <a:cubicBezTo>
                      <a:pt x="3370419" y="3137791"/>
                      <a:pt x="3046360" y="2935809"/>
                      <a:pt x="3004275" y="2912665"/>
                    </a:cubicBezTo>
                    <a:cubicBezTo>
                      <a:pt x="2962189" y="2889521"/>
                      <a:pt x="2852767" y="2792738"/>
                      <a:pt x="2812785" y="2759074"/>
                    </a:cubicBezTo>
                    <a:cubicBezTo>
                      <a:pt x="2770700" y="2725410"/>
                      <a:pt x="2726510" y="2651771"/>
                      <a:pt x="2726510" y="2651771"/>
                    </a:cubicBezTo>
                    <a:cubicBezTo>
                      <a:pt x="2726510" y="2651771"/>
                      <a:pt x="2724406" y="2649667"/>
                      <a:pt x="2722301" y="2655979"/>
                    </a:cubicBezTo>
                    <a:cubicBezTo>
                      <a:pt x="2720197" y="2662291"/>
                      <a:pt x="2699154" y="2727514"/>
                      <a:pt x="2686529" y="2750658"/>
                    </a:cubicBezTo>
                    <a:cubicBezTo>
                      <a:pt x="2676007" y="2771698"/>
                      <a:pt x="2661277" y="2782218"/>
                      <a:pt x="2646547" y="2799050"/>
                    </a:cubicBezTo>
                    <a:cubicBezTo>
                      <a:pt x="2633922" y="2817986"/>
                      <a:pt x="2612879" y="2845337"/>
                      <a:pt x="2593940" y="2887417"/>
                    </a:cubicBezTo>
                    <a:cubicBezTo>
                      <a:pt x="2575002" y="2929497"/>
                      <a:pt x="2606566" y="2963160"/>
                      <a:pt x="2606566" y="2963160"/>
                    </a:cubicBezTo>
                    <a:cubicBezTo>
                      <a:pt x="2627609" y="2988408"/>
                      <a:pt x="2697050" y="3005240"/>
                      <a:pt x="2724406" y="3001032"/>
                    </a:cubicBezTo>
                    <a:cubicBezTo>
                      <a:pt x="2654964" y="2986304"/>
                      <a:pt x="2614983" y="2916873"/>
                      <a:pt x="2614983" y="2916873"/>
                    </a:cubicBezTo>
                    <a:cubicBezTo>
                      <a:pt x="2614983" y="2916873"/>
                      <a:pt x="2614983" y="2916873"/>
                      <a:pt x="2636026" y="2931601"/>
                    </a:cubicBezTo>
                    <a:cubicBezTo>
                      <a:pt x="2654964" y="2946329"/>
                      <a:pt x="2688633" y="2969472"/>
                      <a:pt x="2741240" y="2975784"/>
                    </a:cubicBezTo>
                    <a:cubicBezTo>
                      <a:pt x="2793847" y="2982096"/>
                      <a:pt x="2823307" y="2935809"/>
                      <a:pt x="2823307" y="2935809"/>
                    </a:cubicBezTo>
                    <a:cubicBezTo>
                      <a:pt x="2823307" y="2935809"/>
                      <a:pt x="2823307" y="2935809"/>
                      <a:pt x="2869601" y="2874793"/>
                    </a:cubicBezTo>
                    <a:cubicBezTo>
                      <a:pt x="2869601" y="2874793"/>
                      <a:pt x="2869601" y="2874793"/>
                      <a:pt x="2909582" y="2914769"/>
                    </a:cubicBezTo>
                    <a:cubicBezTo>
                      <a:pt x="2909582" y="2914769"/>
                      <a:pt x="2838037" y="2988408"/>
                      <a:pt x="2804368" y="3009448"/>
                    </a:cubicBezTo>
                    <a:cubicBezTo>
                      <a:pt x="2770700" y="3030488"/>
                      <a:pt x="2715988" y="3045216"/>
                      <a:pt x="2631817" y="3019968"/>
                    </a:cubicBezTo>
                    <a:lnTo>
                      <a:pt x="2592812" y="2997729"/>
                    </a:lnTo>
                    <a:lnTo>
                      <a:pt x="2571463" y="2978979"/>
                    </a:lnTo>
                    <a:lnTo>
                      <a:pt x="2569646" y="2977384"/>
                    </a:lnTo>
                    <a:lnTo>
                      <a:pt x="2550477" y="2953365"/>
                    </a:lnTo>
                    <a:lnTo>
                      <a:pt x="2543509" y="2942341"/>
                    </a:lnTo>
                    <a:lnTo>
                      <a:pt x="2527951" y="2910199"/>
                    </a:lnTo>
                    <a:cubicBezTo>
                      <a:pt x="2524104" y="2900173"/>
                      <a:pt x="2522395" y="2893729"/>
                      <a:pt x="2522395" y="2893729"/>
                    </a:cubicBezTo>
                    <a:cubicBezTo>
                      <a:pt x="2522395" y="2893729"/>
                      <a:pt x="2522395" y="2893729"/>
                      <a:pt x="2457162" y="2748554"/>
                    </a:cubicBezTo>
                    <a:cubicBezTo>
                      <a:pt x="2457162" y="2748554"/>
                      <a:pt x="2396138" y="2689642"/>
                      <a:pt x="2362469" y="2651771"/>
                    </a:cubicBezTo>
                    <a:lnTo>
                      <a:pt x="2340024" y="2621933"/>
                    </a:lnTo>
                    <a:lnTo>
                      <a:pt x="2338457" y="2619477"/>
                    </a:lnTo>
                    <a:cubicBezTo>
                      <a:pt x="2304048" y="2565541"/>
                      <a:pt x="2304048" y="2565541"/>
                      <a:pt x="2304048" y="2565541"/>
                    </a:cubicBezTo>
                    <a:cubicBezTo>
                      <a:pt x="2304048" y="2565541"/>
                      <a:pt x="2271838" y="2433449"/>
                      <a:pt x="2335655" y="2318674"/>
                    </a:cubicBezTo>
                    <a:lnTo>
                      <a:pt x="2366996" y="2274192"/>
                    </a:lnTo>
                    <a:lnTo>
                      <a:pt x="2347572" y="2275513"/>
                    </a:lnTo>
                    <a:cubicBezTo>
                      <a:pt x="2338243" y="2274970"/>
                      <a:pt x="2329202" y="2273030"/>
                      <a:pt x="2320522" y="2269084"/>
                    </a:cubicBezTo>
                    <a:cubicBezTo>
                      <a:pt x="2253189" y="2237517"/>
                      <a:pt x="2057503" y="2182801"/>
                      <a:pt x="2038565" y="2062847"/>
                    </a:cubicBezTo>
                    <a:cubicBezTo>
                      <a:pt x="2024363" y="1972882"/>
                      <a:pt x="2014894" y="1779929"/>
                      <a:pt x="2043892" y="1618938"/>
                    </a:cubicBezTo>
                    <a:lnTo>
                      <a:pt x="2058099" y="1557525"/>
                    </a:lnTo>
                    <a:lnTo>
                      <a:pt x="2055755" y="1558228"/>
                    </a:lnTo>
                    <a:lnTo>
                      <a:pt x="2050316" y="1559430"/>
                    </a:lnTo>
                    <a:cubicBezTo>
                      <a:pt x="1969609" y="1577348"/>
                      <a:pt x="1639648" y="1651436"/>
                      <a:pt x="1525518" y="1690090"/>
                    </a:cubicBezTo>
                    <a:cubicBezTo>
                      <a:pt x="1395085" y="1734267"/>
                      <a:pt x="1087937" y="1875211"/>
                      <a:pt x="946985" y="1875211"/>
                    </a:cubicBezTo>
                    <a:cubicBezTo>
                      <a:pt x="751335" y="1873108"/>
                      <a:pt x="559893" y="1858382"/>
                      <a:pt x="559893" y="1858382"/>
                    </a:cubicBezTo>
                    <a:cubicBezTo>
                      <a:pt x="559893" y="1858382"/>
                      <a:pt x="488365" y="1593323"/>
                      <a:pt x="412630" y="1498659"/>
                    </a:cubicBezTo>
                    <a:cubicBezTo>
                      <a:pt x="334791" y="1403995"/>
                      <a:pt x="94962" y="1208355"/>
                      <a:pt x="46576" y="1063204"/>
                    </a:cubicBezTo>
                    <a:cubicBezTo>
                      <a:pt x="293" y="915949"/>
                      <a:pt x="-24952" y="798144"/>
                      <a:pt x="36057" y="665615"/>
                    </a:cubicBezTo>
                    <a:cubicBezTo>
                      <a:pt x="94962" y="535189"/>
                      <a:pt x="191735" y="459457"/>
                      <a:pt x="191735" y="459457"/>
                    </a:cubicBezTo>
                    <a:cubicBezTo>
                      <a:pt x="191735" y="459457"/>
                      <a:pt x="294819" y="455250"/>
                      <a:pt x="374762" y="465768"/>
                    </a:cubicBezTo>
                    <a:cubicBezTo>
                      <a:pt x="456809" y="476287"/>
                      <a:pt x="587242" y="499427"/>
                      <a:pt x="677704" y="528878"/>
                    </a:cubicBezTo>
                    <a:cubicBezTo>
                      <a:pt x="766061" y="558329"/>
                      <a:pt x="1090040" y="713999"/>
                      <a:pt x="1090040" y="713999"/>
                    </a:cubicBezTo>
                    <a:cubicBezTo>
                      <a:pt x="736609" y="514152"/>
                      <a:pt x="736609" y="514152"/>
                      <a:pt x="736609" y="514152"/>
                    </a:cubicBezTo>
                    <a:cubicBezTo>
                      <a:pt x="503092" y="423695"/>
                      <a:pt x="503092" y="423695"/>
                      <a:pt x="503092" y="423695"/>
                    </a:cubicBezTo>
                    <a:cubicBezTo>
                      <a:pt x="503092" y="423695"/>
                      <a:pt x="606176" y="362690"/>
                      <a:pt x="700845" y="246989"/>
                    </a:cubicBezTo>
                    <a:cubicBezTo>
                      <a:pt x="795514" y="131289"/>
                      <a:pt x="803929" y="89216"/>
                      <a:pt x="867042" y="47143"/>
                    </a:cubicBezTo>
                    <a:cubicBezTo>
                      <a:pt x="914377" y="17166"/>
                      <a:pt x="946327" y="3755"/>
                      <a:pt x="990408" y="698"/>
                    </a:cubicBezTo>
                    <a:close/>
                  </a:path>
                </a:pathLst>
              </a:custGeom>
              <a:solidFill>
                <a:srgbClr val="FAED22"/>
              </a:solidFill>
              <a:ln w="3175">
                <a:solidFill>
                  <a:schemeClr val="tx1"/>
                </a:solidFill>
              </a:ln>
            </p:spPr>
            <p:txBody>
              <a:bodyPr vert="horz" wrap="square" lIns="89642" tIns="44821" rIns="89642" bIns="44821" numCol="1" anchor="t" anchorCtr="0" compatLnSpc="1">
                <a:prstTxWarp prst="textNoShape">
                  <a:avLst/>
                </a:prstTxWarp>
                <a:noAutofit/>
              </a:bodyPr>
              <a:lstStyle/>
              <a:p>
                <a:pPr defTabSz="914367"/>
                <a:endParaRPr lang="en-IN" sz="1765">
                  <a:solidFill>
                    <a:srgbClr val="000000"/>
                  </a:solidFill>
                </a:endParaRPr>
              </a:p>
            </p:txBody>
          </p:sp>
        </p:grpSp>
      </p:grpSp>
      <p:sp>
        <p:nvSpPr>
          <p:cNvPr id="64" name="Oval 63"/>
          <p:cNvSpPr/>
          <p:nvPr/>
        </p:nvSpPr>
        <p:spPr bwMode="auto">
          <a:xfrm>
            <a:off x="8855584" y="1249128"/>
            <a:ext cx="2262618" cy="2262619"/>
          </a:xfrm>
          <a:prstGeom prst="ellipse">
            <a:avLst/>
          </a:prstGeom>
          <a:solidFill>
            <a:schemeClr val="accent4"/>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IN" sz="1372" b="1" dirty="0">
              <a:solidFill>
                <a:srgbClr val="FFFFFF"/>
              </a:solidFill>
              <a:latin typeface="Segoe UI Light"/>
              <a:ea typeface="Segoe UI" pitchFamily="34" charset="0"/>
              <a:cs typeface="Segoe UI" pitchFamily="34" charset="0"/>
            </a:endParaRPr>
          </a:p>
        </p:txBody>
      </p:sp>
      <p:sp>
        <p:nvSpPr>
          <p:cNvPr id="65" name="Rectangle 64"/>
          <p:cNvSpPr/>
          <p:nvPr/>
        </p:nvSpPr>
        <p:spPr bwMode="auto">
          <a:xfrm>
            <a:off x="9250885" y="1472450"/>
            <a:ext cx="1472015" cy="42063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algn="ctr" defTabSz="914102" fontAlgn="base">
              <a:spcBef>
                <a:spcPct val="0"/>
              </a:spcBef>
              <a:spcAft>
                <a:spcPct val="0"/>
              </a:spcAft>
            </a:pPr>
            <a:r>
              <a:rPr lang="en-IN" sz="1372" b="1" dirty="0">
                <a:solidFill>
                  <a:srgbClr val="FFFFFF"/>
                </a:solidFill>
                <a:ea typeface="Segoe UI" pitchFamily="34" charset="0"/>
                <a:cs typeface="Segoe UI Semibold" panose="020B0702040204020203" pitchFamily="34" charset="0"/>
              </a:rPr>
              <a:t>Hive 1.2</a:t>
            </a:r>
          </a:p>
        </p:txBody>
      </p:sp>
      <p:sp>
        <p:nvSpPr>
          <p:cNvPr id="66" name="Rectangle 65"/>
          <p:cNvSpPr/>
          <p:nvPr/>
        </p:nvSpPr>
        <p:spPr bwMode="auto">
          <a:xfrm>
            <a:off x="9250885" y="1904345"/>
            <a:ext cx="1720745" cy="3016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44821" numCol="1" spcCol="0" rtlCol="0" fromWordArt="0" anchor="ctr" anchorCtr="0" forceAA="0" compatLnSpc="1">
            <a:prstTxWarp prst="textNoShape">
              <a:avLst/>
            </a:prstTxWarp>
            <a:spAutoFit/>
          </a:bodyPr>
          <a:lstStyle/>
          <a:p>
            <a:pPr algn="ctr" defTabSz="914102" fontAlgn="base">
              <a:spcBef>
                <a:spcPct val="0"/>
              </a:spcBef>
              <a:spcAft>
                <a:spcPct val="0"/>
              </a:spcAft>
            </a:pPr>
            <a:r>
              <a:rPr lang="en-IN" sz="1372" dirty="0">
                <a:solidFill>
                  <a:srgbClr val="FFFFFF"/>
                </a:solidFill>
                <a:latin typeface="Segoe UI Semibold" panose="020B0702040204020203" pitchFamily="34" charset="0"/>
                <a:ea typeface="Segoe UI" pitchFamily="34" charset="0"/>
                <a:cs typeface="Segoe UI Semibold" panose="020B0702040204020203" pitchFamily="34" charset="0"/>
              </a:rPr>
              <a:t>SQL Enhancements</a:t>
            </a:r>
          </a:p>
        </p:txBody>
      </p:sp>
      <p:sp>
        <p:nvSpPr>
          <p:cNvPr id="67" name="Rectangle 66"/>
          <p:cNvSpPr/>
          <p:nvPr/>
        </p:nvSpPr>
        <p:spPr bwMode="auto">
          <a:xfrm>
            <a:off x="8937621" y="2245472"/>
            <a:ext cx="2070096" cy="3016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44821" numCol="1" spcCol="0" rtlCol="0" fromWordArt="0" anchor="ctr" anchorCtr="0" forceAA="0" compatLnSpc="1">
            <a:prstTxWarp prst="textNoShape">
              <a:avLst/>
            </a:prstTxWarp>
            <a:spAutoFit/>
          </a:bodyPr>
          <a:lstStyle/>
          <a:p>
            <a:pPr algn="ctr" defTabSz="914102" fontAlgn="base">
              <a:spcBef>
                <a:spcPct val="0"/>
              </a:spcBef>
              <a:spcAft>
                <a:spcPct val="0"/>
              </a:spcAft>
            </a:pPr>
            <a:r>
              <a:rPr lang="en-IN" sz="1372" dirty="0">
                <a:solidFill>
                  <a:srgbClr val="FFFFFF"/>
                </a:solidFill>
                <a:latin typeface="Segoe UI Semibold" panose="020B0702040204020203" pitchFamily="34" charset="0"/>
                <a:ea typeface="Segoe UI" pitchFamily="34" charset="0"/>
                <a:cs typeface="Segoe UI Semibold" panose="020B0702040204020203" pitchFamily="34" charset="0"/>
              </a:rPr>
              <a:t>Optimizer Improvements</a:t>
            </a:r>
          </a:p>
        </p:txBody>
      </p:sp>
      <p:sp>
        <p:nvSpPr>
          <p:cNvPr id="68" name="Rectangle 67"/>
          <p:cNvSpPr/>
          <p:nvPr/>
        </p:nvSpPr>
        <p:spPr bwMode="auto">
          <a:xfrm>
            <a:off x="9250885" y="2927699"/>
            <a:ext cx="1472015" cy="30172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44821" numCol="1" spcCol="0" rtlCol="0" fromWordArt="0" anchor="ctr" anchorCtr="0" forceAA="0" compatLnSpc="1">
            <a:prstTxWarp prst="textNoShape">
              <a:avLst/>
            </a:prstTxWarp>
            <a:spAutoFit/>
          </a:bodyPr>
          <a:lstStyle/>
          <a:p>
            <a:pPr algn="ctr" defTabSz="914102" fontAlgn="base">
              <a:spcBef>
                <a:spcPct val="0"/>
              </a:spcBef>
              <a:spcAft>
                <a:spcPct val="0"/>
              </a:spcAft>
            </a:pPr>
            <a:r>
              <a:rPr lang="en-IN" sz="1372" dirty="0">
                <a:solidFill>
                  <a:srgbClr val="FFFFFF"/>
                </a:solidFill>
                <a:latin typeface="Segoe UI Semibold" panose="020B0702040204020203" pitchFamily="34" charset="0"/>
                <a:ea typeface="Segoe UI" pitchFamily="34" charset="0"/>
                <a:cs typeface="Segoe UI Semibold" panose="020B0702040204020203" pitchFamily="34" charset="0"/>
              </a:rPr>
              <a:t>Security</a:t>
            </a:r>
          </a:p>
        </p:txBody>
      </p:sp>
      <p:sp>
        <p:nvSpPr>
          <p:cNvPr id="69" name="Rectangle 68"/>
          <p:cNvSpPr/>
          <p:nvPr/>
        </p:nvSpPr>
        <p:spPr bwMode="auto">
          <a:xfrm>
            <a:off x="9081552" y="2603535"/>
            <a:ext cx="1874545" cy="3016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44821" numCol="1" spcCol="0" rtlCol="0" fromWordArt="0" anchor="ctr" anchorCtr="0" forceAA="0" compatLnSpc="1">
            <a:prstTxWarp prst="textNoShape">
              <a:avLst/>
            </a:prstTxWarp>
            <a:spAutoFit/>
          </a:bodyPr>
          <a:lstStyle/>
          <a:p>
            <a:pPr algn="ctr" defTabSz="914102" fontAlgn="base">
              <a:spcBef>
                <a:spcPct val="0"/>
              </a:spcBef>
              <a:spcAft>
                <a:spcPct val="0"/>
              </a:spcAft>
            </a:pPr>
            <a:r>
              <a:rPr lang="en-IN" sz="1372" dirty="0">
                <a:solidFill>
                  <a:srgbClr val="FFFFFF"/>
                </a:solidFill>
                <a:latin typeface="Segoe UI Semibold" panose="020B0702040204020203" pitchFamily="34" charset="0"/>
                <a:ea typeface="Segoe UI" pitchFamily="34" charset="0"/>
                <a:cs typeface="Segoe UI Semibold" panose="020B0702040204020203" pitchFamily="34" charset="0"/>
              </a:rPr>
              <a:t>Improved Performance</a:t>
            </a:r>
          </a:p>
        </p:txBody>
      </p:sp>
      <p:sp>
        <p:nvSpPr>
          <p:cNvPr id="70" name="Shape 69"/>
          <p:cNvSpPr/>
          <p:nvPr/>
        </p:nvSpPr>
        <p:spPr>
          <a:xfrm rot="1440085">
            <a:off x="8702056" y="1370134"/>
            <a:ext cx="499499" cy="348339"/>
          </a:xfrm>
          <a:prstGeom prst="swooshArrow">
            <a:avLst>
              <a:gd name="adj1" fmla="val 27699"/>
              <a:gd name="adj2" fmla="val 51589"/>
            </a:avLst>
          </a:prstGeom>
          <a:solidFill>
            <a:schemeClr val="bg1">
              <a:lumMod val="65000"/>
            </a:schemeClr>
          </a:solidFill>
          <a:ln w="6350"/>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cxnSp>
        <p:nvCxnSpPr>
          <p:cNvPr id="89" name="Straight Connector 88"/>
          <p:cNvCxnSpPr/>
          <p:nvPr/>
        </p:nvCxnSpPr>
        <p:spPr>
          <a:xfrm>
            <a:off x="3107790" y="1913553"/>
            <a:ext cx="7863840" cy="0"/>
          </a:xfrm>
          <a:prstGeom prst="line">
            <a:avLst/>
          </a:prstGeom>
          <a:ln w="31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a:off x="2987270" y="2247607"/>
            <a:ext cx="8138160" cy="0"/>
          </a:xfrm>
          <a:prstGeom prst="line">
            <a:avLst/>
          </a:prstGeom>
          <a:ln w="31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a:off x="2987270" y="2588733"/>
            <a:ext cx="8138160" cy="0"/>
          </a:xfrm>
          <a:prstGeom prst="line">
            <a:avLst/>
          </a:prstGeom>
          <a:ln w="31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a:off x="3107790" y="2936933"/>
            <a:ext cx="7863840" cy="0"/>
          </a:xfrm>
          <a:prstGeom prst="line">
            <a:avLst/>
          </a:prstGeom>
          <a:ln w="31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3409764" y="3278061"/>
            <a:ext cx="7223760" cy="0"/>
          </a:xfrm>
          <a:prstGeom prst="line">
            <a:avLst/>
          </a:prstGeom>
          <a:ln w="31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34125120"/>
      </p:ext>
    </p:extLst>
  </p:cSld>
  <p:clrMapOvr>
    <a:masterClrMapping/>
  </p:clrMapOvr>
  <p:transition spd="med">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sual Studio tooling</a:t>
            </a:r>
          </a:p>
        </p:txBody>
      </p:sp>
      <p:sp>
        <p:nvSpPr>
          <p:cNvPr id="7" name="Freeform 6"/>
          <p:cNvSpPr>
            <a:spLocks/>
          </p:cNvSpPr>
          <p:nvPr/>
        </p:nvSpPr>
        <p:spPr bwMode="auto">
          <a:xfrm>
            <a:off x="690830" y="1779560"/>
            <a:ext cx="334721" cy="253893"/>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lumMod val="50000"/>
            </a:schemeClr>
          </a:solidFill>
          <a:ln>
            <a:noFill/>
          </a:ln>
        </p:spPr>
        <p:txBody>
          <a:bodyPr vert="horz" wrap="square" lIns="89642" tIns="44821" rIns="89642" bIns="44821" numCol="1" anchor="t" anchorCtr="0" compatLnSpc="1">
            <a:prstTxWarp prst="textNoShape">
              <a:avLst/>
            </a:prstTxWarp>
          </a:bodyPr>
          <a:lstStyle/>
          <a:p>
            <a:pPr defTabSz="914367"/>
            <a:endParaRPr lang="en-IN" sz="1765">
              <a:solidFill>
                <a:srgbClr val="000000"/>
              </a:solidFill>
            </a:endParaRPr>
          </a:p>
        </p:txBody>
      </p:sp>
      <p:sp>
        <p:nvSpPr>
          <p:cNvPr id="13" name="Freeform 12"/>
          <p:cNvSpPr>
            <a:spLocks/>
          </p:cNvSpPr>
          <p:nvPr/>
        </p:nvSpPr>
        <p:spPr bwMode="auto">
          <a:xfrm>
            <a:off x="686652" y="2661489"/>
            <a:ext cx="334721" cy="253893"/>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lumMod val="50000"/>
            </a:schemeClr>
          </a:solidFill>
          <a:ln>
            <a:noFill/>
          </a:ln>
        </p:spPr>
        <p:txBody>
          <a:bodyPr vert="horz" wrap="square" lIns="89642" tIns="44821" rIns="89642" bIns="44821" numCol="1" anchor="t" anchorCtr="0" compatLnSpc="1">
            <a:prstTxWarp prst="textNoShape">
              <a:avLst/>
            </a:prstTxWarp>
          </a:bodyPr>
          <a:lstStyle/>
          <a:p>
            <a:pPr defTabSz="914367"/>
            <a:endParaRPr lang="en-IN" sz="1765">
              <a:solidFill>
                <a:srgbClr val="000000"/>
              </a:solidFill>
            </a:endParaRPr>
          </a:p>
        </p:txBody>
      </p:sp>
      <p:sp>
        <p:nvSpPr>
          <p:cNvPr id="17" name="Freeform 16"/>
          <p:cNvSpPr>
            <a:spLocks/>
          </p:cNvSpPr>
          <p:nvPr/>
        </p:nvSpPr>
        <p:spPr bwMode="auto">
          <a:xfrm>
            <a:off x="670418" y="3091323"/>
            <a:ext cx="334721" cy="253893"/>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lumMod val="50000"/>
            </a:schemeClr>
          </a:solidFill>
          <a:ln>
            <a:noFill/>
          </a:ln>
        </p:spPr>
        <p:txBody>
          <a:bodyPr vert="horz" wrap="square" lIns="89642" tIns="44821" rIns="89642" bIns="44821" numCol="1" anchor="t" anchorCtr="0" compatLnSpc="1">
            <a:prstTxWarp prst="textNoShape">
              <a:avLst/>
            </a:prstTxWarp>
          </a:bodyPr>
          <a:lstStyle/>
          <a:p>
            <a:pPr defTabSz="914367"/>
            <a:endParaRPr lang="en-IN" sz="1765">
              <a:solidFill>
                <a:srgbClr val="000000"/>
              </a:solidFill>
            </a:endParaRPr>
          </a:p>
        </p:txBody>
      </p:sp>
      <p:sp>
        <p:nvSpPr>
          <p:cNvPr id="18" name="Freeform 17"/>
          <p:cNvSpPr>
            <a:spLocks/>
          </p:cNvSpPr>
          <p:nvPr/>
        </p:nvSpPr>
        <p:spPr bwMode="auto">
          <a:xfrm>
            <a:off x="670418" y="3524907"/>
            <a:ext cx="334721" cy="253893"/>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lumMod val="50000"/>
            </a:schemeClr>
          </a:solidFill>
          <a:ln>
            <a:noFill/>
          </a:ln>
        </p:spPr>
        <p:txBody>
          <a:bodyPr vert="horz" wrap="square" lIns="89642" tIns="44821" rIns="89642" bIns="44821" numCol="1" anchor="t" anchorCtr="0" compatLnSpc="1">
            <a:prstTxWarp prst="textNoShape">
              <a:avLst/>
            </a:prstTxWarp>
          </a:bodyPr>
          <a:lstStyle/>
          <a:p>
            <a:pPr defTabSz="914367"/>
            <a:endParaRPr lang="en-IN" sz="1765">
              <a:solidFill>
                <a:srgbClr val="000000"/>
              </a:solidFill>
            </a:endParaRPr>
          </a:p>
        </p:txBody>
      </p:sp>
      <p:sp>
        <p:nvSpPr>
          <p:cNvPr id="19" name="Freeform 18"/>
          <p:cNvSpPr>
            <a:spLocks/>
          </p:cNvSpPr>
          <p:nvPr/>
        </p:nvSpPr>
        <p:spPr bwMode="auto">
          <a:xfrm>
            <a:off x="651589" y="3974303"/>
            <a:ext cx="334721" cy="253893"/>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lumMod val="50000"/>
            </a:schemeClr>
          </a:solidFill>
          <a:ln>
            <a:noFill/>
          </a:ln>
        </p:spPr>
        <p:txBody>
          <a:bodyPr vert="horz" wrap="square" lIns="89642" tIns="44821" rIns="89642" bIns="44821" numCol="1" anchor="t" anchorCtr="0" compatLnSpc="1">
            <a:prstTxWarp prst="textNoShape">
              <a:avLst/>
            </a:prstTxWarp>
          </a:bodyPr>
          <a:lstStyle/>
          <a:p>
            <a:pPr defTabSz="914367"/>
            <a:endParaRPr lang="en-IN" sz="1765">
              <a:solidFill>
                <a:srgbClr val="000000"/>
              </a:solidFill>
            </a:endParaRPr>
          </a:p>
        </p:txBody>
      </p:sp>
      <p:sp>
        <p:nvSpPr>
          <p:cNvPr id="20" name="Freeform 19"/>
          <p:cNvSpPr>
            <a:spLocks/>
          </p:cNvSpPr>
          <p:nvPr/>
        </p:nvSpPr>
        <p:spPr bwMode="auto">
          <a:xfrm>
            <a:off x="670418" y="4401836"/>
            <a:ext cx="334721" cy="253893"/>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lumMod val="50000"/>
            </a:schemeClr>
          </a:solidFill>
          <a:ln>
            <a:noFill/>
          </a:ln>
        </p:spPr>
        <p:txBody>
          <a:bodyPr vert="horz" wrap="square" lIns="89642" tIns="44821" rIns="89642" bIns="44821" numCol="1" anchor="t" anchorCtr="0" compatLnSpc="1">
            <a:prstTxWarp prst="textNoShape">
              <a:avLst/>
            </a:prstTxWarp>
          </a:bodyPr>
          <a:lstStyle/>
          <a:p>
            <a:pPr defTabSz="914367"/>
            <a:endParaRPr lang="en-IN" sz="1765">
              <a:solidFill>
                <a:srgbClr val="000000"/>
              </a:solidFill>
            </a:endParaRPr>
          </a:p>
        </p:txBody>
      </p:sp>
      <p:sp>
        <p:nvSpPr>
          <p:cNvPr id="21" name="Freeform 20"/>
          <p:cNvSpPr>
            <a:spLocks/>
          </p:cNvSpPr>
          <p:nvPr/>
        </p:nvSpPr>
        <p:spPr bwMode="auto">
          <a:xfrm>
            <a:off x="648968" y="4803362"/>
            <a:ext cx="334721" cy="253893"/>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lumMod val="50000"/>
            </a:schemeClr>
          </a:solidFill>
          <a:ln>
            <a:noFill/>
          </a:ln>
        </p:spPr>
        <p:txBody>
          <a:bodyPr vert="horz" wrap="square" lIns="89642" tIns="44821" rIns="89642" bIns="44821" numCol="1" anchor="t" anchorCtr="0" compatLnSpc="1">
            <a:prstTxWarp prst="textNoShape">
              <a:avLst/>
            </a:prstTxWarp>
          </a:bodyPr>
          <a:lstStyle/>
          <a:p>
            <a:pPr defTabSz="914367"/>
            <a:endParaRPr lang="en-IN" sz="1765">
              <a:solidFill>
                <a:srgbClr val="000000"/>
              </a:solidFill>
            </a:endParaRPr>
          </a:p>
        </p:txBody>
      </p:sp>
      <p:pic>
        <p:nvPicPr>
          <p:cNvPr id="14" name="Picture 1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71329" y="1887038"/>
            <a:ext cx="3805735" cy="3829083"/>
          </a:xfrm>
          <a:prstGeom prst="rect">
            <a:avLst/>
          </a:prstGeom>
        </p:spPr>
      </p:pic>
      <p:sp>
        <p:nvSpPr>
          <p:cNvPr id="15" name="Rectangle 14"/>
          <p:cNvSpPr/>
          <p:nvPr/>
        </p:nvSpPr>
        <p:spPr bwMode="auto">
          <a:xfrm>
            <a:off x="7326550" y="1292141"/>
            <a:ext cx="4447645" cy="4685443"/>
          </a:xfrm>
          <a:prstGeom prst="rect">
            <a:avLst/>
          </a:prstGeom>
          <a:solidFill>
            <a:schemeClr val="bg1">
              <a:alpha val="7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23" name="Content Placeholder 2"/>
          <p:cNvSpPr txBox="1">
            <a:spLocks/>
          </p:cNvSpPr>
          <p:nvPr/>
        </p:nvSpPr>
        <p:spPr bwMode="auto">
          <a:xfrm>
            <a:off x="455995" y="1279717"/>
            <a:ext cx="8335865" cy="50199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89642" tIns="44821" rIns="89642" bIns="44821" numCol="1" anchor="t" anchorCtr="0" compatLnSpc="1">
            <a:prstTxWarp prst="textNoShape">
              <a:avLst/>
            </a:prstTxWarp>
          </a:bodyPr>
          <a:lstStyle>
            <a:lvl1pPr marL="342900" indent="-342900" algn="l" defTabSz="931863" rtl="0" eaLnBrk="1" fontAlgn="base" hangingPunct="1">
              <a:lnSpc>
                <a:spcPct val="90000"/>
              </a:lnSpc>
              <a:spcBef>
                <a:spcPct val="20000"/>
              </a:spcBef>
              <a:spcAft>
                <a:spcPct val="0"/>
              </a:spcAft>
              <a:buSzPct val="90000"/>
              <a:buFont typeface="Arial" charset="0"/>
              <a:buChar char="•"/>
              <a:defRPr sz="4000" kern="1200">
                <a:solidFill>
                  <a:schemeClr val="tx2"/>
                </a:solidFill>
                <a:latin typeface="+mj-lt"/>
                <a:ea typeface="ＭＳ Ｐゴシック" charset="0"/>
                <a:cs typeface="ＭＳ Ｐゴシック" charset="0"/>
              </a:defRPr>
            </a:lvl1pPr>
            <a:lvl2pPr marL="584200" indent="-241300" algn="l" defTabSz="931863" rtl="0" eaLnBrk="1" fontAlgn="base" hangingPunct="1">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800100" indent="-228600" algn="l" defTabSz="931863"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700" indent="-228600" algn="l" defTabSz="931863"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300" indent="-228600" algn="l" defTabSz="931863"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784"/>
              </a:spcBef>
              <a:buNone/>
            </a:pPr>
            <a:r>
              <a:rPr lang="en-US" sz="2353" dirty="0">
                <a:solidFill>
                  <a:srgbClr val="505050"/>
                </a:solidFill>
                <a:cs typeface="Segoe UI Semibold" panose="020B0702040204020203" pitchFamily="34" charset="0"/>
              </a:rPr>
              <a:t>Ships with the Azure SDK</a:t>
            </a:r>
          </a:p>
          <a:p>
            <a:pPr marL="547792" lvl="2" indent="0">
              <a:lnSpc>
                <a:spcPct val="100000"/>
              </a:lnSpc>
              <a:spcBef>
                <a:spcPts val="196"/>
              </a:spcBef>
              <a:spcAft>
                <a:spcPts val="392"/>
              </a:spcAft>
              <a:buNone/>
            </a:pPr>
            <a:r>
              <a:rPr lang="en-US" sz="2353" dirty="0">
                <a:solidFill>
                  <a:srgbClr val="505050"/>
                </a:solidFill>
                <a:latin typeface="+mj-lt"/>
              </a:rPr>
              <a:t>Supported for VS 2012, 2013 and 2015</a:t>
            </a:r>
          </a:p>
          <a:p>
            <a:pPr marL="0" indent="0">
              <a:lnSpc>
                <a:spcPct val="100000"/>
              </a:lnSpc>
              <a:spcBef>
                <a:spcPts val="1176"/>
              </a:spcBef>
              <a:buNone/>
            </a:pPr>
            <a:r>
              <a:rPr lang="en-US" sz="2353" dirty="0">
                <a:solidFill>
                  <a:srgbClr val="505050"/>
                </a:solidFill>
                <a:cs typeface="Segoe UI Semibold" panose="020B0702040204020203" pitchFamily="34" charset="0"/>
              </a:rPr>
              <a:t>Enables Hive query authoring, submission and debugging</a:t>
            </a:r>
          </a:p>
          <a:p>
            <a:pPr marL="547792" lvl="2" indent="0">
              <a:lnSpc>
                <a:spcPct val="100000"/>
              </a:lnSpc>
              <a:spcBef>
                <a:spcPts val="196"/>
              </a:spcBef>
              <a:spcAft>
                <a:spcPts val="392"/>
              </a:spcAft>
              <a:buNone/>
            </a:pPr>
            <a:r>
              <a:rPr lang="en-US" sz="2353" dirty="0">
                <a:solidFill>
                  <a:srgbClr val="505050"/>
                </a:solidFill>
                <a:latin typeface="+mj-lt"/>
              </a:rPr>
              <a:t>Navigate Linked Resources</a:t>
            </a:r>
          </a:p>
          <a:p>
            <a:pPr marL="547792" lvl="2" indent="0">
              <a:lnSpc>
                <a:spcPct val="100000"/>
              </a:lnSpc>
              <a:spcBef>
                <a:spcPts val="196"/>
              </a:spcBef>
              <a:spcAft>
                <a:spcPts val="392"/>
              </a:spcAft>
              <a:buNone/>
            </a:pPr>
            <a:r>
              <a:rPr lang="en-US" sz="2353" dirty="0">
                <a:solidFill>
                  <a:srgbClr val="505050"/>
                </a:solidFill>
                <a:latin typeface="+mj-lt"/>
              </a:rPr>
              <a:t>Create Hive Tables</a:t>
            </a:r>
          </a:p>
          <a:p>
            <a:pPr marL="547792" lvl="2" indent="0">
              <a:lnSpc>
                <a:spcPct val="100000"/>
              </a:lnSpc>
              <a:spcBef>
                <a:spcPts val="196"/>
              </a:spcBef>
              <a:spcAft>
                <a:spcPts val="392"/>
              </a:spcAft>
              <a:buNone/>
            </a:pPr>
            <a:r>
              <a:rPr lang="en-US" sz="2353" dirty="0">
                <a:solidFill>
                  <a:srgbClr val="505050"/>
                </a:solidFill>
                <a:latin typeface="+mj-lt"/>
              </a:rPr>
              <a:t>Run Hive Queries</a:t>
            </a:r>
          </a:p>
          <a:p>
            <a:pPr marL="547792" lvl="2" indent="0">
              <a:lnSpc>
                <a:spcPct val="100000"/>
              </a:lnSpc>
              <a:spcBef>
                <a:spcPts val="196"/>
              </a:spcBef>
              <a:spcAft>
                <a:spcPts val="392"/>
              </a:spcAft>
              <a:buNone/>
            </a:pPr>
            <a:r>
              <a:rPr lang="en-US" sz="2353" dirty="0">
                <a:solidFill>
                  <a:srgbClr val="505050"/>
                </a:solidFill>
                <a:latin typeface="+mj-lt"/>
              </a:rPr>
              <a:t>View Hive Jobs</a:t>
            </a:r>
          </a:p>
          <a:p>
            <a:pPr marL="547792" lvl="2" indent="0">
              <a:lnSpc>
                <a:spcPct val="100000"/>
              </a:lnSpc>
              <a:spcBef>
                <a:spcPts val="196"/>
              </a:spcBef>
              <a:spcAft>
                <a:spcPts val="392"/>
              </a:spcAft>
              <a:buNone/>
            </a:pPr>
            <a:r>
              <a:rPr lang="en-US" sz="2353" dirty="0">
                <a:solidFill>
                  <a:srgbClr val="505050"/>
                </a:solidFill>
                <a:latin typeface="+mj-lt"/>
              </a:rPr>
              <a:t>Hive Script Local Validation</a:t>
            </a:r>
          </a:p>
          <a:p>
            <a:pPr marL="547792" lvl="2" indent="0">
              <a:lnSpc>
                <a:spcPct val="100000"/>
              </a:lnSpc>
              <a:spcBef>
                <a:spcPts val="196"/>
              </a:spcBef>
              <a:spcAft>
                <a:spcPts val="392"/>
              </a:spcAft>
              <a:buNone/>
            </a:pPr>
            <a:r>
              <a:rPr lang="en-US" sz="2353" dirty="0">
                <a:solidFill>
                  <a:srgbClr val="505050"/>
                </a:solidFill>
                <a:latin typeface="+mj-lt"/>
              </a:rPr>
              <a:t>IntelliSense Support for Hive (Preview)</a:t>
            </a:r>
          </a:p>
          <a:p>
            <a:pPr marL="0" indent="0">
              <a:lnSpc>
                <a:spcPct val="100000"/>
              </a:lnSpc>
              <a:spcBef>
                <a:spcPts val="1176"/>
              </a:spcBef>
              <a:buNone/>
            </a:pPr>
            <a:r>
              <a:rPr lang="en-US" sz="2353" dirty="0">
                <a:solidFill>
                  <a:srgbClr val="505050"/>
                </a:solidFill>
                <a:cs typeface="Segoe UI Semibold" panose="020B0702040204020203" pitchFamily="34" charset="0"/>
              </a:rPr>
              <a:t>Table creation and schema management are also supported </a:t>
            </a:r>
          </a:p>
        </p:txBody>
      </p:sp>
    </p:spTree>
    <p:extLst>
      <p:ext uri="{BB962C8B-B14F-4D97-AF65-F5344CB8AC3E}">
        <p14:creationId xmlns:p14="http://schemas.microsoft.com/office/powerpoint/2010/main" val="4164285241"/>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3">
                                            <p:txEl>
                                              <p:pRg st="0" end="0"/>
                                            </p:txEl>
                                          </p:spTgt>
                                        </p:tgtEl>
                                        <p:attrNameLst>
                                          <p:attrName>style.visibility</p:attrName>
                                        </p:attrNameLst>
                                      </p:cBhvr>
                                      <p:to>
                                        <p:strVal val="visible"/>
                                      </p:to>
                                    </p:set>
                                    <p:animEffect transition="in" filter="fade">
                                      <p:cBhvr>
                                        <p:cTn id="7" dur="500"/>
                                        <p:tgtEl>
                                          <p:spTgt spid="2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23">
                                            <p:txEl>
                                              <p:pRg st="1" end="1"/>
                                            </p:txEl>
                                          </p:spTgt>
                                        </p:tgtEl>
                                        <p:attrNameLst>
                                          <p:attrName>style.visibility</p:attrName>
                                        </p:attrNameLst>
                                      </p:cBhvr>
                                      <p:to>
                                        <p:strVal val="visible"/>
                                      </p:to>
                                    </p:set>
                                    <p:animEffect transition="in" filter="fade">
                                      <p:cBhvr>
                                        <p:cTn id="10" dur="500"/>
                                        <p:tgtEl>
                                          <p:spTgt spid="23">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23">
                                            <p:txEl>
                                              <p:pRg st="2" end="2"/>
                                            </p:txEl>
                                          </p:spTgt>
                                        </p:tgtEl>
                                        <p:attrNameLst>
                                          <p:attrName>style.visibility</p:attrName>
                                        </p:attrNameLst>
                                      </p:cBhvr>
                                      <p:to>
                                        <p:strVal val="visible"/>
                                      </p:to>
                                    </p:set>
                                    <p:animEffect transition="in" filter="fade">
                                      <p:cBhvr>
                                        <p:cTn id="18" dur="500"/>
                                        <p:tgtEl>
                                          <p:spTgt spid="23">
                                            <p:txEl>
                                              <p:pRg st="2" end="2"/>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23">
                                            <p:txEl>
                                              <p:pRg st="3" end="3"/>
                                            </p:txEl>
                                          </p:spTgt>
                                        </p:tgtEl>
                                        <p:attrNameLst>
                                          <p:attrName>style.visibility</p:attrName>
                                        </p:attrNameLst>
                                      </p:cBhvr>
                                      <p:to>
                                        <p:strVal val="visible"/>
                                      </p:to>
                                    </p:set>
                                    <p:animEffect transition="in" filter="fade">
                                      <p:cBhvr>
                                        <p:cTn id="21" dur="500"/>
                                        <p:tgtEl>
                                          <p:spTgt spid="23">
                                            <p:txEl>
                                              <p:pRg st="3" end="3"/>
                                            </p:txEl>
                                          </p:spTgt>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3"/>
                                        </p:tgtEl>
                                        <p:attrNameLst>
                                          <p:attrName>style.visibility</p:attrName>
                                        </p:attrNameLst>
                                      </p:cBhvr>
                                      <p:to>
                                        <p:strVal val="visible"/>
                                      </p:to>
                                    </p:set>
                                    <p:animEffect transition="in" filter="fade">
                                      <p:cBhvr>
                                        <p:cTn id="24" dur="500"/>
                                        <p:tgtEl>
                                          <p:spTgt spid="13"/>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23">
                                            <p:txEl>
                                              <p:pRg st="4" end="4"/>
                                            </p:txEl>
                                          </p:spTgt>
                                        </p:tgtEl>
                                        <p:attrNameLst>
                                          <p:attrName>style.visibility</p:attrName>
                                        </p:attrNameLst>
                                      </p:cBhvr>
                                      <p:to>
                                        <p:strVal val="visible"/>
                                      </p:to>
                                    </p:set>
                                    <p:animEffect transition="in" filter="fade">
                                      <p:cBhvr>
                                        <p:cTn id="29" dur="500"/>
                                        <p:tgtEl>
                                          <p:spTgt spid="23">
                                            <p:txEl>
                                              <p:pRg st="4" end="4"/>
                                            </p:txEl>
                                          </p:spTgt>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7"/>
                                        </p:tgtEl>
                                        <p:attrNameLst>
                                          <p:attrName>style.visibility</p:attrName>
                                        </p:attrNameLst>
                                      </p:cBhvr>
                                      <p:to>
                                        <p:strVal val="visible"/>
                                      </p:to>
                                    </p:set>
                                    <p:animEffect transition="in" filter="fade">
                                      <p:cBhvr>
                                        <p:cTn id="32" dur="500"/>
                                        <p:tgtEl>
                                          <p:spTgt spid="17"/>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23">
                                            <p:txEl>
                                              <p:pRg st="5" end="5"/>
                                            </p:txEl>
                                          </p:spTgt>
                                        </p:tgtEl>
                                        <p:attrNameLst>
                                          <p:attrName>style.visibility</p:attrName>
                                        </p:attrNameLst>
                                      </p:cBhvr>
                                      <p:to>
                                        <p:strVal val="visible"/>
                                      </p:to>
                                    </p:set>
                                    <p:animEffect transition="in" filter="fade">
                                      <p:cBhvr>
                                        <p:cTn id="37" dur="500"/>
                                        <p:tgtEl>
                                          <p:spTgt spid="23">
                                            <p:txEl>
                                              <p:pRg st="5" end="5"/>
                                            </p:txEl>
                                          </p:spTgt>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18"/>
                                        </p:tgtEl>
                                        <p:attrNameLst>
                                          <p:attrName>style.visibility</p:attrName>
                                        </p:attrNameLst>
                                      </p:cBhvr>
                                      <p:to>
                                        <p:strVal val="visible"/>
                                      </p:to>
                                    </p:set>
                                    <p:animEffect transition="in" filter="fade">
                                      <p:cBhvr>
                                        <p:cTn id="40" dur="500"/>
                                        <p:tgtEl>
                                          <p:spTgt spid="18"/>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23">
                                            <p:txEl>
                                              <p:pRg st="6" end="6"/>
                                            </p:txEl>
                                          </p:spTgt>
                                        </p:tgtEl>
                                        <p:attrNameLst>
                                          <p:attrName>style.visibility</p:attrName>
                                        </p:attrNameLst>
                                      </p:cBhvr>
                                      <p:to>
                                        <p:strVal val="visible"/>
                                      </p:to>
                                    </p:set>
                                    <p:animEffect transition="in" filter="fade">
                                      <p:cBhvr>
                                        <p:cTn id="45" dur="500"/>
                                        <p:tgtEl>
                                          <p:spTgt spid="23">
                                            <p:txEl>
                                              <p:pRg st="6" end="6"/>
                                            </p:txEl>
                                          </p:spTgt>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19"/>
                                        </p:tgtEl>
                                        <p:attrNameLst>
                                          <p:attrName>style.visibility</p:attrName>
                                        </p:attrNameLst>
                                      </p:cBhvr>
                                      <p:to>
                                        <p:strVal val="visible"/>
                                      </p:to>
                                    </p:set>
                                    <p:animEffect transition="in" filter="fade">
                                      <p:cBhvr>
                                        <p:cTn id="48" dur="500"/>
                                        <p:tgtEl>
                                          <p:spTgt spid="19"/>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nodeType="clickEffect">
                                  <p:stCondLst>
                                    <p:cond delay="0"/>
                                  </p:stCondLst>
                                  <p:childTnLst>
                                    <p:set>
                                      <p:cBhvr>
                                        <p:cTn id="52" dur="1" fill="hold">
                                          <p:stCondLst>
                                            <p:cond delay="0"/>
                                          </p:stCondLst>
                                        </p:cTn>
                                        <p:tgtEl>
                                          <p:spTgt spid="23">
                                            <p:txEl>
                                              <p:pRg st="7" end="7"/>
                                            </p:txEl>
                                          </p:spTgt>
                                        </p:tgtEl>
                                        <p:attrNameLst>
                                          <p:attrName>style.visibility</p:attrName>
                                        </p:attrNameLst>
                                      </p:cBhvr>
                                      <p:to>
                                        <p:strVal val="visible"/>
                                      </p:to>
                                    </p:set>
                                    <p:animEffect transition="in" filter="fade">
                                      <p:cBhvr>
                                        <p:cTn id="53" dur="500"/>
                                        <p:tgtEl>
                                          <p:spTgt spid="23">
                                            <p:txEl>
                                              <p:pRg st="7" end="7"/>
                                            </p:txEl>
                                          </p:spTgt>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20"/>
                                        </p:tgtEl>
                                        <p:attrNameLst>
                                          <p:attrName>style.visibility</p:attrName>
                                        </p:attrNameLst>
                                      </p:cBhvr>
                                      <p:to>
                                        <p:strVal val="visible"/>
                                      </p:to>
                                    </p:set>
                                    <p:animEffect transition="in" filter="fade">
                                      <p:cBhvr>
                                        <p:cTn id="56" dur="500"/>
                                        <p:tgtEl>
                                          <p:spTgt spid="20"/>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nodeType="clickEffect">
                                  <p:stCondLst>
                                    <p:cond delay="0"/>
                                  </p:stCondLst>
                                  <p:childTnLst>
                                    <p:set>
                                      <p:cBhvr>
                                        <p:cTn id="60" dur="1" fill="hold">
                                          <p:stCondLst>
                                            <p:cond delay="0"/>
                                          </p:stCondLst>
                                        </p:cTn>
                                        <p:tgtEl>
                                          <p:spTgt spid="23">
                                            <p:txEl>
                                              <p:pRg st="8" end="8"/>
                                            </p:txEl>
                                          </p:spTgt>
                                        </p:tgtEl>
                                        <p:attrNameLst>
                                          <p:attrName>style.visibility</p:attrName>
                                        </p:attrNameLst>
                                      </p:cBhvr>
                                      <p:to>
                                        <p:strVal val="visible"/>
                                      </p:to>
                                    </p:set>
                                    <p:animEffect transition="in" filter="fade">
                                      <p:cBhvr>
                                        <p:cTn id="61" dur="500"/>
                                        <p:tgtEl>
                                          <p:spTgt spid="23">
                                            <p:txEl>
                                              <p:pRg st="8" end="8"/>
                                            </p:txEl>
                                          </p:spTgt>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21"/>
                                        </p:tgtEl>
                                        <p:attrNameLst>
                                          <p:attrName>style.visibility</p:attrName>
                                        </p:attrNameLst>
                                      </p:cBhvr>
                                      <p:to>
                                        <p:strVal val="visible"/>
                                      </p:to>
                                    </p:set>
                                    <p:animEffect transition="in" filter="fade">
                                      <p:cBhvr>
                                        <p:cTn id="64" dur="500"/>
                                        <p:tgtEl>
                                          <p:spTgt spid="21"/>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nodeType="clickEffect">
                                  <p:stCondLst>
                                    <p:cond delay="0"/>
                                  </p:stCondLst>
                                  <p:childTnLst>
                                    <p:set>
                                      <p:cBhvr>
                                        <p:cTn id="68" dur="1" fill="hold">
                                          <p:stCondLst>
                                            <p:cond delay="0"/>
                                          </p:stCondLst>
                                        </p:cTn>
                                        <p:tgtEl>
                                          <p:spTgt spid="23">
                                            <p:txEl>
                                              <p:pRg st="9" end="9"/>
                                            </p:txEl>
                                          </p:spTgt>
                                        </p:tgtEl>
                                        <p:attrNameLst>
                                          <p:attrName>style.visibility</p:attrName>
                                        </p:attrNameLst>
                                      </p:cBhvr>
                                      <p:to>
                                        <p:strVal val="visible"/>
                                      </p:to>
                                    </p:set>
                                    <p:animEffect transition="in" filter="fade">
                                      <p:cBhvr>
                                        <p:cTn id="69" dur="500"/>
                                        <p:tgtEl>
                                          <p:spTgt spid="23">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3" grpId="0" animBg="1"/>
      <p:bldP spid="17" grpId="0" animBg="1"/>
      <p:bldP spid="18" grpId="0" animBg="1"/>
      <p:bldP spid="19" grpId="0" animBg="1"/>
      <p:bldP spid="20" grpId="0" animBg="1"/>
      <p:bldP spid="21"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1" y="487"/>
            <a:ext cx="5220356" cy="6857027"/>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endParaRPr lang="en-US" sz="5294" dirty="0">
              <a:solidFill>
                <a:schemeClr val="bg1"/>
              </a:solidFill>
              <a:latin typeface="+mj-lt"/>
              <a:ea typeface="Segoe UI" pitchFamily="34" charset="0"/>
              <a:cs typeface="Segoe UI" pitchFamily="34" charset="0"/>
            </a:endParaRPr>
          </a:p>
          <a:p>
            <a:pPr defTabSz="914102" fontAlgn="base">
              <a:lnSpc>
                <a:spcPct val="90000"/>
              </a:lnSpc>
              <a:spcBef>
                <a:spcPct val="0"/>
              </a:spcBef>
              <a:spcAft>
                <a:spcPct val="0"/>
              </a:spcAft>
            </a:pPr>
            <a:endParaRPr lang="en-US" sz="5294" dirty="0">
              <a:solidFill>
                <a:schemeClr val="bg1"/>
              </a:solidFill>
              <a:latin typeface="+mj-lt"/>
              <a:ea typeface="Segoe UI" pitchFamily="34" charset="0"/>
              <a:cs typeface="Segoe UI" pitchFamily="34" charset="0"/>
            </a:endParaRPr>
          </a:p>
        </p:txBody>
      </p:sp>
      <p:sp>
        <p:nvSpPr>
          <p:cNvPr id="4" name="TextBox 3"/>
          <p:cNvSpPr txBox="1"/>
          <p:nvPr/>
        </p:nvSpPr>
        <p:spPr>
          <a:xfrm>
            <a:off x="5220356" y="1283300"/>
            <a:ext cx="6553002" cy="2156943"/>
          </a:xfrm>
          <a:prstGeom prst="rect">
            <a:avLst/>
          </a:prstGeom>
          <a:noFill/>
        </p:spPr>
        <p:txBody>
          <a:bodyPr wrap="square" lIns="268927" tIns="143428" rIns="179285" bIns="143428" rtlCol="0">
            <a:noAutofit/>
          </a:bodyPr>
          <a:lstStyle/>
          <a:p>
            <a:pPr marL="52912" lvl="1" defTabSz="913770" fontAlgn="base">
              <a:spcBef>
                <a:spcPts val="1176"/>
              </a:spcBef>
              <a:buClr>
                <a:schemeClr val="accent3">
                  <a:lumMod val="50000"/>
                </a:schemeClr>
              </a:buClr>
            </a:pPr>
            <a:r>
              <a:rPr lang="en-US" sz="3137" dirty="0">
                <a:ln>
                  <a:solidFill>
                    <a:srgbClr val="FFFFFF">
                      <a:alpha val="0"/>
                    </a:srgbClr>
                  </a:solidFill>
                </a:ln>
                <a:solidFill>
                  <a:schemeClr val="accent3"/>
                </a:solidFill>
                <a:latin typeface="+mj-lt"/>
                <a:ea typeface="Segoe UI" pitchFamily="34" charset="0"/>
                <a:cs typeface="Segoe UI" pitchFamily="34" charset="0"/>
              </a:rPr>
              <a:t>Agenda</a:t>
            </a:r>
          </a:p>
          <a:p>
            <a:pPr marL="558686" lvl="1" indent="-448193" defTabSz="913770" fontAlgn="base">
              <a:buClr>
                <a:schemeClr val="accent3">
                  <a:lumMod val="50000"/>
                </a:schemeClr>
              </a:buClr>
              <a:buBlip>
                <a:blip r:embed="rId2"/>
              </a:buBlip>
            </a:pPr>
            <a:r>
              <a:rPr lang="en-US" sz="2353" dirty="0">
                <a:ln>
                  <a:solidFill>
                    <a:srgbClr val="FFFFFF">
                      <a:alpha val="0"/>
                    </a:srgbClr>
                  </a:solidFill>
                </a:ln>
                <a:solidFill>
                  <a:schemeClr val="tx2"/>
                </a:solidFill>
                <a:ea typeface="Segoe UI" pitchFamily="34" charset="0"/>
                <a:cs typeface="Segoe UI" pitchFamily="34" charset="0"/>
              </a:rPr>
              <a:t>Pig Essentials</a:t>
            </a:r>
          </a:p>
          <a:p>
            <a:pPr marL="558686" lvl="1" indent="-448193" defTabSz="913770" fontAlgn="base">
              <a:buClr>
                <a:schemeClr val="accent3">
                  <a:lumMod val="50000"/>
                </a:schemeClr>
              </a:buClr>
              <a:buBlip>
                <a:blip r:embed="rId2"/>
              </a:buBlip>
            </a:pPr>
            <a:r>
              <a:rPr lang="en-US" sz="2353" dirty="0">
                <a:ln>
                  <a:solidFill>
                    <a:srgbClr val="FFFFFF">
                      <a:alpha val="0"/>
                    </a:srgbClr>
                  </a:solidFill>
                </a:ln>
                <a:solidFill>
                  <a:schemeClr val="tx2"/>
                </a:solidFill>
                <a:ea typeface="Segoe UI" pitchFamily="34" charset="0"/>
                <a:cs typeface="Segoe UI" pitchFamily="34" charset="0"/>
              </a:rPr>
              <a:t>Pig Commands</a:t>
            </a:r>
          </a:p>
          <a:p>
            <a:pPr marL="110493" lvl="1" defTabSz="913770" fontAlgn="base">
              <a:buClr>
                <a:schemeClr val="accent3">
                  <a:lumMod val="50000"/>
                </a:schemeClr>
              </a:buClr>
            </a:pPr>
            <a:endParaRPr lang="en-US" sz="2353" dirty="0">
              <a:ln>
                <a:solidFill>
                  <a:srgbClr val="FFFFFF">
                    <a:alpha val="0"/>
                  </a:srgbClr>
                </a:solidFill>
              </a:ln>
              <a:solidFill>
                <a:schemeClr val="tx2"/>
              </a:solidFill>
              <a:ea typeface="Segoe UI" pitchFamily="34" charset="0"/>
              <a:cs typeface="Segoe UI" pitchFamily="34" charset="0"/>
            </a:endParaRPr>
          </a:p>
        </p:txBody>
      </p:sp>
      <p:sp>
        <p:nvSpPr>
          <p:cNvPr id="5" name="Rectangle 4"/>
          <p:cNvSpPr/>
          <p:nvPr/>
        </p:nvSpPr>
        <p:spPr bwMode="auto">
          <a:xfrm>
            <a:off x="1" y="6319659"/>
            <a:ext cx="5220356" cy="537855"/>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endParaRPr lang="en-US" sz="2353" kern="0" dirty="0">
              <a:ln>
                <a:solidFill>
                  <a:srgbClr val="FFFFFF">
                    <a:alpha val="0"/>
                  </a:srgbClr>
                </a:solidFill>
              </a:ln>
              <a:solidFill>
                <a:srgbClr val="FFFFFF"/>
              </a:solidFill>
              <a:latin typeface="Segoe UI Semibold" panose="020B0702040204020203" pitchFamily="34" charset="0"/>
              <a:ea typeface="MS PGothic" charset="0"/>
              <a:cs typeface="Segoe UI Semibold" panose="020B0702040204020203" pitchFamily="34" charset="0"/>
            </a:endParaRPr>
          </a:p>
        </p:txBody>
      </p:sp>
      <p:sp>
        <p:nvSpPr>
          <p:cNvPr id="6" name="Freeform 5"/>
          <p:cNvSpPr>
            <a:spLocks/>
          </p:cNvSpPr>
          <p:nvPr/>
        </p:nvSpPr>
        <p:spPr bwMode="auto">
          <a:xfrm flipH="1">
            <a:off x="2619107" y="4183803"/>
            <a:ext cx="2601249" cy="2135857"/>
          </a:xfrm>
          <a:custGeom>
            <a:avLst/>
            <a:gdLst>
              <a:gd name="connsiteX0" fmla="*/ 603413 w 1090712"/>
              <a:gd name="connsiteY0" fmla="*/ 721327 h 895572"/>
              <a:gd name="connsiteX1" fmla="*/ 578466 w 1090712"/>
              <a:gd name="connsiteY1" fmla="*/ 770746 h 895572"/>
              <a:gd name="connsiteX2" fmla="*/ 553519 w 1090712"/>
              <a:gd name="connsiteY2" fmla="*/ 818264 h 895572"/>
              <a:gd name="connsiteX3" fmla="*/ 528334 w 1090712"/>
              <a:gd name="connsiteY3" fmla="*/ 865069 h 895572"/>
              <a:gd name="connsiteX4" fmla="*/ 511825 w 1090712"/>
              <a:gd name="connsiteY4" fmla="*/ 895572 h 895572"/>
              <a:gd name="connsiteX5" fmla="*/ 624528 w 1090712"/>
              <a:gd name="connsiteY5" fmla="*/ 895572 h 895572"/>
              <a:gd name="connsiteX6" fmla="*/ 624796 w 1090712"/>
              <a:gd name="connsiteY6" fmla="*/ 894768 h 895572"/>
              <a:gd name="connsiteX7" fmla="*/ 625271 w 1090712"/>
              <a:gd name="connsiteY7" fmla="*/ 891679 h 895572"/>
              <a:gd name="connsiteX8" fmla="*/ 625747 w 1090712"/>
              <a:gd name="connsiteY8" fmla="*/ 889066 h 895572"/>
              <a:gd name="connsiteX9" fmla="*/ 625747 w 1090712"/>
              <a:gd name="connsiteY9" fmla="*/ 860555 h 895572"/>
              <a:gd name="connsiteX10" fmla="*/ 624796 w 1090712"/>
              <a:gd name="connsiteY10" fmla="*/ 833945 h 895572"/>
              <a:gd name="connsiteX11" fmla="*/ 624321 w 1090712"/>
              <a:gd name="connsiteY11" fmla="*/ 820877 h 895572"/>
              <a:gd name="connsiteX12" fmla="*/ 623608 w 1090712"/>
              <a:gd name="connsiteY12" fmla="*/ 808047 h 895572"/>
              <a:gd name="connsiteX13" fmla="*/ 621708 w 1090712"/>
              <a:gd name="connsiteY13" fmla="*/ 795218 h 895572"/>
              <a:gd name="connsiteX14" fmla="*/ 620044 w 1090712"/>
              <a:gd name="connsiteY14" fmla="*/ 782625 h 895572"/>
              <a:gd name="connsiteX15" fmla="*/ 616005 w 1090712"/>
              <a:gd name="connsiteY15" fmla="*/ 766707 h 895572"/>
              <a:gd name="connsiteX16" fmla="*/ 611966 w 1090712"/>
              <a:gd name="connsiteY16" fmla="*/ 751976 h 895572"/>
              <a:gd name="connsiteX17" fmla="*/ 607452 w 1090712"/>
              <a:gd name="connsiteY17" fmla="*/ 737245 h 895572"/>
              <a:gd name="connsiteX18" fmla="*/ 698212 w 1090712"/>
              <a:gd name="connsiteY18" fmla="*/ 530778 h 895572"/>
              <a:gd name="connsiteX19" fmla="*/ 693460 w 1090712"/>
              <a:gd name="connsiteY19" fmla="*/ 534818 h 895572"/>
              <a:gd name="connsiteX20" fmla="*/ 688471 w 1090712"/>
              <a:gd name="connsiteY20" fmla="*/ 538857 h 895572"/>
              <a:gd name="connsiteX21" fmla="*/ 678254 w 1090712"/>
              <a:gd name="connsiteY21" fmla="*/ 546935 h 895572"/>
              <a:gd name="connsiteX22" fmla="*/ 669226 w 1090712"/>
              <a:gd name="connsiteY22" fmla="*/ 553587 h 895572"/>
              <a:gd name="connsiteX23" fmla="*/ 663048 w 1090712"/>
              <a:gd name="connsiteY23" fmla="*/ 558814 h 895572"/>
              <a:gd name="connsiteX24" fmla="*/ 663048 w 1090712"/>
              <a:gd name="connsiteY24" fmla="*/ 556676 h 895572"/>
              <a:gd name="connsiteX25" fmla="*/ 663523 w 1090712"/>
              <a:gd name="connsiteY25" fmla="*/ 554538 h 895572"/>
              <a:gd name="connsiteX26" fmla="*/ 665424 w 1090712"/>
              <a:gd name="connsiteY26" fmla="*/ 550498 h 895572"/>
              <a:gd name="connsiteX27" fmla="*/ 668038 w 1090712"/>
              <a:gd name="connsiteY27" fmla="*/ 546459 h 895572"/>
              <a:gd name="connsiteX28" fmla="*/ 671602 w 1090712"/>
              <a:gd name="connsiteY28" fmla="*/ 542420 h 895572"/>
              <a:gd name="connsiteX29" fmla="*/ 676829 w 1090712"/>
              <a:gd name="connsiteY29" fmla="*/ 538857 h 895572"/>
              <a:gd name="connsiteX30" fmla="*/ 682768 w 1090712"/>
              <a:gd name="connsiteY30" fmla="*/ 535768 h 895572"/>
              <a:gd name="connsiteX31" fmla="*/ 689896 w 1090712"/>
              <a:gd name="connsiteY31" fmla="*/ 533154 h 895572"/>
              <a:gd name="connsiteX32" fmla="*/ 654257 w 1090712"/>
              <a:gd name="connsiteY32" fmla="*/ 302216 h 895572"/>
              <a:gd name="connsiteX33" fmla="*/ 651882 w 1090712"/>
              <a:gd name="connsiteY33" fmla="*/ 302691 h 895572"/>
              <a:gd name="connsiteX34" fmla="*/ 649268 w 1090712"/>
              <a:gd name="connsiteY34" fmla="*/ 303166 h 895572"/>
              <a:gd name="connsiteX35" fmla="*/ 647130 w 1090712"/>
              <a:gd name="connsiteY35" fmla="*/ 304354 h 895572"/>
              <a:gd name="connsiteX36" fmla="*/ 644516 w 1090712"/>
              <a:gd name="connsiteY36" fmla="*/ 306255 h 895572"/>
              <a:gd name="connsiteX37" fmla="*/ 642140 w 1090712"/>
              <a:gd name="connsiteY37" fmla="*/ 307918 h 895572"/>
              <a:gd name="connsiteX38" fmla="*/ 640002 w 1090712"/>
              <a:gd name="connsiteY38" fmla="*/ 310294 h 895572"/>
              <a:gd name="connsiteX39" fmla="*/ 638101 w 1090712"/>
              <a:gd name="connsiteY39" fmla="*/ 312432 h 895572"/>
              <a:gd name="connsiteX40" fmla="*/ 636913 w 1090712"/>
              <a:gd name="connsiteY40" fmla="*/ 314571 h 895572"/>
              <a:gd name="connsiteX41" fmla="*/ 635963 w 1090712"/>
              <a:gd name="connsiteY41" fmla="*/ 316946 h 895572"/>
              <a:gd name="connsiteX42" fmla="*/ 635963 w 1090712"/>
              <a:gd name="connsiteY42" fmla="*/ 319085 h 895572"/>
              <a:gd name="connsiteX43" fmla="*/ 636913 w 1090712"/>
              <a:gd name="connsiteY43" fmla="*/ 321223 h 895572"/>
              <a:gd name="connsiteX44" fmla="*/ 637626 w 1090712"/>
              <a:gd name="connsiteY44" fmla="*/ 324074 h 895572"/>
              <a:gd name="connsiteX45" fmla="*/ 639527 w 1090712"/>
              <a:gd name="connsiteY45" fmla="*/ 326688 h 895572"/>
              <a:gd name="connsiteX46" fmla="*/ 643091 w 1090712"/>
              <a:gd name="connsiteY46" fmla="*/ 331677 h 895572"/>
              <a:gd name="connsiteX47" fmla="*/ 647130 w 1090712"/>
              <a:gd name="connsiteY47" fmla="*/ 335954 h 895572"/>
              <a:gd name="connsiteX48" fmla="*/ 655920 w 1090712"/>
              <a:gd name="connsiteY48" fmla="*/ 330727 h 895572"/>
              <a:gd name="connsiteX49" fmla="*/ 663999 w 1090712"/>
              <a:gd name="connsiteY49" fmla="*/ 324787 h 895572"/>
              <a:gd name="connsiteX50" fmla="*/ 679917 w 1090712"/>
              <a:gd name="connsiteY50" fmla="*/ 313383 h 895572"/>
              <a:gd name="connsiteX51" fmla="*/ 676354 w 1090712"/>
              <a:gd name="connsiteY51" fmla="*/ 311007 h 895572"/>
              <a:gd name="connsiteX52" fmla="*/ 672790 w 1090712"/>
              <a:gd name="connsiteY52" fmla="*/ 308393 h 895572"/>
              <a:gd name="connsiteX53" fmla="*/ 668988 w 1090712"/>
              <a:gd name="connsiteY53" fmla="*/ 306730 h 895572"/>
              <a:gd name="connsiteX54" fmla="*/ 664949 w 1090712"/>
              <a:gd name="connsiteY54" fmla="*/ 304829 h 895572"/>
              <a:gd name="connsiteX55" fmla="*/ 660910 w 1090712"/>
              <a:gd name="connsiteY55" fmla="*/ 303641 h 895572"/>
              <a:gd name="connsiteX56" fmla="*/ 657346 w 1090712"/>
              <a:gd name="connsiteY56" fmla="*/ 302691 h 895572"/>
              <a:gd name="connsiteX57" fmla="*/ 696549 w 1090712"/>
              <a:gd name="connsiteY57" fmla="*/ 252322 h 895572"/>
              <a:gd name="connsiteX58" fmla="*/ 696786 w 1090712"/>
              <a:gd name="connsiteY58" fmla="*/ 259925 h 895572"/>
              <a:gd name="connsiteX59" fmla="*/ 698212 w 1090712"/>
              <a:gd name="connsiteY59" fmla="*/ 266102 h 895572"/>
              <a:gd name="connsiteX60" fmla="*/ 700113 w 1090712"/>
              <a:gd name="connsiteY60" fmla="*/ 272042 h 895572"/>
              <a:gd name="connsiteX61" fmla="*/ 701776 w 1090712"/>
              <a:gd name="connsiteY61" fmla="*/ 276794 h 895572"/>
              <a:gd name="connsiteX62" fmla="*/ 704389 w 1090712"/>
              <a:gd name="connsiteY62" fmla="*/ 280833 h 895572"/>
              <a:gd name="connsiteX63" fmla="*/ 707240 w 1090712"/>
              <a:gd name="connsiteY63" fmla="*/ 284397 h 895572"/>
              <a:gd name="connsiteX64" fmla="*/ 710329 w 1090712"/>
              <a:gd name="connsiteY64" fmla="*/ 287010 h 895572"/>
              <a:gd name="connsiteX65" fmla="*/ 713418 w 1090712"/>
              <a:gd name="connsiteY65" fmla="*/ 289624 h 895572"/>
              <a:gd name="connsiteX66" fmla="*/ 716506 w 1090712"/>
              <a:gd name="connsiteY66" fmla="*/ 291524 h 895572"/>
              <a:gd name="connsiteX67" fmla="*/ 719595 w 1090712"/>
              <a:gd name="connsiteY67" fmla="*/ 293187 h 895572"/>
              <a:gd name="connsiteX68" fmla="*/ 725772 w 1090712"/>
              <a:gd name="connsiteY68" fmla="*/ 295088 h 895572"/>
              <a:gd name="connsiteX69" fmla="*/ 731237 w 1090712"/>
              <a:gd name="connsiteY69" fmla="*/ 296514 h 895572"/>
              <a:gd name="connsiteX70" fmla="*/ 734801 w 1090712"/>
              <a:gd name="connsiteY70" fmla="*/ 296751 h 895572"/>
              <a:gd name="connsiteX71" fmla="*/ 722209 w 1090712"/>
              <a:gd name="connsiteY71" fmla="*/ 303879 h 895572"/>
              <a:gd name="connsiteX72" fmla="*/ 710804 w 1090712"/>
              <a:gd name="connsiteY72" fmla="*/ 311007 h 895572"/>
              <a:gd name="connsiteX73" fmla="*/ 688471 w 1090712"/>
              <a:gd name="connsiteY73" fmla="*/ 324787 h 895572"/>
              <a:gd name="connsiteX74" fmla="*/ 667563 w 1090712"/>
              <a:gd name="connsiteY74" fmla="*/ 339043 h 895572"/>
              <a:gd name="connsiteX75" fmla="*/ 646179 w 1090712"/>
              <a:gd name="connsiteY75" fmla="*/ 352823 h 895572"/>
              <a:gd name="connsiteX76" fmla="*/ 620044 w 1090712"/>
              <a:gd name="connsiteY76" fmla="*/ 313383 h 895572"/>
              <a:gd name="connsiteX77" fmla="*/ 617668 w 1090712"/>
              <a:gd name="connsiteY77" fmla="*/ 312432 h 895572"/>
              <a:gd name="connsiteX78" fmla="*/ 615055 w 1090712"/>
              <a:gd name="connsiteY78" fmla="*/ 312432 h 895572"/>
              <a:gd name="connsiteX79" fmla="*/ 612441 w 1090712"/>
              <a:gd name="connsiteY79" fmla="*/ 313383 h 895572"/>
              <a:gd name="connsiteX80" fmla="*/ 609353 w 1090712"/>
              <a:gd name="connsiteY80" fmla="*/ 314095 h 895572"/>
              <a:gd name="connsiteX81" fmla="*/ 602938 w 1090712"/>
              <a:gd name="connsiteY81" fmla="*/ 316946 h 895572"/>
              <a:gd name="connsiteX82" fmla="*/ 599849 w 1090712"/>
              <a:gd name="connsiteY82" fmla="*/ 317659 h 895572"/>
              <a:gd name="connsiteX83" fmla="*/ 596760 w 1090712"/>
              <a:gd name="connsiteY83" fmla="*/ 318610 h 895572"/>
              <a:gd name="connsiteX84" fmla="*/ 607927 w 1090712"/>
              <a:gd name="connsiteY84" fmla="*/ 307205 h 895572"/>
              <a:gd name="connsiteX85" fmla="*/ 618619 w 1090712"/>
              <a:gd name="connsiteY85" fmla="*/ 295088 h 895572"/>
              <a:gd name="connsiteX86" fmla="*/ 623846 w 1090712"/>
              <a:gd name="connsiteY86" fmla="*/ 289386 h 895572"/>
              <a:gd name="connsiteX87" fmla="*/ 629786 w 1090712"/>
              <a:gd name="connsiteY87" fmla="*/ 283921 h 895572"/>
              <a:gd name="connsiteX88" fmla="*/ 635963 w 1090712"/>
              <a:gd name="connsiteY88" fmla="*/ 278694 h 895572"/>
              <a:gd name="connsiteX89" fmla="*/ 642140 w 1090712"/>
              <a:gd name="connsiteY89" fmla="*/ 273705 h 895572"/>
              <a:gd name="connsiteX90" fmla="*/ 648793 w 1090712"/>
              <a:gd name="connsiteY90" fmla="*/ 269191 h 895572"/>
              <a:gd name="connsiteX91" fmla="*/ 655446 w 1090712"/>
              <a:gd name="connsiteY91" fmla="*/ 265627 h 895572"/>
              <a:gd name="connsiteX92" fmla="*/ 662098 w 1090712"/>
              <a:gd name="connsiteY92" fmla="*/ 263013 h 895572"/>
              <a:gd name="connsiteX93" fmla="*/ 668988 w 1090712"/>
              <a:gd name="connsiteY93" fmla="*/ 260400 h 895572"/>
              <a:gd name="connsiteX94" fmla="*/ 682768 w 1090712"/>
              <a:gd name="connsiteY94" fmla="*/ 256361 h 895572"/>
              <a:gd name="connsiteX95" fmla="*/ 1030602 w 1090712"/>
              <a:gd name="connsiteY95" fmla="*/ 200289 h 895572"/>
              <a:gd name="connsiteX96" fmla="*/ 1027513 w 1090712"/>
              <a:gd name="connsiteY96" fmla="*/ 207892 h 895572"/>
              <a:gd name="connsiteX97" fmla="*/ 1023949 w 1090712"/>
              <a:gd name="connsiteY97" fmla="*/ 214545 h 895572"/>
              <a:gd name="connsiteX98" fmla="*/ 1019910 w 1090712"/>
              <a:gd name="connsiteY98" fmla="*/ 221197 h 895572"/>
              <a:gd name="connsiteX99" fmla="*/ 1015396 w 1090712"/>
              <a:gd name="connsiteY99" fmla="*/ 226899 h 895572"/>
              <a:gd name="connsiteX100" fmla="*/ 1011119 w 1090712"/>
              <a:gd name="connsiteY100" fmla="*/ 232839 h 895572"/>
              <a:gd name="connsiteX101" fmla="*/ 1006130 w 1090712"/>
              <a:gd name="connsiteY101" fmla="*/ 237591 h 895572"/>
              <a:gd name="connsiteX102" fmla="*/ 1001140 w 1090712"/>
              <a:gd name="connsiteY102" fmla="*/ 242105 h 895572"/>
              <a:gd name="connsiteX103" fmla="*/ 996388 w 1090712"/>
              <a:gd name="connsiteY103" fmla="*/ 246144 h 895572"/>
              <a:gd name="connsiteX104" fmla="*/ 990924 w 1090712"/>
              <a:gd name="connsiteY104" fmla="*/ 249708 h 895572"/>
              <a:gd name="connsiteX105" fmla="*/ 985697 w 1090712"/>
              <a:gd name="connsiteY105" fmla="*/ 252797 h 895572"/>
              <a:gd name="connsiteX106" fmla="*/ 980232 w 1090712"/>
              <a:gd name="connsiteY106" fmla="*/ 254935 h 895572"/>
              <a:gd name="connsiteX107" fmla="*/ 975005 w 1090712"/>
              <a:gd name="connsiteY107" fmla="*/ 256836 h 895572"/>
              <a:gd name="connsiteX108" fmla="*/ 969541 w 1090712"/>
              <a:gd name="connsiteY108" fmla="*/ 258262 h 895572"/>
              <a:gd name="connsiteX109" fmla="*/ 963839 w 1090712"/>
              <a:gd name="connsiteY109" fmla="*/ 258499 h 895572"/>
              <a:gd name="connsiteX110" fmla="*/ 958612 w 1090712"/>
              <a:gd name="connsiteY110" fmla="*/ 258499 h 895572"/>
              <a:gd name="connsiteX111" fmla="*/ 953622 w 1090712"/>
              <a:gd name="connsiteY111" fmla="*/ 257786 h 895572"/>
              <a:gd name="connsiteX112" fmla="*/ 970966 w 1090712"/>
              <a:gd name="connsiteY112" fmla="*/ 244006 h 895572"/>
              <a:gd name="connsiteX113" fmla="*/ 990211 w 1090712"/>
              <a:gd name="connsiteY113" fmla="*/ 229275 h 895572"/>
              <a:gd name="connsiteX114" fmla="*/ 1010169 w 1090712"/>
              <a:gd name="connsiteY114" fmla="*/ 214069 h 895572"/>
              <a:gd name="connsiteX115" fmla="*/ 1020385 w 1090712"/>
              <a:gd name="connsiteY115" fmla="*/ 206942 h 895572"/>
              <a:gd name="connsiteX116" fmla="*/ 389581 w 1090712"/>
              <a:gd name="connsiteY116" fmla="*/ 176768 h 895572"/>
              <a:gd name="connsiteX117" fmla="*/ 397422 w 1090712"/>
              <a:gd name="connsiteY117" fmla="*/ 177243 h 895572"/>
              <a:gd name="connsiteX118" fmla="*/ 414766 w 1090712"/>
              <a:gd name="connsiteY118" fmla="*/ 178906 h 895572"/>
              <a:gd name="connsiteX119" fmla="*/ 405500 w 1090712"/>
              <a:gd name="connsiteY119" fmla="*/ 179856 h 895572"/>
              <a:gd name="connsiteX120" fmla="*/ 396946 w 1090712"/>
              <a:gd name="connsiteY120" fmla="*/ 181995 h 895572"/>
              <a:gd name="connsiteX121" fmla="*/ 389581 w 1090712"/>
              <a:gd name="connsiteY121" fmla="*/ 184371 h 895572"/>
              <a:gd name="connsiteX122" fmla="*/ 381978 w 1090712"/>
              <a:gd name="connsiteY122" fmla="*/ 186984 h 895572"/>
              <a:gd name="connsiteX123" fmla="*/ 375326 w 1090712"/>
              <a:gd name="connsiteY123" fmla="*/ 190548 h 895572"/>
              <a:gd name="connsiteX124" fmla="*/ 368911 w 1090712"/>
              <a:gd name="connsiteY124" fmla="*/ 194112 h 895572"/>
              <a:gd name="connsiteX125" fmla="*/ 363208 w 1090712"/>
              <a:gd name="connsiteY125" fmla="*/ 198626 h 895572"/>
              <a:gd name="connsiteX126" fmla="*/ 357981 w 1090712"/>
              <a:gd name="connsiteY126" fmla="*/ 202903 h 895572"/>
              <a:gd name="connsiteX127" fmla="*/ 352517 w 1090712"/>
              <a:gd name="connsiteY127" fmla="*/ 208367 h 895572"/>
              <a:gd name="connsiteX128" fmla="*/ 348003 w 1090712"/>
              <a:gd name="connsiteY128" fmla="*/ 214070 h 895572"/>
              <a:gd name="connsiteX129" fmla="*/ 343726 w 1090712"/>
              <a:gd name="connsiteY129" fmla="*/ 220247 h 895572"/>
              <a:gd name="connsiteX130" fmla="*/ 339687 w 1090712"/>
              <a:gd name="connsiteY130" fmla="*/ 226662 h 895572"/>
              <a:gd name="connsiteX131" fmla="*/ 335648 w 1090712"/>
              <a:gd name="connsiteY131" fmla="*/ 233790 h 895572"/>
              <a:gd name="connsiteX132" fmla="*/ 332559 w 1090712"/>
              <a:gd name="connsiteY132" fmla="*/ 240917 h 895572"/>
              <a:gd name="connsiteX133" fmla="*/ 328995 w 1090712"/>
              <a:gd name="connsiteY133" fmla="*/ 248758 h 895572"/>
              <a:gd name="connsiteX134" fmla="*/ 325907 w 1090712"/>
              <a:gd name="connsiteY134" fmla="*/ 256836 h 895572"/>
              <a:gd name="connsiteX135" fmla="*/ 325432 w 1090712"/>
              <a:gd name="connsiteY135" fmla="*/ 252797 h 895572"/>
              <a:gd name="connsiteX136" fmla="*/ 324956 w 1090712"/>
              <a:gd name="connsiteY136" fmla="*/ 248283 h 895572"/>
              <a:gd name="connsiteX137" fmla="*/ 323056 w 1090712"/>
              <a:gd name="connsiteY137" fmla="*/ 239492 h 895572"/>
              <a:gd name="connsiteX138" fmla="*/ 320917 w 1090712"/>
              <a:gd name="connsiteY138" fmla="*/ 229275 h 895572"/>
              <a:gd name="connsiteX139" fmla="*/ 320442 w 1090712"/>
              <a:gd name="connsiteY139" fmla="*/ 223811 h 895572"/>
              <a:gd name="connsiteX140" fmla="*/ 319967 w 1090712"/>
              <a:gd name="connsiteY140" fmla="*/ 217633 h 895572"/>
              <a:gd name="connsiteX141" fmla="*/ 314740 w 1090712"/>
              <a:gd name="connsiteY141" fmla="*/ 217633 h 895572"/>
              <a:gd name="connsiteX142" fmla="*/ 302148 w 1090712"/>
              <a:gd name="connsiteY142" fmla="*/ 243056 h 895572"/>
              <a:gd name="connsiteX143" fmla="*/ 289793 w 1090712"/>
              <a:gd name="connsiteY143" fmla="*/ 267528 h 895572"/>
              <a:gd name="connsiteX144" fmla="*/ 277438 w 1090712"/>
              <a:gd name="connsiteY144" fmla="*/ 291049 h 895572"/>
              <a:gd name="connsiteX145" fmla="*/ 264371 w 1090712"/>
              <a:gd name="connsiteY145" fmla="*/ 312907 h 895572"/>
              <a:gd name="connsiteX146" fmla="*/ 267459 w 1090712"/>
              <a:gd name="connsiteY146" fmla="*/ 295088 h 895572"/>
              <a:gd name="connsiteX147" fmla="*/ 271023 w 1090712"/>
              <a:gd name="connsiteY147" fmla="*/ 279170 h 895572"/>
              <a:gd name="connsiteX148" fmla="*/ 274587 w 1090712"/>
              <a:gd name="connsiteY148" fmla="*/ 263964 h 895572"/>
              <a:gd name="connsiteX149" fmla="*/ 279101 w 1090712"/>
              <a:gd name="connsiteY149" fmla="*/ 250183 h 895572"/>
              <a:gd name="connsiteX150" fmla="*/ 284091 w 1090712"/>
              <a:gd name="connsiteY150" fmla="*/ 238066 h 895572"/>
              <a:gd name="connsiteX151" fmla="*/ 289318 w 1090712"/>
              <a:gd name="connsiteY151" fmla="*/ 226900 h 895572"/>
              <a:gd name="connsiteX152" fmla="*/ 292406 w 1090712"/>
              <a:gd name="connsiteY152" fmla="*/ 221673 h 895572"/>
              <a:gd name="connsiteX153" fmla="*/ 295495 w 1090712"/>
              <a:gd name="connsiteY153" fmla="*/ 217158 h 895572"/>
              <a:gd name="connsiteX154" fmla="*/ 298584 w 1090712"/>
              <a:gd name="connsiteY154" fmla="*/ 212406 h 895572"/>
              <a:gd name="connsiteX155" fmla="*/ 302148 w 1090712"/>
              <a:gd name="connsiteY155" fmla="*/ 208367 h 895572"/>
              <a:gd name="connsiteX156" fmla="*/ 305711 w 1090712"/>
              <a:gd name="connsiteY156" fmla="*/ 204328 h 895572"/>
              <a:gd name="connsiteX157" fmla="*/ 309275 w 1090712"/>
              <a:gd name="connsiteY157" fmla="*/ 200765 h 895572"/>
              <a:gd name="connsiteX158" fmla="*/ 313314 w 1090712"/>
              <a:gd name="connsiteY158" fmla="*/ 197201 h 895572"/>
              <a:gd name="connsiteX159" fmla="*/ 317354 w 1090712"/>
              <a:gd name="connsiteY159" fmla="*/ 194112 h 895572"/>
              <a:gd name="connsiteX160" fmla="*/ 321868 w 1090712"/>
              <a:gd name="connsiteY160" fmla="*/ 191498 h 895572"/>
              <a:gd name="connsiteX161" fmla="*/ 326382 w 1090712"/>
              <a:gd name="connsiteY161" fmla="*/ 188647 h 895572"/>
              <a:gd name="connsiteX162" fmla="*/ 330659 w 1090712"/>
              <a:gd name="connsiteY162" fmla="*/ 186509 h 895572"/>
              <a:gd name="connsiteX163" fmla="*/ 335648 w 1090712"/>
              <a:gd name="connsiteY163" fmla="*/ 184371 h 895572"/>
              <a:gd name="connsiteX164" fmla="*/ 340637 w 1090712"/>
              <a:gd name="connsiteY164" fmla="*/ 182470 h 895572"/>
              <a:gd name="connsiteX165" fmla="*/ 345864 w 1090712"/>
              <a:gd name="connsiteY165" fmla="*/ 181282 h 895572"/>
              <a:gd name="connsiteX166" fmla="*/ 351091 w 1090712"/>
              <a:gd name="connsiteY166" fmla="*/ 179856 h 895572"/>
              <a:gd name="connsiteX167" fmla="*/ 357031 w 1090712"/>
              <a:gd name="connsiteY167" fmla="*/ 178431 h 895572"/>
              <a:gd name="connsiteX168" fmla="*/ 368911 w 1090712"/>
              <a:gd name="connsiteY168" fmla="*/ 177243 h 895572"/>
              <a:gd name="connsiteX169" fmla="*/ 381978 w 1090712"/>
              <a:gd name="connsiteY169" fmla="*/ 176768 h 895572"/>
              <a:gd name="connsiteX170" fmla="*/ 609353 w 1090712"/>
              <a:gd name="connsiteY170" fmla="*/ 174629 h 895572"/>
              <a:gd name="connsiteX171" fmla="*/ 602463 w 1090712"/>
              <a:gd name="connsiteY171" fmla="*/ 180807 h 895572"/>
              <a:gd name="connsiteX172" fmla="*/ 596285 w 1090712"/>
              <a:gd name="connsiteY172" fmla="*/ 187459 h 895572"/>
              <a:gd name="connsiteX173" fmla="*/ 583931 w 1090712"/>
              <a:gd name="connsiteY173" fmla="*/ 201715 h 895572"/>
              <a:gd name="connsiteX174" fmla="*/ 571101 w 1090712"/>
              <a:gd name="connsiteY174" fmla="*/ 215495 h 895572"/>
              <a:gd name="connsiteX175" fmla="*/ 564686 w 1090712"/>
              <a:gd name="connsiteY175" fmla="*/ 222148 h 895572"/>
              <a:gd name="connsiteX176" fmla="*/ 558508 w 1090712"/>
              <a:gd name="connsiteY176" fmla="*/ 228325 h 895572"/>
              <a:gd name="connsiteX177" fmla="*/ 557558 w 1090712"/>
              <a:gd name="connsiteY177" fmla="*/ 223335 h 895572"/>
              <a:gd name="connsiteX178" fmla="*/ 557083 w 1090712"/>
              <a:gd name="connsiteY178" fmla="*/ 219059 h 895572"/>
              <a:gd name="connsiteX179" fmla="*/ 557083 w 1090712"/>
              <a:gd name="connsiteY179" fmla="*/ 215020 h 895572"/>
              <a:gd name="connsiteX180" fmla="*/ 557558 w 1090712"/>
              <a:gd name="connsiteY180" fmla="*/ 210981 h 895572"/>
              <a:gd name="connsiteX181" fmla="*/ 558508 w 1090712"/>
              <a:gd name="connsiteY181" fmla="*/ 207417 h 895572"/>
              <a:gd name="connsiteX182" fmla="*/ 560409 w 1090712"/>
              <a:gd name="connsiteY182" fmla="*/ 203853 h 895572"/>
              <a:gd name="connsiteX183" fmla="*/ 562072 w 1090712"/>
              <a:gd name="connsiteY183" fmla="*/ 200764 h 895572"/>
              <a:gd name="connsiteX184" fmla="*/ 564686 w 1090712"/>
              <a:gd name="connsiteY184" fmla="*/ 197676 h 895572"/>
              <a:gd name="connsiteX185" fmla="*/ 567774 w 1090712"/>
              <a:gd name="connsiteY185" fmla="*/ 194587 h 895572"/>
              <a:gd name="connsiteX186" fmla="*/ 571813 w 1090712"/>
              <a:gd name="connsiteY186" fmla="*/ 191973 h 895572"/>
              <a:gd name="connsiteX187" fmla="*/ 576328 w 1090712"/>
              <a:gd name="connsiteY187" fmla="*/ 188647 h 895572"/>
              <a:gd name="connsiteX188" fmla="*/ 581317 w 1090712"/>
              <a:gd name="connsiteY188" fmla="*/ 186034 h 895572"/>
              <a:gd name="connsiteX189" fmla="*/ 587019 w 1090712"/>
              <a:gd name="connsiteY189" fmla="*/ 183420 h 895572"/>
              <a:gd name="connsiteX190" fmla="*/ 593672 w 1090712"/>
              <a:gd name="connsiteY190" fmla="*/ 180332 h 895572"/>
              <a:gd name="connsiteX191" fmla="*/ 586544 w 1090712"/>
              <a:gd name="connsiteY191" fmla="*/ 0 h 895572"/>
              <a:gd name="connsiteX192" fmla="*/ 570150 w 1090712"/>
              <a:gd name="connsiteY192" fmla="*/ 2851 h 895572"/>
              <a:gd name="connsiteX193" fmla="*/ 553519 w 1090712"/>
              <a:gd name="connsiteY193" fmla="*/ 5940 h 895572"/>
              <a:gd name="connsiteX194" fmla="*/ 536650 w 1090712"/>
              <a:gd name="connsiteY194" fmla="*/ 10454 h 895572"/>
              <a:gd name="connsiteX195" fmla="*/ 520256 w 1090712"/>
              <a:gd name="connsiteY195" fmla="*/ 14731 h 895572"/>
              <a:gd name="connsiteX196" fmla="*/ 486993 w 1090712"/>
              <a:gd name="connsiteY196" fmla="*/ 24472 h 895572"/>
              <a:gd name="connsiteX197" fmla="*/ 469887 w 1090712"/>
              <a:gd name="connsiteY197" fmla="*/ 28986 h 895572"/>
              <a:gd name="connsiteX198" fmla="*/ 453493 w 1090712"/>
              <a:gd name="connsiteY198" fmla="*/ 33500 h 895572"/>
              <a:gd name="connsiteX199" fmla="*/ 438762 w 1090712"/>
              <a:gd name="connsiteY199" fmla="*/ 40153 h 895572"/>
              <a:gd name="connsiteX200" fmla="*/ 424507 w 1090712"/>
              <a:gd name="connsiteY200" fmla="*/ 47281 h 895572"/>
              <a:gd name="connsiteX201" fmla="*/ 417379 w 1090712"/>
              <a:gd name="connsiteY201" fmla="*/ 51320 h 895572"/>
              <a:gd name="connsiteX202" fmla="*/ 410727 w 1090712"/>
              <a:gd name="connsiteY202" fmla="*/ 55834 h 895572"/>
              <a:gd name="connsiteX203" fmla="*/ 403599 w 1090712"/>
              <a:gd name="connsiteY203" fmla="*/ 60111 h 895572"/>
              <a:gd name="connsiteX204" fmla="*/ 397422 w 1090712"/>
              <a:gd name="connsiteY204" fmla="*/ 65100 h 895572"/>
              <a:gd name="connsiteX205" fmla="*/ 390769 w 1090712"/>
              <a:gd name="connsiteY205" fmla="*/ 69852 h 895572"/>
              <a:gd name="connsiteX206" fmla="*/ 384592 w 1090712"/>
              <a:gd name="connsiteY206" fmla="*/ 75792 h 895572"/>
              <a:gd name="connsiteX207" fmla="*/ 378889 w 1090712"/>
              <a:gd name="connsiteY207" fmla="*/ 81494 h 895572"/>
              <a:gd name="connsiteX208" fmla="*/ 372950 w 1090712"/>
              <a:gd name="connsiteY208" fmla="*/ 87671 h 895572"/>
              <a:gd name="connsiteX209" fmla="*/ 367723 w 1090712"/>
              <a:gd name="connsiteY209" fmla="*/ 94324 h 895572"/>
              <a:gd name="connsiteX210" fmla="*/ 362733 w 1090712"/>
              <a:gd name="connsiteY210" fmla="*/ 101452 h 895572"/>
              <a:gd name="connsiteX211" fmla="*/ 357981 w 1090712"/>
              <a:gd name="connsiteY211" fmla="*/ 109055 h 895572"/>
              <a:gd name="connsiteX212" fmla="*/ 353467 w 1090712"/>
              <a:gd name="connsiteY212" fmla="*/ 117608 h 895572"/>
              <a:gd name="connsiteX213" fmla="*/ 409064 w 1090712"/>
              <a:gd name="connsiteY213" fmla="*/ 117608 h 895572"/>
              <a:gd name="connsiteX214" fmla="*/ 406925 w 1090712"/>
              <a:gd name="connsiteY214" fmla="*/ 119271 h 895572"/>
              <a:gd name="connsiteX215" fmla="*/ 404074 w 1090712"/>
              <a:gd name="connsiteY215" fmla="*/ 121647 h 895572"/>
              <a:gd name="connsiteX216" fmla="*/ 400510 w 1090712"/>
              <a:gd name="connsiteY216" fmla="*/ 123310 h 895572"/>
              <a:gd name="connsiteX217" fmla="*/ 397422 w 1090712"/>
              <a:gd name="connsiteY217" fmla="*/ 125211 h 895572"/>
              <a:gd name="connsiteX218" fmla="*/ 393383 w 1090712"/>
              <a:gd name="connsiteY218" fmla="*/ 126399 h 895572"/>
              <a:gd name="connsiteX219" fmla="*/ 389581 w 1090712"/>
              <a:gd name="connsiteY219" fmla="*/ 127824 h 895572"/>
              <a:gd name="connsiteX220" fmla="*/ 385542 w 1090712"/>
              <a:gd name="connsiteY220" fmla="*/ 128299 h 895572"/>
              <a:gd name="connsiteX221" fmla="*/ 381503 w 1090712"/>
              <a:gd name="connsiteY221" fmla="*/ 128774 h 895572"/>
              <a:gd name="connsiteX222" fmla="*/ 375326 w 1090712"/>
              <a:gd name="connsiteY222" fmla="*/ 130438 h 895572"/>
              <a:gd name="connsiteX223" fmla="*/ 368435 w 1090712"/>
              <a:gd name="connsiteY223" fmla="*/ 131863 h 895572"/>
              <a:gd name="connsiteX224" fmla="*/ 361783 w 1090712"/>
              <a:gd name="connsiteY224" fmla="*/ 133051 h 895572"/>
              <a:gd name="connsiteX225" fmla="*/ 355606 w 1090712"/>
              <a:gd name="connsiteY225" fmla="*/ 134001 h 895572"/>
              <a:gd name="connsiteX226" fmla="*/ 342300 w 1090712"/>
              <a:gd name="connsiteY226" fmla="*/ 135427 h 895572"/>
              <a:gd name="connsiteX227" fmla="*/ 329471 w 1090712"/>
              <a:gd name="connsiteY227" fmla="*/ 137090 h 895572"/>
              <a:gd name="connsiteX228" fmla="*/ 322818 w 1090712"/>
              <a:gd name="connsiteY228" fmla="*/ 138040 h 895572"/>
              <a:gd name="connsiteX229" fmla="*/ 316403 w 1090712"/>
              <a:gd name="connsiteY229" fmla="*/ 139704 h 895572"/>
              <a:gd name="connsiteX230" fmla="*/ 310226 w 1090712"/>
              <a:gd name="connsiteY230" fmla="*/ 141604 h 895572"/>
              <a:gd name="connsiteX231" fmla="*/ 304048 w 1090712"/>
              <a:gd name="connsiteY231" fmla="*/ 144218 h 895572"/>
              <a:gd name="connsiteX232" fmla="*/ 298346 w 1090712"/>
              <a:gd name="connsiteY232" fmla="*/ 147307 h 895572"/>
              <a:gd name="connsiteX233" fmla="*/ 292406 w 1090712"/>
              <a:gd name="connsiteY233" fmla="*/ 151346 h 895572"/>
              <a:gd name="connsiteX234" fmla="*/ 286704 w 1090712"/>
              <a:gd name="connsiteY234" fmla="*/ 156335 h 895572"/>
              <a:gd name="connsiteX235" fmla="*/ 281240 w 1090712"/>
              <a:gd name="connsiteY235" fmla="*/ 162037 h 895572"/>
              <a:gd name="connsiteX236" fmla="*/ 262232 w 1090712"/>
              <a:gd name="connsiteY236" fmla="*/ 182945 h 895572"/>
              <a:gd name="connsiteX237" fmla="*/ 242987 w 1090712"/>
              <a:gd name="connsiteY237" fmla="*/ 203378 h 895572"/>
              <a:gd name="connsiteX238" fmla="*/ 203547 w 1090712"/>
              <a:gd name="connsiteY238" fmla="*/ 244006 h 895572"/>
              <a:gd name="connsiteX239" fmla="*/ 183827 w 1090712"/>
              <a:gd name="connsiteY239" fmla="*/ 264439 h 895572"/>
              <a:gd name="connsiteX240" fmla="*/ 164345 w 1090712"/>
              <a:gd name="connsiteY240" fmla="*/ 285822 h 895572"/>
              <a:gd name="connsiteX241" fmla="*/ 144862 w 1090712"/>
              <a:gd name="connsiteY241" fmla="*/ 307443 h 895572"/>
              <a:gd name="connsiteX242" fmla="*/ 126093 w 1090712"/>
              <a:gd name="connsiteY242" fmla="*/ 329777 h 895572"/>
              <a:gd name="connsiteX243" fmla="*/ 122054 w 1090712"/>
              <a:gd name="connsiteY243" fmla="*/ 335004 h 895572"/>
              <a:gd name="connsiteX244" fmla="*/ 118015 w 1090712"/>
              <a:gd name="connsiteY244" fmla="*/ 340468 h 895572"/>
              <a:gd name="connsiteX245" fmla="*/ 110887 w 1090712"/>
              <a:gd name="connsiteY245" fmla="*/ 352110 h 895572"/>
              <a:gd name="connsiteX246" fmla="*/ 104709 w 1090712"/>
              <a:gd name="connsiteY246" fmla="*/ 363514 h 895572"/>
              <a:gd name="connsiteX247" fmla="*/ 99007 w 1090712"/>
              <a:gd name="connsiteY247" fmla="*/ 375156 h 895572"/>
              <a:gd name="connsiteX248" fmla="*/ 87840 w 1090712"/>
              <a:gd name="connsiteY248" fmla="*/ 400103 h 895572"/>
              <a:gd name="connsiteX249" fmla="*/ 82138 w 1090712"/>
              <a:gd name="connsiteY249" fmla="*/ 412458 h 895572"/>
              <a:gd name="connsiteX250" fmla="*/ 75723 w 1090712"/>
              <a:gd name="connsiteY250" fmla="*/ 425050 h 895572"/>
              <a:gd name="connsiteX251" fmla="*/ 75723 w 1090712"/>
              <a:gd name="connsiteY251" fmla="*/ 429802 h 895572"/>
              <a:gd name="connsiteX252" fmla="*/ 76674 w 1090712"/>
              <a:gd name="connsiteY252" fmla="*/ 436217 h 895572"/>
              <a:gd name="connsiteX253" fmla="*/ 77149 w 1090712"/>
              <a:gd name="connsiteY253" fmla="*/ 439306 h 895572"/>
              <a:gd name="connsiteX254" fmla="*/ 78574 w 1090712"/>
              <a:gd name="connsiteY254" fmla="*/ 442395 h 895572"/>
              <a:gd name="connsiteX255" fmla="*/ 79762 w 1090712"/>
              <a:gd name="connsiteY255" fmla="*/ 445008 h 895572"/>
              <a:gd name="connsiteX256" fmla="*/ 81663 w 1090712"/>
              <a:gd name="connsiteY256" fmla="*/ 447147 h 895572"/>
              <a:gd name="connsiteX257" fmla="*/ 94018 w 1090712"/>
              <a:gd name="connsiteY257" fmla="*/ 468055 h 895572"/>
              <a:gd name="connsiteX258" fmla="*/ 106848 w 1090712"/>
              <a:gd name="connsiteY258" fmla="*/ 488963 h 895572"/>
              <a:gd name="connsiteX259" fmla="*/ 113975 w 1090712"/>
              <a:gd name="connsiteY259" fmla="*/ 499654 h 895572"/>
              <a:gd name="connsiteX260" fmla="*/ 121103 w 1090712"/>
              <a:gd name="connsiteY260" fmla="*/ 510346 h 895572"/>
              <a:gd name="connsiteX261" fmla="*/ 128706 w 1090712"/>
              <a:gd name="connsiteY261" fmla="*/ 520562 h 895572"/>
              <a:gd name="connsiteX262" fmla="*/ 137259 w 1090712"/>
              <a:gd name="connsiteY262" fmla="*/ 531254 h 895572"/>
              <a:gd name="connsiteX263" fmla="*/ 149614 w 1090712"/>
              <a:gd name="connsiteY263" fmla="*/ 514385 h 895572"/>
              <a:gd name="connsiteX264" fmla="*/ 162206 w 1090712"/>
              <a:gd name="connsiteY264" fmla="*/ 498466 h 895572"/>
              <a:gd name="connsiteX265" fmla="*/ 174561 w 1090712"/>
              <a:gd name="connsiteY265" fmla="*/ 483260 h 895572"/>
              <a:gd name="connsiteX266" fmla="*/ 180739 w 1090712"/>
              <a:gd name="connsiteY266" fmla="*/ 476133 h 895572"/>
              <a:gd name="connsiteX267" fmla="*/ 186916 w 1090712"/>
              <a:gd name="connsiteY267" fmla="*/ 469480 h 895572"/>
              <a:gd name="connsiteX268" fmla="*/ 182639 w 1090712"/>
              <a:gd name="connsiteY268" fmla="*/ 482310 h 895572"/>
              <a:gd name="connsiteX269" fmla="*/ 178125 w 1090712"/>
              <a:gd name="connsiteY269" fmla="*/ 495615 h 895572"/>
              <a:gd name="connsiteX270" fmla="*/ 172423 w 1090712"/>
              <a:gd name="connsiteY270" fmla="*/ 509871 h 895572"/>
              <a:gd name="connsiteX271" fmla="*/ 164820 w 1090712"/>
              <a:gd name="connsiteY271" fmla="*/ 525552 h 895572"/>
              <a:gd name="connsiteX272" fmla="*/ 156267 w 1090712"/>
              <a:gd name="connsiteY272" fmla="*/ 538381 h 895572"/>
              <a:gd name="connsiteX273" fmla="*/ 152703 w 1090712"/>
              <a:gd name="connsiteY273" fmla="*/ 544559 h 895572"/>
              <a:gd name="connsiteX274" fmla="*/ 148664 w 1090712"/>
              <a:gd name="connsiteY274" fmla="*/ 551449 h 895572"/>
              <a:gd name="connsiteX275" fmla="*/ 145100 w 1090712"/>
              <a:gd name="connsiteY275" fmla="*/ 558339 h 895572"/>
              <a:gd name="connsiteX276" fmla="*/ 142011 w 1090712"/>
              <a:gd name="connsiteY276" fmla="*/ 565467 h 895572"/>
              <a:gd name="connsiteX277" fmla="*/ 139398 w 1090712"/>
              <a:gd name="connsiteY277" fmla="*/ 573070 h 895572"/>
              <a:gd name="connsiteX278" fmla="*/ 137259 w 1090712"/>
              <a:gd name="connsiteY278" fmla="*/ 581623 h 895572"/>
              <a:gd name="connsiteX279" fmla="*/ 136309 w 1090712"/>
              <a:gd name="connsiteY279" fmla="*/ 583761 h 895572"/>
              <a:gd name="connsiteX280" fmla="*/ 135359 w 1090712"/>
              <a:gd name="connsiteY280" fmla="*/ 586137 h 895572"/>
              <a:gd name="connsiteX281" fmla="*/ 134883 w 1090712"/>
              <a:gd name="connsiteY281" fmla="*/ 590889 h 895572"/>
              <a:gd name="connsiteX282" fmla="*/ 134883 w 1090712"/>
              <a:gd name="connsiteY282" fmla="*/ 595879 h 895572"/>
              <a:gd name="connsiteX283" fmla="*/ 135359 w 1090712"/>
              <a:gd name="connsiteY283" fmla="*/ 601106 h 895572"/>
              <a:gd name="connsiteX284" fmla="*/ 136784 w 1090712"/>
              <a:gd name="connsiteY284" fmla="*/ 606095 h 895572"/>
              <a:gd name="connsiteX285" fmla="*/ 138447 w 1090712"/>
              <a:gd name="connsiteY285" fmla="*/ 611322 h 895572"/>
              <a:gd name="connsiteX286" fmla="*/ 140348 w 1090712"/>
              <a:gd name="connsiteY286" fmla="*/ 616311 h 895572"/>
              <a:gd name="connsiteX287" fmla="*/ 142486 w 1090712"/>
              <a:gd name="connsiteY287" fmla="*/ 620826 h 895572"/>
              <a:gd name="connsiteX288" fmla="*/ 148664 w 1090712"/>
              <a:gd name="connsiteY288" fmla="*/ 629616 h 895572"/>
              <a:gd name="connsiteX289" fmla="*/ 155554 w 1090712"/>
              <a:gd name="connsiteY289" fmla="*/ 637219 h 895572"/>
              <a:gd name="connsiteX290" fmla="*/ 162444 w 1090712"/>
              <a:gd name="connsiteY290" fmla="*/ 643872 h 895572"/>
              <a:gd name="connsiteX291" fmla="*/ 169572 w 1090712"/>
              <a:gd name="connsiteY291" fmla="*/ 649099 h 895572"/>
              <a:gd name="connsiteX292" fmla="*/ 177175 w 1090712"/>
              <a:gd name="connsiteY292" fmla="*/ 653613 h 895572"/>
              <a:gd name="connsiteX293" fmla="*/ 184778 w 1090712"/>
              <a:gd name="connsiteY293" fmla="*/ 657177 h 895572"/>
              <a:gd name="connsiteX294" fmla="*/ 192856 w 1090712"/>
              <a:gd name="connsiteY294" fmla="*/ 659553 h 895572"/>
              <a:gd name="connsiteX295" fmla="*/ 200934 w 1090712"/>
              <a:gd name="connsiteY295" fmla="*/ 661216 h 895572"/>
              <a:gd name="connsiteX296" fmla="*/ 209250 w 1090712"/>
              <a:gd name="connsiteY296" fmla="*/ 661691 h 895572"/>
              <a:gd name="connsiteX297" fmla="*/ 218278 w 1090712"/>
              <a:gd name="connsiteY297" fmla="*/ 661691 h 895572"/>
              <a:gd name="connsiteX298" fmla="*/ 227069 w 1090712"/>
              <a:gd name="connsiteY298" fmla="*/ 660266 h 895572"/>
              <a:gd name="connsiteX299" fmla="*/ 236335 w 1090712"/>
              <a:gd name="connsiteY299" fmla="*/ 658603 h 895572"/>
              <a:gd name="connsiteX300" fmla="*/ 245838 w 1090712"/>
              <a:gd name="connsiteY300" fmla="*/ 655514 h 895572"/>
              <a:gd name="connsiteX301" fmla="*/ 255580 w 1090712"/>
              <a:gd name="connsiteY301" fmla="*/ 652425 h 895572"/>
              <a:gd name="connsiteX302" fmla="*/ 265321 w 1090712"/>
              <a:gd name="connsiteY302" fmla="*/ 647911 h 895572"/>
              <a:gd name="connsiteX303" fmla="*/ 276013 w 1090712"/>
              <a:gd name="connsiteY303" fmla="*/ 642922 h 895572"/>
              <a:gd name="connsiteX304" fmla="*/ 288367 w 1090712"/>
              <a:gd name="connsiteY304" fmla="*/ 635081 h 895572"/>
              <a:gd name="connsiteX305" fmla="*/ 301910 w 1090712"/>
              <a:gd name="connsiteY305" fmla="*/ 627478 h 895572"/>
              <a:gd name="connsiteX306" fmla="*/ 315215 w 1090712"/>
              <a:gd name="connsiteY306" fmla="*/ 620350 h 895572"/>
              <a:gd name="connsiteX307" fmla="*/ 329471 w 1090712"/>
              <a:gd name="connsiteY307" fmla="*/ 613698 h 895572"/>
              <a:gd name="connsiteX308" fmla="*/ 343726 w 1090712"/>
              <a:gd name="connsiteY308" fmla="*/ 607283 h 895572"/>
              <a:gd name="connsiteX309" fmla="*/ 357981 w 1090712"/>
              <a:gd name="connsiteY309" fmla="*/ 602056 h 895572"/>
              <a:gd name="connsiteX310" fmla="*/ 371999 w 1090712"/>
              <a:gd name="connsiteY310" fmla="*/ 597066 h 895572"/>
              <a:gd name="connsiteX311" fmla="*/ 386730 w 1090712"/>
              <a:gd name="connsiteY311" fmla="*/ 592790 h 895572"/>
              <a:gd name="connsiteX312" fmla="*/ 394808 w 1090712"/>
              <a:gd name="connsiteY312" fmla="*/ 590414 h 895572"/>
              <a:gd name="connsiteX313" fmla="*/ 402411 w 1090712"/>
              <a:gd name="connsiteY313" fmla="*/ 587325 h 895572"/>
              <a:gd name="connsiteX314" fmla="*/ 409064 w 1090712"/>
              <a:gd name="connsiteY314" fmla="*/ 583761 h 895572"/>
              <a:gd name="connsiteX315" fmla="*/ 411677 w 1090712"/>
              <a:gd name="connsiteY315" fmla="*/ 581623 h 895572"/>
              <a:gd name="connsiteX316" fmla="*/ 414766 w 1090712"/>
              <a:gd name="connsiteY316" fmla="*/ 579247 h 895572"/>
              <a:gd name="connsiteX317" fmla="*/ 417142 w 1090712"/>
              <a:gd name="connsiteY317" fmla="*/ 577109 h 895572"/>
              <a:gd name="connsiteX318" fmla="*/ 419280 w 1090712"/>
              <a:gd name="connsiteY318" fmla="*/ 574495 h 895572"/>
              <a:gd name="connsiteX319" fmla="*/ 420943 w 1090712"/>
              <a:gd name="connsiteY319" fmla="*/ 571407 h 895572"/>
              <a:gd name="connsiteX320" fmla="*/ 422844 w 1090712"/>
              <a:gd name="connsiteY320" fmla="*/ 568318 h 895572"/>
              <a:gd name="connsiteX321" fmla="*/ 424269 w 1090712"/>
              <a:gd name="connsiteY321" fmla="*/ 565229 h 895572"/>
              <a:gd name="connsiteX322" fmla="*/ 424982 w 1090712"/>
              <a:gd name="connsiteY322" fmla="*/ 561665 h 895572"/>
              <a:gd name="connsiteX323" fmla="*/ 425457 w 1090712"/>
              <a:gd name="connsiteY323" fmla="*/ 557626 h 895572"/>
              <a:gd name="connsiteX324" fmla="*/ 425932 w 1090712"/>
              <a:gd name="connsiteY324" fmla="*/ 553587 h 895572"/>
              <a:gd name="connsiteX325" fmla="*/ 425932 w 1090712"/>
              <a:gd name="connsiteY325" fmla="*/ 413884 h 895572"/>
              <a:gd name="connsiteX326" fmla="*/ 425932 w 1090712"/>
              <a:gd name="connsiteY326" fmla="*/ 285347 h 895572"/>
              <a:gd name="connsiteX327" fmla="*/ 429496 w 1090712"/>
              <a:gd name="connsiteY327" fmla="*/ 300078 h 895572"/>
              <a:gd name="connsiteX328" fmla="*/ 433060 w 1090712"/>
              <a:gd name="connsiteY328" fmla="*/ 314096 h 895572"/>
              <a:gd name="connsiteX329" fmla="*/ 436149 w 1090712"/>
              <a:gd name="connsiteY329" fmla="*/ 328826 h 895572"/>
              <a:gd name="connsiteX330" fmla="*/ 438762 w 1090712"/>
              <a:gd name="connsiteY330" fmla="*/ 343082 h 895572"/>
              <a:gd name="connsiteX331" fmla="*/ 443752 w 1090712"/>
              <a:gd name="connsiteY331" fmla="*/ 370642 h 895572"/>
              <a:gd name="connsiteX332" fmla="*/ 447791 w 1090712"/>
              <a:gd name="connsiteY332" fmla="*/ 397015 h 895572"/>
              <a:gd name="connsiteX333" fmla="*/ 451830 w 1090712"/>
              <a:gd name="connsiteY333" fmla="*/ 421962 h 895572"/>
              <a:gd name="connsiteX334" fmla="*/ 454919 w 1090712"/>
              <a:gd name="connsiteY334" fmla="*/ 446434 h 895572"/>
              <a:gd name="connsiteX335" fmla="*/ 456106 w 1090712"/>
              <a:gd name="connsiteY335" fmla="*/ 458313 h 895572"/>
              <a:gd name="connsiteX336" fmla="*/ 457057 w 1090712"/>
              <a:gd name="connsiteY336" fmla="*/ 470430 h 895572"/>
              <a:gd name="connsiteX337" fmla="*/ 457532 w 1090712"/>
              <a:gd name="connsiteY337" fmla="*/ 482310 h 895572"/>
              <a:gd name="connsiteX338" fmla="*/ 457532 w 1090712"/>
              <a:gd name="connsiteY338" fmla="*/ 493952 h 895572"/>
              <a:gd name="connsiteX339" fmla="*/ 457532 w 1090712"/>
              <a:gd name="connsiteY339" fmla="*/ 506069 h 895572"/>
              <a:gd name="connsiteX340" fmla="*/ 456582 w 1090712"/>
              <a:gd name="connsiteY340" fmla="*/ 517473 h 895572"/>
              <a:gd name="connsiteX341" fmla="*/ 455869 w 1090712"/>
              <a:gd name="connsiteY341" fmla="*/ 529116 h 895572"/>
              <a:gd name="connsiteX342" fmla="*/ 453968 w 1090712"/>
              <a:gd name="connsiteY342" fmla="*/ 540757 h 895572"/>
              <a:gd name="connsiteX343" fmla="*/ 452305 w 1090712"/>
              <a:gd name="connsiteY343" fmla="*/ 552162 h 895572"/>
              <a:gd name="connsiteX344" fmla="*/ 449454 w 1090712"/>
              <a:gd name="connsiteY344" fmla="*/ 563804 h 895572"/>
              <a:gd name="connsiteX345" fmla="*/ 446365 w 1090712"/>
              <a:gd name="connsiteY345" fmla="*/ 575446 h 895572"/>
              <a:gd name="connsiteX346" fmla="*/ 442326 w 1090712"/>
              <a:gd name="connsiteY346" fmla="*/ 586850 h 895572"/>
              <a:gd name="connsiteX347" fmla="*/ 440188 w 1090712"/>
              <a:gd name="connsiteY347" fmla="*/ 591364 h 895572"/>
              <a:gd name="connsiteX348" fmla="*/ 437574 w 1090712"/>
              <a:gd name="connsiteY348" fmla="*/ 595403 h 895572"/>
              <a:gd name="connsiteX349" fmla="*/ 434486 w 1090712"/>
              <a:gd name="connsiteY349" fmla="*/ 598967 h 895572"/>
              <a:gd name="connsiteX350" fmla="*/ 431397 w 1090712"/>
              <a:gd name="connsiteY350" fmla="*/ 602531 h 895572"/>
              <a:gd name="connsiteX351" fmla="*/ 428071 w 1090712"/>
              <a:gd name="connsiteY351" fmla="*/ 605145 h 895572"/>
              <a:gd name="connsiteX352" fmla="*/ 424982 w 1090712"/>
              <a:gd name="connsiteY352" fmla="*/ 607283 h 895572"/>
              <a:gd name="connsiteX353" fmla="*/ 422369 w 1090712"/>
              <a:gd name="connsiteY353" fmla="*/ 608708 h 895572"/>
              <a:gd name="connsiteX354" fmla="*/ 420230 w 1090712"/>
              <a:gd name="connsiteY354" fmla="*/ 609659 h 895572"/>
              <a:gd name="connsiteX355" fmla="*/ 410727 w 1090712"/>
              <a:gd name="connsiteY355" fmla="*/ 610847 h 895572"/>
              <a:gd name="connsiteX356" fmla="*/ 401461 w 1090712"/>
              <a:gd name="connsiteY356" fmla="*/ 612748 h 895572"/>
              <a:gd name="connsiteX357" fmla="*/ 392670 w 1090712"/>
              <a:gd name="connsiteY357" fmla="*/ 614886 h 895572"/>
              <a:gd name="connsiteX358" fmla="*/ 383641 w 1090712"/>
              <a:gd name="connsiteY358" fmla="*/ 617262 h 895572"/>
              <a:gd name="connsiteX359" fmla="*/ 374850 w 1090712"/>
              <a:gd name="connsiteY359" fmla="*/ 620350 h 895572"/>
              <a:gd name="connsiteX360" fmla="*/ 365822 w 1090712"/>
              <a:gd name="connsiteY360" fmla="*/ 623914 h 895572"/>
              <a:gd name="connsiteX361" fmla="*/ 348478 w 1090712"/>
              <a:gd name="connsiteY361" fmla="*/ 631042 h 895572"/>
              <a:gd name="connsiteX362" fmla="*/ 331609 w 1090712"/>
              <a:gd name="connsiteY362" fmla="*/ 639358 h 895572"/>
              <a:gd name="connsiteX363" fmla="*/ 314740 w 1090712"/>
              <a:gd name="connsiteY363" fmla="*/ 647911 h 895572"/>
              <a:gd name="connsiteX364" fmla="*/ 281240 w 1090712"/>
              <a:gd name="connsiteY364" fmla="*/ 665255 h 895572"/>
              <a:gd name="connsiteX365" fmla="*/ 274587 w 1090712"/>
              <a:gd name="connsiteY365" fmla="*/ 669294 h 895572"/>
              <a:gd name="connsiteX366" fmla="*/ 267935 w 1090712"/>
              <a:gd name="connsiteY366" fmla="*/ 672858 h 895572"/>
              <a:gd name="connsiteX367" fmla="*/ 261757 w 1090712"/>
              <a:gd name="connsiteY367" fmla="*/ 675947 h 895572"/>
              <a:gd name="connsiteX368" fmla="*/ 255105 w 1090712"/>
              <a:gd name="connsiteY368" fmla="*/ 679035 h 895572"/>
              <a:gd name="connsiteX369" fmla="*/ 248927 w 1090712"/>
              <a:gd name="connsiteY369" fmla="*/ 681174 h 895572"/>
              <a:gd name="connsiteX370" fmla="*/ 242987 w 1090712"/>
              <a:gd name="connsiteY370" fmla="*/ 683075 h 895572"/>
              <a:gd name="connsiteX371" fmla="*/ 236810 w 1090712"/>
              <a:gd name="connsiteY371" fmla="*/ 684738 h 895572"/>
              <a:gd name="connsiteX372" fmla="*/ 231108 w 1090712"/>
              <a:gd name="connsiteY372" fmla="*/ 686163 h 895572"/>
              <a:gd name="connsiteX373" fmla="*/ 225406 w 1090712"/>
              <a:gd name="connsiteY373" fmla="*/ 687114 h 895572"/>
              <a:gd name="connsiteX374" fmla="*/ 219466 w 1090712"/>
              <a:gd name="connsiteY374" fmla="*/ 687589 h 895572"/>
              <a:gd name="connsiteX375" fmla="*/ 213764 w 1090712"/>
              <a:gd name="connsiteY375" fmla="*/ 687589 h 895572"/>
              <a:gd name="connsiteX376" fmla="*/ 208299 w 1090712"/>
              <a:gd name="connsiteY376" fmla="*/ 687589 h 895572"/>
              <a:gd name="connsiteX377" fmla="*/ 203072 w 1090712"/>
              <a:gd name="connsiteY377" fmla="*/ 687114 h 895572"/>
              <a:gd name="connsiteX378" fmla="*/ 197607 w 1090712"/>
              <a:gd name="connsiteY378" fmla="*/ 686163 h 895572"/>
              <a:gd name="connsiteX379" fmla="*/ 192380 w 1090712"/>
              <a:gd name="connsiteY379" fmla="*/ 684738 h 895572"/>
              <a:gd name="connsiteX380" fmla="*/ 186916 w 1090712"/>
              <a:gd name="connsiteY380" fmla="*/ 683550 h 895572"/>
              <a:gd name="connsiteX381" fmla="*/ 181689 w 1090712"/>
              <a:gd name="connsiteY381" fmla="*/ 681649 h 895572"/>
              <a:gd name="connsiteX382" fmla="*/ 176699 w 1090712"/>
              <a:gd name="connsiteY382" fmla="*/ 679986 h 895572"/>
              <a:gd name="connsiteX383" fmla="*/ 171472 w 1090712"/>
              <a:gd name="connsiteY383" fmla="*/ 677610 h 895572"/>
              <a:gd name="connsiteX384" fmla="*/ 166483 w 1090712"/>
              <a:gd name="connsiteY384" fmla="*/ 674996 h 895572"/>
              <a:gd name="connsiteX385" fmla="*/ 156742 w 1090712"/>
              <a:gd name="connsiteY385" fmla="*/ 669294 h 895572"/>
              <a:gd name="connsiteX386" fmla="*/ 147001 w 1090712"/>
              <a:gd name="connsiteY386" fmla="*/ 662167 h 895572"/>
              <a:gd name="connsiteX387" fmla="*/ 137735 w 1090712"/>
              <a:gd name="connsiteY387" fmla="*/ 654564 h 895572"/>
              <a:gd name="connsiteX388" fmla="*/ 127756 w 1090712"/>
              <a:gd name="connsiteY388" fmla="*/ 645535 h 895572"/>
              <a:gd name="connsiteX389" fmla="*/ 118490 w 1090712"/>
              <a:gd name="connsiteY389" fmla="*/ 636269 h 895572"/>
              <a:gd name="connsiteX390" fmla="*/ 109224 w 1090712"/>
              <a:gd name="connsiteY390" fmla="*/ 626053 h 895572"/>
              <a:gd name="connsiteX391" fmla="*/ 107323 w 1090712"/>
              <a:gd name="connsiteY391" fmla="*/ 623914 h 895572"/>
              <a:gd name="connsiteX392" fmla="*/ 106135 w 1090712"/>
              <a:gd name="connsiteY392" fmla="*/ 620350 h 895572"/>
              <a:gd name="connsiteX393" fmla="*/ 105185 w 1090712"/>
              <a:gd name="connsiteY393" fmla="*/ 616311 h 895572"/>
              <a:gd name="connsiteX394" fmla="*/ 105185 w 1090712"/>
              <a:gd name="connsiteY394" fmla="*/ 612272 h 895572"/>
              <a:gd name="connsiteX395" fmla="*/ 105185 w 1090712"/>
              <a:gd name="connsiteY395" fmla="*/ 608233 h 895572"/>
              <a:gd name="connsiteX396" fmla="*/ 106135 w 1090712"/>
              <a:gd name="connsiteY396" fmla="*/ 604194 h 895572"/>
              <a:gd name="connsiteX397" fmla="*/ 107323 w 1090712"/>
              <a:gd name="connsiteY397" fmla="*/ 600630 h 895572"/>
              <a:gd name="connsiteX398" fmla="*/ 109224 w 1090712"/>
              <a:gd name="connsiteY398" fmla="*/ 598017 h 895572"/>
              <a:gd name="connsiteX399" fmla="*/ 111837 w 1090712"/>
              <a:gd name="connsiteY399" fmla="*/ 591840 h 895572"/>
              <a:gd name="connsiteX400" fmla="*/ 113975 w 1090712"/>
              <a:gd name="connsiteY400" fmla="*/ 586137 h 895572"/>
              <a:gd name="connsiteX401" fmla="*/ 115401 w 1090712"/>
              <a:gd name="connsiteY401" fmla="*/ 579722 h 895572"/>
              <a:gd name="connsiteX402" fmla="*/ 115876 w 1090712"/>
              <a:gd name="connsiteY402" fmla="*/ 574020 h 895572"/>
              <a:gd name="connsiteX403" fmla="*/ 115876 w 1090712"/>
              <a:gd name="connsiteY403" fmla="*/ 568318 h 895572"/>
              <a:gd name="connsiteX404" fmla="*/ 115401 w 1090712"/>
              <a:gd name="connsiteY404" fmla="*/ 562378 h 895572"/>
              <a:gd name="connsiteX405" fmla="*/ 114451 w 1090712"/>
              <a:gd name="connsiteY405" fmla="*/ 557151 h 895572"/>
              <a:gd name="connsiteX406" fmla="*/ 112788 w 1090712"/>
              <a:gd name="connsiteY406" fmla="*/ 551449 h 895572"/>
              <a:gd name="connsiteX407" fmla="*/ 110412 w 1090712"/>
              <a:gd name="connsiteY407" fmla="*/ 545984 h 895572"/>
              <a:gd name="connsiteX408" fmla="*/ 108273 w 1090712"/>
              <a:gd name="connsiteY408" fmla="*/ 540757 h 895572"/>
              <a:gd name="connsiteX409" fmla="*/ 105185 w 1090712"/>
              <a:gd name="connsiteY409" fmla="*/ 535293 h 895572"/>
              <a:gd name="connsiteX410" fmla="*/ 102096 w 1090712"/>
              <a:gd name="connsiteY410" fmla="*/ 530066 h 895572"/>
              <a:gd name="connsiteX411" fmla="*/ 94968 w 1090712"/>
              <a:gd name="connsiteY411" fmla="*/ 519374 h 895572"/>
              <a:gd name="connsiteX412" fmla="*/ 86890 w 1090712"/>
              <a:gd name="connsiteY412" fmla="*/ 508683 h 895572"/>
              <a:gd name="connsiteX413" fmla="*/ 78812 w 1090712"/>
              <a:gd name="connsiteY413" fmla="*/ 497991 h 895572"/>
              <a:gd name="connsiteX414" fmla="*/ 70972 w 1090712"/>
              <a:gd name="connsiteY414" fmla="*/ 486824 h 895572"/>
              <a:gd name="connsiteX415" fmla="*/ 67408 w 1090712"/>
              <a:gd name="connsiteY415" fmla="*/ 481122 h 895572"/>
              <a:gd name="connsiteX416" fmla="*/ 64319 w 1090712"/>
              <a:gd name="connsiteY416" fmla="*/ 474707 h 895572"/>
              <a:gd name="connsiteX417" fmla="*/ 61230 w 1090712"/>
              <a:gd name="connsiteY417" fmla="*/ 469005 h 895572"/>
              <a:gd name="connsiteX418" fmla="*/ 58379 w 1090712"/>
              <a:gd name="connsiteY418" fmla="*/ 462828 h 895572"/>
              <a:gd name="connsiteX419" fmla="*/ 56716 w 1090712"/>
              <a:gd name="connsiteY419" fmla="*/ 456175 h 895572"/>
              <a:gd name="connsiteX420" fmla="*/ 54815 w 1090712"/>
              <a:gd name="connsiteY420" fmla="*/ 449998 h 895572"/>
              <a:gd name="connsiteX421" fmla="*/ 54103 w 1090712"/>
              <a:gd name="connsiteY421" fmla="*/ 443345 h 895572"/>
              <a:gd name="connsiteX422" fmla="*/ 53627 w 1090712"/>
              <a:gd name="connsiteY422" fmla="*/ 436455 h 895572"/>
              <a:gd name="connsiteX423" fmla="*/ 53627 w 1090712"/>
              <a:gd name="connsiteY423" fmla="*/ 429327 h 895572"/>
              <a:gd name="connsiteX424" fmla="*/ 54815 w 1090712"/>
              <a:gd name="connsiteY424" fmla="*/ 422675 h 895572"/>
              <a:gd name="connsiteX425" fmla="*/ 56716 w 1090712"/>
              <a:gd name="connsiteY425" fmla="*/ 415547 h 895572"/>
              <a:gd name="connsiteX426" fmla="*/ 59330 w 1090712"/>
              <a:gd name="connsiteY426" fmla="*/ 408182 h 895572"/>
              <a:gd name="connsiteX427" fmla="*/ 60280 w 1090712"/>
              <a:gd name="connsiteY427" fmla="*/ 403192 h 895572"/>
              <a:gd name="connsiteX428" fmla="*/ 61943 w 1090712"/>
              <a:gd name="connsiteY428" fmla="*/ 397965 h 895572"/>
              <a:gd name="connsiteX429" fmla="*/ 65507 w 1090712"/>
              <a:gd name="connsiteY429" fmla="*/ 387986 h 895572"/>
              <a:gd name="connsiteX430" fmla="*/ 69546 w 1090712"/>
              <a:gd name="connsiteY430" fmla="*/ 378720 h 895572"/>
              <a:gd name="connsiteX431" fmla="*/ 74535 w 1090712"/>
              <a:gd name="connsiteY431" fmla="*/ 369929 h 895572"/>
              <a:gd name="connsiteX432" fmla="*/ 79762 w 1090712"/>
              <a:gd name="connsiteY432" fmla="*/ 360901 h 895572"/>
              <a:gd name="connsiteX433" fmla="*/ 85940 w 1090712"/>
              <a:gd name="connsiteY433" fmla="*/ 352585 h 895572"/>
              <a:gd name="connsiteX434" fmla="*/ 98057 w 1090712"/>
              <a:gd name="connsiteY434" fmla="*/ 335479 h 895572"/>
              <a:gd name="connsiteX435" fmla="*/ 102571 w 1090712"/>
              <a:gd name="connsiteY435" fmla="*/ 328113 h 895572"/>
              <a:gd name="connsiteX436" fmla="*/ 106848 w 1090712"/>
              <a:gd name="connsiteY436" fmla="*/ 320986 h 895572"/>
              <a:gd name="connsiteX437" fmla="*/ 116827 w 1090712"/>
              <a:gd name="connsiteY437" fmla="*/ 307205 h 895572"/>
              <a:gd name="connsiteX438" fmla="*/ 127043 w 1090712"/>
              <a:gd name="connsiteY438" fmla="*/ 293188 h 895572"/>
              <a:gd name="connsiteX439" fmla="*/ 137735 w 1090712"/>
              <a:gd name="connsiteY439" fmla="*/ 279407 h 895572"/>
              <a:gd name="connsiteX440" fmla="*/ 159831 w 1090712"/>
              <a:gd name="connsiteY440" fmla="*/ 251847 h 895572"/>
              <a:gd name="connsiteX441" fmla="*/ 170522 w 1090712"/>
              <a:gd name="connsiteY441" fmla="*/ 238066 h 895572"/>
              <a:gd name="connsiteX442" fmla="*/ 181214 w 1090712"/>
              <a:gd name="connsiteY442" fmla="*/ 223336 h 895572"/>
              <a:gd name="connsiteX443" fmla="*/ 164820 w 1090712"/>
              <a:gd name="connsiteY443" fmla="*/ 223336 h 895572"/>
              <a:gd name="connsiteX444" fmla="*/ 137972 w 1090712"/>
              <a:gd name="connsiteY444" fmla="*/ 230226 h 895572"/>
              <a:gd name="connsiteX445" fmla="*/ 125142 w 1090712"/>
              <a:gd name="connsiteY445" fmla="*/ 233790 h 895572"/>
              <a:gd name="connsiteX446" fmla="*/ 112788 w 1090712"/>
              <a:gd name="connsiteY446" fmla="*/ 237591 h 895572"/>
              <a:gd name="connsiteX447" fmla="*/ 100195 w 1090712"/>
              <a:gd name="connsiteY447" fmla="*/ 241630 h 895572"/>
              <a:gd name="connsiteX448" fmla="*/ 87840 w 1090712"/>
              <a:gd name="connsiteY448" fmla="*/ 245669 h 895572"/>
              <a:gd name="connsiteX449" fmla="*/ 75723 w 1090712"/>
              <a:gd name="connsiteY449" fmla="*/ 250183 h 895572"/>
              <a:gd name="connsiteX450" fmla="*/ 64319 w 1090712"/>
              <a:gd name="connsiteY450" fmla="*/ 254935 h 895572"/>
              <a:gd name="connsiteX451" fmla="*/ 52677 w 1090712"/>
              <a:gd name="connsiteY451" fmla="*/ 260400 h 895572"/>
              <a:gd name="connsiteX452" fmla="*/ 41035 w 1090712"/>
              <a:gd name="connsiteY452" fmla="*/ 265627 h 895572"/>
              <a:gd name="connsiteX453" fmla="*/ 29868 w 1090712"/>
              <a:gd name="connsiteY453" fmla="*/ 271567 h 895572"/>
              <a:gd name="connsiteX454" fmla="*/ 18939 w 1090712"/>
              <a:gd name="connsiteY454" fmla="*/ 277744 h 895572"/>
              <a:gd name="connsiteX455" fmla="*/ 7772 w 1090712"/>
              <a:gd name="connsiteY455" fmla="*/ 284397 h 895572"/>
              <a:gd name="connsiteX456" fmla="*/ 0 w 1090712"/>
              <a:gd name="connsiteY456" fmla="*/ 289924 h 895572"/>
              <a:gd name="connsiteX457" fmla="*/ 0 w 1090712"/>
              <a:gd name="connsiteY457" fmla="*/ 895572 h 895572"/>
              <a:gd name="connsiteX458" fmla="*/ 125653 w 1090712"/>
              <a:gd name="connsiteY458" fmla="*/ 895572 h 895572"/>
              <a:gd name="connsiteX459" fmla="*/ 127756 w 1090712"/>
              <a:gd name="connsiteY459" fmla="*/ 892155 h 895572"/>
              <a:gd name="connsiteX460" fmla="*/ 131082 w 1090712"/>
              <a:gd name="connsiteY460" fmla="*/ 885502 h 895572"/>
              <a:gd name="connsiteX461" fmla="*/ 133696 w 1090712"/>
              <a:gd name="connsiteY461" fmla="*/ 878374 h 895572"/>
              <a:gd name="connsiteX462" fmla="*/ 135834 w 1090712"/>
              <a:gd name="connsiteY462" fmla="*/ 871722 h 895572"/>
              <a:gd name="connsiteX463" fmla="*/ 137735 w 1090712"/>
              <a:gd name="connsiteY463" fmla="*/ 864594 h 895572"/>
              <a:gd name="connsiteX464" fmla="*/ 138923 w 1090712"/>
              <a:gd name="connsiteY464" fmla="*/ 857466 h 895572"/>
              <a:gd name="connsiteX465" fmla="*/ 140348 w 1090712"/>
              <a:gd name="connsiteY465" fmla="*/ 850339 h 895572"/>
              <a:gd name="connsiteX466" fmla="*/ 141298 w 1090712"/>
              <a:gd name="connsiteY466" fmla="*/ 843211 h 895572"/>
              <a:gd name="connsiteX467" fmla="*/ 142011 w 1090712"/>
              <a:gd name="connsiteY467" fmla="*/ 828955 h 895572"/>
              <a:gd name="connsiteX468" fmla="*/ 142486 w 1090712"/>
              <a:gd name="connsiteY468" fmla="*/ 814225 h 895572"/>
              <a:gd name="connsiteX469" fmla="*/ 142486 w 1090712"/>
              <a:gd name="connsiteY469" fmla="*/ 799494 h 895572"/>
              <a:gd name="connsiteX470" fmla="*/ 142486 w 1090712"/>
              <a:gd name="connsiteY470" fmla="*/ 782625 h 895572"/>
              <a:gd name="connsiteX471" fmla="*/ 142486 w 1090712"/>
              <a:gd name="connsiteY471" fmla="*/ 771458 h 895572"/>
              <a:gd name="connsiteX472" fmla="*/ 143912 w 1090712"/>
              <a:gd name="connsiteY472" fmla="*/ 778586 h 895572"/>
              <a:gd name="connsiteX473" fmla="*/ 145100 w 1090712"/>
              <a:gd name="connsiteY473" fmla="*/ 784526 h 895572"/>
              <a:gd name="connsiteX474" fmla="*/ 147476 w 1090712"/>
              <a:gd name="connsiteY474" fmla="*/ 789753 h 895572"/>
              <a:gd name="connsiteX475" fmla="*/ 149614 w 1090712"/>
              <a:gd name="connsiteY475" fmla="*/ 794267 h 895572"/>
              <a:gd name="connsiteX476" fmla="*/ 152228 w 1090712"/>
              <a:gd name="connsiteY476" fmla="*/ 797831 h 895572"/>
              <a:gd name="connsiteX477" fmla="*/ 155554 w 1090712"/>
              <a:gd name="connsiteY477" fmla="*/ 801395 h 895572"/>
              <a:gd name="connsiteX478" fmla="*/ 158643 w 1090712"/>
              <a:gd name="connsiteY478" fmla="*/ 803533 h 895572"/>
              <a:gd name="connsiteX479" fmla="*/ 162206 w 1090712"/>
              <a:gd name="connsiteY479" fmla="*/ 805909 h 895572"/>
              <a:gd name="connsiteX480" fmla="*/ 165770 w 1090712"/>
              <a:gd name="connsiteY480" fmla="*/ 807572 h 895572"/>
              <a:gd name="connsiteX481" fmla="*/ 169572 w 1090712"/>
              <a:gd name="connsiteY481" fmla="*/ 808523 h 895572"/>
              <a:gd name="connsiteX482" fmla="*/ 174086 w 1090712"/>
              <a:gd name="connsiteY482" fmla="*/ 809473 h 895572"/>
              <a:gd name="connsiteX483" fmla="*/ 178600 w 1090712"/>
              <a:gd name="connsiteY483" fmla="*/ 810186 h 895572"/>
              <a:gd name="connsiteX484" fmla="*/ 187866 w 1090712"/>
              <a:gd name="connsiteY484" fmla="*/ 810661 h 895572"/>
              <a:gd name="connsiteX485" fmla="*/ 198083 w 1090712"/>
              <a:gd name="connsiteY485" fmla="*/ 810661 h 895572"/>
              <a:gd name="connsiteX486" fmla="*/ 236810 w 1090712"/>
              <a:gd name="connsiteY486" fmla="*/ 810661 h 895572"/>
              <a:gd name="connsiteX487" fmla="*/ 249640 w 1090712"/>
              <a:gd name="connsiteY487" fmla="*/ 811136 h 895572"/>
              <a:gd name="connsiteX488" fmla="*/ 263183 w 1090712"/>
              <a:gd name="connsiteY488" fmla="*/ 811611 h 895572"/>
              <a:gd name="connsiteX489" fmla="*/ 270310 w 1090712"/>
              <a:gd name="connsiteY489" fmla="*/ 811611 h 895572"/>
              <a:gd name="connsiteX490" fmla="*/ 276963 w 1090712"/>
              <a:gd name="connsiteY490" fmla="*/ 811136 h 895572"/>
              <a:gd name="connsiteX491" fmla="*/ 283140 w 1090712"/>
              <a:gd name="connsiteY491" fmla="*/ 810186 h 895572"/>
              <a:gd name="connsiteX492" fmla="*/ 289793 w 1090712"/>
              <a:gd name="connsiteY492" fmla="*/ 808523 h 895572"/>
              <a:gd name="connsiteX493" fmla="*/ 295495 w 1090712"/>
              <a:gd name="connsiteY493" fmla="*/ 806147 h 895572"/>
              <a:gd name="connsiteX494" fmla="*/ 301435 w 1090712"/>
              <a:gd name="connsiteY494" fmla="*/ 803058 h 895572"/>
              <a:gd name="connsiteX495" fmla="*/ 304524 w 1090712"/>
              <a:gd name="connsiteY495" fmla="*/ 801395 h 895572"/>
              <a:gd name="connsiteX496" fmla="*/ 307137 w 1090712"/>
              <a:gd name="connsiteY496" fmla="*/ 799256 h 895572"/>
              <a:gd name="connsiteX497" fmla="*/ 309275 w 1090712"/>
              <a:gd name="connsiteY497" fmla="*/ 796881 h 895572"/>
              <a:gd name="connsiteX498" fmla="*/ 312126 w 1090712"/>
              <a:gd name="connsiteY498" fmla="*/ 794267 h 895572"/>
              <a:gd name="connsiteX499" fmla="*/ 314265 w 1090712"/>
              <a:gd name="connsiteY499" fmla="*/ 791178 h 895572"/>
              <a:gd name="connsiteX500" fmla="*/ 316403 w 1090712"/>
              <a:gd name="connsiteY500" fmla="*/ 788090 h 895572"/>
              <a:gd name="connsiteX501" fmla="*/ 318304 w 1090712"/>
              <a:gd name="connsiteY501" fmla="*/ 784051 h 895572"/>
              <a:gd name="connsiteX502" fmla="*/ 319967 w 1090712"/>
              <a:gd name="connsiteY502" fmla="*/ 780012 h 895572"/>
              <a:gd name="connsiteX503" fmla="*/ 321868 w 1090712"/>
              <a:gd name="connsiteY503" fmla="*/ 775973 h 895572"/>
              <a:gd name="connsiteX504" fmla="*/ 323056 w 1090712"/>
              <a:gd name="connsiteY504" fmla="*/ 771221 h 895572"/>
              <a:gd name="connsiteX505" fmla="*/ 324481 w 1090712"/>
              <a:gd name="connsiteY505" fmla="*/ 765756 h 895572"/>
              <a:gd name="connsiteX506" fmla="*/ 325907 w 1090712"/>
              <a:gd name="connsiteY506" fmla="*/ 760529 h 895572"/>
              <a:gd name="connsiteX507" fmla="*/ 325907 w 1090712"/>
              <a:gd name="connsiteY507" fmla="*/ 827530 h 895572"/>
              <a:gd name="connsiteX508" fmla="*/ 310226 w 1090712"/>
              <a:gd name="connsiteY508" fmla="*/ 835608 h 895572"/>
              <a:gd name="connsiteX509" fmla="*/ 295970 w 1090712"/>
              <a:gd name="connsiteY509" fmla="*/ 843686 h 895572"/>
              <a:gd name="connsiteX510" fmla="*/ 282665 w 1090712"/>
              <a:gd name="connsiteY510" fmla="*/ 850339 h 895572"/>
              <a:gd name="connsiteX511" fmla="*/ 276488 w 1090712"/>
              <a:gd name="connsiteY511" fmla="*/ 852952 h 895572"/>
              <a:gd name="connsiteX512" fmla="*/ 270310 w 1090712"/>
              <a:gd name="connsiteY512" fmla="*/ 855565 h 895572"/>
              <a:gd name="connsiteX513" fmla="*/ 266271 w 1090712"/>
              <a:gd name="connsiteY513" fmla="*/ 857942 h 895572"/>
              <a:gd name="connsiteX514" fmla="*/ 262708 w 1090712"/>
              <a:gd name="connsiteY514" fmla="*/ 860080 h 895572"/>
              <a:gd name="connsiteX515" fmla="*/ 259619 w 1090712"/>
              <a:gd name="connsiteY515" fmla="*/ 862693 h 895572"/>
              <a:gd name="connsiteX516" fmla="*/ 256768 w 1090712"/>
              <a:gd name="connsiteY516" fmla="*/ 865544 h 895572"/>
              <a:gd name="connsiteX517" fmla="*/ 254154 w 1090712"/>
              <a:gd name="connsiteY517" fmla="*/ 868633 h 895572"/>
              <a:gd name="connsiteX518" fmla="*/ 252491 w 1090712"/>
              <a:gd name="connsiteY518" fmla="*/ 871722 h 895572"/>
              <a:gd name="connsiteX519" fmla="*/ 250590 w 1090712"/>
              <a:gd name="connsiteY519" fmla="*/ 874810 h 895572"/>
              <a:gd name="connsiteX520" fmla="*/ 249402 w 1090712"/>
              <a:gd name="connsiteY520" fmla="*/ 877899 h 895572"/>
              <a:gd name="connsiteX521" fmla="*/ 248452 w 1090712"/>
              <a:gd name="connsiteY521" fmla="*/ 880988 h 895572"/>
              <a:gd name="connsiteX522" fmla="*/ 247977 w 1090712"/>
              <a:gd name="connsiteY522" fmla="*/ 884076 h 895572"/>
              <a:gd name="connsiteX523" fmla="*/ 247977 w 1090712"/>
              <a:gd name="connsiteY523" fmla="*/ 887165 h 895572"/>
              <a:gd name="connsiteX524" fmla="*/ 248452 w 1090712"/>
              <a:gd name="connsiteY524" fmla="*/ 890016 h 895572"/>
              <a:gd name="connsiteX525" fmla="*/ 249402 w 1090712"/>
              <a:gd name="connsiteY525" fmla="*/ 893105 h 895572"/>
              <a:gd name="connsiteX526" fmla="*/ 250075 w 1090712"/>
              <a:gd name="connsiteY526" fmla="*/ 895572 h 895572"/>
              <a:gd name="connsiteX527" fmla="*/ 474750 w 1090712"/>
              <a:gd name="connsiteY527" fmla="*/ 895572 h 895572"/>
              <a:gd name="connsiteX528" fmla="*/ 475827 w 1090712"/>
              <a:gd name="connsiteY528" fmla="*/ 894768 h 895572"/>
              <a:gd name="connsiteX529" fmla="*/ 486993 w 1090712"/>
              <a:gd name="connsiteY529" fmla="*/ 882889 h 895572"/>
              <a:gd name="connsiteX530" fmla="*/ 497210 w 1090712"/>
              <a:gd name="connsiteY530" fmla="*/ 870296 h 895572"/>
              <a:gd name="connsiteX531" fmla="*/ 506951 w 1090712"/>
              <a:gd name="connsiteY531" fmla="*/ 857942 h 895572"/>
              <a:gd name="connsiteX532" fmla="*/ 515742 w 1090712"/>
              <a:gd name="connsiteY532" fmla="*/ 844636 h 895572"/>
              <a:gd name="connsiteX533" fmla="*/ 523820 w 1090712"/>
              <a:gd name="connsiteY533" fmla="*/ 831094 h 895572"/>
              <a:gd name="connsiteX534" fmla="*/ 531898 w 1090712"/>
              <a:gd name="connsiteY534" fmla="*/ 816838 h 895572"/>
              <a:gd name="connsiteX535" fmla="*/ 539026 w 1090712"/>
              <a:gd name="connsiteY535" fmla="*/ 802583 h 895572"/>
              <a:gd name="connsiteX536" fmla="*/ 545678 w 1090712"/>
              <a:gd name="connsiteY536" fmla="*/ 788565 h 895572"/>
              <a:gd name="connsiteX537" fmla="*/ 552331 w 1090712"/>
              <a:gd name="connsiteY537" fmla="*/ 773359 h 895572"/>
              <a:gd name="connsiteX538" fmla="*/ 558033 w 1090712"/>
              <a:gd name="connsiteY538" fmla="*/ 758628 h 895572"/>
              <a:gd name="connsiteX539" fmla="*/ 563498 w 1090712"/>
              <a:gd name="connsiteY539" fmla="*/ 743185 h 895572"/>
              <a:gd name="connsiteX540" fmla="*/ 568725 w 1090712"/>
              <a:gd name="connsiteY540" fmla="*/ 727979 h 895572"/>
              <a:gd name="connsiteX541" fmla="*/ 573714 w 1090712"/>
              <a:gd name="connsiteY541" fmla="*/ 712298 h 895572"/>
              <a:gd name="connsiteX542" fmla="*/ 577991 w 1090712"/>
              <a:gd name="connsiteY542" fmla="*/ 696855 h 895572"/>
              <a:gd name="connsiteX543" fmla="*/ 586544 w 1090712"/>
              <a:gd name="connsiteY543" fmla="*/ 665255 h 895572"/>
              <a:gd name="connsiteX544" fmla="*/ 586069 w 1090712"/>
              <a:gd name="connsiteY544" fmla="*/ 663117 h 895572"/>
              <a:gd name="connsiteX545" fmla="*/ 584881 w 1090712"/>
              <a:gd name="connsiteY545" fmla="*/ 660266 h 895572"/>
              <a:gd name="connsiteX546" fmla="*/ 582980 w 1090712"/>
              <a:gd name="connsiteY546" fmla="*/ 657177 h 895572"/>
              <a:gd name="connsiteX547" fmla="*/ 580367 w 1090712"/>
              <a:gd name="connsiteY547" fmla="*/ 654088 h 895572"/>
              <a:gd name="connsiteX548" fmla="*/ 574902 w 1090712"/>
              <a:gd name="connsiteY548" fmla="*/ 647911 h 895572"/>
              <a:gd name="connsiteX549" fmla="*/ 570150 w 1090712"/>
              <a:gd name="connsiteY549" fmla="*/ 642922 h 895572"/>
              <a:gd name="connsiteX550" fmla="*/ 565636 w 1090712"/>
              <a:gd name="connsiteY550" fmla="*/ 636744 h 895572"/>
              <a:gd name="connsiteX551" fmla="*/ 560647 w 1090712"/>
              <a:gd name="connsiteY551" fmla="*/ 631517 h 895572"/>
              <a:gd name="connsiteX552" fmla="*/ 555420 w 1090712"/>
              <a:gd name="connsiteY552" fmla="*/ 626053 h 895572"/>
              <a:gd name="connsiteX553" fmla="*/ 550193 w 1090712"/>
              <a:gd name="connsiteY553" fmla="*/ 621301 h 895572"/>
              <a:gd name="connsiteX554" fmla="*/ 544253 w 1090712"/>
              <a:gd name="connsiteY554" fmla="*/ 616787 h 895572"/>
              <a:gd name="connsiteX555" fmla="*/ 538075 w 1090712"/>
              <a:gd name="connsiteY555" fmla="*/ 612272 h 895572"/>
              <a:gd name="connsiteX556" fmla="*/ 525721 w 1090712"/>
              <a:gd name="connsiteY556" fmla="*/ 603719 h 895572"/>
              <a:gd name="connsiteX557" fmla="*/ 563023 w 1090712"/>
              <a:gd name="connsiteY557" fmla="*/ 619875 h 895572"/>
              <a:gd name="connsiteX558" fmla="*/ 581317 w 1090712"/>
              <a:gd name="connsiteY558" fmla="*/ 628191 h 895572"/>
              <a:gd name="connsiteX559" fmla="*/ 599374 w 1090712"/>
              <a:gd name="connsiteY559" fmla="*/ 636744 h 895572"/>
              <a:gd name="connsiteX560" fmla="*/ 607927 w 1090712"/>
              <a:gd name="connsiteY560" fmla="*/ 641259 h 895572"/>
              <a:gd name="connsiteX561" fmla="*/ 616718 w 1090712"/>
              <a:gd name="connsiteY561" fmla="*/ 646010 h 895572"/>
              <a:gd name="connsiteX562" fmla="*/ 625271 w 1090712"/>
              <a:gd name="connsiteY562" fmla="*/ 651000 h 895572"/>
              <a:gd name="connsiteX563" fmla="*/ 633349 w 1090712"/>
              <a:gd name="connsiteY563" fmla="*/ 656227 h 895572"/>
              <a:gd name="connsiteX564" fmla="*/ 641665 w 1090712"/>
              <a:gd name="connsiteY564" fmla="*/ 662167 h 895572"/>
              <a:gd name="connsiteX565" fmla="*/ 649268 w 1090712"/>
              <a:gd name="connsiteY565" fmla="*/ 668344 h 895572"/>
              <a:gd name="connsiteX566" fmla="*/ 656871 w 1090712"/>
              <a:gd name="connsiteY566" fmla="*/ 674996 h 895572"/>
              <a:gd name="connsiteX567" fmla="*/ 664474 w 1090712"/>
              <a:gd name="connsiteY567" fmla="*/ 682124 h 895572"/>
              <a:gd name="connsiteX568" fmla="*/ 668988 w 1090712"/>
              <a:gd name="connsiteY568" fmla="*/ 686163 h 895572"/>
              <a:gd name="connsiteX569" fmla="*/ 672790 w 1090712"/>
              <a:gd name="connsiteY569" fmla="*/ 690202 h 895572"/>
              <a:gd name="connsiteX570" fmla="*/ 677304 w 1090712"/>
              <a:gd name="connsiteY570" fmla="*/ 693291 h 895572"/>
              <a:gd name="connsiteX571" fmla="*/ 682293 w 1090712"/>
              <a:gd name="connsiteY571" fmla="*/ 696855 h 895572"/>
              <a:gd name="connsiteX572" fmla="*/ 686570 w 1090712"/>
              <a:gd name="connsiteY572" fmla="*/ 699468 h 895572"/>
              <a:gd name="connsiteX573" fmla="*/ 691559 w 1090712"/>
              <a:gd name="connsiteY573" fmla="*/ 702082 h 895572"/>
              <a:gd name="connsiteX574" fmla="*/ 696549 w 1090712"/>
              <a:gd name="connsiteY574" fmla="*/ 703983 h 895572"/>
              <a:gd name="connsiteX575" fmla="*/ 701300 w 1090712"/>
              <a:gd name="connsiteY575" fmla="*/ 705646 h 895572"/>
              <a:gd name="connsiteX576" fmla="*/ 706290 w 1090712"/>
              <a:gd name="connsiteY576" fmla="*/ 707071 h 895572"/>
              <a:gd name="connsiteX577" fmla="*/ 711042 w 1090712"/>
              <a:gd name="connsiteY577" fmla="*/ 708497 h 895572"/>
              <a:gd name="connsiteX578" fmla="*/ 716506 w 1090712"/>
              <a:gd name="connsiteY578" fmla="*/ 708734 h 895572"/>
              <a:gd name="connsiteX579" fmla="*/ 721258 w 1090712"/>
              <a:gd name="connsiteY579" fmla="*/ 708734 h 895572"/>
              <a:gd name="connsiteX580" fmla="*/ 726723 w 1090712"/>
              <a:gd name="connsiteY580" fmla="*/ 708497 h 895572"/>
              <a:gd name="connsiteX581" fmla="*/ 731712 w 1090712"/>
              <a:gd name="connsiteY581" fmla="*/ 707546 h 895572"/>
              <a:gd name="connsiteX582" fmla="*/ 736939 w 1090712"/>
              <a:gd name="connsiteY582" fmla="*/ 706121 h 895572"/>
              <a:gd name="connsiteX583" fmla="*/ 742166 w 1090712"/>
              <a:gd name="connsiteY583" fmla="*/ 704458 h 895572"/>
              <a:gd name="connsiteX584" fmla="*/ 749294 w 1090712"/>
              <a:gd name="connsiteY584" fmla="*/ 702082 h 895572"/>
              <a:gd name="connsiteX585" fmla="*/ 756184 w 1090712"/>
              <a:gd name="connsiteY585" fmla="*/ 699468 h 895572"/>
              <a:gd name="connsiteX586" fmla="*/ 762361 w 1090712"/>
              <a:gd name="connsiteY586" fmla="*/ 696380 h 895572"/>
              <a:gd name="connsiteX587" fmla="*/ 768063 w 1090712"/>
              <a:gd name="connsiteY587" fmla="*/ 692816 h 895572"/>
              <a:gd name="connsiteX588" fmla="*/ 773528 w 1090712"/>
              <a:gd name="connsiteY588" fmla="*/ 689252 h 895572"/>
              <a:gd name="connsiteX589" fmla="*/ 778755 w 1090712"/>
              <a:gd name="connsiteY589" fmla="*/ 684738 h 895572"/>
              <a:gd name="connsiteX590" fmla="*/ 783269 w 1090712"/>
              <a:gd name="connsiteY590" fmla="*/ 680461 h 895572"/>
              <a:gd name="connsiteX591" fmla="*/ 787308 w 1090712"/>
              <a:gd name="connsiteY591" fmla="*/ 674996 h 895572"/>
              <a:gd name="connsiteX592" fmla="*/ 791110 w 1090712"/>
              <a:gd name="connsiteY592" fmla="*/ 669769 h 895572"/>
              <a:gd name="connsiteX593" fmla="*/ 794436 w 1090712"/>
              <a:gd name="connsiteY593" fmla="*/ 663830 h 895572"/>
              <a:gd name="connsiteX594" fmla="*/ 797050 w 1090712"/>
              <a:gd name="connsiteY594" fmla="*/ 657652 h 895572"/>
              <a:gd name="connsiteX595" fmla="*/ 799188 w 1090712"/>
              <a:gd name="connsiteY595" fmla="*/ 651000 h 895572"/>
              <a:gd name="connsiteX596" fmla="*/ 801089 w 1090712"/>
              <a:gd name="connsiteY596" fmla="*/ 643872 h 895572"/>
              <a:gd name="connsiteX597" fmla="*/ 802277 w 1090712"/>
              <a:gd name="connsiteY597" fmla="*/ 636744 h 895572"/>
              <a:gd name="connsiteX598" fmla="*/ 803227 w 1090712"/>
              <a:gd name="connsiteY598" fmla="*/ 628666 h 895572"/>
              <a:gd name="connsiteX599" fmla="*/ 803227 w 1090712"/>
              <a:gd name="connsiteY599" fmla="*/ 620826 h 895572"/>
              <a:gd name="connsiteX600" fmla="*/ 801089 w 1090712"/>
              <a:gd name="connsiteY600" fmla="*/ 622489 h 895572"/>
              <a:gd name="connsiteX601" fmla="*/ 798238 w 1090712"/>
              <a:gd name="connsiteY601" fmla="*/ 623914 h 895572"/>
              <a:gd name="connsiteX602" fmla="*/ 793011 w 1090712"/>
              <a:gd name="connsiteY602" fmla="*/ 626053 h 895572"/>
              <a:gd name="connsiteX603" fmla="*/ 790397 w 1090712"/>
              <a:gd name="connsiteY603" fmla="*/ 627478 h 895572"/>
              <a:gd name="connsiteX604" fmla="*/ 788496 w 1090712"/>
              <a:gd name="connsiteY604" fmla="*/ 628191 h 895572"/>
              <a:gd name="connsiteX605" fmla="*/ 787308 w 1090712"/>
              <a:gd name="connsiteY605" fmla="*/ 630092 h 895572"/>
              <a:gd name="connsiteX606" fmla="*/ 786833 w 1090712"/>
              <a:gd name="connsiteY606" fmla="*/ 631755 h 895572"/>
              <a:gd name="connsiteX607" fmla="*/ 785408 w 1090712"/>
              <a:gd name="connsiteY607" fmla="*/ 635794 h 895572"/>
              <a:gd name="connsiteX608" fmla="*/ 784220 w 1090712"/>
              <a:gd name="connsiteY608" fmla="*/ 639833 h 895572"/>
              <a:gd name="connsiteX609" fmla="*/ 780656 w 1090712"/>
              <a:gd name="connsiteY609" fmla="*/ 646485 h 895572"/>
              <a:gd name="connsiteX610" fmla="*/ 776617 w 1090712"/>
              <a:gd name="connsiteY610" fmla="*/ 653138 h 895572"/>
              <a:gd name="connsiteX611" fmla="*/ 772103 w 1090712"/>
              <a:gd name="connsiteY611" fmla="*/ 659078 h 895572"/>
              <a:gd name="connsiteX612" fmla="*/ 762361 w 1090712"/>
              <a:gd name="connsiteY612" fmla="*/ 670007 h 895572"/>
              <a:gd name="connsiteX613" fmla="*/ 757847 w 1090712"/>
              <a:gd name="connsiteY613" fmla="*/ 675947 h 895572"/>
              <a:gd name="connsiteX614" fmla="*/ 753333 w 1090712"/>
              <a:gd name="connsiteY614" fmla="*/ 682124 h 895572"/>
              <a:gd name="connsiteX615" fmla="*/ 750244 w 1090712"/>
              <a:gd name="connsiteY615" fmla="*/ 684738 h 895572"/>
              <a:gd name="connsiteX616" fmla="*/ 747155 w 1090712"/>
              <a:gd name="connsiteY616" fmla="*/ 687589 h 895572"/>
              <a:gd name="connsiteX617" fmla="*/ 744067 w 1090712"/>
              <a:gd name="connsiteY617" fmla="*/ 689252 h 895572"/>
              <a:gd name="connsiteX618" fmla="*/ 740978 w 1090712"/>
              <a:gd name="connsiteY618" fmla="*/ 690915 h 895572"/>
              <a:gd name="connsiteX619" fmla="*/ 737890 w 1090712"/>
              <a:gd name="connsiteY619" fmla="*/ 691865 h 895572"/>
              <a:gd name="connsiteX620" fmla="*/ 734801 w 1090712"/>
              <a:gd name="connsiteY620" fmla="*/ 692816 h 895572"/>
              <a:gd name="connsiteX621" fmla="*/ 731950 w 1090712"/>
              <a:gd name="connsiteY621" fmla="*/ 693291 h 895572"/>
              <a:gd name="connsiteX622" fmla="*/ 728861 w 1090712"/>
              <a:gd name="connsiteY622" fmla="*/ 693291 h 895572"/>
              <a:gd name="connsiteX623" fmla="*/ 723634 w 1090712"/>
              <a:gd name="connsiteY623" fmla="*/ 692816 h 895572"/>
              <a:gd name="connsiteX624" fmla="*/ 718169 w 1090712"/>
              <a:gd name="connsiteY624" fmla="*/ 691390 h 895572"/>
              <a:gd name="connsiteX625" fmla="*/ 713418 w 1090712"/>
              <a:gd name="connsiteY625" fmla="*/ 689727 h 895572"/>
              <a:gd name="connsiteX626" fmla="*/ 708903 w 1090712"/>
              <a:gd name="connsiteY626" fmla="*/ 687826 h 895572"/>
              <a:gd name="connsiteX627" fmla="*/ 706765 w 1090712"/>
              <a:gd name="connsiteY627" fmla="*/ 687589 h 895572"/>
              <a:gd name="connsiteX628" fmla="*/ 704864 w 1090712"/>
              <a:gd name="connsiteY628" fmla="*/ 687114 h 895572"/>
              <a:gd name="connsiteX629" fmla="*/ 703201 w 1090712"/>
              <a:gd name="connsiteY629" fmla="*/ 686163 h 895572"/>
              <a:gd name="connsiteX630" fmla="*/ 701776 w 1090712"/>
              <a:gd name="connsiteY630" fmla="*/ 684738 h 895572"/>
              <a:gd name="connsiteX631" fmla="*/ 698687 w 1090712"/>
              <a:gd name="connsiteY631" fmla="*/ 681649 h 895572"/>
              <a:gd name="connsiteX632" fmla="*/ 696549 w 1090712"/>
              <a:gd name="connsiteY632" fmla="*/ 678085 h 895572"/>
              <a:gd name="connsiteX633" fmla="*/ 694648 w 1090712"/>
              <a:gd name="connsiteY633" fmla="*/ 673571 h 895572"/>
              <a:gd name="connsiteX634" fmla="*/ 693460 w 1090712"/>
              <a:gd name="connsiteY634" fmla="*/ 668819 h 895572"/>
              <a:gd name="connsiteX635" fmla="*/ 692510 w 1090712"/>
              <a:gd name="connsiteY635" fmla="*/ 664305 h 895572"/>
              <a:gd name="connsiteX636" fmla="*/ 692510 w 1090712"/>
              <a:gd name="connsiteY636" fmla="*/ 659790 h 895572"/>
              <a:gd name="connsiteX637" fmla="*/ 692510 w 1090712"/>
              <a:gd name="connsiteY637" fmla="*/ 647436 h 895572"/>
              <a:gd name="connsiteX638" fmla="*/ 693460 w 1090712"/>
              <a:gd name="connsiteY638" fmla="*/ 635319 h 895572"/>
              <a:gd name="connsiteX639" fmla="*/ 694173 w 1090712"/>
              <a:gd name="connsiteY639" fmla="*/ 624389 h 895572"/>
              <a:gd name="connsiteX640" fmla="*/ 695598 w 1090712"/>
              <a:gd name="connsiteY640" fmla="*/ 612748 h 895572"/>
              <a:gd name="connsiteX641" fmla="*/ 699162 w 1090712"/>
              <a:gd name="connsiteY641" fmla="*/ 591364 h 895572"/>
              <a:gd name="connsiteX642" fmla="*/ 703676 w 1090712"/>
              <a:gd name="connsiteY642" fmla="*/ 570456 h 895572"/>
              <a:gd name="connsiteX643" fmla="*/ 720070 w 1090712"/>
              <a:gd name="connsiteY643" fmla="*/ 574971 h 895572"/>
              <a:gd name="connsiteX644" fmla="*/ 736939 w 1090712"/>
              <a:gd name="connsiteY644" fmla="*/ 579247 h 895572"/>
              <a:gd name="connsiteX645" fmla="*/ 770677 w 1090712"/>
              <a:gd name="connsiteY645" fmla="*/ 589226 h 895572"/>
              <a:gd name="connsiteX646" fmla="*/ 788021 w 1090712"/>
              <a:gd name="connsiteY646" fmla="*/ 593503 h 895572"/>
              <a:gd name="connsiteX647" fmla="*/ 805365 w 1090712"/>
              <a:gd name="connsiteY647" fmla="*/ 597542 h 895572"/>
              <a:gd name="connsiteX648" fmla="*/ 823660 w 1090712"/>
              <a:gd name="connsiteY648" fmla="*/ 601106 h 895572"/>
              <a:gd name="connsiteX649" fmla="*/ 841954 w 1090712"/>
              <a:gd name="connsiteY649" fmla="*/ 603719 h 895572"/>
              <a:gd name="connsiteX650" fmla="*/ 861437 w 1090712"/>
              <a:gd name="connsiteY650" fmla="*/ 606570 h 895572"/>
              <a:gd name="connsiteX651" fmla="*/ 880682 w 1090712"/>
              <a:gd name="connsiteY651" fmla="*/ 608233 h 895572"/>
              <a:gd name="connsiteX652" fmla="*/ 889948 w 1090712"/>
              <a:gd name="connsiteY652" fmla="*/ 608708 h 895572"/>
              <a:gd name="connsiteX653" fmla="*/ 898976 w 1090712"/>
              <a:gd name="connsiteY653" fmla="*/ 608708 h 895572"/>
              <a:gd name="connsiteX654" fmla="*/ 908242 w 1090712"/>
              <a:gd name="connsiteY654" fmla="*/ 608708 h 895572"/>
              <a:gd name="connsiteX655" fmla="*/ 916795 w 1090712"/>
              <a:gd name="connsiteY655" fmla="*/ 608233 h 895572"/>
              <a:gd name="connsiteX656" fmla="*/ 925586 w 1090712"/>
              <a:gd name="connsiteY656" fmla="*/ 607283 h 895572"/>
              <a:gd name="connsiteX657" fmla="*/ 934140 w 1090712"/>
              <a:gd name="connsiteY657" fmla="*/ 606095 h 895572"/>
              <a:gd name="connsiteX658" fmla="*/ 942455 w 1090712"/>
              <a:gd name="connsiteY658" fmla="*/ 604669 h 895572"/>
              <a:gd name="connsiteX659" fmla="*/ 950533 w 1090712"/>
              <a:gd name="connsiteY659" fmla="*/ 603006 h 895572"/>
              <a:gd name="connsiteX660" fmla="*/ 958611 w 1090712"/>
              <a:gd name="connsiteY660" fmla="*/ 600630 h 895572"/>
              <a:gd name="connsiteX661" fmla="*/ 966452 w 1090712"/>
              <a:gd name="connsiteY661" fmla="*/ 598017 h 895572"/>
              <a:gd name="connsiteX662" fmla="*/ 974055 w 1090712"/>
              <a:gd name="connsiteY662" fmla="*/ 595403 h 895572"/>
              <a:gd name="connsiteX663" fmla="*/ 981658 w 1090712"/>
              <a:gd name="connsiteY663" fmla="*/ 591840 h 895572"/>
              <a:gd name="connsiteX664" fmla="*/ 989261 w 1090712"/>
              <a:gd name="connsiteY664" fmla="*/ 588276 h 895572"/>
              <a:gd name="connsiteX665" fmla="*/ 996388 w 1090712"/>
              <a:gd name="connsiteY665" fmla="*/ 584237 h 895572"/>
              <a:gd name="connsiteX666" fmla="*/ 1003041 w 1090712"/>
              <a:gd name="connsiteY666" fmla="*/ 579247 h 895572"/>
              <a:gd name="connsiteX667" fmla="*/ 1009694 w 1090712"/>
              <a:gd name="connsiteY667" fmla="*/ 574495 h 895572"/>
              <a:gd name="connsiteX668" fmla="*/ 1016346 w 1090712"/>
              <a:gd name="connsiteY668" fmla="*/ 569031 h 895572"/>
              <a:gd name="connsiteX669" fmla="*/ 1022998 w 1090712"/>
              <a:gd name="connsiteY669" fmla="*/ 562853 h 895572"/>
              <a:gd name="connsiteX670" fmla="*/ 1029176 w 1090712"/>
              <a:gd name="connsiteY670" fmla="*/ 556676 h 895572"/>
              <a:gd name="connsiteX671" fmla="*/ 1035116 w 1090712"/>
              <a:gd name="connsiteY671" fmla="*/ 549548 h 895572"/>
              <a:gd name="connsiteX672" fmla="*/ 1040818 w 1090712"/>
              <a:gd name="connsiteY672" fmla="*/ 541945 h 895572"/>
              <a:gd name="connsiteX673" fmla="*/ 1046520 w 1090712"/>
              <a:gd name="connsiteY673" fmla="*/ 534342 h 895572"/>
              <a:gd name="connsiteX674" fmla="*/ 1051985 w 1090712"/>
              <a:gd name="connsiteY674" fmla="*/ 526027 h 895572"/>
              <a:gd name="connsiteX675" fmla="*/ 1056737 w 1090712"/>
              <a:gd name="connsiteY675" fmla="*/ 516523 h 895572"/>
              <a:gd name="connsiteX676" fmla="*/ 1061726 w 1090712"/>
              <a:gd name="connsiteY676" fmla="*/ 507257 h 895572"/>
              <a:gd name="connsiteX677" fmla="*/ 1066715 w 1090712"/>
              <a:gd name="connsiteY677" fmla="*/ 497041 h 895572"/>
              <a:gd name="connsiteX678" fmla="*/ 1070992 w 1090712"/>
              <a:gd name="connsiteY678" fmla="*/ 486349 h 895572"/>
              <a:gd name="connsiteX679" fmla="*/ 1075506 w 1090712"/>
              <a:gd name="connsiteY679" fmla="*/ 475182 h 895572"/>
              <a:gd name="connsiteX680" fmla="*/ 1079070 w 1090712"/>
              <a:gd name="connsiteY680" fmla="*/ 462828 h 895572"/>
              <a:gd name="connsiteX681" fmla="*/ 1082634 w 1090712"/>
              <a:gd name="connsiteY681" fmla="*/ 449998 h 895572"/>
              <a:gd name="connsiteX682" fmla="*/ 1084772 w 1090712"/>
              <a:gd name="connsiteY682" fmla="*/ 437405 h 895572"/>
              <a:gd name="connsiteX683" fmla="*/ 1087148 w 1090712"/>
              <a:gd name="connsiteY683" fmla="*/ 425050 h 895572"/>
              <a:gd name="connsiteX684" fmla="*/ 1088811 w 1090712"/>
              <a:gd name="connsiteY684" fmla="*/ 411983 h 895572"/>
              <a:gd name="connsiteX685" fmla="*/ 1089762 w 1090712"/>
              <a:gd name="connsiteY685" fmla="*/ 399628 h 895572"/>
              <a:gd name="connsiteX686" fmla="*/ 1090712 w 1090712"/>
              <a:gd name="connsiteY686" fmla="*/ 386798 h 895572"/>
              <a:gd name="connsiteX687" fmla="*/ 1090712 w 1090712"/>
              <a:gd name="connsiteY687" fmla="*/ 373731 h 895572"/>
              <a:gd name="connsiteX688" fmla="*/ 1090712 w 1090712"/>
              <a:gd name="connsiteY688" fmla="*/ 360901 h 895572"/>
              <a:gd name="connsiteX689" fmla="*/ 1089762 w 1090712"/>
              <a:gd name="connsiteY689" fmla="*/ 348071 h 895572"/>
              <a:gd name="connsiteX690" fmla="*/ 1088811 w 1090712"/>
              <a:gd name="connsiteY690" fmla="*/ 335004 h 895572"/>
              <a:gd name="connsiteX691" fmla="*/ 1088099 w 1090712"/>
              <a:gd name="connsiteY691" fmla="*/ 321698 h 895572"/>
              <a:gd name="connsiteX692" fmla="*/ 1084772 w 1090712"/>
              <a:gd name="connsiteY692" fmla="*/ 295563 h 895572"/>
              <a:gd name="connsiteX693" fmla="*/ 1080971 w 1090712"/>
              <a:gd name="connsiteY693" fmla="*/ 268478 h 895572"/>
              <a:gd name="connsiteX694" fmla="*/ 1078595 w 1090712"/>
              <a:gd name="connsiteY694" fmla="*/ 258262 h 895572"/>
              <a:gd name="connsiteX695" fmla="*/ 1075981 w 1090712"/>
              <a:gd name="connsiteY695" fmla="*/ 248283 h 895572"/>
              <a:gd name="connsiteX696" fmla="*/ 1072417 w 1090712"/>
              <a:gd name="connsiteY696" fmla="*/ 238542 h 895572"/>
              <a:gd name="connsiteX697" fmla="*/ 1069329 w 1090712"/>
              <a:gd name="connsiteY697" fmla="*/ 229275 h 895572"/>
              <a:gd name="connsiteX698" fmla="*/ 1061251 w 1090712"/>
              <a:gd name="connsiteY698" fmla="*/ 210031 h 895572"/>
              <a:gd name="connsiteX699" fmla="*/ 1053173 w 1090712"/>
              <a:gd name="connsiteY699" fmla="*/ 190073 h 895572"/>
              <a:gd name="connsiteX700" fmla="*/ 1051034 w 1090712"/>
              <a:gd name="connsiteY700" fmla="*/ 186034 h 895572"/>
              <a:gd name="connsiteX701" fmla="*/ 1048896 w 1090712"/>
              <a:gd name="connsiteY701" fmla="*/ 182470 h 895572"/>
              <a:gd name="connsiteX702" fmla="*/ 1046045 w 1090712"/>
              <a:gd name="connsiteY702" fmla="*/ 179381 h 895572"/>
              <a:gd name="connsiteX703" fmla="*/ 1043906 w 1090712"/>
              <a:gd name="connsiteY703" fmla="*/ 176768 h 895572"/>
              <a:gd name="connsiteX704" fmla="*/ 1041293 w 1090712"/>
              <a:gd name="connsiteY704" fmla="*/ 174630 h 895572"/>
              <a:gd name="connsiteX705" fmla="*/ 1038680 w 1090712"/>
              <a:gd name="connsiteY705" fmla="*/ 172729 h 895572"/>
              <a:gd name="connsiteX706" fmla="*/ 1035828 w 1090712"/>
              <a:gd name="connsiteY706" fmla="*/ 171303 h 895572"/>
              <a:gd name="connsiteX707" fmla="*/ 1032740 w 1090712"/>
              <a:gd name="connsiteY707" fmla="*/ 170591 h 895572"/>
              <a:gd name="connsiteX708" fmla="*/ 1030126 w 1090712"/>
              <a:gd name="connsiteY708" fmla="*/ 170591 h 895572"/>
              <a:gd name="connsiteX709" fmla="*/ 1027038 w 1090712"/>
              <a:gd name="connsiteY709" fmla="*/ 170591 h 895572"/>
              <a:gd name="connsiteX710" fmla="*/ 1024424 w 1090712"/>
              <a:gd name="connsiteY710" fmla="*/ 171303 h 895572"/>
              <a:gd name="connsiteX711" fmla="*/ 1021335 w 1090712"/>
              <a:gd name="connsiteY711" fmla="*/ 172729 h 895572"/>
              <a:gd name="connsiteX712" fmla="*/ 1018247 w 1090712"/>
              <a:gd name="connsiteY712" fmla="*/ 174867 h 895572"/>
              <a:gd name="connsiteX713" fmla="*/ 1014920 w 1090712"/>
              <a:gd name="connsiteY713" fmla="*/ 177718 h 895572"/>
              <a:gd name="connsiteX714" fmla="*/ 1011832 w 1090712"/>
              <a:gd name="connsiteY714" fmla="*/ 180807 h 895572"/>
              <a:gd name="connsiteX715" fmla="*/ 1008743 w 1090712"/>
              <a:gd name="connsiteY715" fmla="*/ 184846 h 895572"/>
              <a:gd name="connsiteX716" fmla="*/ 991874 w 1090712"/>
              <a:gd name="connsiteY716" fmla="*/ 201240 h 895572"/>
              <a:gd name="connsiteX717" fmla="*/ 983321 w 1090712"/>
              <a:gd name="connsiteY717" fmla="*/ 209318 h 895572"/>
              <a:gd name="connsiteX718" fmla="*/ 974530 w 1090712"/>
              <a:gd name="connsiteY718" fmla="*/ 216683 h 895572"/>
              <a:gd name="connsiteX719" fmla="*/ 965739 w 1090712"/>
              <a:gd name="connsiteY719" fmla="*/ 223811 h 895572"/>
              <a:gd name="connsiteX720" fmla="*/ 956236 w 1090712"/>
              <a:gd name="connsiteY720" fmla="*/ 230226 h 895572"/>
              <a:gd name="connsiteX721" fmla="*/ 946494 w 1090712"/>
              <a:gd name="connsiteY721" fmla="*/ 235928 h 895572"/>
              <a:gd name="connsiteX722" fmla="*/ 941505 w 1090712"/>
              <a:gd name="connsiteY722" fmla="*/ 238066 h 895572"/>
              <a:gd name="connsiteX723" fmla="*/ 936753 w 1090712"/>
              <a:gd name="connsiteY723" fmla="*/ 240442 h 895572"/>
              <a:gd name="connsiteX724" fmla="*/ 932239 w 1090712"/>
              <a:gd name="connsiteY724" fmla="*/ 242581 h 895572"/>
              <a:gd name="connsiteX725" fmla="*/ 928675 w 1090712"/>
              <a:gd name="connsiteY725" fmla="*/ 245669 h 895572"/>
              <a:gd name="connsiteX726" fmla="*/ 925111 w 1090712"/>
              <a:gd name="connsiteY726" fmla="*/ 249233 h 895572"/>
              <a:gd name="connsiteX727" fmla="*/ 922022 w 1090712"/>
              <a:gd name="connsiteY727" fmla="*/ 252797 h 895572"/>
              <a:gd name="connsiteX728" fmla="*/ 919884 w 1090712"/>
              <a:gd name="connsiteY728" fmla="*/ 257311 h 895572"/>
              <a:gd name="connsiteX729" fmla="*/ 918934 w 1090712"/>
              <a:gd name="connsiteY729" fmla="*/ 259925 h 895572"/>
              <a:gd name="connsiteX730" fmla="*/ 918459 w 1090712"/>
              <a:gd name="connsiteY730" fmla="*/ 262538 h 895572"/>
              <a:gd name="connsiteX731" fmla="*/ 918459 w 1090712"/>
              <a:gd name="connsiteY731" fmla="*/ 265389 h 895572"/>
              <a:gd name="connsiteX732" fmla="*/ 918459 w 1090712"/>
              <a:gd name="connsiteY732" fmla="*/ 268003 h 895572"/>
              <a:gd name="connsiteX733" fmla="*/ 918934 w 1090712"/>
              <a:gd name="connsiteY733" fmla="*/ 271091 h 895572"/>
              <a:gd name="connsiteX734" fmla="*/ 919884 w 1090712"/>
              <a:gd name="connsiteY734" fmla="*/ 274180 h 895572"/>
              <a:gd name="connsiteX735" fmla="*/ 921547 w 1090712"/>
              <a:gd name="connsiteY735" fmla="*/ 282258 h 895572"/>
              <a:gd name="connsiteX736" fmla="*/ 922973 w 1090712"/>
              <a:gd name="connsiteY736" fmla="*/ 290574 h 895572"/>
              <a:gd name="connsiteX737" fmla="*/ 923923 w 1090712"/>
              <a:gd name="connsiteY737" fmla="*/ 299127 h 895572"/>
              <a:gd name="connsiteX738" fmla="*/ 924161 w 1090712"/>
              <a:gd name="connsiteY738" fmla="*/ 307443 h 895572"/>
              <a:gd name="connsiteX739" fmla="*/ 924161 w 1090712"/>
              <a:gd name="connsiteY739" fmla="*/ 315996 h 895572"/>
              <a:gd name="connsiteX740" fmla="*/ 923923 w 1090712"/>
              <a:gd name="connsiteY740" fmla="*/ 324550 h 895572"/>
              <a:gd name="connsiteX741" fmla="*/ 922973 w 1090712"/>
              <a:gd name="connsiteY741" fmla="*/ 332865 h 895572"/>
              <a:gd name="connsiteX742" fmla="*/ 922022 w 1090712"/>
              <a:gd name="connsiteY742" fmla="*/ 340943 h 895572"/>
              <a:gd name="connsiteX743" fmla="*/ 920597 w 1090712"/>
              <a:gd name="connsiteY743" fmla="*/ 349259 h 895572"/>
              <a:gd name="connsiteX744" fmla="*/ 918934 w 1090712"/>
              <a:gd name="connsiteY744" fmla="*/ 357812 h 895572"/>
              <a:gd name="connsiteX745" fmla="*/ 914420 w 1090712"/>
              <a:gd name="connsiteY745" fmla="*/ 374681 h 895572"/>
              <a:gd name="connsiteX746" fmla="*/ 909192 w 1090712"/>
              <a:gd name="connsiteY746" fmla="*/ 391075 h 895572"/>
              <a:gd name="connsiteX747" fmla="*/ 903253 w 1090712"/>
              <a:gd name="connsiteY747" fmla="*/ 408182 h 895572"/>
              <a:gd name="connsiteX748" fmla="*/ 903253 w 1090712"/>
              <a:gd name="connsiteY748" fmla="*/ 397965 h 895572"/>
              <a:gd name="connsiteX749" fmla="*/ 904203 w 1090712"/>
              <a:gd name="connsiteY749" fmla="*/ 387274 h 895572"/>
              <a:gd name="connsiteX750" fmla="*/ 906104 w 1090712"/>
              <a:gd name="connsiteY750" fmla="*/ 367078 h 895572"/>
              <a:gd name="connsiteX751" fmla="*/ 907767 w 1090712"/>
              <a:gd name="connsiteY751" fmla="*/ 347596 h 895572"/>
              <a:gd name="connsiteX752" fmla="*/ 908717 w 1090712"/>
              <a:gd name="connsiteY752" fmla="*/ 338567 h 895572"/>
              <a:gd name="connsiteX753" fmla="*/ 908717 w 1090712"/>
              <a:gd name="connsiteY753" fmla="*/ 329777 h 895572"/>
              <a:gd name="connsiteX754" fmla="*/ 908717 w 1090712"/>
              <a:gd name="connsiteY754" fmla="*/ 325738 h 895572"/>
              <a:gd name="connsiteX755" fmla="*/ 907767 w 1090712"/>
              <a:gd name="connsiteY755" fmla="*/ 322649 h 895572"/>
              <a:gd name="connsiteX756" fmla="*/ 906817 w 1090712"/>
              <a:gd name="connsiteY756" fmla="*/ 319560 h 895572"/>
              <a:gd name="connsiteX757" fmla="*/ 905154 w 1090712"/>
              <a:gd name="connsiteY757" fmla="*/ 316471 h 895572"/>
              <a:gd name="connsiteX758" fmla="*/ 903728 w 1090712"/>
              <a:gd name="connsiteY758" fmla="*/ 314096 h 895572"/>
              <a:gd name="connsiteX759" fmla="*/ 901590 w 1090712"/>
              <a:gd name="connsiteY759" fmla="*/ 311957 h 895572"/>
              <a:gd name="connsiteX760" fmla="*/ 897551 w 1090712"/>
              <a:gd name="connsiteY760" fmla="*/ 307443 h 895572"/>
              <a:gd name="connsiteX761" fmla="*/ 895412 w 1090712"/>
              <a:gd name="connsiteY761" fmla="*/ 309344 h 895572"/>
              <a:gd name="connsiteX762" fmla="*/ 892561 w 1090712"/>
              <a:gd name="connsiteY762" fmla="*/ 310769 h 895572"/>
              <a:gd name="connsiteX763" fmla="*/ 887334 w 1090712"/>
              <a:gd name="connsiteY763" fmla="*/ 313383 h 895572"/>
              <a:gd name="connsiteX764" fmla="*/ 884721 w 1090712"/>
              <a:gd name="connsiteY764" fmla="*/ 314096 h 895572"/>
              <a:gd name="connsiteX765" fmla="*/ 882820 w 1090712"/>
              <a:gd name="connsiteY765" fmla="*/ 315521 h 895572"/>
              <a:gd name="connsiteX766" fmla="*/ 881632 w 1090712"/>
              <a:gd name="connsiteY766" fmla="*/ 316947 h 895572"/>
              <a:gd name="connsiteX767" fmla="*/ 881157 w 1090712"/>
              <a:gd name="connsiteY767" fmla="*/ 318610 h 895572"/>
              <a:gd name="connsiteX768" fmla="*/ 872604 w 1090712"/>
              <a:gd name="connsiteY768" fmla="*/ 331915 h 895572"/>
              <a:gd name="connsiteX769" fmla="*/ 864288 w 1090712"/>
              <a:gd name="connsiteY769" fmla="*/ 346646 h 895572"/>
              <a:gd name="connsiteX770" fmla="*/ 856210 w 1090712"/>
              <a:gd name="connsiteY770" fmla="*/ 361376 h 895572"/>
              <a:gd name="connsiteX771" fmla="*/ 847656 w 1090712"/>
              <a:gd name="connsiteY771" fmla="*/ 374681 h 895572"/>
              <a:gd name="connsiteX772" fmla="*/ 841954 w 1090712"/>
              <a:gd name="connsiteY772" fmla="*/ 374681 h 895572"/>
              <a:gd name="connsiteX773" fmla="*/ 846468 w 1090712"/>
              <a:gd name="connsiteY773" fmla="*/ 357812 h 895572"/>
              <a:gd name="connsiteX774" fmla="*/ 850508 w 1090712"/>
              <a:gd name="connsiteY774" fmla="*/ 339518 h 895572"/>
              <a:gd name="connsiteX775" fmla="*/ 854784 w 1090712"/>
              <a:gd name="connsiteY775" fmla="*/ 319560 h 895572"/>
              <a:gd name="connsiteX776" fmla="*/ 858823 w 1090712"/>
              <a:gd name="connsiteY776" fmla="*/ 296514 h 895572"/>
              <a:gd name="connsiteX777" fmla="*/ 848132 w 1090712"/>
              <a:gd name="connsiteY777" fmla="*/ 303879 h 895572"/>
              <a:gd name="connsiteX778" fmla="*/ 840054 w 1090712"/>
              <a:gd name="connsiteY778" fmla="*/ 310294 h 895572"/>
              <a:gd name="connsiteX779" fmla="*/ 833163 w 1090712"/>
              <a:gd name="connsiteY779" fmla="*/ 316947 h 895572"/>
              <a:gd name="connsiteX780" fmla="*/ 825560 w 1090712"/>
              <a:gd name="connsiteY780" fmla="*/ 324550 h 895572"/>
              <a:gd name="connsiteX781" fmla="*/ 823185 w 1090712"/>
              <a:gd name="connsiteY781" fmla="*/ 326688 h 895572"/>
              <a:gd name="connsiteX782" fmla="*/ 821522 w 1090712"/>
              <a:gd name="connsiteY782" fmla="*/ 329301 h 895572"/>
              <a:gd name="connsiteX783" fmla="*/ 817007 w 1090712"/>
              <a:gd name="connsiteY783" fmla="*/ 335954 h 895572"/>
              <a:gd name="connsiteX784" fmla="*/ 812968 w 1090712"/>
              <a:gd name="connsiteY784" fmla="*/ 344032 h 895572"/>
              <a:gd name="connsiteX785" fmla="*/ 808929 w 1090712"/>
              <a:gd name="connsiteY785" fmla="*/ 352585 h 895572"/>
              <a:gd name="connsiteX786" fmla="*/ 809880 w 1090712"/>
              <a:gd name="connsiteY786" fmla="*/ 343557 h 895572"/>
              <a:gd name="connsiteX787" fmla="*/ 811305 w 1090712"/>
              <a:gd name="connsiteY787" fmla="*/ 335479 h 895572"/>
              <a:gd name="connsiteX788" fmla="*/ 812493 w 1090712"/>
              <a:gd name="connsiteY788" fmla="*/ 328826 h 895572"/>
              <a:gd name="connsiteX789" fmla="*/ 814394 w 1090712"/>
              <a:gd name="connsiteY789" fmla="*/ 323124 h 895572"/>
              <a:gd name="connsiteX790" fmla="*/ 816532 w 1090712"/>
              <a:gd name="connsiteY790" fmla="*/ 317659 h 895572"/>
              <a:gd name="connsiteX791" fmla="*/ 819146 w 1090712"/>
              <a:gd name="connsiteY791" fmla="*/ 313383 h 895572"/>
              <a:gd name="connsiteX792" fmla="*/ 822709 w 1090712"/>
              <a:gd name="connsiteY792" fmla="*/ 309344 h 895572"/>
              <a:gd name="connsiteX793" fmla="*/ 826748 w 1090712"/>
              <a:gd name="connsiteY793" fmla="*/ 306255 h 895572"/>
              <a:gd name="connsiteX794" fmla="*/ 832213 w 1090712"/>
              <a:gd name="connsiteY794" fmla="*/ 303166 h 895572"/>
              <a:gd name="connsiteX795" fmla="*/ 838390 w 1090712"/>
              <a:gd name="connsiteY795" fmla="*/ 300315 h 895572"/>
              <a:gd name="connsiteX796" fmla="*/ 845518 w 1090712"/>
              <a:gd name="connsiteY796" fmla="*/ 298177 h 895572"/>
              <a:gd name="connsiteX797" fmla="*/ 854071 w 1090712"/>
              <a:gd name="connsiteY797" fmla="*/ 295563 h 895572"/>
              <a:gd name="connsiteX798" fmla="*/ 875217 w 1090712"/>
              <a:gd name="connsiteY798" fmla="*/ 290574 h 895572"/>
              <a:gd name="connsiteX799" fmla="*/ 903253 w 1090712"/>
              <a:gd name="connsiteY799" fmla="*/ 285347 h 895572"/>
              <a:gd name="connsiteX800" fmla="*/ 886384 w 1090712"/>
              <a:gd name="connsiteY800" fmla="*/ 268478 h 895572"/>
              <a:gd name="connsiteX801" fmla="*/ 879731 w 1090712"/>
              <a:gd name="connsiteY801" fmla="*/ 270141 h 895572"/>
              <a:gd name="connsiteX802" fmla="*/ 873079 w 1090712"/>
              <a:gd name="connsiteY802" fmla="*/ 271091 h 895572"/>
              <a:gd name="connsiteX803" fmla="*/ 867376 w 1090712"/>
              <a:gd name="connsiteY803" fmla="*/ 271567 h 895572"/>
              <a:gd name="connsiteX804" fmla="*/ 862387 w 1090712"/>
              <a:gd name="connsiteY804" fmla="*/ 271091 h 895572"/>
              <a:gd name="connsiteX805" fmla="*/ 857398 w 1090712"/>
              <a:gd name="connsiteY805" fmla="*/ 269666 h 895572"/>
              <a:gd name="connsiteX806" fmla="*/ 853596 w 1090712"/>
              <a:gd name="connsiteY806" fmla="*/ 268003 h 895572"/>
              <a:gd name="connsiteX807" fmla="*/ 849557 w 1090712"/>
              <a:gd name="connsiteY807" fmla="*/ 265627 h 895572"/>
              <a:gd name="connsiteX808" fmla="*/ 846468 w 1090712"/>
              <a:gd name="connsiteY808" fmla="*/ 262538 h 895572"/>
              <a:gd name="connsiteX809" fmla="*/ 843380 w 1090712"/>
              <a:gd name="connsiteY809" fmla="*/ 259450 h 895572"/>
              <a:gd name="connsiteX810" fmla="*/ 840529 w 1090712"/>
              <a:gd name="connsiteY810" fmla="*/ 255411 h 895572"/>
              <a:gd name="connsiteX811" fmla="*/ 838390 w 1090712"/>
              <a:gd name="connsiteY811" fmla="*/ 251134 h 895572"/>
              <a:gd name="connsiteX812" fmla="*/ 836490 w 1090712"/>
              <a:gd name="connsiteY812" fmla="*/ 246620 h 895572"/>
              <a:gd name="connsiteX813" fmla="*/ 834827 w 1090712"/>
              <a:gd name="connsiteY813" fmla="*/ 241155 h 895572"/>
              <a:gd name="connsiteX814" fmla="*/ 833401 w 1090712"/>
              <a:gd name="connsiteY814" fmla="*/ 235453 h 895572"/>
              <a:gd name="connsiteX815" fmla="*/ 831263 w 1090712"/>
              <a:gd name="connsiteY815" fmla="*/ 223336 h 895572"/>
              <a:gd name="connsiteX816" fmla="*/ 897551 w 1090712"/>
              <a:gd name="connsiteY816" fmla="*/ 206942 h 895572"/>
              <a:gd name="connsiteX817" fmla="*/ 888997 w 1090712"/>
              <a:gd name="connsiteY817" fmla="*/ 194112 h 895572"/>
              <a:gd name="connsiteX818" fmla="*/ 880682 w 1090712"/>
              <a:gd name="connsiteY818" fmla="*/ 181282 h 895572"/>
              <a:gd name="connsiteX819" fmla="*/ 871416 w 1090712"/>
              <a:gd name="connsiteY819" fmla="*/ 168690 h 895572"/>
              <a:gd name="connsiteX820" fmla="*/ 866901 w 1090712"/>
              <a:gd name="connsiteY820" fmla="*/ 162988 h 895572"/>
              <a:gd name="connsiteX821" fmla="*/ 861437 w 1090712"/>
              <a:gd name="connsiteY821" fmla="*/ 157048 h 895572"/>
              <a:gd name="connsiteX822" fmla="*/ 856210 w 1090712"/>
              <a:gd name="connsiteY822" fmla="*/ 151821 h 895572"/>
              <a:gd name="connsiteX823" fmla="*/ 850745 w 1090712"/>
              <a:gd name="connsiteY823" fmla="*/ 146831 h 895572"/>
              <a:gd name="connsiteX824" fmla="*/ 844568 w 1090712"/>
              <a:gd name="connsiteY824" fmla="*/ 142555 h 895572"/>
              <a:gd name="connsiteX825" fmla="*/ 838390 w 1090712"/>
              <a:gd name="connsiteY825" fmla="*/ 138516 h 895572"/>
              <a:gd name="connsiteX826" fmla="*/ 831738 w 1090712"/>
              <a:gd name="connsiteY826" fmla="*/ 134952 h 895572"/>
              <a:gd name="connsiteX827" fmla="*/ 824610 w 1090712"/>
              <a:gd name="connsiteY827" fmla="*/ 132338 h 895572"/>
              <a:gd name="connsiteX828" fmla="*/ 817007 w 1090712"/>
              <a:gd name="connsiteY828" fmla="*/ 129963 h 895572"/>
              <a:gd name="connsiteX829" fmla="*/ 808929 w 1090712"/>
              <a:gd name="connsiteY829" fmla="*/ 128774 h 895572"/>
              <a:gd name="connsiteX830" fmla="*/ 806791 w 1090712"/>
              <a:gd name="connsiteY830" fmla="*/ 128299 h 895572"/>
              <a:gd name="connsiteX831" fmla="*/ 804652 w 1090712"/>
              <a:gd name="connsiteY831" fmla="*/ 127824 h 895572"/>
              <a:gd name="connsiteX832" fmla="*/ 802752 w 1090712"/>
              <a:gd name="connsiteY832" fmla="*/ 126399 h 895572"/>
              <a:gd name="connsiteX833" fmla="*/ 801089 w 1090712"/>
              <a:gd name="connsiteY833" fmla="*/ 125211 h 895572"/>
              <a:gd name="connsiteX834" fmla="*/ 799663 w 1090712"/>
              <a:gd name="connsiteY834" fmla="*/ 123310 h 895572"/>
              <a:gd name="connsiteX835" fmla="*/ 798713 w 1090712"/>
              <a:gd name="connsiteY835" fmla="*/ 121647 h 895572"/>
              <a:gd name="connsiteX836" fmla="*/ 798000 w 1090712"/>
              <a:gd name="connsiteY836" fmla="*/ 119271 h 895572"/>
              <a:gd name="connsiteX837" fmla="*/ 798000 w 1090712"/>
              <a:gd name="connsiteY837" fmla="*/ 117608 h 895572"/>
              <a:gd name="connsiteX838" fmla="*/ 785408 w 1090712"/>
              <a:gd name="connsiteY838" fmla="*/ 106916 h 895572"/>
              <a:gd name="connsiteX839" fmla="*/ 772578 w 1090712"/>
              <a:gd name="connsiteY839" fmla="*/ 95749 h 895572"/>
              <a:gd name="connsiteX840" fmla="*/ 747155 w 1090712"/>
              <a:gd name="connsiteY840" fmla="*/ 72703 h 895572"/>
              <a:gd name="connsiteX841" fmla="*/ 733850 w 1090712"/>
              <a:gd name="connsiteY841" fmla="*/ 61061 h 895572"/>
              <a:gd name="connsiteX842" fmla="*/ 720545 w 1090712"/>
              <a:gd name="connsiteY842" fmla="*/ 49894 h 895572"/>
              <a:gd name="connsiteX843" fmla="*/ 706765 w 1090712"/>
              <a:gd name="connsiteY843" fmla="*/ 38728 h 895572"/>
              <a:gd name="connsiteX844" fmla="*/ 692510 w 1090712"/>
              <a:gd name="connsiteY844" fmla="*/ 28036 h 895572"/>
              <a:gd name="connsiteX845" fmla="*/ 679442 w 1090712"/>
              <a:gd name="connsiteY845" fmla="*/ 21859 h 895572"/>
              <a:gd name="connsiteX846" fmla="*/ 666137 w 1090712"/>
              <a:gd name="connsiteY846" fmla="*/ 16632 h 895572"/>
              <a:gd name="connsiteX847" fmla="*/ 652832 w 1090712"/>
              <a:gd name="connsiteY847" fmla="*/ 11642 h 895572"/>
              <a:gd name="connsiteX848" fmla="*/ 639527 w 1090712"/>
              <a:gd name="connsiteY848" fmla="*/ 7603 h 895572"/>
              <a:gd name="connsiteX849" fmla="*/ 626222 w 1090712"/>
              <a:gd name="connsiteY849" fmla="*/ 4514 h 895572"/>
              <a:gd name="connsiteX850" fmla="*/ 612917 w 1090712"/>
              <a:gd name="connsiteY850" fmla="*/ 1901 h 895572"/>
              <a:gd name="connsiteX851" fmla="*/ 599374 w 1090712"/>
              <a:gd name="connsiteY851" fmla="*/ 475 h 895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Lst>
            <a:rect l="l" t="t" r="r" b="b"/>
            <a:pathLst>
              <a:path w="1090712" h="895572">
                <a:moveTo>
                  <a:pt x="603413" y="721327"/>
                </a:moveTo>
                <a:lnTo>
                  <a:pt x="578466" y="770746"/>
                </a:lnTo>
                <a:lnTo>
                  <a:pt x="553519" y="818264"/>
                </a:lnTo>
                <a:lnTo>
                  <a:pt x="528334" y="865069"/>
                </a:lnTo>
                <a:lnTo>
                  <a:pt x="511825" y="895572"/>
                </a:lnTo>
                <a:lnTo>
                  <a:pt x="624528" y="895572"/>
                </a:lnTo>
                <a:lnTo>
                  <a:pt x="624796" y="894768"/>
                </a:lnTo>
                <a:lnTo>
                  <a:pt x="625271" y="891679"/>
                </a:lnTo>
                <a:lnTo>
                  <a:pt x="625747" y="889066"/>
                </a:lnTo>
                <a:lnTo>
                  <a:pt x="625747" y="860555"/>
                </a:lnTo>
                <a:lnTo>
                  <a:pt x="624796" y="833945"/>
                </a:lnTo>
                <a:lnTo>
                  <a:pt x="624321" y="820877"/>
                </a:lnTo>
                <a:lnTo>
                  <a:pt x="623608" y="808047"/>
                </a:lnTo>
                <a:lnTo>
                  <a:pt x="621708" y="795218"/>
                </a:lnTo>
                <a:lnTo>
                  <a:pt x="620044" y="782625"/>
                </a:lnTo>
                <a:lnTo>
                  <a:pt x="616005" y="766707"/>
                </a:lnTo>
                <a:lnTo>
                  <a:pt x="611966" y="751976"/>
                </a:lnTo>
                <a:lnTo>
                  <a:pt x="607452" y="737245"/>
                </a:lnTo>
                <a:close/>
                <a:moveTo>
                  <a:pt x="698212" y="530778"/>
                </a:moveTo>
                <a:lnTo>
                  <a:pt x="693460" y="534818"/>
                </a:lnTo>
                <a:lnTo>
                  <a:pt x="688471" y="538857"/>
                </a:lnTo>
                <a:lnTo>
                  <a:pt x="678254" y="546935"/>
                </a:lnTo>
                <a:lnTo>
                  <a:pt x="669226" y="553587"/>
                </a:lnTo>
                <a:lnTo>
                  <a:pt x="663048" y="558814"/>
                </a:lnTo>
                <a:lnTo>
                  <a:pt x="663048" y="556676"/>
                </a:lnTo>
                <a:lnTo>
                  <a:pt x="663523" y="554538"/>
                </a:lnTo>
                <a:lnTo>
                  <a:pt x="665424" y="550498"/>
                </a:lnTo>
                <a:lnTo>
                  <a:pt x="668038" y="546459"/>
                </a:lnTo>
                <a:lnTo>
                  <a:pt x="671602" y="542420"/>
                </a:lnTo>
                <a:lnTo>
                  <a:pt x="676829" y="538857"/>
                </a:lnTo>
                <a:lnTo>
                  <a:pt x="682768" y="535768"/>
                </a:lnTo>
                <a:lnTo>
                  <a:pt x="689896" y="533154"/>
                </a:lnTo>
                <a:close/>
                <a:moveTo>
                  <a:pt x="654257" y="302216"/>
                </a:moveTo>
                <a:lnTo>
                  <a:pt x="651882" y="302691"/>
                </a:lnTo>
                <a:lnTo>
                  <a:pt x="649268" y="303166"/>
                </a:lnTo>
                <a:lnTo>
                  <a:pt x="647130" y="304354"/>
                </a:lnTo>
                <a:lnTo>
                  <a:pt x="644516" y="306255"/>
                </a:lnTo>
                <a:lnTo>
                  <a:pt x="642140" y="307918"/>
                </a:lnTo>
                <a:lnTo>
                  <a:pt x="640002" y="310294"/>
                </a:lnTo>
                <a:lnTo>
                  <a:pt x="638101" y="312432"/>
                </a:lnTo>
                <a:lnTo>
                  <a:pt x="636913" y="314571"/>
                </a:lnTo>
                <a:lnTo>
                  <a:pt x="635963" y="316946"/>
                </a:lnTo>
                <a:lnTo>
                  <a:pt x="635963" y="319085"/>
                </a:lnTo>
                <a:lnTo>
                  <a:pt x="636913" y="321223"/>
                </a:lnTo>
                <a:lnTo>
                  <a:pt x="637626" y="324074"/>
                </a:lnTo>
                <a:lnTo>
                  <a:pt x="639527" y="326688"/>
                </a:lnTo>
                <a:lnTo>
                  <a:pt x="643091" y="331677"/>
                </a:lnTo>
                <a:lnTo>
                  <a:pt x="647130" y="335954"/>
                </a:lnTo>
                <a:lnTo>
                  <a:pt x="655920" y="330727"/>
                </a:lnTo>
                <a:lnTo>
                  <a:pt x="663999" y="324787"/>
                </a:lnTo>
                <a:lnTo>
                  <a:pt x="679917" y="313383"/>
                </a:lnTo>
                <a:lnTo>
                  <a:pt x="676354" y="311007"/>
                </a:lnTo>
                <a:lnTo>
                  <a:pt x="672790" y="308393"/>
                </a:lnTo>
                <a:lnTo>
                  <a:pt x="668988" y="306730"/>
                </a:lnTo>
                <a:lnTo>
                  <a:pt x="664949" y="304829"/>
                </a:lnTo>
                <a:lnTo>
                  <a:pt x="660910" y="303641"/>
                </a:lnTo>
                <a:lnTo>
                  <a:pt x="657346" y="302691"/>
                </a:lnTo>
                <a:close/>
                <a:moveTo>
                  <a:pt x="696549" y="252322"/>
                </a:moveTo>
                <a:lnTo>
                  <a:pt x="696786" y="259925"/>
                </a:lnTo>
                <a:lnTo>
                  <a:pt x="698212" y="266102"/>
                </a:lnTo>
                <a:lnTo>
                  <a:pt x="700113" y="272042"/>
                </a:lnTo>
                <a:lnTo>
                  <a:pt x="701776" y="276794"/>
                </a:lnTo>
                <a:lnTo>
                  <a:pt x="704389" y="280833"/>
                </a:lnTo>
                <a:lnTo>
                  <a:pt x="707240" y="284397"/>
                </a:lnTo>
                <a:lnTo>
                  <a:pt x="710329" y="287010"/>
                </a:lnTo>
                <a:lnTo>
                  <a:pt x="713418" y="289624"/>
                </a:lnTo>
                <a:lnTo>
                  <a:pt x="716506" y="291524"/>
                </a:lnTo>
                <a:lnTo>
                  <a:pt x="719595" y="293187"/>
                </a:lnTo>
                <a:lnTo>
                  <a:pt x="725772" y="295088"/>
                </a:lnTo>
                <a:lnTo>
                  <a:pt x="731237" y="296514"/>
                </a:lnTo>
                <a:lnTo>
                  <a:pt x="734801" y="296751"/>
                </a:lnTo>
                <a:lnTo>
                  <a:pt x="722209" y="303879"/>
                </a:lnTo>
                <a:lnTo>
                  <a:pt x="710804" y="311007"/>
                </a:lnTo>
                <a:lnTo>
                  <a:pt x="688471" y="324787"/>
                </a:lnTo>
                <a:lnTo>
                  <a:pt x="667563" y="339043"/>
                </a:lnTo>
                <a:lnTo>
                  <a:pt x="646179" y="352823"/>
                </a:lnTo>
                <a:lnTo>
                  <a:pt x="620044" y="313383"/>
                </a:lnTo>
                <a:lnTo>
                  <a:pt x="617668" y="312432"/>
                </a:lnTo>
                <a:lnTo>
                  <a:pt x="615055" y="312432"/>
                </a:lnTo>
                <a:lnTo>
                  <a:pt x="612441" y="313383"/>
                </a:lnTo>
                <a:lnTo>
                  <a:pt x="609353" y="314095"/>
                </a:lnTo>
                <a:lnTo>
                  <a:pt x="602938" y="316946"/>
                </a:lnTo>
                <a:lnTo>
                  <a:pt x="599849" y="317659"/>
                </a:lnTo>
                <a:lnTo>
                  <a:pt x="596760" y="318610"/>
                </a:lnTo>
                <a:lnTo>
                  <a:pt x="607927" y="307205"/>
                </a:lnTo>
                <a:lnTo>
                  <a:pt x="618619" y="295088"/>
                </a:lnTo>
                <a:lnTo>
                  <a:pt x="623846" y="289386"/>
                </a:lnTo>
                <a:lnTo>
                  <a:pt x="629786" y="283921"/>
                </a:lnTo>
                <a:lnTo>
                  <a:pt x="635963" y="278694"/>
                </a:lnTo>
                <a:lnTo>
                  <a:pt x="642140" y="273705"/>
                </a:lnTo>
                <a:lnTo>
                  <a:pt x="648793" y="269191"/>
                </a:lnTo>
                <a:lnTo>
                  <a:pt x="655446" y="265627"/>
                </a:lnTo>
                <a:lnTo>
                  <a:pt x="662098" y="263013"/>
                </a:lnTo>
                <a:lnTo>
                  <a:pt x="668988" y="260400"/>
                </a:lnTo>
                <a:lnTo>
                  <a:pt x="682768" y="256361"/>
                </a:lnTo>
                <a:close/>
                <a:moveTo>
                  <a:pt x="1030602" y="200289"/>
                </a:moveTo>
                <a:lnTo>
                  <a:pt x="1027513" y="207892"/>
                </a:lnTo>
                <a:lnTo>
                  <a:pt x="1023949" y="214545"/>
                </a:lnTo>
                <a:lnTo>
                  <a:pt x="1019910" y="221197"/>
                </a:lnTo>
                <a:lnTo>
                  <a:pt x="1015396" y="226899"/>
                </a:lnTo>
                <a:lnTo>
                  <a:pt x="1011119" y="232839"/>
                </a:lnTo>
                <a:lnTo>
                  <a:pt x="1006130" y="237591"/>
                </a:lnTo>
                <a:lnTo>
                  <a:pt x="1001140" y="242105"/>
                </a:lnTo>
                <a:lnTo>
                  <a:pt x="996388" y="246144"/>
                </a:lnTo>
                <a:lnTo>
                  <a:pt x="990924" y="249708"/>
                </a:lnTo>
                <a:lnTo>
                  <a:pt x="985697" y="252797"/>
                </a:lnTo>
                <a:lnTo>
                  <a:pt x="980232" y="254935"/>
                </a:lnTo>
                <a:lnTo>
                  <a:pt x="975005" y="256836"/>
                </a:lnTo>
                <a:lnTo>
                  <a:pt x="969541" y="258262"/>
                </a:lnTo>
                <a:lnTo>
                  <a:pt x="963839" y="258499"/>
                </a:lnTo>
                <a:lnTo>
                  <a:pt x="958612" y="258499"/>
                </a:lnTo>
                <a:lnTo>
                  <a:pt x="953622" y="257786"/>
                </a:lnTo>
                <a:lnTo>
                  <a:pt x="970966" y="244006"/>
                </a:lnTo>
                <a:lnTo>
                  <a:pt x="990211" y="229275"/>
                </a:lnTo>
                <a:lnTo>
                  <a:pt x="1010169" y="214069"/>
                </a:lnTo>
                <a:lnTo>
                  <a:pt x="1020385" y="206942"/>
                </a:lnTo>
                <a:close/>
                <a:moveTo>
                  <a:pt x="389581" y="176768"/>
                </a:moveTo>
                <a:lnTo>
                  <a:pt x="397422" y="177243"/>
                </a:lnTo>
                <a:lnTo>
                  <a:pt x="414766" y="178906"/>
                </a:lnTo>
                <a:lnTo>
                  <a:pt x="405500" y="179856"/>
                </a:lnTo>
                <a:lnTo>
                  <a:pt x="396946" y="181995"/>
                </a:lnTo>
                <a:lnTo>
                  <a:pt x="389581" y="184371"/>
                </a:lnTo>
                <a:lnTo>
                  <a:pt x="381978" y="186984"/>
                </a:lnTo>
                <a:lnTo>
                  <a:pt x="375326" y="190548"/>
                </a:lnTo>
                <a:lnTo>
                  <a:pt x="368911" y="194112"/>
                </a:lnTo>
                <a:lnTo>
                  <a:pt x="363208" y="198626"/>
                </a:lnTo>
                <a:lnTo>
                  <a:pt x="357981" y="202903"/>
                </a:lnTo>
                <a:lnTo>
                  <a:pt x="352517" y="208367"/>
                </a:lnTo>
                <a:lnTo>
                  <a:pt x="348003" y="214070"/>
                </a:lnTo>
                <a:lnTo>
                  <a:pt x="343726" y="220247"/>
                </a:lnTo>
                <a:lnTo>
                  <a:pt x="339687" y="226662"/>
                </a:lnTo>
                <a:lnTo>
                  <a:pt x="335648" y="233790"/>
                </a:lnTo>
                <a:lnTo>
                  <a:pt x="332559" y="240917"/>
                </a:lnTo>
                <a:lnTo>
                  <a:pt x="328995" y="248758"/>
                </a:lnTo>
                <a:lnTo>
                  <a:pt x="325907" y="256836"/>
                </a:lnTo>
                <a:lnTo>
                  <a:pt x="325432" y="252797"/>
                </a:lnTo>
                <a:lnTo>
                  <a:pt x="324956" y="248283"/>
                </a:lnTo>
                <a:lnTo>
                  <a:pt x="323056" y="239492"/>
                </a:lnTo>
                <a:lnTo>
                  <a:pt x="320917" y="229275"/>
                </a:lnTo>
                <a:lnTo>
                  <a:pt x="320442" y="223811"/>
                </a:lnTo>
                <a:lnTo>
                  <a:pt x="319967" y="217633"/>
                </a:lnTo>
                <a:lnTo>
                  <a:pt x="314740" y="217633"/>
                </a:lnTo>
                <a:lnTo>
                  <a:pt x="302148" y="243056"/>
                </a:lnTo>
                <a:lnTo>
                  <a:pt x="289793" y="267528"/>
                </a:lnTo>
                <a:lnTo>
                  <a:pt x="277438" y="291049"/>
                </a:lnTo>
                <a:lnTo>
                  <a:pt x="264371" y="312907"/>
                </a:lnTo>
                <a:lnTo>
                  <a:pt x="267459" y="295088"/>
                </a:lnTo>
                <a:lnTo>
                  <a:pt x="271023" y="279170"/>
                </a:lnTo>
                <a:lnTo>
                  <a:pt x="274587" y="263964"/>
                </a:lnTo>
                <a:lnTo>
                  <a:pt x="279101" y="250183"/>
                </a:lnTo>
                <a:lnTo>
                  <a:pt x="284091" y="238066"/>
                </a:lnTo>
                <a:lnTo>
                  <a:pt x="289318" y="226900"/>
                </a:lnTo>
                <a:lnTo>
                  <a:pt x="292406" y="221673"/>
                </a:lnTo>
                <a:lnTo>
                  <a:pt x="295495" y="217158"/>
                </a:lnTo>
                <a:lnTo>
                  <a:pt x="298584" y="212406"/>
                </a:lnTo>
                <a:lnTo>
                  <a:pt x="302148" y="208367"/>
                </a:lnTo>
                <a:lnTo>
                  <a:pt x="305711" y="204328"/>
                </a:lnTo>
                <a:lnTo>
                  <a:pt x="309275" y="200765"/>
                </a:lnTo>
                <a:lnTo>
                  <a:pt x="313314" y="197201"/>
                </a:lnTo>
                <a:lnTo>
                  <a:pt x="317354" y="194112"/>
                </a:lnTo>
                <a:lnTo>
                  <a:pt x="321868" y="191498"/>
                </a:lnTo>
                <a:lnTo>
                  <a:pt x="326382" y="188647"/>
                </a:lnTo>
                <a:lnTo>
                  <a:pt x="330659" y="186509"/>
                </a:lnTo>
                <a:lnTo>
                  <a:pt x="335648" y="184371"/>
                </a:lnTo>
                <a:lnTo>
                  <a:pt x="340637" y="182470"/>
                </a:lnTo>
                <a:lnTo>
                  <a:pt x="345864" y="181282"/>
                </a:lnTo>
                <a:lnTo>
                  <a:pt x="351091" y="179856"/>
                </a:lnTo>
                <a:lnTo>
                  <a:pt x="357031" y="178431"/>
                </a:lnTo>
                <a:lnTo>
                  <a:pt x="368911" y="177243"/>
                </a:lnTo>
                <a:lnTo>
                  <a:pt x="381978" y="176768"/>
                </a:lnTo>
                <a:close/>
                <a:moveTo>
                  <a:pt x="609353" y="174629"/>
                </a:moveTo>
                <a:lnTo>
                  <a:pt x="602463" y="180807"/>
                </a:lnTo>
                <a:lnTo>
                  <a:pt x="596285" y="187459"/>
                </a:lnTo>
                <a:lnTo>
                  <a:pt x="583931" y="201715"/>
                </a:lnTo>
                <a:lnTo>
                  <a:pt x="571101" y="215495"/>
                </a:lnTo>
                <a:lnTo>
                  <a:pt x="564686" y="222148"/>
                </a:lnTo>
                <a:lnTo>
                  <a:pt x="558508" y="228325"/>
                </a:lnTo>
                <a:lnTo>
                  <a:pt x="557558" y="223335"/>
                </a:lnTo>
                <a:lnTo>
                  <a:pt x="557083" y="219059"/>
                </a:lnTo>
                <a:lnTo>
                  <a:pt x="557083" y="215020"/>
                </a:lnTo>
                <a:lnTo>
                  <a:pt x="557558" y="210981"/>
                </a:lnTo>
                <a:lnTo>
                  <a:pt x="558508" y="207417"/>
                </a:lnTo>
                <a:lnTo>
                  <a:pt x="560409" y="203853"/>
                </a:lnTo>
                <a:lnTo>
                  <a:pt x="562072" y="200764"/>
                </a:lnTo>
                <a:lnTo>
                  <a:pt x="564686" y="197676"/>
                </a:lnTo>
                <a:lnTo>
                  <a:pt x="567774" y="194587"/>
                </a:lnTo>
                <a:lnTo>
                  <a:pt x="571813" y="191973"/>
                </a:lnTo>
                <a:lnTo>
                  <a:pt x="576328" y="188647"/>
                </a:lnTo>
                <a:lnTo>
                  <a:pt x="581317" y="186034"/>
                </a:lnTo>
                <a:lnTo>
                  <a:pt x="587019" y="183420"/>
                </a:lnTo>
                <a:lnTo>
                  <a:pt x="593672" y="180332"/>
                </a:lnTo>
                <a:close/>
                <a:moveTo>
                  <a:pt x="586544" y="0"/>
                </a:moveTo>
                <a:lnTo>
                  <a:pt x="570150" y="2851"/>
                </a:lnTo>
                <a:lnTo>
                  <a:pt x="553519" y="5940"/>
                </a:lnTo>
                <a:lnTo>
                  <a:pt x="536650" y="10454"/>
                </a:lnTo>
                <a:lnTo>
                  <a:pt x="520256" y="14731"/>
                </a:lnTo>
                <a:lnTo>
                  <a:pt x="486993" y="24472"/>
                </a:lnTo>
                <a:lnTo>
                  <a:pt x="469887" y="28986"/>
                </a:lnTo>
                <a:lnTo>
                  <a:pt x="453493" y="33500"/>
                </a:lnTo>
                <a:lnTo>
                  <a:pt x="438762" y="40153"/>
                </a:lnTo>
                <a:lnTo>
                  <a:pt x="424507" y="47281"/>
                </a:lnTo>
                <a:lnTo>
                  <a:pt x="417379" y="51320"/>
                </a:lnTo>
                <a:lnTo>
                  <a:pt x="410727" y="55834"/>
                </a:lnTo>
                <a:lnTo>
                  <a:pt x="403599" y="60111"/>
                </a:lnTo>
                <a:lnTo>
                  <a:pt x="397422" y="65100"/>
                </a:lnTo>
                <a:lnTo>
                  <a:pt x="390769" y="69852"/>
                </a:lnTo>
                <a:lnTo>
                  <a:pt x="384592" y="75792"/>
                </a:lnTo>
                <a:lnTo>
                  <a:pt x="378889" y="81494"/>
                </a:lnTo>
                <a:lnTo>
                  <a:pt x="372950" y="87671"/>
                </a:lnTo>
                <a:lnTo>
                  <a:pt x="367723" y="94324"/>
                </a:lnTo>
                <a:lnTo>
                  <a:pt x="362733" y="101452"/>
                </a:lnTo>
                <a:lnTo>
                  <a:pt x="357981" y="109055"/>
                </a:lnTo>
                <a:lnTo>
                  <a:pt x="353467" y="117608"/>
                </a:lnTo>
                <a:lnTo>
                  <a:pt x="409064" y="117608"/>
                </a:lnTo>
                <a:lnTo>
                  <a:pt x="406925" y="119271"/>
                </a:lnTo>
                <a:lnTo>
                  <a:pt x="404074" y="121647"/>
                </a:lnTo>
                <a:lnTo>
                  <a:pt x="400510" y="123310"/>
                </a:lnTo>
                <a:lnTo>
                  <a:pt x="397422" y="125211"/>
                </a:lnTo>
                <a:lnTo>
                  <a:pt x="393383" y="126399"/>
                </a:lnTo>
                <a:lnTo>
                  <a:pt x="389581" y="127824"/>
                </a:lnTo>
                <a:lnTo>
                  <a:pt x="385542" y="128299"/>
                </a:lnTo>
                <a:lnTo>
                  <a:pt x="381503" y="128774"/>
                </a:lnTo>
                <a:lnTo>
                  <a:pt x="375326" y="130438"/>
                </a:lnTo>
                <a:lnTo>
                  <a:pt x="368435" y="131863"/>
                </a:lnTo>
                <a:lnTo>
                  <a:pt x="361783" y="133051"/>
                </a:lnTo>
                <a:lnTo>
                  <a:pt x="355606" y="134001"/>
                </a:lnTo>
                <a:lnTo>
                  <a:pt x="342300" y="135427"/>
                </a:lnTo>
                <a:lnTo>
                  <a:pt x="329471" y="137090"/>
                </a:lnTo>
                <a:lnTo>
                  <a:pt x="322818" y="138040"/>
                </a:lnTo>
                <a:lnTo>
                  <a:pt x="316403" y="139704"/>
                </a:lnTo>
                <a:lnTo>
                  <a:pt x="310226" y="141604"/>
                </a:lnTo>
                <a:lnTo>
                  <a:pt x="304048" y="144218"/>
                </a:lnTo>
                <a:lnTo>
                  <a:pt x="298346" y="147307"/>
                </a:lnTo>
                <a:lnTo>
                  <a:pt x="292406" y="151346"/>
                </a:lnTo>
                <a:lnTo>
                  <a:pt x="286704" y="156335"/>
                </a:lnTo>
                <a:lnTo>
                  <a:pt x="281240" y="162037"/>
                </a:lnTo>
                <a:lnTo>
                  <a:pt x="262232" y="182945"/>
                </a:lnTo>
                <a:lnTo>
                  <a:pt x="242987" y="203378"/>
                </a:lnTo>
                <a:lnTo>
                  <a:pt x="203547" y="244006"/>
                </a:lnTo>
                <a:lnTo>
                  <a:pt x="183827" y="264439"/>
                </a:lnTo>
                <a:lnTo>
                  <a:pt x="164345" y="285822"/>
                </a:lnTo>
                <a:lnTo>
                  <a:pt x="144862" y="307443"/>
                </a:lnTo>
                <a:lnTo>
                  <a:pt x="126093" y="329777"/>
                </a:lnTo>
                <a:lnTo>
                  <a:pt x="122054" y="335004"/>
                </a:lnTo>
                <a:lnTo>
                  <a:pt x="118015" y="340468"/>
                </a:lnTo>
                <a:lnTo>
                  <a:pt x="110887" y="352110"/>
                </a:lnTo>
                <a:lnTo>
                  <a:pt x="104709" y="363514"/>
                </a:lnTo>
                <a:lnTo>
                  <a:pt x="99007" y="375156"/>
                </a:lnTo>
                <a:lnTo>
                  <a:pt x="87840" y="400103"/>
                </a:lnTo>
                <a:lnTo>
                  <a:pt x="82138" y="412458"/>
                </a:lnTo>
                <a:lnTo>
                  <a:pt x="75723" y="425050"/>
                </a:lnTo>
                <a:lnTo>
                  <a:pt x="75723" y="429802"/>
                </a:lnTo>
                <a:lnTo>
                  <a:pt x="76674" y="436217"/>
                </a:lnTo>
                <a:lnTo>
                  <a:pt x="77149" y="439306"/>
                </a:lnTo>
                <a:lnTo>
                  <a:pt x="78574" y="442395"/>
                </a:lnTo>
                <a:lnTo>
                  <a:pt x="79762" y="445008"/>
                </a:lnTo>
                <a:lnTo>
                  <a:pt x="81663" y="447147"/>
                </a:lnTo>
                <a:lnTo>
                  <a:pt x="94018" y="468055"/>
                </a:lnTo>
                <a:lnTo>
                  <a:pt x="106848" y="488963"/>
                </a:lnTo>
                <a:lnTo>
                  <a:pt x="113975" y="499654"/>
                </a:lnTo>
                <a:lnTo>
                  <a:pt x="121103" y="510346"/>
                </a:lnTo>
                <a:lnTo>
                  <a:pt x="128706" y="520562"/>
                </a:lnTo>
                <a:lnTo>
                  <a:pt x="137259" y="531254"/>
                </a:lnTo>
                <a:lnTo>
                  <a:pt x="149614" y="514385"/>
                </a:lnTo>
                <a:lnTo>
                  <a:pt x="162206" y="498466"/>
                </a:lnTo>
                <a:lnTo>
                  <a:pt x="174561" y="483260"/>
                </a:lnTo>
                <a:lnTo>
                  <a:pt x="180739" y="476133"/>
                </a:lnTo>
                <a:lnTo>
                  <a:pt x="186916" y="469480"/>
                </a:lnTo>
                <a:lnTo>
                  <a:pt x="182639" y="482310"/>
                </a:lnTo>
                <a:lnTo>
                  <a:pt x="178125" y="495615"/>
                </a:lnTo>
                <a:lnTo>
                  <a:pt x="172423" y="509871"/>
                </a:lnTo>
                <a:lnTo>
                  <a:pt x="164820" y="525552"/>
                </a:lnTo>
                <a:lnTo>
                  <a:pt x="156267" y="538381"/>
                </a:lnTo>
                <a:lnTo>
                  <a:pt x="152703" y="544559"/>
                </a:lnTo>
                <a:lnTo>
                  <a:pt x="148664" y="551449"/>
                </a:lnTo>
                <a:lnTo>
                  <a:pt x="145100" y="558339"/>
                </a:lnTo>
                <a:lnTo>
                  <a:pt x="142011" y="565467"/>
                </a:lnTo>
                <a:lnTo>
                  <a:pt x="139398" y="573070"/>
                </a:lnTo>
                <a:lnTo>
                  <a:pt x="137259" y="581623"/>
                </a:lnTo>
                <a:lnTo>
                  <a:pt x="136309" y="583761"/>
                </a:lnTo>
                <a:lnTo>
                  <a:pt x="135359" y="586137"/>
                </a:lnTo>
                <a:lnTo>
                  <a:pt x="134883" y="590889"/>
                </a:lnTo>
                <a:lnTo>
                  <a:pt x="134883" y="595879"/>
                </a:lnTo>
                <a:lnTo>
                  <a:pt x="135359" y="601106"/>
                </a:lnTo>
                <a:lnTo>
                  <a:pt x="136784" y="606095"/>
                </a:lnTo>
                <a:lnTo>
                  <a:pt x="138447" y="611322"/>
                </a:lnTo>
                <a:lnTo>
                  <a:pt x="140348" y="616311"/>
                </a:lnTo>
                <a:lnTo>
                  <a:pt x="142486" y="620826"/>
                </a:lnTo>
                <a:lnTo>
                  <a:pt x="148664" y="629616"/>
                </a:lnTo>
                <a:lnTo>
                  <a:pt x="155554" y="637219"/>
                </a:lnTo>
                <a:lnTo>
                  <a:pt x="162444" y="643872"/>
                </a:lnTo>
                <a:lnTo>
                  <a:pt x="169572" y="649099"/>
                </a:lnTo>
                <a:lnTo>
                  <a:pt x="177175" y="653613"/>
                </a:lnTo>
                <a:lnTo>
                  <a:pt x="184778" y="657177"/>
                </a:lnTo>
                <a:lnTo>
                  <a:pt x="192856" y="659553"/>
                </a:lnTo>
                <a:lnTo>
                  <a:pt x="200934" y="661216"/>
                </a:lnTo>
                <a:lnTo>
                  <a:pt x="209250" y="661691"/>
                </a:lnTo>
                <a:lnTo>
                  <a:pt x="218278" y="661691"/>
                </a:lnTo>
                <a:lnTo>
                  <a:pt x="227069" y="660266"/>
                </a:lnTo>
                <a:lnTo>
                  <a:pt x="236335" y="658603"/>
                </a:lnTo>
                <a:lnTo>
                  <a:pt x="245838" y="655514"/>
                </a:lnTo>
                <a:lnTo>
                  <a:pt x="255580" y="652425"/>
                </a:lnTo>
                <a:lnTo>
                  <a:pt x="265321" y="647911"/>
                </a:lnTo>
                <a:lnTo>
                  <a:pt x="276013" y="642922"/>
                </a:lnTo>
                <a:lnTo>
                  <a:pt x="288367" y="635081"/>
                </a:lnTo>
                <a:lnTo>
                  <a:pt x="301910" y="627478"/>
                </a:lnTo>
                <a:lnTo>
                  <a:pt x="315215" y="620350"/>
                </a:lnTo>
                <a:lnTo>
                  <a:pt x="329471" y="613698"/>
                </a:lnTo>
                <a:lnTo>
                  <a:pt x="343726" y="607283"/>
                </a:lnTo>
                <a:lnTo>
                  <a:pt x="357981" y="602056"/>
                </a:lnTo>
                <a:lnTo>
                  <a:pt x="371999" y="597066"/>
                </a:lnTo>
                <a:lnTo>
                  <a:pt x="386730" y="592790"/>
                </a:lnTo>
                <a:lnTo>
                  <a:pt x="394808" y="590414"/>
                </a:lnTo>
                <a:lnTo>
                  <a:pt x="402411" y="587325"/>
                </a:lnTo>
                <a:lnTo>
                  <a:pt x="409064" y="583761"/>
                </a:lnTo>
                <a:lnTo>
                  <a:pt x="411677" y="581623"/>
                </a:lnTo>
                <a:lnTo>
                  <a:pt x="414766" y="579247"/>
                </a:lnTo>
                <a:lnTo>
                  <a:pt x="417142" y="577109"/>
                </a:lnTo>
                <a:lnTo>
                  <a:pt x="419280" y="574495"/>
                </a:lnTo>
                <a:lnTo>
                  <a:pt x="420943" y="571407"/>
                </a:lnTo>
                <a:lnTo>
                  <a:pt x="422844" y="568318"/>
                </a:lnTo>
                <a:lnTo>
                  <a:pt x="424269" y="565229"/>
                </a:lnTo>
                <a:lnTo>
                  <a:pt x="424982" y="561665"/>
                </a:lnTo>
                <a:lnTo>
                  <a:pt x="425457" y="557626"/>
                </a:lnTo>
                <a:lnTo>
                  <a:pt x="425932" y="553587"/>
                </a:lnTo>
                <a:lnTo>
                  <a:pt x="425932" y="413884"/>
                </a:lnTo>
                <a:lnTo>
                  <a:pt x="425932" y="285347"/>
                </a:lnTo>
                <a:lnTo>
                  <a:pt x="429496" y="300078"/>
                </a:lnTo>
                <a:lnTo>
                  <a:pt x="433060" y="314096"/>
                </a:lnTo>
                <a:lnTo>
                  <a:pt x="436149" y="328826"/>
                </a:lnTo>
                <a:lnTo>
                  <a:pt x="438762" y="343082"/>
                </a:lnTo>
                <a:lnTo>
                  <a:pt x="443752" y="370642"/>
                </a:lnTo>
                <a:lnTo>
                  <a:pt x="447791" y="397015"/>
                </a:lnTo>
                <a:lnTo>
                  <a:pt x="451830" y="421962"/>
                </a:lnTo>
                <a:lnTo>
                  <a:pt x="454919" y="446434"/>
                </a:lnTo>
                <a:lnTo>
                  <a:pt x="456106" y="458313"/>
                </a:lnTo>
                <a:lnTo>
                  <a:pt x="457057" y="470430"/>
                </a:lnTo>
                <a:lnTo>
                  <a:pt x="457532" y="482310"/>
                </a:lnTo>
                <a:lnTo>
                  <a:pt x="457532" y="493952"/>
                </a:lnTo>
                <a:lnTo>
                  <a:pt x="457532" y="506069"/>
                </a:lnTo>
                <a:lnTo>
                  <a:pt x="456582" y="517473"/>
                </a:lnTo>
                <a:lnTo>
                  <a:pt x="455869" y="529116"/>
                </a:lnTo>
                <a:lnTo>
                  <a:pt x="453968" y="540757"/>
                </a:lnTo>
                <a:lnTo>
                  <a:pt x="452305" y="552162"/>
                </a:lnTo>
                <a:lnTo>
                  <a:pt x="449454" y="563804"/>
                </a:lnTo>
                <a:lnTo>
                  <a:pt x="446365" y="575446"/>
                </a:lnTo>
                <a:lnTo>
                  <a:pt x="442326" y="586850"/>
                </a:lnTo>
                <a:lnTo>
                  <a:pt x="440188" y="591364"/>
                </a:lnTo>
                <a:lnTo>
                  <a:pt x="437574" y="595403"/>
                </a:lnTo>
                <a:lnTo>
                  <a:pt x="434486" y="598967"/>
                </a:lnTo>
                <a:lnTo>
                  <a:pt x="431397" y="602531"/>
                </a:lnTo>
                <a:lnTo>
                  <a:pt x="428071" y="605145"/>
                </a:lnTo>
                <a:lnTo>
                  <a:pt x="424982" y="607283"/>
                </a:lnTo>
                <a:lnTo>
                  <a:pt x="422369" y="608708"/>
                </a:lnTo>
                <a:lnTo>
                  <a:pt x="420230" y="609659"/>
                </a:lnTo>
                <a:lnTo>
                  <a:pt x="410727" y="610847"/>
                </a:lnTo>
                <a:lnTo>
                  <a:pt x="401461" y="612748"/>
                </a:lnTo>
                <a:lnTo>
                  <a:pt x="392670" y="614886"/>
                </a:lnTo>
                <a:lnTo>
                  <a:pt x="383641" y="617262"/>
                </a:lnTo>
                <a:lnTo>
                  <a:pt x="374850" y="620350"/>
                </a:lnTo>
                <a:lnTo>
                  <a:pt x="365822" y="623914"/>
                </a:lnTo>
                <a:lnTo>
                  <a:pt x="348478" y="631042"/>
                </a:lnTo>
                <a:lnTo>
                  <a:pt x="331609" y="639358"/>
                </a:lnTo>
                <a:lnTo>
                  <a:pt x="314740" y="647911"/>
                </a:lnTo>
                <a:lnTo>
                  <a:pt x="281240" y="665255"/>
                </a:lnTo>
                <a:lnTo>
                  <a:pt x="274587" y="669294"/>
                </a:lnTo>
                <a:lnTo>
                  <a:pt x="267935" y="672858"/>
                </a:lnTo>
                <a:lnTo>
                  <a:pt x="261757" y="675947"/>
                </a:lnTo>
                <a:lnTo>
                  <a:pt x="255105" y="679035"/>
                </a:lnTo>
                <a:lnTo>
                  <a:pt x="248927" y="681174"/>
                </a:lnTo>
                <a:lnTo>
                  <a:pt x="242987" y="683075"/>
                </a:lnTo>
                <a:lnTo>
                  <a:pt x="236810" y="684738"/>
                </a:lnTo>
                <a:lnTo>
                  <a:pt x="231108" y="686163"/>
                </a:lnTo>
                <a:lnTo>
                  <a:pt x="225406" y="687114"/>
                </a:lnTo>
                <a:lnTo>
                  <a:pt x="219466" y="687589"/>
                </a:lnTo>
                <a:lnTo>
                  <a:pt x="213764" y="687589"/>
                </a:lnTo>
                <a:lnTo>
                  <a:pt x="208299" y="687589"/>
                </a:lnTo>
                <a:lnTo>
                  <a:pt x="203072" y="687114"/>
                </a:lnTo>
                <a:lnTo>
                  <a:pt x="197607" y="686163"/>
                </a:lnTo>
                <a:lnTo>
                  <a:pt x="192380" y="684738"/>
                </a:lnTo>
                <a:lnTo>
                  <a:pt x="186916" y="683550"/>
                </a:lnTo>
                <a:lnTo>
                  <a:pt x="181689" y="681649"/>
                </a:lnTo>
                <a:lnTo>
                  <a:pt x="176699" y="679986"/>
                </a:lnTo>
                <a:lnTo>
                  <a:pt x="171472" y="677610"/>
                </a:lnTo>
                <a:lnTo>
                  <a:pt x="166483" y="674996"/>
                </a:lnTo>
                <a:lnTo>
                  <a:pt x="156742" y="669294"/>
                </a:lnTo>
                <a:lnTo>
                  <a:pt x="147001" y="662167"/>
                </a:lnTo>
                <a:lnTo>
                  <a:pt x="137735" y="654564"/>
                </a:lnTo>
                <a:lnTo>
                  <a:pt x="127756" y="645535"/>
                </a:lnTo>
                <a:lnTo>
                  <a:pt x="118490" y="636269"/>
                </a:lnTo>
                <a:lnTo>
                  <a:pt x="109224" y="626053"/>
                </a:lnTo>
                <a:lnTo>
                  <a:pt x="107323" y="623914"/>
                </a:lnTo>
                <a:lnTo>
                  <a:pt x="106135" y="620350"/>
                </a:lnTo>
                <a:lnTo>
                  <a:pt x="105185" y="616311"/>
                </a:lnTo>
                <a:lnTo>
                  <a:pt x="105185" y="612272"/>
                </a:lnTo>
                <a:lnTo>
                  <a:pt x="105185" y="608233"/>
                </a:lnTo>
                <a:lnTo>
                  <a:pt x="106135" y="604194"/>
                </a:lnTo>
                <a:lnTo>
                  <a:pt x="107323" y="600630"/>
                </a:lnTo>
                <a:lnTo>
                  <a:pt x="109224" y="598017"/>
                </a:lnTo>
                <a:lnTo>
                  <a:pt x="111837" y="591840"/>
                </a:lnTo>
                <a:lnTo>
                  <a:pt x="113975" y="586137"/>
                </a:lnTo>
                <a:lnTo>
                  <a:pt x="115401" y="579722"/>
                </a:lnTo>
                <a:lnTo>
                  <a:pt x="115876" y="574020"/>
                </a:lnTo>
                <a:lnTo>
                  <a:pt x="115876" y="568318"/>
                </a:lnTo>
                <a:lnTo>
                  <a:pt x="115401" y="562378"/>
                </a:lnTo>
                <a:lnTo>
                  <a:pt x="114451" y="557151"/>
                </a:lnTo>
                <a:lnTo>
                  <a:pt x="112788" y="551449"/>
                </a:lnTo>
                <a:lnTo>
                  <a:pt x="110412" y="545984"/>
                </a:lnTo>
                <a:lnTo>
                  <a:pt x="108273" y="540757"/>
                </a:lnTo>
                <a:lnTo>
                  <a:pt x="105185" y="535293"/>
                </a:lnTo>
                <a:lnTo>
                  <a:pt x="102096" y="530066"/>
                </a:lnTo>
                <a:lnTo>
                  <a:pt x="94968" y="519374"/>
                </a:lnTo>
                <a:lnTo>
                  <a:pt x="86890" y="508683"/>
                </a:lnTo>
                <a:lnTo>
                  <a:pt x="78812" y="497991"/>
                </a:lnTo>
                <a:lnTo>
                  <a:pt x="70972" y="486824"/>
                </a:lnTo>
                <a:lnTo>
                  <a:pt x="67408" y="481122"/>
                </a:lnTo>
                <a:lnTo>
                  <a:pt x="64319" y="474707"/>
                </a:lnTo>
                <a:lnTo>
                  <a:pt x="61230" y="469005"/>
                </a:lnTo>
                <a:lnTo>
                  <a:pt x="58379" y="462828"/>
                </a:lnTo>
                <a:lnTo>
                  <a:pt x="56716" y="456175"/>
                </a:lnTo>
                <a:lnTo>
                  <a:pt x="54815" y="449998"/>
                </a:lnTo>
                <a:lnTo>
                  <a:pt x="54103" y="443345"/>
                </a:lnTo>
                <a:lnTo>
                  <a:pt x="53627" y="436455"/>
                </a:lnTo>
                <a:lnTo>
                  <a:pt x="53627" y="429327"/>
                </a:lnTo>
                <a:lnTo>
                  <a:pt x="54815" y="422675"/>
                </a:lnTo>
                <a:lnTo>
                  <a:pt x="56716" y="415547"/>
                </a:lnTo>
                <a:lnTo>
                  <a:pt x="59330" y="408182"/>
                </a:lnTo>
                <a:lnTo>
                  <a:pt x="60280" y="403192"/>
                </a:lnTo>
                <a:lnTo>
                  <a:pt x="61943" y="397965"/>
                </a:lnTo>
                <a:lnTo>
                  <a:pt x="65507" y="387986"/>
                </a:lnTo>
                <a:lnTo>
                  <a:pt x="69546" y="378720"/>
                </a:lnTo>
                <a:lnTo>
                  <a:pt x="74535" y="369929"/>
                </a:lnTo>
                <a:lnTo>
                  <a:pt x="79762" y="360901"/>
                </a:lnTo>
                <a:lnTo>
                  <a:pt x="85940" y="352585"/>
                </a:lnTo>
                <a:lnTo>
                  <a:pt x="98057" y="335479"/>
                </a:lnTo>
                <a:lnTo>
                  <a:pt x="102571" y="328113"/>
                </a:lnTo>
                <a:lnTo>
                  <a:pt x="106848" y="320986"/>
                </a:lnTo>
                <a:lnTo>
                  <a:pt x="116827" y="307205"/>
                </a:lnTo>
                <a:lnTo>
                  <a:pt x="127043" y="293188"/>
                </a:lnTo>
                <a:lnTo>
                  <a:pt x="137735" y="279407"/>
                </a:lnTo>
                <a:lnTo>
                  <a:pt x="159831" y="251847"/>
                </a:lnTo>
                <a:lnTo>
                  <a:pt x="170522" y="238066"/>
                </a:lnTo>
                <a:lnTo>
                  <a:pt x="181214" y="223336"/>
                </a:lnTo>
                <a:lnTo>
                  <a:pt x="164820" y="223336"/>
                </a:lnTo>
                <a:lnTo>
                  <a:pt x="137972" y="230226"/>
                </a:lnTo>
                <a:lnTo>
                  <a:pt x="125142" y="233790"/>
                </a:lnTo>
                <a:lnTo>
                  <a:pt x="112788" y="237591"/>
                </a:lnTo>
                <a:lnTo>
                  <a:pt x="100195" y="241630"/>
                </a:lnTo>
                <a:lnTo>
                  <a:pt x="87840" y="245669"/>
                </a:lnTo>
                <a:lnTo>
                  <a:pt x="75723" y="250183"/>
                </a:lnTo>
                <a:lnTo>
                  <a:pt x="64319" y="254935"/>
                </a:lnTo>
                <a:lnTo>
                  <a:pt x="52677" y="260400"/>
                </a:lnTo>
                <a:lnTo>
                  <a:pt x="41035" y="265627"/>
                </a:lnTo>
                <a:lnTo>
                  <a:pt x="29868" y="271567"/>
                </a:lnTo>
                <a:lnTo>
                  <a:pt x="18939" y="277744"/>
                </a:lnTo>
                <a:lnTo>
                  <a:pt x="7772" y="284397"/>
                </a:lnTo>
                <a:lnTo>
                  <a:pt x="0" y="289924"/>
                </a:lnTo>
                <a:lnTo>
                  <a:pt x="0" y="895572"/>
                </a:lnTo>
                <a:lnTo>
                  <a:pt x="125653" y="895572"/>
                </a:lnTo>
                <a:lnTo>
                  <a:pt x="127756" y="892155"/>
                </a:lnTo>
                <a:lnTo>
                  <a:pt x="131082" y="885502"/>
                </a:lnTo>
                <a:lnTo>
                  <a:pt x="133696" y="878374"/>
                </a:lnTo>
                <a:lnTo>
                  <a:pt x="135834" y="871722"/>
                </a:lnTo>
                <a:lnTo>
                  <a:pt x="137735" y="864594"/>
                </a:lnTo>
                <a:lnTo>
                  <a:pt x="138923" y="857466"/>
                </a:lnTo>
                <a:lnTo>
                  <a:pt x="140348" y="850339"/>
                </a:lnTo>
                <a:lnTo>
                  <a:pt x="141298" y="843211"/>
                </a:lnTo>
                <a:lnTo>
                  <a:pt x="142011" y="828955"/>
                </a:lnTo>
                <a:lnTo>
                  <a:pt x="142486" y="814225"/>
                </a:lnTo>
                <a:lnTo>
                  <a:pt x="142486" y="799494"/>
                </a:lnTo>
                <a:lnTo>
                  <a:pt x="142486" y="782625"/>
                </a:lnTo>
                <a:lnTo>
                  <a:pt x="142486" y="771458"/>
                </a:lnTo>
                <a:lnTo>
                  <a:pt x="143912" y="778586"/>
                </a:lnTo>
                <a:lnTo>
                  <a:pt x="145100" y="784526"/>
                </a:lnTo>
                <a:lnTo>
                  <a:pt x="147476" y="789753"/>
                </a:lnTo>
                <a:lnTo>
                  <a:pt x="149614" y="794267"/>
                </a:lnTo>
                <a:lnTo>
                  <a:pt x="152228" y="797831"/>
                </a:lnTo>
                <a:lnTo>
                  <a:pt x="155554" y="801395"/>
                </a:lnTo>
                <a:lnTo>
                  <a:pt x="158643" y="803533"/>
                </a:lnTo>
                <a:lnTo>
                  <a:pt x="162206" y="805909"/>
                </a:lnTo>
                <a:lnTo>
                  <a:pt x="165770" y="807572"/>
                </a:lnTo>
                <a:lnTo>
                  <a:pt x="169572" y="808523"/>
                </a:lnTo>
                <a:lnTo>
                  <a:pt x="174086" y="809473"/>
                </a:lnTo>
                <a:lnTo>
                  <a:pt x="178600" y="810186"/>
                </a:lnTo>
                <a:lnTo>
                  <a:pt x="187866" y="810661"/>
                </a:lnTo>
                <a:lnTo>
                  <a:pt x="198083" y="810661"/>
                </a:lnTo>
                <a:lnTo>
                  <a:pt x="236810" y="810661"/>
                </a:lnTo>
                <a:lnTo>
                  <a:pt x="249640" y="811136"/>
                </a:lnTo>
                <a:lnTo>
                  <a:pt x="263183" y="811611"/>
                </a:lnTo>
                <a:lnTo>
                  <a:pt x="270310" y="811611"/>
                </a:lnTo>
                <a:lnTo>
                  <a:pt x="276963" y="811136"/>
                </a:lnTo>
                <a:lnTo>
                  <a:pt x="283140" y="810186"/>
                </a:lnTo>
                <a:lnTo>
                  <a:pt x="289793" y="808523"/>
                </a:lnTo>
                <a:lnTo>
                  <a:pt x="295495" y="806147"/>
                </a:lnTo>
                <a:lnTo>
                  <a:pt x="301435" y="803058"/>
                </a:lnTo>
                <a:lnTo>
                  <a:pt x="304524" y="801395"/>
                </a:lnTo>
                <a:lnTo>
                  <a:pt x="307137" y="799256"/>
                </a:lnTo>
                <a:lnTo>
                  <a:pt x="309275" y="796881"/>
                </a:lnTo>
                <a:lnTo>
                  <a:pt x="312126" y="794267"/>
                </a:lnTo>
                <a:lnTo>
                  <a:pt x="314265" y="791178"/>
                </a:lnTo>
                <a:lnTo>
                  <a:pt x="316403" y="788090"/>
                </a:lnTo>
                <a:lnTo>
                  <a:pt x="318304" y="784051"/>
                </a:lnTo>
                <a:lnTo>
                  <a:pt x="319967" y="780012"/>
                </a:lnTo>
                <a:lnTo>
                  <a:pt x="321868" y="775973"/>
                </a:lnTo>
                <a:lnTo>
                  <a:pt x="323056" y="771221"/>
                </a:lnTo>
                <a:lnTo>
                  <a:pt x="324481" y="765756"/>
                </a:lnTo>
                <a:lnTo>
                  <a:pt x="325907" y="760529"/>
                </a:lnTo>
                <a:lnTo>
                  <a:pt x="325907" y="827530"/>
                </a:lnTo>
                <a:lnTo>
                  <a:pt x="310226" y="835608"/>
                </a:lnTo>
                <a:lnTo>
                  <a:pt x="295970" y="843686"/>
                </a:lnTo>
                <a:lnTo>
                  <a:pt x="282665" y="850339"/>
                </a:lnTo>
                <a:lnTo>
                  <a:pt x="276488" y="852952"/>
                </a:lnTo>
                <a:lnTo>
                  <a:pt x="270310" y="855565"/>
                </a:lnTo>
                <a:lnTo>
                  <a:pt x="266271" y="857942"/>
                </a:lnTo>
                <a:lnTo>
                  <a:pt x="262708" y="860080"/>
                </a:lnTo>
                <a:lnTo>
                  <a:pt x="259619" y="862693"/>
                </a:lnTo>
                <a:lnTo>
                  <a:pt x="256768" y="865544"/>
                </a:lnTo>
                <a:lnTo>
                  <a:pt x="254154" y="868633"/>
                </a:lnTo>
                <a:lnTo>
                  <a:pt x="252491" y="871722"/>
                </a:lnTo>
                <a:lnTo>
                  <a:pt x="250590" y="874810"/>
                </a:lnTo>
                <a:lnTo>
                  <a:pt x="249402" y="877899"/>
                </a:lnTo>
                <a:lnTo>
                  <a:pt x="248452" y="880988"/>
                </a:lnTo>
                <a:lnTo>
                  <a:pt x="247977" y="884076"/>
                </a:lnTo>
                <a:lnTo>
                  <a:pt x="247977" y="887165"/>
                </a:lnTo>
                <a:lnTo>
                  <a:pt x="248452" y="890016"/>
                </a:lnTo>
                <a:lnTo>
                  <a:pt x="249402" y="893105"/>
                </a:lnTo>
                <a:lnTo>
                  <a:pt x="250075" y="895572"/>
                </a:lnTo>
                <a:lnTo>
                  <a:pt x="474750" y="895572"/>
                </a:lnTo>
                <a:lnTo>
                  <a:pt x="475827" y="894768"/>
                </a:lnTo>
                <a:lnTo>
                  <a:pt x="486993" y="882889"/>
                </a:lnTo>
                <a:lnTo>
                  <a:pt x="497210" y="870296"/>
                </a:lnTo>
                <a:lnTo>
                  <a:pt x="506951" y="857942"/>
                </a:lnTo>
                <a:lnTo>
                  <a:pt x="515742" y="844636"/>
                </a:lnTo>
                <a:lnTo>
                  <a:pt x="523820" y="831094"/>
                </a:lnTo>
                <a:lnTo>
                  <a:pt x="531898" y="816838"/>
                </a:lnTo>
                <a:lnTo>
                  <a:pt x="539026" y="802583"/>
                </a:lnTo>
                <a:lnTo>
                  <a:pt x="545678" y="788565"/>
                </a:lnTo>
                <a:lnTo>
                  <a:pt x="552331" y="773359"/>
                </a:lnTo>
                <a:lnTo>
                  <a:pt x="558033" y="758628"/>
                </a:lnTo>
                <a:lnTo>
                  <a:pt x="563498" y="743185"/>
                </a:lnTo>
                <a:lnTo>
                  <a:pt x="568725" y="727979"/>
                </a:lnTo>
                <a:lnTo>
                  <a:pt x="573714" y="712298"/>
                </a:lnTo>
                <a:lnTo>
                  <a:pt x="577991" y="696855"/>
                </a:lnTo>
                <a:lnTo>
                  <a:pt x="586544" y="665255"/>
                </a:lnTo>
                <a:lnTo>
                  <a:pt x="586069" y="663117"/>
                </a:lnTo>
                <a:lnTo>
                  <a:pt x="584881" y="660266"/>
                </a:lnTo>
                <a:lnTo>
                  <a:pt x="582980" y="657177"/>
                </a:lnTo>
                <a:lnTo>
                  <a:pt x="580367" y="654088"/>
                </a:lnTo>
                <a:lnTo>
                  <a:pt x="574902" y="647911"/>
                </a:lnTo>
                <a:lnTo>
                  <a:pt x="570150" y="642922"/>
                </a:lnTo>
                <a:lnTo>
                  <a:pt x="565636" y="636744"/>
                </a:lnTo>
                <a:lnTo>
                  <a:pt x="560647" y="631517"/>
                </a:lnTo>
                <a:lnTo>
                  <a:pt x="555420" y="626053"/>
                </a:lnTo>
                <a:lnTo>
                  <a:pt x="550193" y="621301"/>
                </a:lnTo>
                <a:lnTo>
                  <a:pt x="544253" y="616787"/>
                </a:lnTo>
                <a:lnTo>
                  <a:pt x="538075" y="612272"/>
                </a:lnTo>
                <a:lnTo>
                  <a:pt x="525721" y="603719"/>
                </a:lnTo>
                <a:lnTo>
                  <a:pt x="563023" y="619875"/>
                </a:lnTo>
                <a:lnTo>
                  <a:pt x="581317" y="628191"/>
                </a:lnTo>
                <a:lnTo>
                  <a:pt x="599374" y="636744"/>
                </a:lnTo>
                <a:lnTo>
                  <a:pt x="607927" y="641259"/>
                </a:lnTo>
                <a:lnTo>
                  <a:pt x="616718" y="646010"/>
                </a:lnTo>
                <a:lnTo>
                  <a:pt x="625271" y="651000"/>
                </a:lnTo>
                <a:lnTo>
                  <a:pt x="633349" y="656227"/>
                </a:lnTo>
                <a:lnTo>
                  <a:pt x="641665" y="662167"/>
                </a:lnTo>
                <a:lnTo>
                  <a:pt x="649268" y="668344"/>
                </a:lnTo>
                <a:lnTo>
                  <a:pt x="656871" y="674996"/>
                </a:lnTo>
                <a:lnTo>
                  <a:pt x="664474" y="682124"/>
                </a:lnTo>
                <a:lnTo>
                  <a:pt x="668988" y="686163"/>
                </a:lnTo>
                <a:lnTo>
                  <a:pt x="672790" y="690202"/>
                </a:lnTo>
                <a:lnTo>
                  <a:pt x="677304" y="693291"/>
                </a:lnTo>
                <a:lnTo>
                  <a:pt x="682293" y="696855"/>
                </a:lnTo>
                <a:lnTo>
                  <a:pt x="686570" y="699468"/>
                </a:lnTo>
                <a:lnTo>
                  <a:pt x="691559" y="702082"/>
                </a:lnTo>
                <a:lnTo>
                  <a:pt x="696549" y="703983"/>
                </a:lnTo>
                <a:lnTo>
                  <a:pt x="701300" y="705646"/>
                </a:lnTo>
                <a:lnTo>
                  <a:pt x="706290" y="707071"/>
                </a:lnTo>
                <a:lnTo>
                  <a:pt x="711042" y="708497"/>
                </a:lnTo>
                <a:lnTo>
                  <a:pt x="716506" y="708734"/>
                </a:lnTo>
                <a:lnTo>
                  <a:pt x="721258" y="708734"/>
                </a:lnTo>
                <a:lnTo>
                  <a:pt x="726723" y="708497"/>
                </a:lnTo>
                <a:lnTo>
                  <a:pt x="731712" y="707546"/>
                </a:lnTo>
                <a:lnTo>
                  <a:pt x="736939" y="706121"/>
                </a:lnTo>
                <a:lnTo>
                  <a:pt x="742166" y="704458"/>
                </a:lnTo>
                <a:lnTo>
                  <a:pt x="749294" y="702082"/>
                </a:lnTo>
                <a:lnTo>
                  <a:pt x="756184" y="699468"/>
                </a:lnTo>
                <a:lnTo>
                  <a:pt x="762361" y="696380"/>
                </a:lnTo>
                <a:lnTo>
                  <a:pt x="768063" y="692816"/>
                </a:lnTo>
                <a:lnTo>
                  <a:pt x="773528" y="689252"/>
                </a:lnTo>
                <a:lnTo>
                  <a:pt x="778755" y="684738"/>
                </a:lnTo>
                <a:lnTo>
                  <a:pt x="783269" y="680461"/>
                </a:lnTo>
                <a:lnTo>
                  <a:pt x="787308" y="674996"/>
                </a:lnTo>
                <a:lnTo>
                  <a:pt x="791110" y="669769"/>
                </a:lnTo>
                <a:lnTo>
                  <a:pt x="794436" y="663830"/>
                </a:lnTo>
                <a:lnTo>
                  <a:pt x="797050" y="657652"/>
                </a:lnTo>
                <a:lnTo>
                  <a:pt x="799188" y="651000"/>
                </a:lnTo>
                <a:lnTo>
                  <a:pt x="801089" y="643872"/>
                </a:lnTo>
                <a:lnTo>
                  <a:pt x="802277" y="636744"/>
                </a:lnTo>
                <a:lnTo>
                  <a:pt x="803227" y="628666"/>
                </a:lnTo>
                <a:lnTo>
                  <a:pt x="803227" y="620826"/>
                </a:lnTo>
                <a:lnTo>
                  <a:pt x="801089" y="622489"/>
                </a:lnTo>
                <a:lnTo>
                  <a:pt x="798238" y="623914"/>
                </a:lnTo>
                <a:lnTo>
                  <a:pt x="793011" y="626053"/>
                </a:lnTo>
                <a:lnTo>
                  <a:pt x="790397" y="627478"/>
                </a:lnTo>
                <a:lnTo>
                  <a:pt x="788496" y="628191"/>
                </a:lnTo>
                <a:lnTo>
                  <a:pt x="787308" y="630092"/>
                </a:lnTo>
                <a:lnTo>
                  <a:pt x="786833" y="631755"/>
                </a:lnTo>
                <a:lnTo>
                  <a:pt x="785408" y="635794"/>
                </a:lnTo>
                <a:lnTo>
                  <a:pt x="784220" y="639833"/>
                </a:lnTo>
                <a:lnTo>
                  <a:pt x="780656" y="646485"/>
                </a:lnTo>
                <a:lnTo>
                  <a:pt x="776617" y="653138"/>
                </a:lnTo>
                <a:lnTo>
                  <a:pt x="772103" y="659078"/>
                </a:lnTo>
                <a:lnTo>
                  <a:pt x="762361" y="670007"/>
                </a:lnTo>
                <a:lnTo>
                  <a:pt x="757847" y="675947"/>
                </a:lnTo>
                <a:lnTo>
                  <a:pt x="753333" y="682124"/>
                </a:lnTo>
                <a:lnTo>
                  <a:pt x="750244" y="684738"/>
                </a:lnTo>
                <a:lnTo>
                  <a:pt x="747155" y="687589"/>
                </a:lnTo>
                <a:lnTo>
                  <a:pt x="744067" y="689252"/>
                </a:lnTo>
                <a:lnTo>
                  <a:pt x="740978" y="690915"/>
                </a:lnTo>
                <a:lnTo>
                  <a:pt x="737890" y="691865"/>
                </a:lnTo>
                <a:lnTo>
                  <a:pt x="734801" y="692816"/>
                </a:lnTo>
                <a:lnTo>
                  <a:pt x="731950" y="693291"/>
                </a:lnTo>
                <a:lnTo>
                  <a:pt x="728861" y="693291"/>
                </a:lnTo>
                <a:lnTo>
                  <a:pt x="723634" y="692816"/>
                </a:lnTo>
                <a:lnTo>
                  <a:pt x="718169" y="691390"/>
                </a:lnTo>
                <a:lnTo>
                  <a:pt x="713418" y="689727"/>
                </a:lnTo>
                <a:lnTo>
                  <a:pt x="708903" y="687826"/>
                </a:lnTo>
                <a:lnTo>
                  <a:pt x="706765" y="687589"/>
                </a:lnTo>
                <a:lnTo>
                  <a:pt x="704864" y="687114"/>
                </a:lnTo>
                <a:lnTo>
                  <a:pt x="703201" y="686163"/>
                </a:lnTo>
                <a:lnTo>
                  <a:pt x="701776" y="684738"/>
                </a:lnTo>
                <a:lnTo>
                  <a:pt x="698687" y="681649"/>
                </a:lnTo>
                <a:lnTo>
                  <a:pt x="696549" y="678085"/>
                </a:lnTo>
                <a:lnTo>
                  <a:pt x="694648" y="673571"/>
                </a:lnTo>
                <a:lnTo>
                  <a:pt x="693460" y="668819"/>
                </a:lnTo>
                <a:lnTo>
                  <a:pt x="692510" y="664305"/>
                </a:lnTo>
                <a:lnTo>
                  <a:pt x="692510" y="659790"/>
                </a:lnTo>
                <a:lnTo>
                  <a:pt x="692510" y="647436"/>
                </a:lnTo>
                <a:lnTo>
                  <a:pt x="693460" y="635319"/>
                </a:lnTo>
                <a:lnTo>
                  <a:pt x="694173" y="624389"/>
                </a:lnTo>
                <a:lnTo>
                  <a:pt x="695598" y="612748"/>
                </a:lnTo>
                <a:lnTo>
                  <a:pt x="699162" y="591364"/>
                </a:lnTo>
                <a:lnTo>
                  <a:pt x="703676" y="570456"/>
                </a:lnTo>
                <a:lnTo>
                  <a:pt x="720070" y="574971"/>
                </a:lnTo>
                <a:lnTo>
                  <a:pt x="736939" y="579247"/>
                </a:lnTo>
                <a:lnTo>
                  <a:pt x="770677" y="589226"/>
                </a:lnTo>
                <a:lnTo>
                  <a:pt x="788021" y="593503"/>
                </a:lnTo>
                <a:lnTo>
                  <a:pt x="805365" y="597542"/>
                </a:lnTo>
                <a:lnTo>
                  <a:pt x="823660" y="601106"/>
                </a:lnTo>
                <a:lnTo>
                  <a:pt x="841954" y="603719"/>
                </a:lnTo>
                <a:lnTo>
                  <a:pt x="861437" y="606570"/>
                </a:lnTo>
                <a:lnTo>
                  <a:pt x="880682" y="608233"/>
                </a:lnTo>
                <a:lnTo>
                  <a:pt x="889948" y="608708"/>
                </a:lnTo>
                <a:lnTo>
                  <a:pt x="898976" y="608708"/>
                </a:lnTo>
                <a:lnTo>
                  <a:pt x="908242" y="608708"/>
                </a:lnTo>
                <a:lnTo>
                  <a:pt x="916795" y="608233"/>
                </a:lnTo>
                <a:lnTo>
                  <a:pt x="925586" y="607283"/>
                </a:lnTo>
                <a:lnTo>
                  <a:pt x="934140" y="606095"/>
                </a:lnTo>
                <a:lnTo>
                  <a:pt x="942455" y="604669"/>
                </a:lnTo>
                <a:lnTo>
                  <a:pt x="950533" y="603006"/>
                </a:lnTo>
                <a:lnTo>
                  <a:pt x="958611" y="600630"/>
                </a:lnTo>
                <a:lnTo>
                  <a:pt x="966452" y="598017"/>
                </a:lnTo>
                <a:lnTo>
                  <a:pt x="974055" y="595403"/>
                </a:lnTo>
                <a:lnTo>
                  <a:pt x="981658" y="591840"/>
                </a:lnTo>
                <a:lnTo>
                  <a:pt x="989261" y="588276"/>
                </a:lnTo>
                <a:lnTo>
                  <a:pt x="996388" y="584237"/>
                </a:lnTo>
                <a:lnTo>
                  <a:pt x="1003041" y="579247"/>
                </a:lnTo>
                <a:lnTo>
                  <a:pt x="1009694" y="574495"/>
                </a:lnTo>
                <a:lnTo>
                  <a:pt x="1016346" y="569031"/>
                </a:lnTo>
                <a:lnTo>
                  <a:pt x="1022998" y="562853"/>
                </a:lnTo>
                <a:lnTo>
                  <a:pt x="1029176" y="556676"/>
                </a:lnTo>
                <a:lnTo>
                  <a:pt x="1035116" y="549548"/>
                </a:lnTo>
                <a:lnTo>
                  <a:pt x="1040818" y="541945"/>
                </a:lnTo>
                <a:lnTo>
                  <a:pt x="1046520" y="534342"/>
                </a:lnTo>
                <a:lnTo>
                  <a:pt x="1051985" y="526027"/>
                </a:lnTo>
                <a:lnTo>
                  <a:pt x="1056737" y="516523"/>
                </a:lnTo>
                <a:lnTo>
                  <a:pt x="1061726" y="507257"/>
                </a:lnTo>
                <a:lnTo>
                  <a:pt x="1066715" y="497041"/>
                </a:lnTo>
                <a:lnTo>
                  <a:pt x="1070992" y="486349"/>
                </a:lnTo>
                <a:lnTo>
                  <a:pt x="1075506" y="475182"/>
                </a:lnTo>
                <a:lnTo>
                  <a:pt x="1079070" y="462828"/>
                </a:lnTo>
                <a:lnTo>
                  <a:pt x="1082634" y="449998"/>
                </a:lnTo>
                <a:lnTo>
                  <a:pt x="1084772" y="437405"/>
                </a:lnTo>
                <a:lnTo>
                  <a:pt x="1087148" y="425050"/>
                </a:lnTo>
                <a:lnTo>
                  <a:pt x="1088811" y="411983"/>
                </a:lnTo>
                <a:lnTo>
                  <a:pt x="1089762" y="399628"/>
                </a:lnTo>
                <a:lnTo>
                  <a:pt x="1090712" y="386798"/>
                </a:lnTo>
                <a:lnTo>
                  <a:pt x="1090712" y="373731"/>
                </a:lnTo>
                <a:lnTo>
                  <a:pt x="1090712" y="360901"/>
                </a:lnTo>
                <a:lnTo>
                  <a:pt x="1089762" y="348071"/>
                </a:lnTo>
                <a:lnTo>
                  <a:pt x="1088811" y="335004"/>
                </a:lnTo>
                <a:lnTo>
                  <a:pt x="1088099" y="321698"/>
                </a:lnTo>
                <a:lnTo>
                  <a:pt x="1084772" y="295563"/>
                </a:lnTo>
                <a:lnTo>
                  <a:pt x="1080971" y="268478"/>
                </a:lnTo>
                <a:lnTo>
                  <a:pt x="1078595" y="258262"/>
                </a:lnTo>
                <a:lnTo>
                  <a:pt x="1075981" y="248283"/>
                </a:lnTo>
                <a:lnTo>
                  <a:pt x="1072417" y="238542"/>
                </a:lnTo>
                <a:lnTo>
                  <a:pt x="1069329" y="229275"/>
                </a:lnTo>
                <a:lnTo>
                  <a:pt x="1061251" y="210031"/>
                </a:lnTo>
                <a:lnTo>
                  <a:pt x="1053173" y="190073"/>
                </a:lnTo>
                <a:lnTo>
                  <a:pt x="1051034" y="186034"/>
                </a:lnTo>
                <a:lnTo>
                  <a:pt x="1048896" y="182470"/>
                </a:lnTo>
                <a:lnTo>
                  <a:pt x="1046045" y="179381"/>
                </a:lnTo>
                <a:lnTo>
                  <a:pt x="1043906" y="176768"/>
                </a:lnTo>
                <a:lnTo>
                  <a:pt x="1041293" y="174630"/>
                </a:lnTo>
                <a:lnTo>
                  <a:pt x="1038680" y="172729"/>
                </a:lnTo>
                <a:lnTo>
                  <a:pt x="1035828" y="171303"/>
                </a:lnTo>
                <a:lnTo>
                  <a:pt x="1032740" y="170591"/>
                </a:lnTo>
                <a:lnTo>
                  <a:pt x="1030126" y="170591"/>
                </a:lnTo>
                <a:lnTo>
                  <a:pt x="1027038" y="170591"/>
                </a:lnTo>
                <a:lnTo>
                  <a:pt x="1024424" y="171303"/>
                </a:lnTo>
                <a:lnTo>
                  <a:pt x="1021335" y="172729"/>
                </a:lnTo>
                <a:lnTo>
                  <a:pt x="1018247" y="174867"/>
                </a:lnTo>
                <a:lnTo>
                  <a:pt x="1014920" y="177718"/>
                </a:lnTo>
                <a:lnTo>
                  <a:pt x="1011832" y="180807"/>
                </a:lnTo>
                <a:lnTo>
                  <a:pt x="1008743" y="184846"/>
                </a:lnTo>
                <a:lnTo>
                  <a:pt x="991874" y="201240"/>
                </a:lnTo>
                <a:lnTo>
                  <a:pt x="983321" y="209318"/>
                </a:lnTo>
                <a:lnTo>
                  <a:pt x="974530" y="216683"/>
                </a:lnTo>
                <a:lnTo>
                  <a:pt x="965739" y="223811"/>
                </a:lnTo>
                <a:lnTo>
                  <a:pt x="956236" y="230226"/>
                </a:lnTo>
                <a:lnTo>
                  <a:pt x="946494" y="235928"/>
                </a:lnTo>
                <a:lnTo>
                  <a:pt x="941505" y="238066"/>
                </a:lnTo>
                <a:lnTo>
                  <a:pt x="936753" y="240442"/>
                </a:lnTo>
                <a:lnTo>
                  <a:pt x="932239" y="242581"/>
                </a:lnTo>
                <a:lnTo>
                  <a:pt x="928675" y="245669"/>
                </a:lnTo>
                <a:lnTo>
                  <a:pt x="925111" y="249233"/>
                </a:lnTo>
                <a:lnTo>
                  <a:pt x="922022" y="252797"/>
                </a:lnTo>
                <a:lnTo>
                  <a:pt x="919884" y="257311"/>
                </a:lnTo>
                <a:lnTo>
                  <a:pt x="918934" y="259925"/>
                </a:lnTo>
                <a:lnTo>
                  <a:pt x="918459" y="262538"/>
                </a:lnTo>
                <a:lnTo>
                  <a:pt x="918459" y="265389"/>
                </a:lnTo>
                <a:lnTo>
                  <a:pt x="918459" y="268003"/>
                </a:lnTo>
                <a:lnTo>
                  <a:pt x="918934" y="271091"/>
                </a:lnTo>
                <a:lnTo>
                  <a:pt x="919884" y="274180"/>
                </a:lnTo>
                <a:lnTo>
                  <a:pt x="921547" y="282258"/>
                </a:lnTo>
                <a:lnTo>
                  <a:pt x="922973" y="290574"/>
                </a:lnTo>
                <a:lnTo>
                  <a:pt x="923923" y="299127"/>
                </a:lnTo>
                <a:lnTo>
                  <a:pt x="924161" y="307443"/>
                </a:lnTo>
                <a:lnTo>
                  <a:pt x="924161" y="315996"/>
                </a:lnTo>
                <a:lnTo>
                  <a:pt x="923923" y="324550"/>
                </a:lnTo>
                <a:lnTo>
                  <a:pt x="922973" y="332865"/>
                </a:lnTo>
                <a:lnTo>
                  <a:pt x="922022" y="340943"/>
                </a:lnTo>
                <a:lnTo>
                  <a:pt x="920597" y="349259"/>
                </a:lnTo>
                <a:lnTo>
                  <a:pt x="918934" y="357812"/>
                </a:lnTo>
                <a:lnTo>
                  <a:pt x="914420" y="374681"/>
                </a:lnTo>
                <a:lnTo>
                  <a:pt x="909192" y="391075"/>
                </a:lnTo>
                <a:lnTo>
                  <a:pt x="903253" y="408182"/>
                </a:lnTo>
                <a:lnTo>
                  <a:pt x="903253" y="397965"/>
                </a:lnTo>
                <a:lnTo>
                  <a:pt x="904203" y="387274"/>
                </a:lnTo>
                <a:lnTo>
                  <a:pt x="906104" y="367078"/>
                </a:lnTo>
                <a:lnTo>
                  <a:pt x="907767" y="347596"/>
                </a:lnTo>
                <a:lnTo>
                  <a:pt x="908717" y="338567"/>
                </a:lnTo>
                <a:lnTo>
                  <a:pt x="908717" y="329777"/>
                </a:lnTo>
                <a:lnTo>
                  <a:pt x="908717" y="325738"/>
                </a:lnTo>
                <a:lnTo>
                  <a:pt x="907767" y="322649"/>
                </a:lnTo>
                <a:lnTo>
                  <a:pt x="906817" y="319560"/>
                </a:lnTo>
                <a:lnTo>
                  <a:pt x="905154" y="316471"/>
                </a:lnTo>
                <a:lnTo>
                  <a:pt x="903728" y="314096"/>
                </a:lnTo>
                <a:lnTo>
                  <a:pt x="901590" y="311957"/>
                </a:lnTo>
                <a:lnTo>
                  <a:pt x="897551" y="307443"/>
                </a:lnTo>
                <a:lnTo>
                  <a:pt x="895412" y="309344"/>
                </a:lnTo>
                <a:lnTo>
                  <a:pt x="892561" y="310769"/>
                </a:lnTo>
                <a:lnTo>
                  <a:pt x="887334" y="313383"/>
                </a:lnTo>
                <a:lnTo>
                  <a:pt x="884721" y="314096"/>
                </a:lnTo>
                <a:lnTo>
                  <a:pt x="882820" y="315521"/>
                </a:lnTo>
                <a:lnTo>
                  <a:pt x="881632" y="316947"/>
                </a:lnTo>
                <a:lnTo>
                  <a:pt x="881157" y="318610"/>
                </a:lnTo>
                <a:lnTo>
                  <a:pt x="872604" y="331915"/>
                </a:lnTo>
                <a:lnTo>
                  <a:pt x="864288" y="346646"/>
                </a:lnTo>
                <a:lnTo>
                  <a:pt x="856210" y="361376"/>
                </a:lnTo>
                <a:lnTo>
                  <a:pt x="847656" y="374681"/>
                </a:lnTo>
                <a:lnTo>
                  <a:pt x="841954" y="374681"/>
                </a:lnTo>
                <a:lnTo>
                  <a:pt x="846468" y="357812"/>
                </a:lnTo>
                <a:lnTo>
                  <a:pt x="850508" y="339518"/>
                </a:lnTo>
                <a:lnTo>
                  <a:pt x="854784" y="319560"/>
                </a:lnTo>
                <a:lnTo>
                  <a:pt x="858823" y="296514"/>
                </a:lnTo>
                <a:lnTo>
                  <a:pt x="848132" y="303879"/>
                </a:lnTo>
                <a:lnTo>
                  <a:pt x="840054" y="310294"/>
                </a:lnTo>
                <a:lnTo>
                  <a:pt x="833163" y="316947"/>
                </a:lnTo>
                <a:lnTo>
                  <a:pt x="825560" y="324550"/>
                </a:lnTo>
                <a:lnTo>
                  <a:pt x="823185" y="326688"/>
                </a:lnTo>
                <a:lnTo>
                  <a:pt x="821522" y="329301"/>
                </a:lnTo>
                <a:lnTo>
                  <a:pt x="817007" y="335954"/>
                </a:lnTo>
                <a:lnTo>
                  <a:pt x="812968" y="344032"/>
                </a:lnTo>
                <a:lnTo>
                  <a:pt x="808929" y="352585"/>
                </a:lnTo>
                <a:lnTo>
                  <a:pt x="809880" y="343557"/>
                </a:lnTo>
                <a:lnTo>
                  <a:pt x="811305" y="335479"/>
                </a:lnTo>
                <a:lnTo>
                  <a:pt x="812493" y="328826"/>
                </a:lnTo>
                <a:lnTo>
                  <a:pt x="814394" y="323124"/>
                </a:lnTo>
                <a:lnTo>
                  <a:pt x="816532" y="317659"/>
                </a:lnTo>
                <a:lnTo>
                  <a:pt x="819146" y="313383"/>
                </a:lnTo>
                <a:lnTo>
                  <a:pt x="822709" y="309344"/>
                </a:lnTo>
                <a:lnTo>
                  <a:pt x="826748" y="306255"/>
                </a:lnTo>
                <a:lnTo>
                  <a:pt x="832213" y="303166"/>
                </a:lnTo>
                <a:lnTo>
                  <a:pt x="838390" y="300315"/>
                </a:lnTo>
                <a:lnTo>
                  <a:pt x="845518" y="298177"/>
                </a:lnTo>
                <a:lnTo>
                  <a:pt x="854071" y="295563"/>
                </a:lnTo>
                <a:lnTo>
                  <a:pt x="875217" y="290574"/>
                </a:lnTo>
                <a:lnTo>
                  <a:pt x="903253" y="285347"/>
                </a:lnTo>
                <a:lnTo>
                  <a:pt x="886384" y="268478"/>
                </a:lnTo>
                <a:lnTo>
                  <a:pt x="879731" y="270141"/>
                </a:lnTo>
                <a:lnTo>
                  <a:pt x="873079" y="271091"/>
                </a:lnTo>
                <a:lnTo>
                  <a:pt x="867376" y="271567"/>
                </a:lnTo>
                <a:lnTo>
                  <a:pt x="862387" y="271091"/>
                </a:lnTo>
                <a:lnTo>
                  <a:pt x="857398" y="269666"/>
                </a:lnTo>
                <a:lnTo>
                  <a:pt x="853596" y="268003"/>
                </a:lnTo>
                <a:lnTo>
                  <a:pt x="849557" y="265627"/>
                </a:lnTo>
                <a:lnTo>
                  <a:pt x="846468" y="262538"/>
                </a:lnTo>
                <a:lnTo>
                  <a:pt x="843380" y="259450"/>
                </a:lnTo>
                <a:lnTo>
                  <a:pt x="840529" y="255411"/>
                </a:lnTo>
                <a:lnTo>
                  <a:pt x="838390" y="251134"/>
                </a:lnTo>
                <a:lnTo>
                  <a:pt x="836490" y="246620"/>
                </a:lnTo>
                <a:lnTo>
                  <a:pt x="834827" y="241155"/>
                </a:lnTo>
                <a:lnTo>
                  <a:pt x="833401" y="235453"/>
                </a:lnTo>
                <a:lnTo>
                  <a:pt x="831263" y="223336"/>
                </a:lnTo>
                <a:lnTo>
                  <a:pt x="897551" y="206942"/>
                </a:lnTo>
                <a:lnTo>
                  <a:pt x="888997" y="194112"/>
                </a:lnTo>
                <a:lnTo>
                  <a:pt x="880682" y="181282"/>
                </a:lnTo>
                <a:lnTo>
                  <a:pt x="871416" y="168690"/>
                </a:lnTo>
                <a:lnTo>
                  <a:pt x="866901" y="162988"/>
                </a:lnTo>
                <a:lnTo>
                  <a:pt x="861437" y="157048"/>
                </a:lnTo>
                <a:lnTo>
                  <a:pt x="856210" y="151821"/>
                </a:lnTo>
                <a:lnTo>
                  <a:pt x="850745" y="146831"/>
                </a:lnTo>
                <a:lnTo>
                  <a:pt x="844568" y="142555"/>
                </a:lnTo>
                <a:lnTo>
                  <a:pt x="838390" y="138516"/>
                </a:lnTo>
                <a:lnTo>
                  <a:pt x="831738" y="134952"/>
                </a:lnTo>
                <a:lnTo>
                  <a:pt x="824610" y="132338"/>
                </a:lnTo>
                <a:lnTo>
                  <a:pt x="817007" y="129963"/>
                </a:lnTo>
                <a:lnTo>
                  <a:pt x="808929" y="128774"/>
                </a:lnTo>
                <a:lnTo>
                  <a:pt x="806791" y="128299"/>
                </a:lnTo>
                <a:lnTo>
                  <a:pt x="804652" y="127824"/>
                </a:lnTo>
                <a:lnTo>
                  <a:pt x="802752" y="126399"/>
                </a:lnTo>
                <a:lnTo>
                  <a:pt x="801089" y="125211"/>
                </a:lnTo>
                <a:lnTo>
                  <a:pt x="799663" y="123310"/>
                </a:lnTo>
                <a:lnTo>
                  <a:pt x="798713" y="121647"/>
                </a:lnTo>
                <a:lnTo>
                  <a:pt x="798000" y="119271"/>
                </a:lnTo>
                <a:lnTo>
                  <a:pt x="798000" y="117608"/>
                </a:lnTo>
                <a:lnTo>
                  <a:pt x="785408" y="106916"/>
                </a:lnTo>
                <a:lnTo>
                  <a:pt x="772578" y="95749"/>
                </a:lnTo>
                <a:lnTo>
                  <a:pt x="747155" y="72703"/>
                </a:lnTo>
                <a:lnTo>
                  <a:pt x="733850" y="61061"/>
                </a:lnTo>
                <a:lnTo>
                  <a:pt x="720545" y="49894"/>
                </a:lnTo>
                <a:lnTo>
                  <a:pt x="706765" y="38728"/>
                </a:lnTo>
                <a:lnTo>
                  <a:pt x="692510" y="28036"/>
                </a:lnTo>
                <a:lnTo>
                  <a:pt x="679442" y="21859"/>
                </a:lnTo>
                <a:lnTo>
                  <a:pt x="666137" y="16632"/>
                </a:lnTo>
                <a:lnTo>
                  <a:pt x="652832" y="11642"/>
                </a:lnTo>
                <a:lnTo>
                  <a:pt x="639527" y="7603"/>
                </a:lnTo>
                <a:lnTo>
                  <a:pt x="626222" y="4514"/>
                </a:lnTo>
                <a:lnTo>
                  <a:pt x="612917" y="1901"/>
                </a:lnTo>
                <a:lnTo>
                  <a:pt x="599374" y="475"/>
                </a:lnTo>
                <a:close/>
              </a:path>
            </a:pathLst>
          </a:custGeom>
          <a:solidFill>
            <a:schemeClr val="bg1">
              <a:alpha val="25000"/>
            </a:schemeClr>
          </a:solidFill>
          <a:ln>
            <a:noFill/>
          </a:ln>
        </p:spPr>
        <p:txBody>
          <a:bodyPr vert="horz" wrap="square" lIns="89642" tIns="44821" rIns="89642" bIns="44821" numCol="1" anchor="t" anchorCtr="0" compatLnSpc="1">
            <a:prstTxWarp prst="textNoShape">
              <a:avLst/>
            </a:prstTxWarp>
            <a:noAutofit/>
          </a:bodyPr>
          <a:lstStyle/>
          <a:p>
            <a:endParaRPr lang="en-IN" sz="1765"/>
          </a:p>
        </p:txBody>
      </p:sp>
      <p:sp>
        <p:nvSpPr>
          <p:cNvPr id="7" name="Rectangle 6"/>
          <p:cNvSpPr/>
          <p:nvPr/>
        </p:nvSpPr>
        <p:spPr>
          <a:xfrm>
            <a:off x="8929" y="1213304"/>
            <a:ext cx="5220355" cy="825547"/>
          </a:xfrm>
          <a:prstGeom prst="rect">
            <a:avLst/>
          </a:prstGeom>
        </p:spPr>
        <p:txBody>
          <a:bodyPr wrap="square" lIns="268927">
            <a:spAutoFit/>
          </a:bodyPr>
          <a:lstStyle/>
          <a:p>
            <a:pPr defTabSz="914102" fontAlgn="base">
              <a:lnSpc>
                <a:spcPct val="90000"/>
              </a:lnSpc>
              <a:spcBef>
                <a:spcPct val="0"/>
              </a:spcBef>
              <a:spcAft>
                <a:spcPct val="0"/>
              </a:spcAft>
            </a:pPr>
            <a:r>
              <a:rPr lang="en-US" sz="5294" dirty="0">
                <a:solidFill>
                  <a:schemeClr val="bg1"/>
                </a:solidFill>
                <a:latin typeface="+mj-lt"/>
                <a:ea typeface="Segoe UI" pitchFamily="34" charset="0"/>
                <a:cs typeface="Segoe UI" pitchFamily="34" charset="0"/>
              </a:rPr>
              <a:t>Pig</a:t>
            </a:r>
          </a:p>
        </p:txBody>
      </p:sp>
      <p:sp>
        <p:nvSpPr>
          <p:cNvPr id="2" name="Slide Number Placeholder 1"/>
          <p:cNvSpPr>
            <a:spLocks noGrp="1"/>
          </p:cNvSpPr>
          <p:nvPr>
            <p:ph type="sldNum" sz="quarter" idx="11"/>
          </p:nvPr>
        </p:nvSpPr>
        <p:spPr/>
        <p:txBody>
          <a:bodyPr/>
          <a:lstStyle/>
          <a:p>
            <a:pPr>
              <a:defRPr/>
            </a:pPr>
            <a:fld id="{F8A0AC42-AA1D-4944-8D96-660DE70C7E1B}" type="slidenum">
              <a:rPr lang="en-IN" smtClean="0"/>
              <a:pPr>
                <a:defRPr/>
              </a:pPr>
              <a:t>44</a:t>
            </a:fld>
            <a:endParaRPr lang="en-IN" dirty="0"/>
          </a:p>
        </p:txBody>
      </p:sp>
    </p:spTree>
    <p:extLst>
      <p:ext uri="{BB962C8B-B14F-4D97-AF65-F5344CB8AC3E}">
        <p14:creationId xmlns:p14="http://schemas.microsoft.com/office/powerpoint/2010/main" val="3462797765"/>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ache PIG: What is it?</a:t>
            </a:r>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45</a:t>
            </a:fld>
            <a:endParaRPr lang="en-US" dirty="0"/>
          </a:p>
        </p:txBody>
      </p:sp>
      <p:sp>
        <p:nvSpPr>
          <p:cNvPr id="5" name="TextBox 4"/>
          <p:cNvSpPr txBox="1"/>
          <p:nvPr/>
        </p:nvSpPr>
        <p:spPr>
          <a:xfrm>
            <a:off x="621792" y="1282408"/>
            <a:ext cx="11186754" cy="464096"/>
          </a:xfrm>
          <a:prstGeom prst="rect">
            <a:avLst/>
          </a:prstGeom>
          <a:solidFill>
            <a:schemeClr val="accent3"/>
          </a:solidFill>
        </p:spPr>
        <p:txBody>
          <a:bodyPr wrap="none" lIns="182880" tIns="146304" rIns="182880" bIns="146304" rtlCol="0">
            <a:noAutofit/>
          </a:bodyPr>
          <a:lstStyle/>
          <a:p>
            <a:pPr algn="ctr">
              <a:lnSpc>
                <a:spcPct val="90000"/>
              </a:lnSpc>
              <a:spcAft>
                <a:spcPts val="600"/>
              </a:spcAft>
            </a:pPr>
            <a:r>
              <a:rPr lang="en-US" dirty="0">
                <a:solidFill>
                  <a:schemeClr val="bg1"/>
                </a:solidFill>
                <a:latin typeface="Segoe UI Semibold" panose="020B0702040204020203" pitchFamily="34" charset="0"/>
                <a:cs typeface="Segoe UI Semibold" panose="020B0702040204020203" pitchFamily="34" charset="0"/>
              </a:rPr>
              <a:t>A scripting platform based on MR or Tez for analyzing large data sets stored in HDFS</a:t>
            </a:r>
          </a:p>
        </p:txBody>
      </p:sp>
      <p:sp>
        <p:nvSpPr>
          <p:cNvPr id="6" name="TextBox 5"/>
          <p:cNvSpPr txBox="1"/>
          <p:nvPr/>
        </p:nvSpPr>
        <p:spPr>
          <a:xfrm>
            <a:off x="621792" y="1818489"/>
            <a:ext cx="6395696" cy="4389150"/>
          </a:xfrm>
          <a:prstGeom prst="rect">
            <a:avLst/>
          </a:prstGeom>
          <a:noFill/>
        </p:spPr>
        <p:txBody>
          <a:bodyPr wrap="square" lIns="182880" tIns="146304" rIns="182880" bIns="146304" rtlCol="0">
            <a:noAutofit/>
          </a:bodyPr>
          <a:lstStyle/>
          <a:p>
            <a:pPr marL="365760" lvl="1" indent="-342900" defTabSz="913770" fontAlgn="base">
              <a:lnSpc>
                <a:spcPts val="2200"/>
              </a:lnSpc>
              <a:spcAft>
                <a:spcPts val="600"/>
              </a:spcAft>
              <a:buClr>
                <a:srgbClr val="68217A">
                  <a:lumMod val="50000"/>
                </a:srgbClr>
              </a:buClr>
              <a:buSzPct val="75000"/>
              <a:buFont typeface="Wingdings" panose="05000000000000000000" pitchFamily="2" charset="2"/>
              <a:buChar char="v"/>
              <a:tabLst>
                <a:tab pos="645523" algn="l"/>
              </a:tabLst>
            </a:pPr>
            <a:r>
              <a:rPr lang="en-US" dirty="0">
                <a:ln>
                  <a:solidFill>
                    <a:srgbClr val="FFFFFF">
                      <a:alpha val="0"/>
                    </a:srgbClr>
                  </a:solidFill>
                </a:ln>
                <a:gradFill>
                  <a:gsLst>
                    <a:gs pos="85321">
                      <a:srgbClr val="505050"/>
                    </a:gs>
                    <a:gs pos="57000">
                      <a:srgbClr val="505050"/>
                    </a:gs>
                  </a:gsLst>
                </a:gradFill>
                <a:ea typeface="Segoe UI" pitchFamily="34" charset="0"/>
                <a:cs typeface="Segoe UI" pitchFamily="34" charset="0"/>
              </a:rPr>
              <a:t>Makes big data analytics accessible to non-programmers who may find writing MR programs an obstacle</a:t>
            </a:r>
          </a:p>
          <a:p>
            <a:pPr marL="365760" lvl="1" indent="-342900" defTabSz="913770" fontAlgn="base">
              <a:lnSpc>
                <a:spcPts val="2200"/>
              </a:lnSpc>
              <a:spcAft>
                <a:spcPts val="600"/>
              </a:spcAft>
              <a:buClr>
                <a:srgbClr val="68217A">
                  <a:lumMod val="50000"/>
                </a:srgbClr>
              </a:buClr>
              <a:buSzPct val="75000"/>
              <a:buFont typeface="Wingdings" panose="05000000000000000000" pitchFamily="2" charset="2"/>
              <a:buChar char="v"/>
              <a:tabLst>
                <a:tab pos="645523" algn="l"/>
              </a:tabLst>
            </a:pPr>
            <a:r>
              <a:rPr lang="en-US" dirty="0">
                <a:ln>
                  <a:solidFill>
                    <a:srgbClr val="FFFFFF">
                      <a:alpha val="0"/>
                    </a:srgbClr>
                  </a:solidFill>
                </a:ln>
                <a:gradFill>
                  <a:gsLst>
                    <a:gs pos="85321">
                      <a:srgbClr val="505050"/>
                    </a:gs>
                    <a:gs pos="57000">
                      <a:srgbClr val="505050"/>
                    </a:gs>
                  </a:gsLst>
                </a:gradFill>
                <a:ea typeface="Segoe UI" pitchFamily="34" charset="0"/>
                <a:cs typeface="Segoe UI" pitchFamily="34" charset="0"/>
              </a:rPr>
              <a:t>Characteristics:</a:t>
            </a:r>
          </a:p>
          <a:p>
            <a:pPr marL="822960" lvl="2" indent="-342900" defTabSz="913770" fontAlgn="base">
              <a:lnSpc>
                <a:spcPts val="2100"/>
              </a:lnSpc>
              <a:spcAft>
                <a:spcPts val="300"/>
              </a:spcAft>
              <a:buClr>
                <a:srgbClr val="68217A">
                  <a:lumMod val="50000"/>
                </a:srgbClr>
              </a:buClr>
              <a:buSzPct val="75000"/>
              <a:buFont typeface="Arial" panose="020B0604020202020204" pitchFamily="34" charset="0"/>
              <a:buChar char="•"/>
              <a:tabLst>
                <a:tab pos="645523" algn="l"/>
              </a:tabLst>
            </a:pPr>
            <a:r>
              <a:rPr lang="en-US" sz="16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Extensible: User can create custom functions</a:t>
            </a:r>
          </a:p>
          <a:p>
            <a:pPr marL="822960" lvl="2" indent="-342900" defTabSz="913770" fontAlgn="base">
              <a:lnSpc>
                <a:spcPts val="2100"/>
              </a:lnSpc>
              <a:spcAft>
                <a:spcPts val="300"/>
              </a:spcAft>
              <a:buClr>
                <a:srgbClr val="68217A">
                  <a:lumMod val="50000"/>
                </a:srgbClr>
              </a:buClr>
              <a:buSzPct val="75000"/>
              <a:buFont typeface="Arial" panose="020B0604020202020204" pitchFamily="34" charset="0"/>
              <a:buChar char="•"/>
              <a:tabLst>
                <a:tab pos="645523" algn="l"/>
              </a:tabLst>
            </a:pPr>
            <a:r>
              <a:rPr lang="en-US" sz="16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Easy to program: Complex tasks involving interrelated data transformations can be simplified and encoded as data flow sequences</a:t>
            </a:r>
          </a:p>
          <a:p>
            <a:pPr marL="822960" lvl="2" indent="-342900" defTabSz="913770" fontAlgn="base">
              <a:lnSpc>
                <a:spcPts val="2100"/>
              </a:lnSpc>
              <a:spcAft>
                <a:spcPts val="300"/>
              </a:spcAft>
              <a:buClr>
                <a:srgbClr val="68217A">
                  <a:lumMod val="50000"/>
                </a:srgbClr>
              </a:buClr>
              <a:buSzPct val="75000"/>
              <a:buFont typeface="Arial" panose="020B0604020202020204" pitchFamily="34" charset="0"/>
              <a:buChar char="•"/>
              <a:tabLst>
                <a:tab pos="645523" algn="l"/>
              </a:tabLst>
            </a:pPr>
            <a:r>
              <a:rPr lang="en-US" sz="16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Self-optimizing: automatically optimizes execution of Pig jobs</a:t>
            </a:r>
          </a:p>
          <a:p>
            <a:pPr marL="365760" lvl="1" indent="-342900" defTabSz="913770" fontAlgn="base">
              <a:lnSpc>
                <a:spcPts val="2200"/>
              </a:lnSpc>
              <a:spcAft>
                <a:spcPts val="600"/>
              </a:spcAft>
              <a:buClr>
                <a:srgbClr val="68217A">
                  <a:lumMod val="50000"/>
                </a:srgbClr>
              </a:buClr>
              <a:buSzPct val="75000"/>
              <a:buFont typeface="Wingdings" panose="05000000000000000000" pitchFamily="2" charset="2"/>
              <a:buChar char="v"/>
              <a:tabLst>
                <a:tab pos="645523" algn="l"/>
              </a:tabLst>
            </a:pPr>
            <a:r>
              <a:rPr lang="en-US" dirty="0">
                <a:ln>
                  <a:solidFill>
                    <a:srgbClr val="FFFFFF">
                      <a:alpha val="0"/>
                    </a:srgbClr>
                  </a:solidFill>
                </a:ln>
                <a:gradFill>
                  <a:gsLst>
                    <a:gs pos="85321">
                      <a:srgbClr val="505050"/>
                    </a:gs>
                    <a:gs pos="57000">
                      <a:srgbClr val="505050"/>
                    </a:gs>
                  </a:gsLst>
                </a:gradFill>
                <a:ea typeface="Segoe UI" pitchFamily="34" charset="0"/>
                <a:cs typeface="Segoe UI" pitchFamily="34" charset="0"/>
              </a:rPr>
              <a:t>Use cases:</a:t>
            </a:r>
          </a:p>
          <a:p>
            <a:pPr marL="822960" lvl="2" indent="-342900" defTabSz="913770" fontAlgn="base">
              <a:lnSpc>
                <a:spcPts val="2100"/>
              </a:lnSpc>
              <a:spcAft>
                <a:spcPts val="300"/>
              </a:spcAft>
              <a:buClr>
                <a:srgbClr val="68217A">
                  <a:lumMod val="50000"/>
                </a:srgbClr>
              </a:buClr>
              <a:buSzPct val="75000"/>
              <a:buFont typeface="Arial" panose="020B0604020202020204" pitchFamily="34" charset="0"/>
              <a:buChar char="•"/>
              <a:tabLst>
                <a:tab pos="645523" algn="l"/>
              </a:tabLst>
            </a:pPr>
            <a:r>
              <a:rPr lang="en-US" sz="16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ETL</a:t>
            </a:r>
          </a:p>
          <a:p>
            <a:pPr marL="822960" lvl="2" indent="-342900" defTabSz="913770" fontAlgn="base">
              <a:lnSpc>
                <a:spcPts val="2100"/>
              </a:lnSpc>
              <a:spcAft>
                <a:spcPts val="300"/>
              </a:spcAft>
              <a:buClr>
                <a:srgbClr val="68217A">
                  <a:lumMod val="50000"/>
                </a:srgbClr>
              </a:buClr>
              <a:buSzPct val="75000"/>
              <a:buFont typeface="Arial" panose="020B0604020202020204" pitchFamily="34" charset="0"/>
              <a:buChar char="•"/>
              <a:tabLst>
                <a:tab pos="645523" algn="l"/>
              </a:tabLst>
            </a:pPr>
            <a:r>
              <a:rPr lang="en-US" sz="1600" dirty="0" err="1">
                <a:ln>
                  <a:solidFill>
                    <a:srgbClr val="FFFFFF">
                      <a:alpha val="0"/>
                    </a:srgbClr>
                  </a:solidFill>
                </a:ln>
                <a:gradFill>
                  <a:gsLst>
                    <a:gs pos="85321">
                      <a:srgbClr val="505050"/>
                    </a:gs>
                    <a:gs pos="57000">
                      <a:srgbClr val="505050"/>
                    </a:gs>
                  </a:gsLst>
                </a:gradFill>
                <a:ea typeface="Segoe UI" pitchFamily="34" charset="0"/>
                <a:cs typeface="Segoe UI" pitchFamily="34" charset="0"/>
              </a:rPr>
              <a:t>Itertative</a:t>
            </a:r>
            <a:r>
              <a:rPr lang="en-US" sz="16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 data processing</a:t>
            </a:r>
          </a:p>
          <a:p>
            <a:pPr marL="822960" lvl="2" indent="-342900" defTabSz="913770" fontAlgn="base">
              <a:lnSpc>
                <a:spcPts val="2100"/>
              </a:lnSpc>
              <a:spcAft>
                <a:spcPts val="300"/>
              </a:spcAft>
              <a:buClr>
                <a:srgbClr val="68217A">
                  <a:lumMod val="50000"/>
                </a:srgbClr>
              </a:buClr>
              <a:buSzPct val="75000"/>
              <a:buFont typeface="Arial" panose="020B0604020202020204" pitchFamily="34" charset="0"/>
              <a:buChar char="•"/>
              <a:tabLst>
                <a:tab pos="645523" algn="l"/>
              </a:tabLst>
            </a:pPr>
            <a:r>
              <a:rPr lang="en-US" sz="16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Research on raw data</a:t>
            </a:r>
          </a:p>
        </p:txBody>
      </p:sp>
      <p:grpSp>
        <p:nvGrpSpPr>
          <p:cNvPr id="7" name="Group 6"/>
          <p:cNvGrpSpPr/>
          <p:nvPr/>
        </p:nvGrpSpPr>
        <p:grpSpPr>
          <a:xfrm>
            <a:off x="6822831" y="2429810"/>
            <a:ext cx="4914213" cy="3475749"/>
            <a:chOff x="6578925" y="2059965"/>
            <a:chExt cx="5343525" cy="3762375"/>
          </a:xfrm>
        </p:grpSpPr>
        <p:grpSp>
          <p:nvGrpSpPr>
            <p:cNvPr id="8" name="Group 7"/>
            <p:cNvGrpSpPr/>
            <p:nvPr/>
          </p:nvGrpSpPr>
          <p:grpSpPr>
            <a:xfrm>
              <a:off x="6578925" y="2059965"/>
              <a:ext cx="5343525" cy="3762375"/>
              <a:chOff x="6578925" y="2212237"/>
              <a:chExt cx="5343525" cy="3762375"/>
            </a:xfrm>
          </p:grpSpPr>
          <p:sp>
            <p:nvSpPr>
              <p:cNvPr id="11" name="Rectangle 10"/>
              <p:cNvSpPr/>
              <p:nvPr/>
            </p:nvSpPr>
            <p:spPr bwMode="auto">
              <a:xfrm>
                <a:off x="6578925" y="2212237"/>
                <a:ext cx="5343525" cy="3762375"/>
              </a:xfrm>
              <a:prstGeom prst="rect">
                <a:avLst/>
              </a:prstGeom>
              <a:solidFill>
                <a:srgbClr val="F0F5F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2" name="Rectangle 11"/>
              <p:cNvSpPr/>
              <p:nvPr/>
            </p:nvSpPr>
            <p:spPr bwMode="auto">
              <a:xfrm>
                <a:off x="6669412" y="2375719"/>
                <a:ext cx="5162550" cy="1692121"/>
              </a:xfrm>
              <a:prstGeom prst="rect">
                <a:avLst/>
              </a:prstGeom>
              <a:noFill/>
              <a:ln w="19050">
                <a:solidFill>
                  <a:srgbClr val="DDE8F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3" name="Rectangle 12"/>
              <p:cNvSpPr/>
              <p:nvPr/>
            </p:nvSpPr>
            <p:spPr bwMode="auto">
              <a:xfrm>
                <a:off x="6669412" y="4231321"/>
                <a:ext cx="5162550" cy="1645604"/>
              </a:xfrm>
              <a:prstGeom prst="rect">
                <a:avLst/>
              </a:prstGeom>
              <a:noFill/>
              <a:ln w="19050">
                <a:solidFill>
                  <a:srgbClr val="DDE8F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4" name="Rectangle 13"/>
              <p:cNvSpPr/>
              <p:nvPr/>
            </p:nvSpPr>
            <p:spPr bwMode="auto">
              <a:xfrm>
                <a:off x="6754634" y="3485583"/>
                <a:ext cx="5029303" cy="1028346"/>
              </a:xfrm>
              <a:prstGeom prst="rect">
                <a:avLst/>
              </a:prstGeom>
              <a:solidFill>
                <a:srgbClr val="729FCC"/>
              </a:solidFill>
              <a:ln w="19050">
                <a:solidFill>
                  <a:srgbClr val="5B8FC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grpSp>
            <p:nvGrpSpPr>
              <p:cNvPr id="15" name="Group 14"/>
              <p:cNvGrpSpPr/>
              <p:nvPr/>
            </p:nvGrpSpPr>
            <p:grpSpPr>
              <a:xfrm>
                <a:off x="6754634" y="2472370"/>
                <a:ext cx="714375" cy="1232949"/>
                <a:chOff x="6754634" y="2472370"/>
                <a:chExt cx="714375" cy="1232949"/>
              </a:xfrm>
            </p:grpSpPr>
            <p:sp>
              <p:nvSpPr>
                <p:cNvPr id="56" name="Rectangle 55"/>
                <p:cNvSpPr/>
                <p:nvPr/>
              </p:nvSpPr>
              <p:spPr bwMode="auto">
                <a:xfrm>
                  <a:off x="6754634" y="2472370"/>
                  <a:ext cx="714375" cy="1136298"/>
                </a:xfrm>
                <a:prstGeom prst="rect">
                  <a:avLst/>
                </a:prstGeom>
                <a:solidFill>
                  <a:srgbClr val="FEFEFF"/>
                </a:solidFill>
                <a:ln w="19050">
                  <a:solidFill>
                    <a:srgbClr val="DDE8F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57" name="Trapezoid 56"/>
                <p:cNvSpPr/>
                <p:nvPr/>
              </p:nvSpPr>
              <p:spPr bwMode="auto">
                <a:xfrm rot="10800000">
                  <a:off x="6988834" y="3589712"/>
                  <a:ext cx="245973" cy="115607"/>
                </a:xfrm>
                <a:prstGeom prst="trapezoid">
                  <a:avLst/>
                </a:prstGeom>
                <a:solidFill>
                  <a:srgbClr val="FEFE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grpSp>
          <p:grpSp>
            <p:nvGrpSpPr>
              <p:cNvPr id="16" name="Group 15"/>
              <p:cNvGrpSpPr/>
              <p:nvPr/>
            </p:nvGrpSpPr>
            <p:grpSpPr>
              <a:xfrm>
                <a:off x="7578184" y="2477213"/>
                <a:ext cx="714375" cy="1232949"/>
                <a:chOff x="6754634" y="2472370"/>
                <a:chExt cx="714375" cy="1232949"/>
              </a:xfrm>
            </p:grpSpPr>
            <p:sp>
              <p:nvSpPr>
                <p:cNvPr id="54" name="Rectangle 53"/>
                <p:cNvSpPr/>
                <p:nvPr/>
              </p:nvSpPr>
              <p:spPr bwMode="auto">
                <a:xfrm>
                  <a:off x="6754634" y="2472370"/>
                  <a:ext cx="714375" cy="1136298"/>
                </a:xfrm>
                <a:prstGeom prst="rect">
                  <a:avLst/>
                </a:prstGeom>
                <a:solidFill>
                  <a:srgbClr val="FEFEFF"/>
                </a:solidFill>
                <a:ln w="19050">
                  <a:solidFill>
                    <a:srgbClr val="DDE8F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55" name="Trapezoid 54"/>
                <p:cNvSpPr/>
                <p:nvPr/>
              </p:nvSpPr>
              <p:spPr bwMode="auto">
                <a:xfrm rot="10800000">
                  <a:off x="6988834" y="3589712"/>
                  <a:ext cx="245973" cy="115607"/>
                </a:xfrm>
                <a:prstGeom prst="trapezoid">
                  <a:avLst/>
                </a:prstGeom>
                <a:solidFill>
                  <a:srgbClr val="FEFE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grpSp>
          <p:grpSp>
            <p:nvGrpSpPr>
              <p:cNvPr id="17" name="Group 16"/>
              <p:cNvGrpSpPr/>
              <p:nvPr/>
            </p:nvGrpSpPr>
            <p:grpSpPr>
              <a:xfrm>
                <a:off x="8352561" y="2462688"/>
                <a:ext cx="811932" cy="1232949"/>
                <a:chOff x="6754634" y="2472370"/>
                <a:chExt cx="714375" cy="1232949"/>
              </a:xfrm>
            </p:grpSpPr>
            <p:sp>
              <p:nvSpPr>
                <p:cNvPr id="52" name="Rectangle 51"/>
                <p:cNvSpPr/>
                <p:nvPr/>
              </p:nvSpPr>
              <p:spPr bwMode="auto">
                <a:xfrm>
                  <a:off x="6754634" y="2472370"/>
                  <a:ext cx="714375" cy="1136298"/>
                </a:xfrm>
                <a:prstGeom prst="rect">
                  <a:avLst/>
                </a:prstGeom>
                <a:solidFill>
                  <a:srgbClr val="FEFEFF"/>
                </a:solidFill>
                <a:ln w="19050">
                  <a:solidFill>
                    <a:srgbClr val="DDE8F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53" name="Trapezoid 52"/>
                <p:cNvSpPr/>
                <p:nvPr/>
              </p:nvSpPr>
              <p:spPr bwMode="auto">
                <a:xfrm rot="10800000">
                  <a:off x="6988834" y="3589712"/>
                  <a:ext cx="245973" cy="115607"/>
                </a:xfrm>
                <a:prstGeom prst="trapezoid">
                  <a:avLst/>
                </a:prstGeom>
                <a:solidFill>
                  <a:srgbClr val="FEFE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grpSp>
          <p:grpSp>
            <p:nvGrpSpPr>
              <p:cNvPr id="18" name="Group 17"/>
              <p:cNvGrpSpPr/>
              <p:nvPr/>
            </p:nvGrpSpPr>
            <p:grpSpPr>
              <a:xfrm>
                <a:off x="9215066" y="2472901"/>
                <a:ext cx="807375" cy="1213413"/>
                <a:chOff x="6754634" y="2472370"/>
                <a:chExt cx="807375" cy="1293904"/>
              </a:xfrm>
            </p:grpSpPr>
            <p:sp>
              <p:nvSpPr>
                <p:cNvPr id="50" name="Rectangle 49"/>
                <p:cNvSpPr/>
                <p:nvPr/>
              </p:nvSpPr>
              <p:spPr bwMode="auto">
                <a:xfrm>
                  <a:off x="6754634" y="2472370"/>
                  <a:ext cx="807375" cy="1194226"/>
                </a:xfrm>
                <a:prstGeom prst="rect">
                  <a:avLst/>
                </a:prstGeom>
                <a:solidFill>
                  <a:srgbClr val="FEFEFF"/>
                </a:solidFill>
                <a:ln w="19050">
                  <a:solidFill>
                    <a:srgbClr val="DDE8F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51" name="Trapezoid 50"/>
                <p:cNvSpPr/>
                <p:nvPr/>
              </p:nvSpPr>
              <p:spPr bwMode="auto">
                <a:xfrm rot="10800000">
                  <a:off x="7029795" y="3600682"/>
                  <a:ext cx="245973" cy="165592"/>
                </a:xfrm>
                <a:prstGeom prst="trapezoid">
                  <a:avLst/>
                </a:prstGeom>
                <a:solidFill>
                  <a:srgbClr val="FEFE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grpSp>
          <p:grpSp>
            <p:nvGrpSpPr>
              <p:cNvPr id="19" name="Group 18"/>
              <p:cNvGrpSpPr/>
              <p:nvPr/>
            </p:nvGrpSpPr>
            <p:grpSpPr>
              <a:xfrm>
                <a:off x="10138633" y="2492850"/>
                <a:ext cx="714375" cy="1232949"/>
                <a:chOff x="6754634" y="2472370"/>
                <a:chExt cx="714375" cy="1232949"/>
              </a:xfrm>
            </p:grpSpPr>
            <p:sp>
              <p:nvSpPr>
                <p:cNvPr id="48" name="Rectangle 47"/>
                <p:cNvSpPr/>
                <p:nvPr/>
              </p:nvSpPr>
              <p:spPr bwMode="auto">
                <a:xfrm>
                  <a:off x="6754634" y="2472370"/>
                  <a:ext cx="714375" cy="1136298"/>
                </a:xfrm>
                <a:prstGeom prst="rect">
                  <a:avLst/>
                </a:prstGeom>
                <a:solidFill>
                  <a:srgbClr val="FEFEFF"/>
                </a:solidFill>
                <a:ln w="19050">
                  <a:solidFill>
                    <a:srgbClr val="DDE8F3"/>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49" name="Trapezoid 48"/>
                <p:cNvSpPr/>
                <p:nvPr/>
              </p:nvSpPr>
              <p:spPr bwMode="auto">
                <a:xfrm rot="10800000">
                  <a:off x="6988834" y="3589712"/>
                  <a:ext cx="245973" cy="115607"/>
                </a:xfrm>
                <a:prstGeom prst="trapezoid">
                  <a:avLst/>
                </a:prstGeom>
                <a:solidFill>
                  <a:srgbClr val="FEFEFF"/>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grpSp>
          <p:grpSp>
            <p:nvGrpSpPr>
              <p:cNvPr id="20" name="Group 19"/>
              <p:cNvGrpSpPr/>
              <p:nvPr/>
            </p:nvGrpSpPr>
            <p:grpSpPr>
              <a:xfrm>
                <a:off x="11021239" y="2498043"/>
                <a:ext cx="714375" cy="1232949"/>
                <a:chOff x="6754634" y="2472370"/>
                <a:chExt cx="714375" cy="1232949"/>
              </a:xfrm>
            </p:grpSpPr>
            <p:sp>
              <p:nvSpPr>
                <p:cNvPr id="46" name="Rectangle 45"/>
                <p:cNvSpPr/>
                <p:nvPr/>
              </p:nvSpPr>
              <p:spPr bwMode="auto">
                <a:xfrm>
                  <a:off x="6754634" y="2472370"/>
                  <a:ext cx="714375" cy="1136298"/>
                </a:xfrm>
                <a:prstGeom prst="rect">
                  <a:avLst/>
                </a:prstGeom>
                <a:solidFill>
                  <a:srgbClr val="FEFEFF"/>
                </a:solidFill>
                <a:ln w="19050">
                  <a:solidFill>
                    <a:srgbClr val="DDE8F3"/>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47" name="Trapezoid 46"/>
                <p:cNvSpPr/>
                <p:nvPr/>
              </p:nvSpPr>
              <p:spPr bwMode="auto">
                <a:xfrm rot="10800000">
                  <a:off x="6988834" y="3589712"/>
                  <a:ext cx="245973" cy="115607"/>
                </a:xfrm>
                <a:prstGeom prst="trapezoid">
                  <a:avLst/>
                </a:prstGeom>
                <a:solidFill>
                  <a:srgbClr val="FEFEFF"/>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grpSp>
          <p:grpSp>
            <p:nvGrpSpPr>
              <p:cNvPr id="21" name="Group 20"/>
              <p:cNvGrpSpPr/>
              <p:nvPr/>
            </p:nvGrpSpPr>
            <p:grpSpPr>
              <a:xfrm>
                <a:off x="6844331" y="3291553"/>
                <a:ext cx="534983" cy="271223"/>
                <a:chOff x="6196646" y="6215960"/>
                <a:chExt cx="534983" cy="271223"/>
              </a:xfrm>
            </p:grpSpPr>
            <p:sp>
              <p:nvSpPr>
                <p:cNvPr id="44" name="Rectangle 43"/>
                <p:cNvSpPr/>
                <p:nvPr/>
              </p:nvSpPr>
              <p:spPr bwMode="auto">
                <a:xfrm>
                  <a:off x="6208113" y="6223379"/>
                  <a:ext cx="523516" cy="263804"/>
                </a:xfrm>
                <a:prstGeom prst="rect">
                  <a:avLst/>
                </a:prstGeom>
                <a:solidFill>
                  <a:srgbClr val="729FC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000" b="1" dirty="0">
                    <a:solidFill>
                      <a:schemeClr val="bg1"/>
                    </a:solidFill>
                    <a:latin typeface="Calibri" panose="020F0502020204030204" pitchFamily="34" charset="0"/>
                    <a:ea typeface="Segoe UI" pitchFamily="34" charset="0"/>
                    <a:cs typeface="Segoe UI" pitchFamily="34" charset="0"/>
                  </a:endParaRPr>
                </a:p>
              </p:txBody>
            </p:sp>
            <p:sp>
              <p:nvSpPr>
                <p:cNvPr id="45" name="TextBox 32"/>
                <p:cNvSpPr txBox="1"/>
                <p:nvPr/>
              </p:nvSpPr>
              <p:spPr>
                <a:xfrm>
                  <a:off x="6196646" y="6215960"/>
                  <a:ext cx="502247" cy="243993"/>
                </a:xfrm>
                <a:prstGeom prst="rect">
                  <a:avLst/>
                </a:prstGeom>
                <a:noFill/>
              </p:spPr>
              <p:txBody>
                <a:bodyPr wrap="none" lIns="182880" tIns="146304" rIns="182880" bIns="146304"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50000"/>
                    </a:lnSpc>
                    <a:spcAft>
                      <a:spcPts val="600"/>
                    </a:spcAft>
                  </a:pPr>
                  <a:r>
                    <a:rPr lang="en-US" sz="1300" b="1" dirty="0">
                      <a:solidFill>
                        <a:schemeClr val="bg1"/>
                      </a:solidFill>
                    </a:rPr>
                    <a:t> </a:t>
                  </a:r>
                  <a:r>
                    <a:rPr lang="en-US" sz="1300" b="1" dirty="0" err="1">
                      <a:solidFill>
                        <a:schemeClr val="bg1"/>
                      </a:solidFill>
                    </a:rPr>
                    <a:t>Tez</a:t>
                  </a:r>
                  <a:endParaRPr lang="en-US" sz="1300" b="1" dirty="0">
                    <a:solidFill>
                      <a:schemeClr val="bg1"/>
                    </a:solidFill>
                  </a:endParaRPr>
                </a:p>
              </p:txBody>
            </p:sp>
          </p:grpSp>
          <p:grpSp>
            <p:nvGrpSpPr>
              <p:cNvPr id="22" name="Group 21"/>
              <p:cNvGrpSpPr/>
              <p:nvPr/>
            </p:nvGrpSpPr>
            <p:grpSpPr>
              <a:xfrm>
                <a:off x="8478866" y="3291553"/>
                <a:ext cx="534983" cy="271223"/>
                <a:chOff x="6196646" y="6215960"/>
                <a:chExt cx="534983" cy="271223"/>
              </a:xfrm>
            </p:grpSpPr>
            <p:sp>
              <p:nvSpPr>
                <p:cNvPr id="42" name="Rectangle 41"/>
                <p:cNvSpPr/>
                <p:nvPr/>
              </p:nvSpPr>
              <p:spPr bwMode="auto">
                <a:xfrm>
                  <a:off x="6208113" y="6223379"/>
                  <a:ext cx="523516" cy="263804"/>
                </a:xfrm>
                <a:prstGeom prst="rect">
                  <a:avLst/>
                </a:prstGeom>
                <a:solidFill>
                  <a:srgbClr val="729FC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000" b="1" dirty="0">
                    <a:solidFill>
                      <a:schemeClr val="bg1"/>
                    </a:solidFill>
                    <a:latin typeface="Calibri" panose="020F0502020204030204" pitchFamily="34" charset="0"/>
                    <a:ea typeface="Segoe UI" pitchFamily="34" charset="0"/>
                    <a:cs typeface="Segoe UI" pitchFamily="34" charset="0"/>
                  </a:endParaRPr>
                </a:p>
              </p:txBody>
            </p:sp>
            <p:sp>
              <p:nvSpPr>
                <p:cNvPr id="43" name="TextBox 37"/>
                <p:cNvSpPr txBox="1"/>
                <p:nvPr/>
              </p:nvSpPr>
              <p:spPr>
                <a:xfrm>
                  <a:off x="6196646" y="6215960"/>
                  <a:ext cx="502247" cy="243993"/>
                </a:xfrm>
                <a:prstGeom prst="rect">
                  <a:avLst/>
                </a:prstGeom>
                <a:noFill/>
              </p:spPr>
              <p:txBody>
                <a:bodyPr wrap="none" lIns="182880" tIns="146304" rIns="182880" bIns="146304"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50000"/>
                    </a:lnSpc>
                    <a:spcAft>
                      <a:spcPts val="600"/>
                    </a:spcAft>
                  </a:pPr>
                  <a:r>
                    <a:rPr lang="en-US" sz="1300" b="1" dirty="0">
                      <a:solidFill>
                        <a:schemeClr val="bg1"/>
                      </a:solidFill>
                    </a:rPr>
                    <a:t> </a:t>
                  </a:r>
                  <a:r>
                    <a:rPr lang="en-US" sz="1300" b="1" dirty="0" err="1">
                      <a:solidFill>
                        <a:schemeClr val="bg1"/>
                      </a:solidFill>
                    </a:rPr>
                    <a:t>Tez</a:t>
                  </a:r>
                  <a:endParaRPr lang="en-US" sz="1300" b="1" dirty="0">
                    <a:solidFill>
                      <a:schemeClr val="bg1"/>
                    </a:solidFill>
                  </a:endParaRPr>
                </a:p>
              </p:txBody>
            </p:sp>
          </p:grpSp>
          <p:grpSp>
            <p:nvGrpSpPr>
              <p:cNvPr id="23" name="Group 22"/>
              <p:cNvGrpSpPr/>
              <p:nvPr/>
            </p:nvGrpSpPr>
            <p:grpSpPr>
              <a:xfrm>
                <a:off x="10228327" y="3311098"/>
                <a:ext cx="534983" cy="271223"/>
                <a:chOff x="6196646" y="6215960"/>
                <a:chExt cx="534983" cy="271223"/>
              </a:xfrm>
            </p:grpSpPr>
            <p:sp>
              <p:nvSpPr>
                <p:cNvPr id="40" name="Rectangle 39"/>
                <p:cNvSpPr/>
                <p:nvPr/>
              </p:nvSpPr>
              <p:spPr bwMode="auto">
                <a:xfrm>
                  <a:off x="6208113" y="6223379"/>
                  <a:ext cx="523516" cy="263804"/>
                </a:xfrm>
                <a:prstGeom prst="rect">
                  <a:avLst/>
                </a:prstGeom>
                <a:solidFill>
                  <a:srgbClr val="729FC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000" b="1" dirty="0">
                    <a:solidFill>
                      <a:schemeClr val="bg1"/>
                    </a:solidFill>
                    <a:latin typeface="Calibri" panose="020F0502020204030204" pitchFamily="34" charset="0"/>
                    <a:ea typeface="Segoe UI" pitchFamily="34" charset="0"/>
                    <a:cs typeface="Segoe UI" pitchFamily="34" charset="0"/>
                  </a:endParaRPr>
                </a:p>
              </p:txBody>
            </p:sp>
            <p:sp>
              <p:nvSpPr>
                <p:cNvPr id="41" name="TextBox 40"/>
                <p:cNvSpPr txBox="1"/>
                <p:nvPr/>
              </p:nvSpPr>
              <p:spPr>
                <a:xfrm>
                  <a:off x="6196646" y="6215960"/>
                  <a:ext cx="502247" cy="243993"/>
                </a:xfrm>
                <a:prstGeom prst="rect">
                  <a:avLst/>
                </a:prstGeom>
                <a:noFill/>
              </p:spPr>
              <p:txBody>
                <a:bodyPr wrap="none" lIns="182880" tIns="146304" rIns="182880" bIns="146304"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50000"/>
                    </a:lnSpc>
                    <a:spcAft>
                      <a:spcPts val="600"/>
                    </a:spcAft>
                  </a:pPr>
                  <a:r>
                    <a:rPr lang="en-US" sz="1300" b="1" dirty="0">
                      <a:solidFill>
                        <a:schemeClr val="bg1"/>
                      </a:solidFill>
                    </a:rPr>
                    <a:t> </a:t>
                  </a:r>
                  <a:r>
                    <a:rPr lang="en-US" sz="1300" b="1" dirty="0" err="1">
                      <a:solidFill>
                        <a:schemeClr val="bg1"/>
                      </a:solidFill>
                    </a:rPr>
                    <a:t>Tez</a:t>
                  </a:r>
                  <a:endParaRPr lang="en-US" sz="1300" b="1" dirty="0">
                    <a:solidFill>
                      <a:schemeClr val="bg1"/>
                    </a:solidFill>
                  </a:endParaRPr>
                </a:p>
              </p:txBody>
            </p:sp>
          </p:grpSp>
          <p:grpSp>
            <p:nvGrpSpPr>
              <p:cNvPr id="24" name="Group 23"/>
              <p:cNvGrpSpPr/>
              <p:nvPr/>
            </p:nvGrpSpPr>
            <p:grpSpPr>
              <a:xfrm>
                <a:off x="7676219" y="3291553"/>
                <a:ext cx="534983" cy="271223"/>
                <a:chOff x="6196646" y="6215960"/>
                <a:chExt cx="534983" cy="271223"/>
              </a:xfrm>
            </p:grpSpPr>
            <p:sp>
              <p:nvSpPr>
                <p:cNvPr id="38" name="Rectangle 37"/>
                <p:cNvSpPr/>
                <p:nvPr/>
              </p:nvSpPr>
              <p:spPr bwMode="auto">
                <a:xfrm>
                  <a:off x="6208113" y="6223379"/>
                  <a:ext cx="523516" cy="263804"/>
                </a:xfrm>
                <a:prstGeom prst="rect">
                  <a:avLst/>
                </a:prstGeom>
                <a:solidFill>
                  <a:srgbClr val="729FC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000" b="1" dirty="0">
                    <a:solidFill>
                      <a:schemeClr val="bg1"/>
                    </a:solidFill>
                    <a:latin typeface="Calibri" panose="020F0502020204030204" pitchFamily="34" charset="0"/>
                    <a:ea typeface="Segoe UI" pitchFamily="34" charset="0"/>
                    <a:cs typeface="Segoe UI" pitchFamily="34" charset="0"/>
                  </a:endParaRPr>
                </a:p>
              </p:txBody>
            </p:sp>
            <p:sp>
              <p:nvSpPr>
                <p:cNvPr id="39" name="TextBox 43"/>
                <p:cNvSpPr txBox="1"/>
                <p:nvPr/>
              </p:nvSpPr>
              <p:spPr>
                <a:xfrm>
                  <a:off x="6196646" y="6215960"/>
                  <a:ext cx="502247" cy="243993"/>
                </a:xfrm>
                <a:prstGeom prst="rect">
                  <a:avLst/>
                </a:prstGeom>
                <a:noFill/>
              </p:spPr>
              <p:txBody>
                <a:bodyPr wrap="none" lIns="182880" tIns="146304" rIns="182880" bIns="146304"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50000"/>
                    </a:lnSpc>
                    <a:spcAft>
                      <a:spcPts val="600"/>
                    </a:spcAft>
                  </a:pPr>
                  <a:r>
                    <a:rPr lang="en-US" sz="1300" b="1" dirty="0">
                      <a:solidFill>
                        <a:schemeClr val="bg1"/>
                      </a:solidFill>
                    </a:rPr>
                    <a:t> </a:t>
                  </a:r>
                  <a:r>
                    <a:rPr lang="en-US" sz="1300" b="1" dirty="0" err="1">
                      <a:solidFill>
                        <a:schemeClr val="bg1"/>
                      </a:solidFill>
                    </a:rPr>
                    <a:t>Tez</a:t>
                  </a:r>
                  <a:endParaRPr lang="en-US" sz="1300" b="1" dirty="0">
                    <a:solidFill>
                      <a:schemeClr val="bg1"/>
                    </a:solidFill>
                  </a:endParaRPr>
                </a:p>
              </p:txBody>
            </p:sp>
          </p:grpSp>
          <p:sp>
            <p:nvSpPr>
              <p:cNvPr id="25" name="TextBox 44"/>
              <p:cNvSpPr txBox="1"/>
              <p:nvPr/>
            </p:nvSpPr>
            <p:spPr>
              <a:xfrm>
                <a:off x="6678440" y="2377085"/>
                <a:ext cx="799596" cy="483402"/>
              </a:xfrm>
              <a:prstGeom prst="rect">
                <a:avLst/>
              </a:prstGeom>
              <a:noFill/>
            </p:spPr>
            <p:txBody>
              <a:bodyPr wrap="none" lIns="182880" tIns="146304" rIns="182880" bIns="146304"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1600" b="1" dirty="0">
                    <a:solidFill>
                      <a:srgbClr val="5B8FC3"/>
                    </a:solidFill>
                    <a:latin typeface="Calibri" panose="020F0502020204030204" pitchFamily="34" charset="0"/>
                  </a:rPr>
                  <a:t>Script</a:t>
                </a:r>
              </a:p>
            </p:txBody>
          </p:sp>
          <p:sp>
            <p:nvSpPr>
              <p:cNvPr id="26" name="TextBox 45"/>
              <p:cNvSpPr txBox="1"/>
              <p:nvPr/>
            </p:nvSpPr>
            <p:spPr>
              <a:xfrm>
                <a:off x="7616324" y="2371008"/>
                <a:ext cx="610211" cy="483402"/>
              </a:xfrm>
              <a:prstGeom prst="rect">
                <a:avLst/>
              </a:prstGeom>
              <a:noFill/>
            </p:spPr>
            <p:txBody>
              <a:bodyPr wrap="none" lIns="182880" tIns="146304" rIns="182880" bIns="146304"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1600" b="1" dirty="0">
                    <a:solidFill>
                      <a:srgbClr val="5B8FC3"/>
                    </a:solidFill>
                    <a:latin typeface="Calibri" panose="020F0502020204030204" pitchFamily="34" charset="0"/>
                  </a:rPr>
                  <a:t>SQL</a:t>
                </a:r>
              </a:p>
            </p:txBody>
          </p:sp>
          <p:sp>
            <p:nvSpPr>
              <p:cNvPr id="27" name="TextBox 46"/>
              <p:cNvSpPr txBox="1"/>
              <p:nvPr/>
            </p:nvSpPr>
            <p:spPr>
              <a:xfrm>
                <a:off x="8397617" y="2368395"/>
                <a:ext cx="547727" cy="365649"/>
              </a:xfrm>
              <a:prstGeom prst="rect">
                <a:avLst/>
              </a:prstGeom>
              <a:noFill/>
            </p:spPr>
            <p:txBody>
              <a:bodyPr wrap="none" lIns="182880" tIns="146304" rIns="182880" bIns="146304"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1600" b="1" dirty="0">
                    <a:solidFill>
                      <a:srgbClr val="5B8FC3"/>
                    </a:solidFill>
                    <a:latin typeface="Calibri" panose="020F0502020204030204" pitchFamily="34" charset="0"/>
                  </a:rPr>
                  <a:t>Java</a:t>
                </a:r>
              </a:p>
            </p:txBody>
          </p:sp>
          <p:sp>
            <p:nvSpPr>
              <p:cNvPr id="28" name="TextBox 47"/>
              <p:cNvSpPr txBox="1"/>
              <p:nvPr/>
            </p:nvSpPr>
            <p:spPr>
              <a:xfrm>
                <a:off x="9116477" y="2359394"/>
                <a:ext cx="799596" cy="483402"/>
              </a:xfrm>
              <a:prstGeom prst="rect">
                <a:avLst/>
              </a:prstGeom>
              <a:noFill/>
            </p:spPr>
            <p:txBody>
              <a:bodyPr wrap="none" lIns="182880" tIns="146304" rIns="182880" bIns="146304"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1600" b="1" dirty="0">
                    <a:solidFill>
                      <a:srgbClr val="5B8FC3"/>
                    </a:solidFill>
                    <a:latin typeface="Calibri" panose="020F0502020204030204" pitchFamily="34" charset="0"/>
                  </a:rPr>
                  <a:t>Engines</a:t>
                </a:r>
              </a:p>
            </p:txBody>
          </p:sp>
          <p:sp>
            <p:nvSpPr>
              <p:cNvPr id="29" name="TextBox 48"/>
              <p:cNvSpPr txBox="1"/>
              <p:nvPr/>
            </p:nvSpPr>
            <p:spPr>
              <a:xfrm>
                <a:off x="10075968" y="2368119"/>
                <a:ext cx="799596" cy="483402"/>
              </a:xfrm>
              <a:prstGeom prst="rect">
                <a:avLst/>
              </a:prstGeom>
              <a:noFill/>
            </p:spPr>
            <p:txBody>
              <a:bodyPr wrap="none" lIns="182880" tIns="146304" rIns="182880" bIns="146304"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600"/>
                  </a:spcAft>
                </a:pPr>
                <a:r>
                  <a:rPr lang="en-US" sz="1600" b="1" dirty="0">
                    <a:solidFill>
                      <a:srgbClr val="5B8FC3"/>
                    </a:solidFill>
                    <a:latin typeface="Calibri" panose="020F0502020204030204" pitchFamily="34" charset="0"/>
                  </a:rPr>
                  <a:t>Others</a:t>
                </a:r>
              </a:p>
            </p:txBody>
          </p:sp>
          <p:sp>
            <p:nvSpPr>
              <p:cNvPr id="30" name="TextBox 49"/>
              <p:cNvSpPr txBox="1"/>
              <p:nvPr/>
            </p:nvSpPr>
            <p:spPr>
              <a:xfrm>
                <a:off x="10910134" y="2379405"/>
                <a:ext cx="799596" cy="483402"/>
              </a:xfrm>
              <a:prstGeom prst="rect">
                <a:avLst/>
              </a:prstGeom>
              <a:noFill/>
            </p:spPr>
            <p:txBody>
              <a:bodyPr wrap="none" lIns="182880" tIns="146304" rIns="182880" bIns="146304"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1600" b="1" dirty="0">
                    <a:solidFill>
                      <a:srgbClr val="5B8FC3"/>
                    </a:solidFill>
                    <a:latin typeface="Calibri" panose="020F0502020204030204" pitchFamily="34" charset="0"/>
                  </a:rPr>
                  <a:t>Others</a:t>
                </a:r>
              </a:p>
            </p:txBody>
          </p:sp>
          <p:sp>
            <p:nvSpPr>
              <p:cNvPr id="31" name="TextBox 50"/>
              <p:cNvSpPr txBox="1"/>
              <p:nvPr/>
            </p:nvSpPr>
            <p:spPr>
              <a:xfrm>
                <a:off x="6819085" y="2796129"/>
                <a:ext cx="490780" cy="483402"/>
              </a:xfrm>
              <a:prstGeom prst="rect">
                <a:avLst/>
              </a:prstGeom>
              <a:noFill/>
            </p:spPr>
            <p:txBody>
              <a:bodyPr wrap="none" lIns="182880" tIns="146304" rIns="182880" bIns="146304"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1200" dirty="0">
                    <a:solidFill>
                      <a:srgbClr val="5B8FC3"/>
                    </a:solidFill>
                    <a:cs typeface="Arial" panose="020B0604020202020204" pitchFamily="34" charset="0"/>
                  </a:rPr>
                  <a:t>Pig</a:t>
                </a:r>
              </a:p>
            </p:txBody>
          </p:sp>
          <p:sp>
            <p:nvSpPr>
              <p:cNvPr id="32" name="TextBox 51"/>
              <p:cNvSpPr txBox="1"/>
              <p:nvPr/>
            </p:nvSpPr>
            <p:spPr>
              <a:xfrm>
                <a:off x="7605984" y="2804122"/>
                <a:ext cx="580261" cy="483402"/>
              </a:xfrm>
              <a:prstGeom prst="rect">
                <a:avLst/>
              </a:prstGeom>
              <a:noFill/>
            </p:spPr>
            <p:txBody>
              <a:bodyPr wrap="none" lIns="182880" tIns="146304" rIns="182880" bIns="146304"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1200" dirty="0">
                    <a:solidFill>
                      <a:srgbClr val="5B8FC3"/>
                    </a:solidFill>
                    <a:cs typeface="Arial" panose="020B0604020202020204" pitchFamily="34" charset="0"/>
                  </a:rPr>
                  <a:t>Hive</a:t>
                </a:r>
              </a:p>
            </p:txBody>
          </p:sp>
          <p:sp>
            <p:nvSpPr>
              <p:cNvPr id="33" name="TextBox 52"/>
              <p:cNvSpPr txBox="1"/>
              <p:nvPr/>
            </p:nvSpPr>
            <p:spPr>
              <a:xfrm>
                <a:off x="8351317" y="2794683"/>
                <a:ext cx="820861" cy="483402"/>
              </a:xfrm>
              <a:prstGeom prst="rect">
                <a:avLst/>
              </a:prstGeom>
              <a:noFill/>
            </p:spPr>
            <p:txBody>
              <a:bodyPr wrap="none" lIns="182880" tIns="146304" rIns="182880" bIns="146304"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600"/>
                  </a:spcAft>
                </a:pPr>
                <a:r>
                  <a:rPr lang="en-US" sz="1200" dirty="0">
                    <a:solidFill>
                      <a:srgbClr val="5B8FC3"/>
                    </a:solidFill>
                    <a:cs typeface="Arial" panose="020B0604020202020204" pitchFamily="34" charset="0"/>
                  </a:rPr>
                  <a:t>Cascading</a:t>
                </a:r>
              </a:p>
            </p:txBody>
          </p:sp>
          <p:sp>
            <p:nvSpPr>
              <p:cNvPr id="34" name="TextBox 53"/>
              <p:cNvSpPr txBox="1"/>
              <p:nvPr/>
            </p:nvSpPr>
            <p:spPr>
              <a:xfrm>
                <a:off x="9197827" y="2859121"/>
                <a:ext cx="820861" cy="483402"/>
              </a:xfrm>
              <a:prstGeom prst="rect">
                <a:avLst/>
              </a:prstGeom>
              <a:noFill/>
            </p:spPr>
            <p:txBody>
              <a:bodyPr wrap="none" lIns="182880" tIns="146304" rIns="182880" bIns="146304"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50000"/>
                  </a:lnSpc>
                  <a:spcAft>
                    <a:spcPts val="600"/>
                  </a:spcAft>
                </a:pPr>
                <a:r>
                  <a:rPr lang="en-US" sz="1050" dirty="0" err="1">
                    <a:solidFill>
                      <a:srgbClr val="5B8FC3"/>
                    </a:solidFill>
                    <a:cs typeface="Arial" panose="020B0604020202020204" pitchFamily="34" charset="0"/>
                  </a:rPr>
                  <a:t>Hbase</a:t>
                </a:r>
                <a:r>
                  <a:rPr lang="en-US" sz="1050" dirty="0">
                    <a:solidFill>
                      <a:srgbClr val="5B8FC3"/>
                    </a:solidFill>
                    <a:cs typeface="Arial" panose="020B0604020202020204" pitchFamily="34" charset="0"/>
                  </a:rPr>
                  <a:t> </a:t>
                </a:r>
              </a:p>
              <a:p>
                <a:pPr algn="ctr">
                  <a:lnSpc>
                    <a:spcPct val="50000"/>
                  </a:lnSpc>
                  <a:spcAft>
                    <a:spcPts val="600"/>
                  </a:spcAft>
                </a:pPr>
                <a:r>
                  <a:rPr lang="en-US" sz="1050" dirty="0" err="1">
                    <a:solidFill>
                      <a:srgbClr val="5B8FC3"/>
                    </a:solidFill>
                    <a:cs typeface="Arial" panose="020B0604020202020204" pitchFamily="34" charset="0"/>
                  </a:rPr>
                  <a:t>Accumulo</a:t>
                </a:r>
                <a:endParaRPr lang="en-US" sz="1050" dirty="0">
                  <a:solidFill>
                    <a:srgbClr val="5B8FC3"/>
                  </a:solidFill>
                  <a:cs typeface="Arial" panose="020B0604020202020204" pitchFamily="34" charset="0"/>
                </a:endParaRPr>
              </a:p>
              <a:p>
                <a:pPr algn="ctr">
                  <a:lnSpc>
                    <a:spcPct val="50000"/>
                  </a:lnSpc>
                  <a:spcAft>
                    <a:spcPts val="600"/>
                  </a:spcAft>
                </a:pPr>
                <a:r>
                  <a:rPr lang="en-US" sz="1050" dirty="0">
                    <a:solidFill>
                      <a:srgbClr val="5B8FC3"/>
                    </a:solidFill>
                    <a:cs typeface="Arial" panose="020B0604020202020204" pitchFamily="34" charset="0"/>
                  </a:rPr>
                  <a:t>Storm, </a:t>
                </a:r>
                <a:r>
                  <a:rPr lang="en-US" sz="1050" dirty="0" err="1">
                    <a:solidFill>
                      <a:srgbClr val="5B8FC3"/>
                    </a:solidFill>
                    <a:cs typeface="Arial" panose="020B0604020202020204" pitchFamily="34" charset="0"/>
                  </a:rPr>
                  <a:t>Solr</a:t>
                </a:r>
                <a:endParaRPr lang="en-US" sz="1050" dirty="0">
                  <a:solidFill>
                    <a:srgbClr val="5B8FC3"/>
                  </a:solidFill>
                  <a:cs typeface="Arial" panose="020B0604020202020204" pitchFamily="34" charset="0"/>
                </a:endParaRPr>
              </a:p>
              <a:p>
                <a:pPr algn="ctr">
                  <a:lnSpc>
                    <a:spcPct val="50000"/>
                  </a:lnSpc>
                  <a:spcAft>
                    <a:spcPts val="600"/>
                  </a:spcAft>
                </a:pPr>
                <a:r>
                  <a:rPr lang="en-US" sz="1050" dirty="0">
                    <a:solidFill>
                      <a:srgbClr val="5B8FC3"/>
                    </a:solidFill>
                    <a:cs typeface="Arial" panose="020B0604020202020204" pitchFamily="34" charset="0"/>
                  </a:rPr>
                  <a:t>Spark</a:t>
                </a:r>
              </a:p>
            </p:txBody>
          </p:sp>
          <p:sp>
            <p:nvSpPr>
              <p:cNvPr id="35" name="TextBox 54"/>
              <p:cNvSpPr txBox="1"/>
              <p:nvPr/>
            </p:nvSpPr>
            <p:spPr>
              <a:xfrm>
                <a:off x="10071072" y="2862524"/>
                <a:ext cx="820861" cy="483402"/>
              </a:xfrm>
              <a:prstGeom prst="rect">
                <a:avLst/>
              </a:prstGeom>
              <a:noFill/>
            </p:spPr>
            <p:txBody>
              <a:bodyPr wrap="none" lIns="182880" tIns="146304" rIns="182880" bIns="146304"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600"/>
                  </a:spcAft>
                </a:pPr>
                <a:r>
                  <a:rPr lang="en-US" sz="1200" dirty="0">
                    <a:solidFill>
                      <a:srgbClr val="5B8FC3"/>
                    </a:solidFill>
                    <a:cs typeface="Arial" panose="020B0604020202020204" pitchFamily="34" charset="0"/>
                  </a:rPr>
                  <a:t>Engines</a:t>
                </a:r>
              </a:p>
            </p:txBody>
          </p:sp>
          <p:sp>
            <p:nvSpPr>
              <p:cNvPr id="36" name="TextBox 55"/>
              <p:cNvSpPr txBox="1"/>
              <p:nvPr/>
            </p:nvSpPr>
            <p:spPr>
              <a:xfrm>
                <a:off x="10956734" y="2862524"/>
                <a:ext cx="820861" cy="483402"/>
              </a:xfrm>
              <a:prstGeom prst="rect">
                <a:avLst/>
              </a:prstGeom>
              <a:noFill/>
            </p:spPr>
            <p:txBody>
              <a:bodyPr wrap="none" lIns="182880" tIns="146304" rIns="182880" bIns="146304"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600"/>
                  </a:spcAft>
                </a:pPr>
                <a:r>
                  <a:rPr lang="en-US" sz="1200" dirty="0">
                    <a:solidFill>
                      <a:srgbClr val="5B8FC3"/>
                    </a:solidFill>
                    <a:cs typeface="Arial" panose="020B0604020202020204" pitchFamily="34" charset="0"/>
                  </a:rPr>
                  <a:t>ISV</a:t>
                </a:r>
              </a:p>
              <a:p>
                <a:pPr algn="ctr">
                  <a:lnSpc>
                    <a:spcPct val="90000"/>
                  </a:lnSpc>
                  <a:spcAft>
                    <a:spcPts val="600"/>
                  </a:spcAft>
                </a:pPr>
                <a:r>
                  <a:rPr lang="en-US" sz="1200" dirty="0">
                    <a:solidFill>
                      <a:srgbClr val="5B8FC3"/>
                    </a:solidFill>
                    <a:cs typeface="Arial" panose="020B0604020202020204" pitchFamily="34" charset="0"/>
                  </a:rPr>
                  <a:t>Engines</a:t>
                </a:r>
              </a:p>
            </p:txBody>
          </p:sp>
          <p:sp>
            <p:nvSpPr>
              <p:cNvPr id="37" name="TextBox 56"/>
              <p:cNvSpPr txBox="1"/>
              <p:nvPr/>
            </p:nvSpPr>
            <p:spPr>
              <a:xfrm>
                <a:off x="7527801" y="3833878"/>
                <a:ext cx="3784572" cy="744108"/>
              </a:xfrm>
              <a:prstGeom prst="rect">
                <a:avLst/>
              </a:prstGeom>
              <a:noFill/>
            </p:spPr>
            <p:txBody>
              <a:bodyPr wrap="none" lIns="182880" tIns="146304" rIns="182880" bIns="146304"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50000"/>
                  </a:lnSpc>
                  <a:spcAft>
                    <a:spcPts val="600"/>
                  </a:spcAft>
                </a:pPr>
                <a:r>
                  <a:rPr lang="en-US" sz="2400" b="1" dirty="0">
                    <a:solidFill>
                      <a:schemeClr val="bg1"/>
                    </a:solidFill>
                  </a:rPr>
                  <a:t>YARN</a:t>
                </a:r>
                <a:r>
                  <a:rPr lang="en-US" dirty="0">
                    <a:solidFill>
                      <a:schemeClr val="bg1"/>
                    </a:solidFill>
                  </a:rPr>
                  <a:t>:</a:t>
                </a:r>
                <a:r>
                  <a:rPr lang="en-US" dirty="0">
                    <a:solidFill>
                      <a:schemeClr val="tx1">
                        <a:lumMod val="85000"/>
                        <a:lumOff val="15000"/>
                      </a:schemeClr>
                    </a:solidFill>
                  </a:rPr>
                  <a:t> </a:t>
                </a:r>
                <a:r>
                  <a:rPr lang="en-US" b="1" dirty="0">
                    <a:solidFill>
                      <a:schemeClr val="bg1"/>
                    </a:solidFill>
                  </a:rPr>
                  <a:t>Data Operation System</a:t>
                </a:r>
              </a:p>
              <a:p>
                <a:pPr algn="ctr">
                  <a:lnSpc>
                    <a:spcPct val="50000"/>
                  </a:lnSpc>
                  <a:spcAft>
                    <a:spcPts val="600"/>
                  </a:spcAft>
                </a:pPr>
                <a:r>
                  <a:rPr lang="en-US" sz="1600" dirty="0">
                    <a:solidFill>
                      <a:schemeClr val="bg1"/>
                    </a:solidFill>
                  </a:rPr>
                  <a:t>(Cluster Resource Management)</a:t>
                </a:r>
              </a:p>
            </p:txBody>
          </p:sp>
        </p:grpSp>
        <p:sp>
          <p:nvSpPr>
            <p:cNvPr id="9" name="Rectangle 8"/>
            <p:cNvSpPr/>
            <p:nvPr/>
          </p:nvSpPr>
          <p:spPr bwMode="auto">
            <a:xfrm>
              <a:off x="6758747" y="4435685"/>
              <a:ext cx="5018847" cy="1179493"/>
            </a:xfrm>
            <a:prstGeom prst="rect">
              <a:avLst/>
            </a:prstGeom>
            <a:solidFill>
              <a:schemeClr val="bg1"/>
            </a:solidFill>
            <a:ln w="19050">
              <a:solidFill>
                <a:srgbClr val="729FC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0" name="TextBox 9"/>
            <p:cNvSpPr txBox="1"/>
            <p:nvPr/>
          </p:nvSpPr>
          <p:spPr>
            <a:xfrm>
              <a:off x="8898308" y="4535630"/>
              <a:ext cx="961053" cy="914400"/>
            </a:xfrm>
            <a:prstGeom prst="rect">
              <a:avLst/>
            </a:prstGeom>
            <a:noFill/>
          </p:spPr>
          <p:txBody>
            <a:bodyPr wrap="none" lIns="182880" tIns="146304" rIns="182880" bIns="146304" rtlCol="0">
              <a:noAutofit/>
            </a:bodyPr>
            <a:lstStyle/>
            <a:p>
              <a:pPr>
                <a:lnSpc>
                  <a:spcPct val="90000"/>
                </a:lnSpc>
                <a:spcAft>
                  <a:spcPts val="600"/>
                </a:spcAft>
              </a:pPr>
              <a:r>
                <a:rPr lang="en-US" b="1" dirty="0">
                  <a:solidFill>
                    <a:srgbClr val="538AC0"/>
                  </a:solidFill>
                </a:rPr>
                <a:t>HDFS</a:t>
              </a:r>
            </a:p>
            <a:p>
              <a:pPr algn="ctr">
                <a:lnSpc>
                  <a:spcPct val="90000"/>
                </a:lnSpc>
                <a:spcAft>
                  <a:spcPts val="600"/>
                </a:spcAft>
              </a:pPr>
              <a:r>
                <a:rPr lang="en-US" sz="1600" dirty="0">
                  <a:solidFill>
                    <a:srgbClr val="538AC0"/>
                  </a:solidFill>
                </a:rPr>
                <a:t>(Hadoop Distributed File System)</a:t>
              </a:r>
            </a:p>
          </p:txBody>
        </p:sp>
      </p:grpSp>
    </p:spTree>
    <p:extLst>
      <p:ext uri="{BB962C8B-B14F-4D97-AF65-F5344CB8AC3E}">
        <p14:creationId xmlns:p14="http://schemas.microsoft.com/office/powerpoint/2010/main" val="2632530094"/>
      </p:ext>
    </p:extLst>
  </p:cSld>
  <p:clrMapOvr>
    <a:masterClrMapping/>
  </p:clrMapOvr>
  <p:transition spd="med">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39" y="612983"/>
            <a:ext cx="11653523" cy="927940"/>
          </a:xfrm>
        </p:spPr>
        <p:txBody>
          <a:bodyPr/>
          <a:lstStyle/>
          <a:p>
            <a:r>
              <a:rPr lang="en-US" dirty="0"/>
              <a:t>Apache PIG: Components</a:t>
            </a:r>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46</a:t>
            </a:fld>
            <a:endParaRPr lang="en-US" dirty="0"/>
          </a:p>
        </p:txBody>
      </p:sp>
      <p:sp>
        <p:nvSpPr>
          <p:cNvPr id="17" name="TextBox 16"/>
          <p:cNvSpPr txBox="1"/>
          <p:nvPr/>
        </p:nvSpPr>
        <p:spPr>
          <a:xfrm>
            <a:off x="362179" y="1506988"/>
            <a:ext cx="6540247" cy="3976789"/>
          </a:xfrm>
          <a:prstGeom prst="rect">
            <a:avLst/>
          </a:prstGeom>
          <a:noFill/>
        </p:spPr>
        <p:txBody>
          <a:bodyPr wrap="square" lIns="182880" tIns="146304" rIns="182880" bIns="146304" rtlCol="0">
            <a:noAutofit/>
          </a:bodyPr>
          <a:lstStyle/>
          <a:p>
            <a:pPr marL="342900" indent="-342900">
              <a:lnSpc>
                <a:spcPct val="90000"/>
              </a:lnSpc>
              <a:spcAft>
                <a:spcPts val="600"/>
              </a:spcAft>
              <a:buClr>
                <a:schemeClr val="accent3"/>
              </a:buClr>
              <a:buSzPct val="75000"/>
              <a:buFont typeface="Wingdings" panose="05000000000000000000" pitchFamily="2" charset="2"/>
              <a:buChar char="v"/>
            </a:pPr>
            <a:r>
              <a:rPr lang="en-US" sz="2000" dirty="0">
                <a:solidFill>
                  <a:schemeClr val="tx1">
                    <a:lumMod val="65000"/>
                    <a:lumOff val="35000"/>
                  </a:schemeClr>
                </a:solidFill>
              </a:rPr>
              <a:t>Pig Latin</a:t>
            </a:r>
          </a:p>
          <a:p>
            <a:pPr marL="742950" lvl="1" indent="-285750">
              <a:lnSpc>
                <a:spcPct val="90000"/>
              </a:lnSpc>
              <a:spcAft>
                <a:spcPts val="600"/>
              </a:spcAft>
              <a:buFont typeface="Arial" panose="020B0604020202020204" pitchFamily="34" charset="0"/>
              <a:buChar char="•"/>
            </a:pPr>
            <a:r>
              <a:rPr lang="en-US" dirty="0">
                <a:solidFill>
                  <a:schemeClr val="tx1">
                    <a:lumMod val="65000"/>
                    <a:lumOff val="35000"/>
                  </a:schemeClr>
                </a:solidFill>
              </a:rPr>
              <a:t>Command based language</a:t>
            </a:r>
          </a:p>
          <a:p>
            <a:pPr marL="742950" lvl="1" indent="-285750">
              <a:lnSpc>
                <a:spcPct val="90000"/>
              </a:lnSpc>
              <a:spcAft>
                <a:spcPts val="600"/>
              </a:spcAft>
              <a:buFont typeface="Arial" panose="020B0604020202020204" pitchFamily="34" charset="0"/>
              <a:buChar char="•"/>
            </a:pPr>
            <a:r>
              <a:rPr lang="en-US" dirty="0">
                <a:solidFill>
                  <a:schemeClr val="tx1">
                    <a:lumMod val="65000"/>
                    <a:lumOff val="35000"/>
                  </a:schemeClr>
                </a:solidFill>
              </a:rPr>
              <a:t>Designed specifically for data transformation and flow expression</a:t>
            </a:r>
          </a:p>
          <a:p>
            <a:pPr marL="342900" indent="-342900">
              <a:lnSpc>
                <a:spcPct val="90000"/>
              </a:lnSpc>
              <a:spcBef>
                <a:spcPts val="600"/>
              </a:spcBef>
              <a:spcAft>
                <a:spcPts val="600"/>
              </a:spcAft>
              <a:buClr>
                <a:schemeClr val="accent3"/>
              </a:buClr>
              <a:buSzPct val="75000"/>
              <a:buFont typeface="Wingdings" panose="05000000000000000000" pitchFamily="2" charset="2"/>
              <a:buChar char="v"/>
            </a:pPr>
            <a:r>
              <a:rPr lang="en-US" sz="2000" dirty="0">
                <a:solidFill>
                  <a:schemeClr val="tx1">
                    <a:lumMod val="65000"/>
                    <a:lumOff val="35000"/>
                  </a:schemeClr>
                </a:solidFill>
              </a:rPr>
              <a:t>Execution Environment</a:t>
            </a:r>
          </a:p>
          <a:p>
            <a:pPr marL="742950" lvl="1" indent="-285750">
              <a:lnSpc>
                <a:spcPct val="90000"/>
              </a:lnSpc>
              <a:spcAft>
                <a:spcPts val="600"/>
              </a:spcAft>
              <a:buFont typeface="Arial" panose="020B0604020202020204" pitchFamily="34" charset="0"/>
              <a:buChar char="•"/>
            </a:pPr>
            <a:r>
              <a:rPr lang="en-US" dirty="0">
                <a:solidFill>
                  <a:schemeClr val="tx1">
                    <a:lumMod val="65000"/>
                    <a:lumOff val="35000"/>
                  </a:schemeClr>
                </a:solidFill>
              </a:rPr>
              <a:t>The engine in which Pig Latin commands are executed</a:t>
            </a:r>
          </a:p>
          <a:p>
            <a:pPr marL="742950" lvl="1" indent="-285750">
              <a:lnSpc>
                <a:spcPct val="90000"/>
              </a:lnSpc>
              <a:spcAft>
                <a:spcPts val="600"/>
              </a:spcAft>
              <a:buFont typeface="Arial" panose="020B0604020202020204" pitchFamily="34" charset="0"/>
              <a:buChar char="•"/>
            </a:pPr>
            <a:r>
              <a:rPr lang="en-US" dirty="0">
                <a:solidFill>
                  <a:schemeClr val="tx1">
                    <a:lumMod val="65000"/>
                    <a:lumOff val="35000"/>
                  </a:schemeClr>
                </a:solidFill>
              </a:rPr>
              <a:t>Supports Local and Hadoop modes</a:t>
            </a:r>
          </a:p>
          <a:p>
            <a:pPr marL="342900" indent="-342900">
              <a:lnSpc>
                <a:spcPct val="90000"/>
              </a:lnSpc>
              <a:spcBef>
                <a:spcPts val="600"/>
              </a:spcBef>
              <a:spcAft>
                <a:spcPts val="600"/>
              </a:spcAft>
              <a:buClr>
                <a:schemeClr val="accent3"/>
              </a:buClr>
              <a:buSzPct val="75000"/>
              <a:buFont typeface="Wingdings" panose="05000000000000000000" pitchFamily="2" charset="2"/>
              <a:buChar char="v"/>
            </a:pPr>
            <a:r>
              <a:rPr lang="en-US" sz="2000" dirty="0">
                <a:solidFill>
                  <a:schemeClr val="tx1">
                    <a:lumMod val="65000"/>
                    <a:lumOff val="35000"/>
                  </a:schemeClr>
                </a:solidFill>
              </a:rPr>
              <a:t>Pig Compiler</a:t>
            </a:r>
          </a:p>
          <a:p>
            <a:pPr marL="742950" lvl="1" indent="-285750">
              <a:lnSpc>
                <a:spcPct val="90000"/>
              </a:lnSpc>
              <a:spcAft>
                <a:spcPts val="600"/>
              </a:spcAft>
              <a:buFont typeface="Arial" panose="020B0604020202020204" pitchFamily="34" charset="0"/>
              <a:buChar char="•"/>
            </a:pPr>
            <a:r>
              <a:rPr lang="en-US" dirty="0">
                <a:solidFill>
                  <a:schemeClr val="tx1">
                    <a:lumMod val="65000"/>
                    <a:lumOff val="35000"/>
                  </a:schemeClr>
                </a:solidFill>
              </a:rPr>
              <a:t>Converts Pig Latin to optimized MR or Tez program</a:t>
            </a:r>
          </a:p>
        </p:txBody>
      </p:sp>
      <p:grpSp>
        <p:nvGrpSpPr>
          <p:cNvPr id="31" name="Group 30"/>
          <p:cNvGrpSpPr/>
          <p:nvPr/>
        </p:nvGrpSpPr>
        <p:grpSpPr>
          <a:xfrm>
            <a:off x="7808976" y="1243794"/>
            <a:ext cx="3558189" cy="5327808"/>
            <a:chOff x="7808976" y="1243794"/>
            <a:chExt cx="3558189" cy="5327808"/>
          </a:xfrm>
        </p:grpSpPr>
        <p:sp>
          <p:nvSpPr>
            <p:cNvPr id="16" name="Rectangle 15"/>
            <p:cNvSpPr/>
            <p:nvPr/>
          </p:nvSpPr>
          <p:spPr bwMode="auto">
            <a:xfrm>
              <a:off x="7808976" y="1243794"/>
              <a:ext cx="3558189" cy="5327808"/>
            </a:xfrm>
            <a:prstGeom prst="rect">
              <a:avLst/>
            </a:prstGeom>
            <a:noFill/>
            <a:ln>
              <a:solidFill>
                <a:schemeClr val="tx2">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a:solidFill>
                  <a:schemeClr val="bg1"/>
                </a:solidFill>
                <a:ea typeface="Segoe UI" pitchFamily="34" charset="0"/>
                <a:cs typeface="Segoe UI" pitchFamily="34" charset="0"/>
              </a:endParaRPr>
            </a:p>
          </p:txBody>
        </p:sp>
        <p:sp>
          <p:nvSpPr>
            <p:cNvPr id="5" name="Rectangle 4"/>
            <p:cNvSpPr/>
            <p:nvPr/>
          </p:nvSpPr>
          <p:spPr bwMode="auto">
            <a:xfrm>
              <a:off x="7982711" y="4135385"/>
              <a:ext cx="1604773" cy="421084"/>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solidFill>
                    <a:schemeClr val="bg1"/>
                  </a:solidFill>
                  <a:ea typeface="Segoe UI" pitchFamily="34" charset="0"/>
                  <a:cs typeface="Segoe UI" pitchFamily="34" charset="0"/>
                </a:rPr>
                <a:t>Tez</a:t>
              </a:r>
            </a:p>
          </p:txBody>
        </p:sp>
        <p:sp>
          <p:nvSpPr>
            <p:cNvPr id="6" name="Rectangle 5"/>
            <p:cNvSpPr/>
            <p:nvPr/>
          </p:nvSpPr>
          <p:spPr bwMode="auto">
            <a:xfrm>
              <a:off x="9596628" y="4135385"/>
              <a:ext cx="1613916" cy="421084"/>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solidFill>
                    <a:schemeClr val="bg1"/>
                  </a:solidFill>
                  <a:ea typeface="Segoe UI" pitchFamily="34" charset="0"/>
                  <a:cs typeface="Segoe UI" pitchFamily="34" charset="0"/>
                </a:rPr>
                <a:t>MR</a:t>
              </a:r>
            </a:p>
          </p:txBody>
        </p:sp>
        <p:sp>
          <p:nvSpPr>
            <p:cNvPr id="7" name="Freeform 6"/>
            <p:cNvSpPr/>
            <p:nvPr/>
          </p:nvSpPr>
          <p:spPr bwMode="auto">
            <a:xfrm>
              <a:off x="9124649" y="5283484"/>
              <a:ext cx="943959" cy="1139810"/>
            </a:xfrm>
            <a:custGeom>
              <a:avLst/>
              <a:gdLst>
                <a:gd name="connsiteX0" fmla="*/ 460324 w 914400"/>
                <a:gd name="connsiteY0" fmla="*/ 48397 h 1216152"/>
                <a:gd name="connsiteX1" fmla="*/ 76152 w 914400"/>
                <a:gd name="connsiteY1" fmla="*/ 179523 h 1216152"/>
                <a:gd name="connsiteX2" fmla="*/ 460324 w 914400"/>
                <a:gd name="connsiteY2" fmla="*/ 310649 h 1216152"/>
                <a:gd name="connsiteX3" fmla="*/ 844496 w 914400"/>
                <a:gd name="connsiteY3" fmla="*/ 179523 h 1216152"/>
                <a:gd name="connsiteX4" fmla="*/ 460324 w 914400"/>
                <a:gd name="connsiteY4" fmla="*/ 48397 h 1216152"/>
                <a:gd name="connsiteX5" fmla="*/ 457200 w 914400"/>
                <a:gd name="connsiteY5" fmla="*/ 0 h 1216152"/>
                <a:gd name="connsiteX6" fmla="*/ 914400 w 914400"/>
                <a:gd name="connsiteY6" fmla="*/ 178121 h 1216152"/>
                <a:gd name="connsiteX7" fmla="*/ 914400 w 914400"/>
                <a:gd name="connsiteY7" fmla="*/ 1038031 h 1216152"/>
                <a:gd name="connsiteX8" fmla="*/ 457200 w 914400"/>
                <a:gd name="connsiteY8" fmla="*/ 1216152 h 1216152"/>
                <a:gd name="connsiteX9" fmla="*/ 279237 w 914400"/>
                <a:gd name="connsiteY9" fmla="*/ 1202155 h 1216152"/>
                <a:gd name="connsiteX10" fmla="*/ 201575 w 914400"/>
                <a:gd name="connsiteY10" fmla="*/ 1185732 h 1216152"/>
                <a:gd name="connsiteX11" fmla="*/ 0 w 914400"/>
                <a:gd name="connsiteY11" fmla="*/ 1038031 h 1216152"/>
                <a:gd name="connsiteX12" fmla="*/ 0 w 914400"/>
                <a:gd name="connsiteY12" fmla="*/ 178121 h 1216152"/>
                <a:gd name="connsiteX13" fmla="*/ 0 w 914400"/>
                <a:gd name="connsiteY13" fmla="*/ 178121 h 1216152"/>
                <a:gd name="connsiteX14" fmla="*/ 457200 w 914400"/>
                <a:gd name="connsiteY14" fmla="*/ 0 h 1216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14400" h="1216152">
                  <a:moveTo>
                    <a:pt x="460324" y="48397"/>
                  </a:moveTo>
                  <a:cubicBezTo>
                    <a:pt x="248152" y="48397"/>
                    <a:pt x="76152" y="107104"/>
                    <a:pt x="76152" y="179523"/>
                  </a:cubicBezTo>
                  <a:cubicBezTo>
                    <a:pt x="76152" y="251942"/>
                    <a:pt x="248152" y="310649"/>
                    <a:pt x="460324" y="310649"/>
                  </a:cubicBezTo>
                  <a:cubicBezTo>
                    <a:pt x="672496" y="310649"/>
                    <a:pt x="844496" y="251942"/>
                    <a:pt x="844496" y="179523"/>
                  </a:cubicBezTo>
                  <a:cubicBezTo>
                    <a:pt x="844496" y="107104"/>
                    <a:pt x="672496" y="48397"/>
                    <a:pt x="460324" y="48397"/>
                  </a:cubicBezTo>
                  <a:close/>
                  <a:moveTo>
                    <a:pt x="457200" y="0"/>
                  </a:moveTo>
                  <a:cubicBezTo>
                    <a:pt x="709705" y="0"/>
                    <a:pt x="914400" y="79747"/>
                    <a:pt x="914400" y="178121"/>
                  </a:cubicBezTo>
                  <a:lnTo>
                    <a:pt x="914400" y="1038031"/>
                  </a:lnTo>
                  <a:cubicBezTo>
                    <a:pt x="914400" y="1136405"/>
                    <a:pt x="709705" y="1216152"/>
                    <a:pt x="457200" y="1216152"/>
                  </a:cubicBezTo>
                  <a:cubicBezTo>
                    <a:pt x="394074" y="1216152"/>
                    <a:pt x="333936" y="1211168"/>
                    <a:pt x="279237" y="1202155"/>
                  </a:cubicBezTo>
                  <a:cubicBezTo>
                    <a:pt x="251888" y="1197648"/>
                    <a:pt x="225898" y="1192134"/>
                    <a:pt x="201575" y="1185732"/>
                  </a:cubicBezTo>
                  <a:cubicBezTo>
                    <a:pt x="79959" y="1153723"/>
                    <a:pt x="0" y="1099515"/>
                    <a:pt x="0" y="1038031"/>
                  </a:cubicBezTo>
                  <a:lnTo>
                    <a:pt x="0" y="178121"/>
                  </a:lnTo>
                  <a:lnTo>
                    <a:pt x="0" y="178121"/>
                  </a:lnTo>
                  <a:cubicBezTo>
                    <a:pt x="0" y="79747"/>
                    <a:pt x="204695" y="0"/>
                    <a:pt x="457200"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IN" sz="3137" dirty="0">
                <a:solidFill>
                  <a:srgbClr val="FFFFFF"/>
                </a:solidFill>
                <a:ea typeface="Segoe UI" pitchFamily="34" charset="0"/>
                <a:cs typeface="Segoe UI Semibold" panose="020B0702040204020203" pitchFamily="34" charset="0"/>
              </a:endParaRPr>
            </a:p>
          </p:txBody>
        </p:sp>
        <p:sp>
          <p:nvSpPr>
            <p:cNvPr id="8" name="Rectangle 7"/>
            <p:cNvSpPr/>
            <p:nvPr/>
          </p:nvSpPr>
          <p:spPr bwMode="auto">
            <a:xfrm>
              <a:off x="7982712" y="4576332"/>
              <a:ext cx="3227832" cy="50335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solidFill>
                    <a:schemeClr val="bg1"/>
                  </a:solidFill>
                  <a:ea typeface="Segoe UI" pitchFamily="34" charset="0"/>
                  <a:cs typeface="Segoe UI" pitchFamily="34" charset="0"/>
                </a:rPr>
                <a:t>Yarn</a:t>
              </a:r>
            </a:p>
          </p:txBody>
        </p:sp>
        <p:sp>
          <p:nvSpPr>
            <p:cNvPr id="9" name="TextBox 8"/>
            <p:cNvSpPr txBox="1"/>
            <p:nvPr/>
          </p:nvSpPr>
          <p:spPr>
            <a:xfrm>
              <a:off x="9154208" y="5638921"/>
              <a:ext cx="914400" cy="484632"/>
            </a:xfrm>
            <a:prstGeom prst="rect">
              <a:avLst/>
            </a:prstGeom>
            <a:noFill/>
          </p:spPr>
          <p:txBody>
            <a:bodyPr wrap="none" lIns="182880" tIns="146304" rIns="182880" bIns="146304" rtlCol="0">
              <a:noAutofit/>
            </a:bodyPr>
            <a:lstStyle/>
            <a:p>
              <a:pPr>
                <a:lnSpc>
                  <a:spcPct val="90000"/>
                </a:lnSpc>
                <a:spcAft>
                  <a:spcPts val="600"/>
                </a:spcAft>
              </a:pPr>
              <a:r>
                <a:rPr lang="en-US" dirty="0">
                  <a:solidFill>
                    <a:schemeClr val="bg1"/>
                  </a:solidFill>
                </a:rPr>
                <a:t>HDFS</a:t>
              </a:r>
            </a:p>
          </p:txBody>
        </p:sp>
        <p:cxnSp>
          <p:nvCxnSpPr>
            <p:cNvPr id="11" name="Elbow Connector 10"/>
            <p:cNvCxnSpPr/>
            <p:nvPr/>
          </p:nvCxnSpPr>
          <p:spPr>
            <a:xfrm rot="5400000">
              <a:off x="8855964" y="3335430"/>
              <a:ext cx="640080" cy="822960"/>
            </a:xfrm>
            <a:prstGeom prst="bentConnector3">
              <a:avLst/>
            </a:prstGeom>
            <a:ln w="28575">
              <a:headEnd type="none"/>
              <a:tailEnd type="triangle"/>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12" name="Elbow Connector 11"/>
            <p:cNvCxnSpPr/>
            <p:nvPr/>
          </p:nvCxnSpPr>
          <p:spPr>
            <a:xfrm rot="16200000" flipH="1">
              <a:off x="9684560" y="3332769"/>
              <a:ext cx="640080" cy="822960"/>
            </a:xfrm>
            <a:prstGeom prst="bentConnector3">
              <a:avLst/>
            </a:prstGeom>
            <a:ln w="28575">
              <a:headEnd type="none"/>
              <a:tailEnd type="triangle"/>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a:stCxn id="8" idx="2"/>
            </p:cNvCxnSpPr>
            <p:nvPr/>
          </p:nvCxnSpPr>
          <p:spPr>
            <a:xfrm>
              <a:off x="9596628" y="5079686"/>
              <a:ext cx="0" cy="365760"/>
            </a:xfrm>
            <a:prstGeom prst="straightConnector1">
              <a:avLst/>
            </a:prstGeom>
            <a:ln w="38100">
              <a:headEnd type="none"/>
              <a:tailEnd type="triangle"/>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sp>
          <p:nvSpPr>
            <p:cNvPr id="20" name="Rectangle 19"/>
            <p:cNvSpPr/>
            <p:nvPr/>
          </p:nvSpPr>
          <p:spPr bwMode="auto">
            <a:xfrm>
              <a:off x="8430515" y="2046345"/>
              <a:ext cx="2340264" cy="1368059"/>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a:solidFill>
                  <a:schemeClr val="bg1"/>
                </a:solidFill>
                <a:ea typeface="Segoe UI" pitchFamily="34" charset="0"/>
                <a:cs typeface="Segoe UI" pitchFamily="34" charset="0"/>
              </a:endParaRPr>
            </a:p>
          </p:txBody>
        </p:sp>
        <p:cxnSp>
          <p:nvCxnSpPr>
            <p:cNvPr id="22" name="Straight Arrow Connector 21"/>
            <p:cNvCxnSpPr/>
            <p:nvPr/>
          </p:nvCxnSpPr>
          <p:spPr>
            <a:xfrm>
              <a:off x="9600647" y="2387425"/>
              <a:ext cx="0" cy="196277"/>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8904215" y="2075237"/>
              <a:ext cx="1392865" cy="288264"/>
            </a:xfrm>
            <a:prstGeom prst="rect">
              <a:avLst/>
            </a:prstGeom>
            <a:solidFill>
              <a:srgbClr val="002060"/>
            </a:solidFill>
          </p:spPr>
          <p:txBody>
            <a:bodyPr wrap="none" lIns="0" tIns="0" rIns="0" bIns="0" rtlCol="0" anchor="ctr">
              <a:noAutofit/>
            </a:bodyPr>
            <a:lstStyle/>
            <a:p>
              <a:pPr algn="ctr">
                <a:lnSpc>
                  <a:spcPct val="90000"/>
                </a:lnSpc>
                <a:spcAft>
                  <a:spcPts val="600"/>
                </a:spcAft>
              </a:pPr>
              <a:r>
                <a:rPr lang="en-US" dirty="0">
                  <a:solidFill>
                    <a:schemeClr val="bg1"/>
                  </a:solidFill>
                </a:rPr>
                <a:t>Pig Latin</a:t>
              </a:r>
            </a:p>
          </p:txBody>
        </p:sp>
        <p:sp>
          <p:nvSpPr>
            <p:cNvPr id="25" name="TextBox 24"/>
            <p:cNvSpPr txBox="1"/>
            <p:nvPr/>
          </p:nvSpPr>
          <p:spPr>
            <a:xfrm>
              <a:off x="8904215" y="2599778"/>
              <a:ext cx="1392865" cy="288264"/>
            </a:xfrm>
            <a:prstGeom prst="rect">
              <a:avLst/>
            </a:prstGeom>
            <a:solidFill>
              <a:srgbClr val="002060"/>
            </a:solidFill>
          </p:spPr>
          <p:txBody>
            <a:bodyPr wrap="none" lIns="0" tIns="0" rIns="0" bIns="0" rtlCol="0" anchor="t">
              <a:noAutofit/>
            </a:bodyPr>
            <a:lstStyle/>
            <a:p>
              <a:pPr algn="ctr">
                <a:lnSpc>
                  <a:spcPct val="90000"/>
                </a:lnSpc>
                <a:spcAft>
                  <a:spcPts val="600"/>
                </a:spcAft>
              </a:pPr>
              <a:r>
                <a:rPr lang="en-US" dirty="0">
                  <a:solidFill>
                    <a:schemeClr val="bg1"/>
                  </a:solidFill>
                </a:rPr>
                <a:t>Compiler</a:t>
              </a:r>
            </a:p>
          </p:txBody>
        </p:sp>
        <p:sp>
          <p:nvSpPr>
            <p:cNvPr id="26" name="TextBox 25"/>
            <p:cNvSpPr txBox="1"/>
            <p:nvPr/>
          </p:nvSpPr>
          <p:spPr>
            <a:xfrm>
              <a:off x="8430515" y="3113688"/>
              <a:ext cx="2340264" cy="288264"/>
            </a:xfrm>
            <a:prstGeom prst="rect">
              <a:avLst/>
            </a:prstGeom>
            <a:solidFill>
              <a:srgbClr val="002060"/>
            </a:solidFill>
          </p:spPr>
          <p:txBody>
            <a:bodyPr wrap="none" lIns="0" tIns="0" rIns="0" bIns="0" rtlCol="0" anchor="t">
              <a:noAutofit/>
            </a:bodyPr>
            <a:lstStyle/>
            <a:p>
              <a:pPr algn="ctr">
                <a:lnSpc>
                  <a:spcPct val="90000"/>
                </a:lnSpc>
                <a:spcAft>
                  <a:spcPts val="600"/>
                </a:spcAft>
              </a:pPr>
              <a:r>
                <a:rPr lang="en-US" dirty="0">
                  <a:solidFill>
                    <a:schemeClr val="bg1"/>
                  </a:solidFill>
                </a:rPr>
                <a:t>Execution Engine</a:t>
              </a:r>
            </a:p>
          </p:txBody>
        </p:sp>
        <p:cxnSp>
          <p:nvCxnSpPr>
            <p:cNvPr id="27" name="Straight Arrow Connector 26"/>
            <p:cNvCxnSpPr/>
            <p:nvPr/>
          </p:nvCxnSpPr>
          <p:spPr>
            <a:xfrm>
              <a:off x="9600647" y="2890706"/>
              <a:ext cx="0" cy="196277"/>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28" name="Picture 4" descr="http://www.thebhwgroup.com/blog/wp-content/uploads/2014/10/pig-logo.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443390" y="2363660"/>
              <a:ext cx="471519" cy="709052"/>
            </a:xfrm>
            <a:prstGeom prst="rect">
              <a:avLst/>
            </a:prstGeom>
            <a:noFill/>
            <a:extLst>
              <a:ext uri="{909E8E84-426E-40DD-AFC4-6F175D3DCCD1}">
                <a14:hiddenFill xmlns:a14="http://schemas.microsoft.com/office/drawing/2010/main">
                  <a:solidFill>
                    <a:srgbClr val="FFFFFF"/>
                  </a:solidFill>
                </a14:hiddenFill>
              </a:ext>
            </a:extLst>
          </p:spPr>
        </p:pic>
        <p:sp>
          <p:nvSpPr>
            <p:cNvPr id="29" name="Rounded Rectangle 28"/>
            <p:cNvSpPr/>
            <p:nvPr/>
          </p:nvSpPr>
          <p:spPr bwMode="auto">
            <a:xfrm>
              <a:off x="8430515" y="1520775"/>
              <a:ext cx="1156969" cy="419568"/>
            </a:xfrm>
            <a:prstGeom prst="roundRect">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b="1" dirty="0">
                  <a:solidFill>
                    <a:schemeClr val="bg1"/>
                  </a:solidFill>
                  <a:latin typeface="+mj-lt"/>
                  <a:ea typeface="Segoe UI" pitchFamily="34" charset="0"/>
                  <a:cs typeface="Segoe UI" pitchFamily="34" charset="0"/>
                </a:rPr>
                <a:t>Pig Grunt</a:t>
              </a:r>
            </a:p>
          </p:txBody>
        </p:sp>
        <p:sp>
          <p:nvSpPr>
            <p:cNvPr id="30" name="Rounded Rectangle 29"/>
            <p:cNvSpPr/>
            <p:nvPr/>
          </p:nvSpPr>
          <p:spPr bwMode="auto">
            <a:xfrm>
              <a:off x="9611591" y="1516448"/>
              <a:ext cx="1156969" cy="419568"/>
            </a:xfrm>
            <a:prstGeom prst="roundRect">
              <a:avLst/>
            </a:prstGeom>
            <a:solidFill>
              <a:schemeClr val="tx2">
                <a:lumMod val="60000"/>
                <a:lumOff val="40000"/>
              </a:schemeClr>
            </a:solidFill>
            <a:ln>
              <a:solidFill>
                <a:schemeClr val="tx2">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b="1" dirty="0">
                  <a:solidFill>
                    <a:schemeClr val="bg1"/>
                  </a:solidFill>
                  <a:latin typeface="+mj-lt"/>
                  <a:ea typeface="Segoe UI" pitchFamily="34" charset="0"/>
                  <a:cs typeface="Segoe UI" pitchFamily="34" charset="0"/>
                </a:rPr>
                <a:t>Pig Server</a:t>
              </a:r>
            </a:p>
          </p:txBody>
        </p:sp>
      </p:grpSp>
    </p:spTree>
    <p:extLst>
      <p:ext uri="{BB962C8B-B14F-4D97-AF65-F5344CB8AC3E}">
        <p14:creationId xmlns:p14="http://schemas.microsoft.com/office/powerpoint/2010/main" val="3588973229"/>
      </p:ext>
    </p:extLst>
  </p:cSld>
  <p:clrMapOvr>
    <a:masterClrMapping/>
  </p:clrMapOvr>
  <p:transition spd="med">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ache Pig Latin: Types</a:t>
            </a:r>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47</a:t>
            </a:fld>
            <a:endParaRPr lang="en-US" dirty="0"/>
          </a:p>
        </p:txBody>
      </p:sp>
      <p:sp>
        <p:nvSpPr>
          <p:cNvPr id="4" name="Trapezoid 3"/>
          <p:cNvSpPr/>
          <p:nvPr/>
        </p:nvSpPr>
        <p:spPr bwMode="auto">
          <a:xfrm rot="16200000">
            <a:off x="880155" y="3024154"/>
            <a:ext cx="5078589" cy="1748590"/>
          </a:xfrm>
          <a:prstGeom prst="trapezoid">
            <a:avLst>
              <a:gd name="adj" fmla="val 128943"/>
            </a:avLst>
          </a:prstGeom>
          <a:no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5" name="TextBox 4"/>
          <p:cNvSpPr txBox="1"/>
          <p:nvPr/>
        </p:nvSpPr>
        <p:spPr>
          <a:xfrm>
            <a:off x="853259" y="3577406"/>
            <a:ext cx="1693797" cy="627864"/>
          </a:xfrm>
          <a:prstGeom prst="rect">
            <a:avLst/>
          </a:prstGeom>
          <a:solidFill>
            <a:schemeClr val="accent3"/>
          </a:solidFill>
        </p:spPr>
        <p:txBody>
          <a:bodyPr wrap="none" lIns="182880" tIns="146304" rIns="182880" bIns="146304" rtlCol="0">
            <a:spAutoFit/>
          </a:bodyPr>
          <a:lstStyle/>
          <a:p>
            <a:pPr>
              <a:lnSpc>
                <a:spcPct val="90000"/>
              </a:lnSpc>
              <a:spcAft>
                <a:spcPts val="600"/>
              </a:spcAft>
            </a:pPr>
            <a:r>
              <a:rPr lang="en-US" sz="2400" dirty="0">
                <a:solidFill>
                  <a:schemeClr val="bg1"/>
                </a:solidFill>
                <a:latin typeface="Segoe UI Semibold" panose="020B0702040204020203" pitchFamily="34" charset="0"/>
                <a:cs typeface="Segoe UI Semibold" panose="020B0702040204020203" pitchFamily="34" charset="0"/>
              </a:rPr>
              <a:t>Pig Types</a:t>
            </a:r>
          </a:p>
        </p:txBody>
      </p:sp>
      <p:cxnSp>
        <p:nvCxnSpPr>
          <p:cNvPr id="7" name="Straight Connector 6"/>
          <p:cNvCxnSpPr/>
          <p:nvPr/>
        </p:nvCxnSpPr>
        <p:spPr>
          <a:xfrm>
            <a:off x="4299943" y="1363578"/>
            <a:ext cx="6309360" cy="0"/>
          </a:xfrm>
          <a:prstGeom prst="line">
            <a:avLst/>
          </a:prstGeom>
          <a:ln w="38100">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4314116" y="6417605"/>
            <a:ext cx="6309360" cy="0"/>
          </a:xfrm>
          <a:prstGeom prst="line">
            <a:avLst/>
          </a:prstGeom>
          <a:ln w="38100">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6" name="Table 5"/>
          <p:cNvGraphicFramePr>
            <a:graphicFrameLocks noGrp="1"/>
          </p:cNvGraphicFramePr>
          <p:nvPr>
            <p:extLst>
              <p:ext uri="{D42A27DB-BD31-4B8C-83A1-F6EECF244321}">
                <p14:modId xmlns:p14="http://schemas.microsoft.com/office/powerpoint/2010/main" val="264586994"/>
              </p:ext>
            </p:extLst>
          </p:nvPr>
        </p:nvGraphicFramePr>
        <p:xfrm>
          <a:off x="4272479" y="1414129"/>
          <a:ext cx="6435490" cy="4947850"/>
        </p:xfrm>
        <a:graphic>
          <a:graphicData uri="http://schemas.openxmlformats.org/drawingml/2006/table">
            <a:tbl>
              <a:tblPr firstRow="1" bandRow="1">
                <a:tableStyleId>{2D5ABB26-0587-4C30-8999-92F81FD0307C}</a:tableStyleId>
              </a:tblPr>
              <a:tblGrid>
                <a:gridCol w="1644019">
                  <a:extLst>
                    <a:ext uri="{9D8B030D-6E8A-4147-A177-3AD203B41FA5}">
                      <a16:colId xmlns:a16="http://schemas.microsoft.com/office/drawing/2014/main" val="3238432148"/>
                    </a:ext>
                  </a:extLst>
                </a:gridCol>
                <a:gridCol w="4791471">
                  <a:extLst>
                    <a:ext uri="{9D8B030D-6E8A-4147-A177-3AD203B41FA5}">
                      <a16:colId xmlns:a16="http://schemas.microsoft.com/office/drawing/2014/main" val="3016191423"/>
                    </a:ext>
                  </a:extLst>
                </a:gridCol>
              </a:tblGrid>
              <a:tr h="494785">
                <a:tc>
                  <a:txBody>
                    <a:bodyPr/>
                    <a:lstStyle/>
                    <a:p>
                      <a:pPr marL="91440"/>
                      <a:r>
                        <a:rPr lang="en-US" dirty="0" err="1">
                          <a:solidFill>
                            <a:schemeClr val="tx1">
                              <a:lumMod val="65000"/>
                              <a:lumOff val="35000"/>
                            </a:schemeClr>
                          </a:solidFill>
                        </a:rPr>
                        <a:t>int</a:t>
                      </a:r>
                      <a:endParaRPr lang="en-US" dirty="0">
                        <a:solidFill>
                          <a:schemeClr val="tx1">
                            <a:lumMod val="65000"/>
                            <a:lumOff val="35000"/>
                          </a:schemeClr>
                        </a:solidFill>
                      </a:endParaRPr>
                    </a:p>
                  </a:txBody>
                  <a:tcPr anchor="ctr">
                    <a:solidFill>
                      <a:schemeClr val="bg1"/>
                    </a:solidFill>
                  </a:tcPr>
                </a:tc>
                <a:tc>
                  <a:txBody>
                    <a:bodyPr/>
                    <a:lstStyle/>
                    <a:p>
                      <a:r>
                        <a:rPr lang="en-US" dirty="0">
                          <a:solidFill>
                            <a:schemeClr val="tx1">
                              <a:lumMod val="65000"/>
                              <a:lumOff val="35000"/>
                            </a:schemeClr>
                          </a:solidFill>
                        </a:rPr>
                        <a:t>Signed 32-bit integer</a:t>
                      </a:r>
                    </a:p>
                  </a:txBody>
                  <a:tcPr anchor="ctr">
                    <a:solidFill>
                      <a:schemeClr val="bg1"/>
                    </a:solidFill>
                  </a:tcPr>
                </a:tc>
                <a:extLst>
                  <a:ext uri="{0D108BD9-81ED-4DB2-BD59-A6C34878D82A}">
                    <a16:rowId xmlns:a16="http://schemas.microsoft.com/office/drawing/2014/main" val="1089936145"/>
                  </a:ext>
                </a:extLst>
              </a:tr>
              <a:tr h="494785">
                <a:tc>
                  <a:txBody>
                    <a:bodyPr/>
                    <a:lstStyle/>
                    <a:p>
                      <a:pPr marL="91440"/>
                      <a:r>
                        <a:rPr lang="en-US" dirty="0">
                          <a:solidFill>
                            <a:schemeClr val="tx1">
                              <a:lumMod val="65000"/>
                              <a:lumOff val="35000"/>
                            </a:schemeClr>
                          </a:solidFill>
                        </a:rPr>
                        <a:t>long</a:t>
                      </a:r>
                    </a:p>
                  </a:txBody>
                  <a:tcPr anchor="ctr">
                    <a:solidFill>
                      <a:schemeClr val="bg1"/>
                    </a:solidFill>
                  </a:tcPr>
                </a:tc>
                <a:tc>
                  <a:txBody>
                    <a:bodyPr/>
                    <a:lstStyle/>
                    <a:p>
                      <a:r>
                        <a:rPr lang="en-US" dirty="0">
                          <a:solidFill>
                            <a:schemeClr val="tx1">
                              <a:lumMod val="65000"/>
                              <a:lumOff val="35000"/>
                            </a:schemeClr>
                          </a:solidFill>
                        </a:rPr>
                        <a:t>Signed 64-bit-integer</a:t>
                      </a:r>
                    </a:p>
                  </a:txBody>
                  <a:tcPr anchor="ctr">
                    <a:solidFill>
                      <a:schemeClr val="bg1"/>
                    </a:solidFill>
                  </a:tcPr>
                </a:tc>
                <a:extLst>
                  <a:ext uri="{0D108BD9-81ED-4DB2-BD59-A6C34878D82A}">
                    <a16:rowId xmlns:a16="http://schemas.microsoft.com/office/drawing/2014/main" val="4275685479"/>
                  </a:ext>
                </a:extLst>
              </a:tr>
              <a:tr h="494785">
                <a:tc>
                  <a:txBody>
                    <a:bodyPr/>
                    <a:lstStyle/>
                    <a:p>
                      <a:pPr marL="91440"/>
                      <a:r>
                        <a:rPr lang="en-US" dirty="0">
                          <a:solidFill>
                            <a:schemeClr val="tx1">
                              <a:lumMod val="65000"/>
                              <a:lumOff val="35000"/>
                            </a:schemeClr>
                          </a:solidFill>
                        </a:rPr>
                        <a:t>float</a:t>
                      </a:r>
                    </a:p>
                  </a:txBody>
                  <a:tcPr anchor="ctr">
                    <a:solidFill>
                      <a:schemeClr val="bg1"/>
                    </a:solidFill>
                  </a:tcPr>
                </a:tc>
                <a:tc>
                  <a:txBody>
                    <a:bodyPr/>
                    <a:lstStyle/>
                    <a:p>
                      <a:r>
                        <a:rPr lang="en-US" dirty="0">
                          <a:solidFill>
                            <a:schemeClr val="tx1">
                              <a:lumMod val="65000"/>
                              <a:lumOff val="35000"/>
                            </a:schemeClr>
                          </a:solidFill>
                        </a:rPr>
                        <a:t>32-bit floating point</a:t>
                      </a:r>
                    </a:p>
                  </a:txBody>
                  <a:tcPr anchor="ctr">
                    <a:solidFill>
                      <a:schemeClr val="bg1"/>
                    </a:solidFill>
                  </a:tcPr>
                </a:tc>
                <a:extLst>
                  <a:ext uri="{0D108BD9-81ED-4DB2-BD59-A6C34878D82A}">
                    <a16:rowId xmlns:a16="http://schemas.microsoft.com/office/drawing/2014/main" val="1409806772"/>
                  </a:ext>
                </a:extLst>
              </a:tr>
              <a:tr h="494785">
                <a:tc>
                  <a:txBody>
                    <a:bodyPr/>
                    <a:lstStyle/>
                    <a:p>
                      <a:pPr marL="91440"/>
                      <a:r>
                        <a:rPr lang="en-US" dirty="0">
                          <a:solidFill>
                            <a:schemeClr val="tx1">
                              <a:lumMod val="65000"/>
                              <a:lumOff val="35000"/>
                            </a:schemeClr>
                          </a:solidFill>
                        </a:rPr>
                        <a:t>double</a:t>
                      </a:r>
                    </a:p>
                  </a:txBody>
                  <a:tcPr anchor="ctr">
                    <a:solidFill>
                      <a:schemeClr val="bg1"/>
                    </a:solidFill>
                  </a:tcPr>
                </a:tc>
                <a:tc>
                  <a:txBody>
                    <a:bodyPr/>
                    <a:lstStyle/>
                    <a:p>
                      <a:r>
                        <a:rPr lang="en-US" dirty="0">
                          <a:solidFill>
                            <a:schemeClr val="tx1">
                              <a:lumMod val="65000"/>
                              <a:lumOff val="35000"/>
                            </a:schemeClr>
                          </a:solidFill>
                        </a:rPr>
                        <a:t>64-bit floating point</a:t>
                      </a:r>
                    </a:p>
                  </a:txBody>
                  <a:tcPr anchor="ctr">
                    <a:solidFill>
                      <a:schemeClr val="bg1"/>
                    </a:solidFill>
                  </a:tcPr>
                </a:tc>
                <a:extLst>
                  <a:ext uri="{0D108BD9-81ED-4DB2-BD59-A6C34878D82A}">
                    <a16:rowId xmlns:a16="http://schemas.microsoft.com/office/drawing/2014/main" val="791136535"/>
                  </a:ext>
                </a:extLst>
              </a:tr>
              <a:tr h="494785">
                <a:tc>
                  <a:txBody>
                    <a:bodyPr/>
                    <a:lstStyle/>
                    <a:p>
                      <a:pPr marL="91440"/>
                      <a:r>
                        <a:rPr lang="en-US" dirty="0" err="1">
                          <a:solidFill>
                            <a:schemeClr val="tx1">
                              <a:lumMod val="65000"/>
                              <a:lumOff val="35000"/>
                            </a:schemeClr>
                          </a:solidFill>
                        </a:rPr>
                        <a:t>chararray</a:t>
                      </a:r>
                      <a:endParaRPr lang="en-US" dirty="0">
                        <a:solidFill>
                          <a:schemeClr val="tx1">
                            <a:lumMod val="65000"/>
                            <a:lumOff val="35000"/>
                          </a:schemeClr>
                        </a:solidFill>
                      </a:endParaRPr>
                    </a:p>
                  </a:txBody>
                  <a:tcPr anchor="ctr">
                    <a:solidFill>
                      <a:schemeClr val="bg1"/>
                    </a:solidFill>
                  </a:tcPr>
                </a:tc>
                <a:tc>
                  <a:txBody>
                    <a:bodyPr/>
                    <a:lstStyle/>
                    <a:p>
                      <a:r>
                        <a:rPr lang="en-US" dirty="0">
                          <a:solidFill>
                            <a:schemeClr val="tx1">
                              <a:lumMod val="65000"/>
                              <a:lumOff val="35000"/>
                            </a:schemeClr>
                          </a:solidFill>
                        </a:rPr>
                        <a:t>Character</a:t>
                      </a:r>
                      <a:r>
                        <a:rPr lang="en-US" baseline="0" dirty="0">
                          <a:solidFill>
                            <a:schemeClr val="tx1">
                              <a:lumMod val="65000"/>
                              <a:lumOff val="35000"/>
                            </a:schemeClr>
                          </a:solidFill>
                        </a:rPr>
                        <a:t> array(string) in Unicode</a:t>
                      </a:r>
                      <a:endParaRPr lang="en-US" dirty="0">
                        <a:solidFill>
                          <a:schemeClr val="tx1">
                            <a:lumMod val="65000"/>
                            <a:lumOff val="35000"/>
                          </a:schemeClr>
                        </a:solidFill>
                      </a:endParaRPr>
                    </a:p>
                  </a:txBody>
                  <a:tcPr anchor="ctr">
                    <a:solidFill>
                      <a:schemeClr val="bg1"/>
                    </a:solidFill>
                  </a:tcPr>
                </a:tc>
                <a:extLst>
                  <a:ext uri="{0D108BD9-81ED-4DB2-BD59-A6C34878D82A}">
                    <a16:rowId xmlns:a16="http://schemas.microsoft.com/office/drawing/2014/main" val="4066433062"/>
                  </a:ext>
                </a:extLst>
              </a:tr>
              <a:tr h="494785">
                <a:tc>
                  <a:txBody>
                    <a:bodyPr/>
                    <a:lstStyle/>
                    <a:p>
                      <a:pPr marL="91440"/>
                      <a:r>
                        <a:rPr lang="en-US" dirty="0" err="1">
                          <a:solidFill>
                            <a:schemeClr val="tx1">
                              <a:lumMod val="65000"/>
                              <a:lumOff val="35000"/>
                            </a:schemeClr>
                          </a:solidFill>
                        </a:rPr>
                        <a:t>bytearray</a:t>
                      </a:r>
                      <a:endParaRPr lang="en-US" dirty="0">
                        <a:solidFill>
                          <a:schemeClr val="tx1">
                            <a:lumMod val="65000"/>
                            <a:lumOff val="35000"/>
                          </a:schemeClr>
                        </a:solidFill>
                      </a:endParaRPr>
                    </a:p>
                  </a:txBody>
                  <a:tcPr anchor="ctr">
                    <a:solidFill>
                      <a:schemeClr val="bg1"/>
                    </a:solidFill>
                  </a:tcPr>
                </a:tc>
                <a:tc>
                  <a:txBody>
                    <a:bodyPr/>
                    <a:lstStyle/>
                    <a:p>
                      <a:r>
                        <a:rPr lang="en-US" dirty="0">
                          <a:solidFill>
                            <a:schemeClr val="tx1">
                              <a:lumMod val="65000"/>
                              <a:lumOff val="35000"/>
                            </a:schemeClr>
                          </a:solidFill>
                        </a:rPr>
                        <a:t>Byte array (blob)</a:t>
                      </a:r>
                    </a:p>
                  </a:txBody>
                  <a:tcPr anchor="ctr">
                    <a:solidFill>
                      <a:schemeClr val="bg1"/>
                    </a:solidFill>
                  </a:tcPr>
                </a:tc>
                <a:extLst>
                  <a:ext uri="{0D108BD9-81ED-4DB2-BD59-A6C34878D82A}">
                    <a16:rowId xmlns:a16="http://schemas.microsoft.com/office/drawing/2014/main" val="2762572854"/>
                  </a:ext>
                </a:extLst>
              </a:tr>
              <a:tr h="494785">
                <a:tc>
                  <a:txBody>
                    <a:bodyPr/>
                    <a:lstStyle/>
                    <a:p>
                      <a:pPr marL="91440"/>
                      <a:r>
                        <a:rPr lang="en-US" dirty="0" err="1">
                          <a:solidFill>
                            <a:schemeClr val="tx1">
                              <a:lumMod val="65000"/>
                              <a:lumOff val="35000"/>
                            </a:schemeClr>
                          </a:solidFill>
                        </a:rPr>
                        <a:t>boolean</a:t>
                      </a:r>
                      <a:endParaRPr lang="en-US" dirty="0">
                        <a:solidFill>
                          <a:schemeClr val="tx1">
                            <a:lumMod val="65000"/>
                            <a:lumOff val="35000"/>
                          </a:schemeClr>
                        </a:solidFill>
                      </a:endParaRPr>
                    </a:p>
                  </a:txBody>
                  <a:tcPr anchor="ctr">
                    <a:solidFill>
                      <a:schemeClr val="bg1"/>
                    </a:solidFill>
                  </a:tcPr>
                </a:tc>
                <a:tc>
                  <a:txBody>
                    <a:bodyPr/>
                    <a:lstStyle/>
                    <a:p>
                      <a:r>
                        <a:rPr lang="en-US" dirty="0" err="1">
                          <a:solidFill>
                            <a:schemeClr val="tx1">
                              <a:lumMod val="65000"/>
                              <a:lumOff val="35000"/>
                            </a:schemeClr>
                          </a:solidFill>
                        </a:rPr>
                        <a:t>boolean</a:t>
                      </a:r>
                      <a:endParaRPr lang="en-US" dirty="0">
                        <a:solidFill>
                          <a:schemeClr val="tx1">
                            <a:lumMod val="65000"/>
                            <a:lumOff val="35000"/>
                          </a:schemeClr>
                        </a:solidFill>
                      </a:endParaRPr>
                    </a:p>
                  </a:txBody>
                  <a:tcPr anchor="ctr">
                    <a:solidFill>
                      <a:schemeClr val="bg1"/>
                    </a:solidFill>
                  </a:tcPr>
                </a:tc>
                <a:extLst>
                  <a:ext uri="{0D108BD9-81ED-4DB2-BD59-A6C34878D82A}">
                    <a16:rowId xmlns:a16="http://schemas.microsoft.com/office/drawing/2014/main" val="141199190"/>
                  </a:ext>
                </a:extLst>
              </a:tr>
              <a:tr h="494785">
                <a:tc>
                  <a:txBody>
                    <a:bodyPr/>
                    <a:lstStyle/>
                    <a:p>
                      <a:pPr marL="91440"/>
                      <a:r>
                        <a:rPr lang="en-US" dirty="0">
                          <a:solidFill>
                            <a:schemeClr val="tx1">
                              <a:lumMod val="65000"/>
                              <a:lumOff val="35000"/>
                            </a:schemeClr>
                          </a:solidFill>
                        </a:rPr>
                        <a:t>tuple</a:t>
                      </a:r>
                    </a:p>
                  </a:txBody>
                  <a:tcPr anchor="ctr">
                    <a:solidFill>
                      <a:schemeClr val="bg1"/>
                    </a:solidFill>
                  </a:tcPr>
                </a:tc>
                <a:tc>
                  <a:txBody>
                    <a:bodyPr/>
                    <a:lstStyle/>
                    <a:p>
                      <a:r>
                        <a:rPr lang="en-US" dirty="0">
                          <a:solidFill>
                            <a:schemeClr val="tx1">
                              <a:lumMod val="65000"/>
                              <a:lumOff val="35000"/>
                            </a:schemeClr>
                          </a:solidFill>
                        </a:rPr>
                        <a:t>A ordered set of field.</a:t>
                      </a:r>
                      <a:r>
                        <a:rPr lang="en-US" baseline="0" dirty="0">
                          <a:solidFill>
                            <a:schemeClr val="tx1">
                              <a:lumMod val="65000"/>
                              <a:lumOff val="35000"/>
                            </a:schemeClr>
                          </a:solidFill>
                        </a:rPr>
                        <a:t> </a:t>
                      </a:r>
                      <a:r>
                        <a:rPr lang="en-US" dirty="0" err="1">
                          <a:solidFill>
                            <a:schemeClr val="tx1">
                              <a:lumMod val="65000"/>
                              <a:lumOff val="35000"/>
                            </a:schemeClr>
                          </a:solidFill>
                        </a:rPr>
                        <a:t>e.g</a:t>
                      </a:r>
                      <a:r>
                        <a:rPr lang="en-US" dirty="0">
                          <a:solidFill>
                            <a:schemeClr val="tx1">
                              <a:lumMod val="65000"/>
                              <a:lumOff val="35000"/>
                            </a:schemeClr>
                          </a:solidFill>
                        </a:rPr>
                        <a:t>: (2,4)</a:t>
                      </a:r>
                    </a:p>
                  </a:txBody>
                  <a:tcPr anchor="ctr">
                    <a:solidFill>
                      <a:schemeClr val="bg1"/>
                    </a:solidFill>
                  </a:tcPr>
                </a:tc>
                <a:extLst>
                  <a:ext uri="{0D108BD9-81ED-4DB2-BD59-A6C34878D82A}">
                    <a16:rowId xmlns:a16="http://schemas.microsoft.com/office/drawing/2014/main" val="139461461"/>
                  </a:ext>
                </a:extLst>
              </a:tr>
              <a:tr h="494785">
                <a:tc>
                  <a:txBody>
                    <a:bodyPr/>
                    <a:lstStyle/>
                    <a:p>
                      <a:pPr marL="91440"/>
                      <a:r>
                        <a:rPr lang="en-US" dirty="0">
                          <a:solidFill>
                            <a:schemeClr val="tx1">
                              <a:lumMod val="65000"/>
                              <a:lumOff val="35000"/>
                            </a:schemeClr>
                          </a:solidFill>
                        </a:rPr>
                        <a:t>bag</a:t>
                      </a:r>
                    </a:p>
                  </a:txBody>
                  <a:tcPr anchor="ctr">
                    <a:solidFill>
                      <a:schemeClr val="bg1"/>
                    </a:solidFill>
                  </a:tcPr>
                </a:tc>
                <a:tc>
                  <a:txBody>
                    <a:bodyPr/>
                    <a:lstStyle/>
                    <a:p>
                      <a:r>
                        <a:rPr lang="en-US" dirty="0">
                          <a:solidFill>
                            <a:schemeClr val="tx1">
                              <a:lumMod val="65000"/>
                              <a:lumOff val="35000"/>
                            </a:schemeClr>
                          </a:solidFill>
                        </a:rPr>
                        <a:t>A collection of tuples.</a:t>
                      </a:r>
                      <a:r>
                        <a:rPr lang="en-US" baseline="0" dirty="0">
                          <a:solidFill>
                            <a:schemeClr val="tx1">
                              <a:lumMod val="65000"/>
                              <a:lumOff val="35000"/>
                            </a:schemeClr>
                          </a:solidFill>
                        </a:rPr>
                        <a:t> </a:t>
                      </a:r>
                      <a:r>
                        <a:rPr lang="en-US" dirty="0" err="1">
                          <a:solidFill>
                            <a:schemeClr val="tx1">
                              <a:lumMod val="65000"/>
                              <a:lumOff val="35000"/>
                            </a:schemeClr>
                          </a:solidFill>
                        </a:rPr>
                        <a:t>e.g</a:t>
                      </a:r>
                      <a:r>
                        <a:rPr lang="en-US" dirty="0">
                          <a:solidFill>
                            <a:schemeClr val="tx1">
                              <a:lumMod val="65000"/>
                              <a:lumOff val="35000"/>
                            </a:schemeClr>
                          </a:solidFill>
                        </a:rPr>
                        <a:t>: {(2,4),</a:t>
                      </a:r>
                      <a:r>
                        <a:rPr lang="en-US" baseline="0" dirty="0">
                          <a:solidFill>
                            <a:schemeClr val="tx1">
                              <a:lumMod val="65000"/>
                              <a:lumOff val="35000"/>
                            </a:schemeClr>
                          </a:solidFill>
                        </a:rPr>
                        <a:t> (3, 9)}</a:t>
                      </a:r>
                      <a:endParaRPr lang="en-US" dirty="0">
                        <a:solidFill>
                          <a:schemeClr val="tx1">
                            <a:lumMod val="65000"/>
                            <a:lumOff val="35000"/>
                          </a:schemeClr>
                        </a:solidFill>
                      </a:endParaRPr>
                    </a:p>
                  </a:txBody>
                  <a:tcPr anchor="ctr">
                    <a:solidFill>
                      <a:schemeClr val="bg1"/>
                    </a:solidFill>
                  </a:tcPr>
                </a:tc>
                <a:extLst>
                  <a:ext uri="{0D108BD9-81ED-4DB2-BD59-A6C34878D82A}">
                    <a16:rowId xmlns:a16="http://schemas.microsoft.com/office/drawing/2014/main" val="4082512540"/>
                  </a:ext>
                </a:extLst>
              </a:tr>
              <a:tr h="494785">
                <a:tc>
                  <a:txBody>
                    <a:bodyPr/>
                    <a:lstStyle/>
                    <a:p>
                      <a:pPr marL="91440"/>
                      <a:r>
                        <a:rPr lang="en-US" dirty="0">
                          <a:solidFill>
                            <a:schemeClr val="tx1">
                              <a:lumMod val="65000"/>
                              <a:lumOff val="35000"/>
                            </a:schemeClr>
                          </a:solidFill>
                        </a:rPr>
                        <a:t>map</a:t>
                      </a:r>
                    </a:p>
                  </a:txBody>
                  <a:tcPr anchor="ctr">
                    <a:solidFill>
                      <a:schemeClr val="bg1"/>
                    </a:solidFill>
                  </a:tcPr>
                </a:tc>
                <a:tc>
                  <a:txBody>
                    <a:bodyPr/>
                    <a:lstStyle/>
                    <a:p>
                      <a:r>
                        <a:rPr lang="en-US" dirty="0">
                          <a:solidFill>
                            <a:schemeClr val="tx1">
                              <a:lumMod val="65000"/>
                              <a:lumOff val="35000"/>
                            </a:schemeClr>
                          </a:solidFill>
                        </a:rPr>
                        <a:t>A set of key</a:t>
                      </a:r>
                      <a:r>
                        <a:rPr lang="en-US" baseline="0" dirty="0">
                          <a:solidFill>
                            <a:schemeClr val="tx1">
                              <a:lumMod val="65000"/>
                              <a:lumOff val="35000"/>
                            </a:schemeClr>
                          </a:solidFill>
                        </a:rPr>
                        <a:t> value pairs. </a:t>
                      </a:r>
                      <a:r>
                        <a:rPr lang="en-US" baseline="0" dirty="0" err="1">
                          <a:solidFill>
                            <a:schemeClr val="tx1">
                              <a:lumMod val="65000"/>
                              <a:lumOff val="35000"/>
                            </a:schemeClr>
                          </a:solidFill>
                        </a:rPr>
                        <a:t>e.g</a:t>
                      </a:r>
                      <a:r>
                        <a:rPr lang="en-US" baseline="0" dirty="0">
                          <a:solidFill>
                            <a:schemeClr val="tx1">
                              <a:lumMod val="65000"/>
                              <a:lumOff val="35000"/>
                            </a:schemeClr>
                          </a:solidFill>
                        </a:rPr>
                        <a:t>: [age#32]</a:t>
                      </a:r>
                      <a:endParaRPr lang="en-US" dirty="0">
                        <a:solidFill>
                          <a:schemeClr val="tx1">
                            <a:lumMod val="65000"/>
                            <a:lumOff val="35000"/>
                          </a:schemeClr>
                        </a:solidFill>
                      </a:endParaRPr>
                    </a:p>
                  </a:txBody>
                  <a:tcPr anchor="ctr">
                    <a:solidFill>
                      <a:schemeClr val="bg1"/>
                    </a:solidFill>
                  </a:tcPr>
                </a:tc>
                <a:extLst>
                  <a:ext uri="{0D108BD9-81ED-4DB2-BD59-A6C34878D82A}">
                    <a16:rowId xmlns:a16="http://schemas.microsoft.com/office/drawing/2014/main" val="859991152"/>
                  </a:ext>
                </a:extLst>
              </a:tr>
            </a:tbl>
          </a:graphicData>
        </a:graphic>
      </p:graphicFrame>
      <p:sp>
        <p:nvSpPr>
          <p:cNvPr id="9" name="Rectangle 8"/>
          <p:cNvSpPr/>
          <p:nvPr/>
        </p:nvSpPr>
        <p:spPr bwMode="auto">
          <a:xfrm>
            <a:off x="4314116" y="1388138"/>
            <a:ext cx="6295187" cy="471647"/>
          </a:xfrm>
          <a:prstGeom prst="rect">
            <a:avLst/>
          </a:prstGeom>
          <a:solidFill>
            <a:srgbClr val="F4E4F8">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0" name="Rectangle 9"/>
          <p:cNvSpPr/>
          <p:nvPr/>
        </p:nvSpPr>
        <p:spPr bwMode="auto">
          <a:xfrm>
            <a:off x="4314116" y="2415324"/>
            <a:ext cx="6295187" cy="453634"/>
          </a:xfrm>
          <a:prstGeom prst="rect">
            <a:avLst/>
          </a:prstGeom>
          <a:solidFill>
            <a:srgbClr val="F4E4F8">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1" name="Rectangle 10"/>
          <p:cNvSpPr/>
          <p:nvPr/>
        </p:nvSpPr>
        <p:spPr bwMode="auto">
          <a:xfrm>
            <a:off x="4314116" y="3397064"/>
            <a:ext cx="6295187" cy="448381"/>
          </a:xfrm>
          <a:prstGeom prst="rect">
            <a:avLst/>
          </a:prstGeom>
          <a:solidFill>
            <a:srgbClr val="F4E4F8">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2" name="Rectangle 11"/>
          <p:cNvSpPr/>
          <p:nvPr/>
        </p:nvSpPr>
        <p:spPr bwMode="auto">
          <a:xfrm>
            <a:off x="4314116" y="4304377"/>
            <a:ext cx="6295187" cy="597237"/>
          </a:xfrm>
          <a:prstGeom prst="rect">
            <a:avLst/>
          </a:prstGeom>
          <a:solidFill>
            <a:srgbClr val="F4E4F8">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3" name="Rectangle 12"/>
          <p:cNvSpPr/>
          <p:nvPr/>
        </p:nvSpPr>
        <p:spPr bwMode="auto">
          <a:xfrm>
            <a:off x="4314116" y="5387979"/>
            <a:ext cx="6295187" cy="445893"/>
          </a:xfrm>
          <a:prstGeom prst="rect">
            <a:avLst/>
          </a:prstGeom>
          <a:solidFill>
            <a:srgbClr val="F4E4F8">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Tree>
    <p:extLst>
      <p:ext uri="{BB962C8B-B14F-4D97-AF65-F5344CB8AC3E}">
        <p14:creationId xmlns:p14="http://schemas.microsoft.com/office/powerpoint/2010/main" val="1298347960"/>
      </p:ext>
    </p:extLst>
  </p:cSld>
  <p:clrMapOvr>
    <a:masterClrMapping/>
  </p:clrMapOvr>
  <p:transition spd="med">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ache Pig: Commands</a:t>
            </a:r>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48</a:t>
            </a:fld>
            <a:endParaRPr lang="en-US" dirty="0"/>
          </a:p>
        </p:txBody>
      </p:sp>
      <p:sp>
        <p:nvSpPr>
          <p:cNvPr id="4" name="Trapezoid 3"/>
          <p:cNvSpPr/>
          <p:nvPr/>
        </p:nvSpPr>
        <p:spPr bwMode="auto">
          <a:xfrm rot="16200000">
            <a:off x="267702" y="3334923"/>
            <a:ext cx="5078589" cy="1127049"/>
          </a:xfrm>
          <a:prstGeom prst="trapezoid">
            <a:avLst>
              <a:gd name="adj" fmla="val 185917"/>
            </a:avLst>
          </a:prstGeom>
          <a:no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5" name="TextBox 4"/>
          <p:cNvSpPr txBox="1"/>
          <p:nvPr/>
        </p:nvSpPr>
        <p:spPr>
          <a:xfrm>
            <a:off x="288987" y="3418316"/>
            <a:ext cx="1974544" cy="960263"/>
          </a:xfrm>
          <a:prstGeom prst="rect">
            <a:avLst/>
          </a:prstGeom>
          <a:solidFill>
            <a:schemeClr val="accent3"/>
          </a:solidFill>
        </p:spPr>
        <p:txBody>
          <a:bodyPr wrap="square" lIns="182880" tIns="146304" rIns="182880" bIns="146304" rtlCol="0">
            <a:spAutoFit/>
          </a:bodyPr>
          <a:lstStyle/>
          <a:p>
            <a:pPr algn="ctr">
              <a:lnSpc>
                <a:spcPct val="90000"/>
              </a:lnSpc>
              <a:spcAft>
                <a:spcPts val="600"/>
              </a:spcAft>
            </a:pPr>
            <a:r>
              <a:rPr lang="en-US" sz="2400" dirty="0">
                <a:solidFill>
                  <a:schemeClr val="bg1"/>
                </a:solidFill>
                <a:latin typeface="Segoe UI Semibold" panose="020B0702040204020203" pitchFamily="34" charset="0"/>
                <a:cs typeface="Segoe UI Semibold" panose="020B0702040204020203" pitchFamily="34" charset="0"/>
              </a:rPr>
              <a:t>Pig Commands</a:t>
            </a:r>
          </a:p>
        </p:txBody>
      </p:sp>
      <p:cxnSp>
        <p:nvCxnSpPr>
          <p:cNvPr id="6" name="Straight Connector 5"/>
          <p:cNvCxnSpPr/>
          <p:nvPr/>
        </p:nvCxnSpPr>
        <p:spPr>
          <a:xfrm>
            <a:off x="3396164" y="1363578"/>
            <a:ext cx="7772400" cy="0"/>
          </a:xfrm>
          <a:prstGeom prst="line">
            <a:avLst/>
          </a:prstGeom>
          <a:ln w="38100">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3378447" y="6428238"/>
            <a:ext cx="7772400" cy="0"/>
          </a:xfrm>
          <a:prstGeom prst="line">
            <a:avLst/>
          </a:prstGeom>
          <a:ln w="38100">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8" name="Table 7"/>
          <p:cNvGraphicFramePr>
            <a:graphicFrameLocks noGrp="1"/>
          </p:cNvGraphicFramePr>
          <p:nvPr>
            <p:extLst>
              <p:ext uri="{D42A27DB-BD31-4B8C-83A1-F6EECF244321}">
                <p14:modId xmlns:p14="http://schemas.microsoft.com/office/powerpoint/2010/main" val="2333276755"/>
              </p:ext>
            </p:extLst>
          </p:nvPr>
        </p:nvGraphicFramePr>
        <p:xfrm>
          <a:off x="3349256" y="1391052"/>
          <a:ext cx="8445430" cy="5004888"/>
        </p:xfrm>
        <a:graphic>
          <a:graphicData uri="http://schemas.openxmlformats.org/drawingml/2006/table">
            <a:tbl>
              <a:tblPr firstRow="1" bandRow="1">
                <a:tableStyleId>{2D5ABB26-0587-4C30-8999-92F81FD0307C}</a:tableStyleId>
              </a:tblPr>
              <a:tblGrid>
                <a:gridCol w="1686299">
                  <a:extLst>
                    <a:ext uri="{9D8B030D-6E8A-4147-A177-3AD203B41FA5}">
                      <a16:colId xmlns:a16="http://schemas.microsoft.com/office/drawing/2014/main" val="3238432148"/>
                    </a:ext>
                  </a:extLst>
                </a:gridCol>
                <a:gridCol w="6759131">
                  <a:extLst>
                    <a:ext uri="{9D8B030D-6E8A-4147-A177-3AD203B41FA5}">
                      <a16:colId xmlns:a16="http://schemas.microsoft.com/office/drawing/2014/main" val="3016191423"/>
                    </a:ext>
                  </a:extLst>
                </a:gridCol>
              </a:tblGrid>
              <a:tr h="417074">
                <a:tc>
                  <a:txBody>
                    <a:bodyPr/>
                    <a:lstStyle/>
                    <a:p>
                      <a:pPr marL="91440"/>
                      <a:r>
                        <a:rPr lang="en-US" sz="1600" dirty="0">
                          <a:solidFill>
                            <a:schemeClr val="tx1">
                              <a:lumMod val="65000"/>
                              <a:lumOff val="35000"/>
                            </a:schemeClr>
                          </a:solidFill>
                        </a:rPr>
                        <a:t>Load</a:t>
                      </a:r>
                    </a:p>
                  </a:txBody>
                  <a:tcPr anchor="ctr">
                    <a:solidFill>
                      <a:schemeClr val="bg1"/>
                    </a:solidFill>
                  </a:tcPr>
                </a:tc>
                <a:tc>
                  <a:txBody>
                    <a:bodyPr/>
                    <a:lstStyle/>
                    <a:p>
                      <a:r>
                        <a:rPr lang="en-US" sz="1600" dirty="0">
                          <a:solidFill>
                            <a:schemeClr val="tx1">
                              <a:lumMod val="65000"/>
                              <a:lumOff val="35000"/>
                            </a:schemeClr>
                          </a:solidFill>
                        </a:rPr>
                        <a:t>Read</a:t>
                      </a:r>
                      <a:r>
                        <a:rPr lang="en-US" sz="1600" baseline="0" dirty="0">
                          <a:solidFill>
                            <a:schemeClr val="tx1">
                              <a:lumMod val="65000"/>
                              <a:lumOff val="35000"/>
                            </a:schemeClr>
                          </a:solidFill>
                        </a:rPr>
                        <a:t> data from the file system</a:t>
                      </a:r>
                      <a:endParaRPr lang="en-US" sz="1600" dirty="0">
                        <a:solidFill>
                          <a:schemeClr val="tx1">
                            <a:lumMod val="65000"/>
                            <a:lumOff val="35000"/>
                          </a:schemeClr>
                        </a:solidFill>
                      </a:endParaRPr>
                    </a:p>
                  </a:txBody>
                  <a:tcPr anchor="ctr">
                    <a:solidFill>
                      <a:schemeClr val="bg1"/>
                    </a:solidFill>
                  </a:tcPr>
                </a:tc>
                <a:extLst>
                  <a:ext uri="{0D108BD9-81ED-4DB2-BD59-A6C34878D82A}">
                    <a16:rowId xmlns:a16="http://schemas.microsoft.com/office/drawing/2014/main" val="1089936145"/>
                  </a:ext>
                </a:extLst>
              </a:tr>
              <a:tr h="417074">
                <a:tc>
                  <a:txBody>
                    <a:bodyPr/>
                    <a:lstStyle/>
                    <a:p>
                      <a:pPr marL="91440"/>
                      <a:r>
                        <a:rPr lang="en-US" sz="1600" dirty="0">
                          <a:solidFill>
                            <a:schemeClr val="tx1">
                              <a:lumMod val="65000"/>
                              <a:lumOff val="35000"/>
                            </a:schemeClr>
                          </a:solidFill>
                        </a:rPr>
                        <a:t>Store</a:t>
                      </a:r>
                    </a:p>
                  </a:txBody>
                  <a:tcPr anchor="ctr">
                    <a:solidFill>
                      <a:schemeClr val="bg1"/>
                    </a:solidFill>
                  </a:tcPr>
                </a:tc>
                <a:tc>
                  <a:txBody>
                    <a:bodyPr/>
                    <a:lstStyle/>
                    <a:p>
                      <a:r>
                        <a:rPr lang="en-US" sz="1600" dirty="0">
                          <a:solidFill>
                            <a:schemeClr val="tx1">
                              <a:lumMod val="65000"/>
                              <a:lumOff val="35000"/>
                            </a:schemeClr>
                          </a:solidFill>
                        </a:rPr>
                        <a:t>Write</a:t>
                      </a:r>
                      <a:r>
                        <a:rPr lang="en-US" sz="1600" baseline="0" dirty="0">
                          <a:solidFill>
                            <a:schemeClr val="tx1">
                              <a:lumMod val="65000"/>
                              <a:lumOff val="35000"/>
                            </a:schemeClr>
                          </a:solidFill>
                        </a:rPr>
                        <a:t> data to the file system</a:t>
                      </a:r>
                      <a:endParaRPr lang="en-US" sz="1600" dirty="0">
                        <a:solidFill>
                          <a:schemeClr val="tx1">
                            <a:lumMod val="65000"/>
                            <a:lumOff val="35000"/>
                          </a:schemeClr>
                        </a:solidFill>
                      </a:endParaRPr>
                    </a:p>
                  </a:txBody>
                  <a:tcPr anchor="ctr">
                    <a:solidFill>
                      <a:schemeClr val="bg1"/>
                    </a:solidFill>
                  </a:tcPr>
                </a:tc>
                <a:extLst>
                  <a:ext uri="{0D108BD9-81ED-4DB2-BD59-A6C34878D82A}">
                    <a16:rowId xmlns:a16="http://schemas.microsoft.com/office/drawing/2014/main" val="4275685479"/>
                  </a:ext>
                </a:extLst>
              </a:tr>
              <a:tr h="417074">
                <a:tc>
                  <a:txBody>
                    <a:bodyPr/>
                    <a:lstStyle/>
                    <a:p>
                      <a:pPr marL="91440"/>
                      <a:r>
                        <a:rPr lang="en-US" sz="1600" dirty="0">
                          <a:solidFill>
                            <a:schemeClr val="tx1">
                              <a:lumMod val="65000"/>
                              <a:lumOff val="35000"/>
                            </a:schemeClr>
                          </a:solidFill>
                        </a:rPr>
                        <a:t>Dump</a:t>
                      </a:r>
                    </a:p>
                  </a:txBody>
                  <a:tcPr anchor="ctr">
                    <a:solidFill>
                      <a:schemeClr val="bg1"/>
                    </a:solidFill>
                  </a:tcPr>
                </a:tc>
                <a:tc>
                  <a:txBody>
                    <a:bodyPr/>
                    <a:lstStyle/>
                    <a:p>
                      <a:r>
                        <a:rPr lang="en-US" sz="1600" dirty="0">
                          <a:solidFill>
                            <a:schemeClr val="tx1">
                              <a:lumMod val="65000"/>
                              <a:lumOff val="35000"/>
                            </a:schemeClr>
                          </a:solidFill>
                        </a:rPr>
                        <a:t>Write</a:t>
                      </a:r>
                      <a:r>
                        <a:rPr lang="en-US" sz="1600" baseline="0" dirty="0">
                          <a:solidFill>
                            <a:schemeClr val="tx1">
                              <a:lumMod val="65000"/>
                              <a:lumOff val="35000"/>
                            </a:schemeClr>
                          </a:solidFill>
                        </a:rPr>
                        <a:t> output to </a:t>
                      </a:r>
                      <a:r>
                        <a:rPr lang="en-US" sz="1600" baseline="0" dirty="0" err="1">
                          <a:solidFill>
                            <a:schemeClr val="tx1">
                              <a:lumMod val="65000"/>
                              <a:lumOff val="35000"/>
                            </a:schemeClr>
                          </a:solidFill>
                        </a:rPr>
                        <a:t>stdout</a:t>
                      </a:r>
                      <a:endParaRPr lang="en-US" sz="1600" dirty="0">
                        <a:solidFill>
                          <a:schemeClr val="tx1">
                            <a:lumMod val="65000"/>
                            <a:lumOff val="35000"/>
                          </a:schemeClr>
                        </a:solidFill>
                      </a:endParaRPr>
                    </a:p>
                  </a:txBody>
                  <a:tcPr anchor="ctr">
                    <a:solidFill>
                      <a:schemeClr val="bg1"/>
                    </a:solidFill>
                  </a:tcPr>
                </a:tc>
                <a:extLst>
                  <a:ext uri="{0D108BD9-81ED-4DB2-BD59-A6C34878D82A}">
                    <a16:rowId xmlns:a16="http://schemas.microsoft.com/office/drawing/2014/main" val="1409806772"/>
                  </a:ext>
                </a:extLst>
              </a:tr>
              <a:tr h="417074">
                <a:tc>
                  <a:txBody>
                    <a:bodyPr/>
                    <a:lstStyle/>
                    <a:p>
                      <a:pPr marL="91440"/>
                      <a:r>
                        <a:rPr lang="en-US" sz="1600" dirty="0" err="1">
                          <a:solidFill>
                            <a:schemeClr val="tx1">
                              <a:lumMod val="65000"/>
                              <a:lumOff val="35000"/>
                            </a:schemeClr>
                          </a:solidFill>
                        </a:rPr>
                        <a:t>Foreach</a:t>
                      </a:r>
                      <a:endParaRPr lang="en-US" sz="1600" dirty="0">
                        <a:solidFill>
                          <a:schemeClr val="tx1">
                            <a:lumMod val="65000"/>
                            <a:lumOff val="35000"/>
                          </a:schemeClr>
                        </a:solidFill>
                      </a:endParaRPr>
                    </a:p>
                  </a:txBody>
                  <a:tcPr anchor="ctr">
                    <a:solidFill>
                      <a:schemeClr val="bg1"/>
                    </a:solidFill>
                  </a:tcPr>
                </a:tc>
                <a:tc>
                  <a:txBody>
                    <a:bodyPr/>
                    <a:lstStyle/>
                    <a:p>
                      <a:r>
                        <a:rPr lang="en-US" sz="1600" dirty="0">
                          <a:solidFill>
                            <a:schemeClr val="tx1">
                              <a:lumMod val="65000"/>
                              <a:lumOff val="35000"/>
                            </a:schemeClr>
                          </a:solidFill>
                        </a:rPr>
                        <a:t>Apply</a:t>
                      </a:r>
                      <a:r>
                        <a:rPr lang="en-US" sz="1600" baseline="0" dirty="0">
                          <a:solidFill>
                            <a:schemeClr val="tx1">
                              <a:lumMod val="65000"/>
                              <a:lumOff val="35000"/>
                            </a:schemeClr>
                          </a:solidFill>
                        </a:rPr>
                        <a:t> expressions to each record and generate on or more record</a:t>
                      </a:r>
                      <a:endParaRPr lang="en-US" sz="1600" dirty="0">
                        <a:solidFill>
                          <a:schemeClr val="tx1">
                            <a:lumMod val="65000"/>
                            <a:lumOff val="35000"/>
                          </a:schemeClr>
                        </a:solidFill>
                      </a:endParaRPr>
                    </a:p>
                  </a:txBody>
                  <a:tcPr anchor="ctr">
                    <a:solidFill>
                      <a:schemeClr val="bg1"/>
                    </a:solidFill>
                  </a:tcPr>
                </a:tc>
                <a:extLst>
                  <a:ext uri="{0D108BD9-81ED-4DB2-BD59-A6C34878D82A}">
                    <a16:rowId xmlns:a16="http://schemas.microsoft.com/office/drawing/2014/main" val="791136535"/>
                  </a:ext>
                </a:extLst>
              </a:tr>
              <a:tr h="417074">
                <a:tc>
                  <a:txBody>
                    <a:bodyPr/>
                    <a:lstStyle/>
                    <a:p>
                      <a:pPr marL="91440"/>
                      <a:r>
                        <a:rPr lang="en-US" sz="1600" dirty="0">
                          <a:solidFill>
                            <a:schemeClr val="tx1">
                              <a:lumMod val="65000"/>
                              <a:lumOff val="35000"/>
                            </a:schemeClr>
                          </a:solidFill>
                        </a:rPr>
                        <a:t>Filter</a:t>
                      </a:r>
                    </a:p>
                  </a:txBody>
                  <a:tcPr anchor="ctr">
                    <a:solidFill>
                      <a:schemeClr val="bg1"/>
                    </a:solidFill>
                  </a:tcPr>
                </a:tc>
                <a:tc>
                  <a:txBody>
                    <a:bodyPr/>
                    <a:lstStyle/>
                    <a:p>
                      <a:r>
                        <a:rPr lang="en-US" sz="1600" dirty="0">
                          <a:solidFill>
                            <a:schemeClr val="tx1">
                              <a:lumMod val="65000"/>
                              <a:lumOff val="35000"/>
                            </a:schemeClr>
                          </a:solidFill>
                        </a:rPr>
                        <a:t>Apply</a:t>
                      </a:r>
                      <a:r>
                        <a:rPr lang="en-US" sz="1600" baseline="0" dirty="0">
                          <a:solidFill>
                            <a:schemeClr val="tx1">
                              <a:lumMod val="65000"/>
                              <a:lumOff val="35000"/>
                            </a:schemeClr>
                          </a:solidFill>
                        </a:rPr>
                        <a:t> predicates to each record and remove record where false</a:t>
                      </a:r>
                      <a:endParaRPr lang="en-US" sz="1600" dirty="0">
                        <a:solidFill>
                          <a:schemeClr val="tx1">
                            <a:lumMod val="65000"/>
                            <a:lumOff val="35000"/>
                          </a:schemeClr>
                        </a:solidFill>
                      </a:endParaRPr>
                    </a:p>
                  </a:txBody>
                  <a:tcPr anchor="ctr">
                    <a:solidFill>
                      <a:schemeClr val="bg1"/>
                    </a:solidFill>
                  </a:tcPr>
                </a:tc>
                <a:extLst>
                  <a:ext uri="{0D108BD9-81ED-4DB2-BD59-A6C34878D82A}">
                    <a16:rowId xmlns:a16="http://schemas.microsoft.com/office/drawing/2014/main" val="4066433062"/>
                  </a:ext>
                </a:extLst>
              </a:tr>
              <a:tr h="417074">
                <a:tc>
                  <a:txBody>
                    <a:bodyPr/>
                    <a:lstStyle/>
                    <a:p>
                      <a:pPr marL="91440"/>
                      <a:r>
                        <a:rPr lang="en-US" sz="1600" dirty="0">
                          <a:solidFill>
                            <a:schemeClr val="tx1">
                              <a:lumMod val="65000"/>
                              <a:lumOff val="35000"/>
                            </a:schemeClr>
                          </a:solidFill>
                        </a:rPr>
                        <a:t>Group</a:t>
                      </a:r>
                      <a:r>
                        <a:rPr lang="en-US" sz="1600" baseline="0" dirty="0">
                          <a:solidFill>
                            <a:schemeClr val="tx1">
                              <a:lumMod val="65000"/>
                              <a:lumOff val="35000"/>
                            </a:schemeClr>
                          </a:solidFill>
                        </a:rPr>
                        <a:t> </a:t>
                      </a:r>
                      <a:r>
                        <a:rPr lang="en-US" sz="1600" baseline="0" dirty="0" err="1">
                          <a:solidFill>
                            <a:schemeClr val="tx1">
                              <a:lumMod val="65000"/>
                              <a:lumOff val="35000"/>
                            </a:schemeClr>
                          </a:solidFill>
                        </a:rPr>
                        <a:t>C</a:t>
                      </a:r>
                      <a:r>
                        <a:rPr lang="en-US" sz="1600" dirty="0" err="1">
                          <a:solidFill>
                            <a:schemeClr val="tx1">
                              <a:lumMod val="65000"/>
                              <a:lumOff val="35000"/>
                            </a:schemeClr>
                          </a:solidFill>
                        </a:rPr>
                        <a:t>ogroup</a:t>
                      </a:r>
                      <a:endParaRPr lang="en-US" sz="1600" dirty="0">
                        <a:solidFill>
                          <a:schemeClr val="tx1">
                            <a:lumMod val="65000"/>
                            <a:lumOff val="35000"/>
                          </a:schemeClr>
                        </a:solidFill>
                      </a:endParaRPr>
                    </a:p>
                  </a:txBody>
                  <a:tcPr anchor="ctr">
                    <a:solidFill>
                      <a:schemeClr val="bg1"/>
                    </a:solidFill>
                  </a:tcPr>
                </a:tc>
                <a:tc>
                  <a:txBody>
                    <a:bodyPr/>
                    <a:lstStyle/>
                    <a:p>
                      <a:r>
                        <a:rPr lang="en-US" sz="1600" dirty="0">
                          <a:solidFill>
                            <a:schemeClr val="tx1">
                              <a:lumMod val="65000"/>
                              <a:lumOff val="35000"/>
                            </a:schemeClr>
                          </a:solidFill>
                        </a:rPr>
                        <a:t>Collect</a:t>
                      </a:r>
                      <a:r>
                        <a:rPr lang="en-US" sz="1600" baseline="0" dirty="0">
                          <a:solidFill>
                            <a:schemeClr val="tx1">
                              <a:lumMod val="65000"/>
                              <a:lumOff val="35000"/>
                            </a:schemeClr>
                          </a:solidFill>
                        </a:rPr>
                        <a:t> records with the same key from one or more inputs</a:t>
                      </a:r>
                      <a:endParaRPr lang="en-US" sz="1600" dirty="0">
                        <a:solidFill>
                          <a:schemeClr val="tx1">
                            <a:lumMod val="65000"/>
                            <a:lumOff val="35000"/>
                          </a:schemeClr>
                        </a:solidFill>
                      </a:endParaRPr>
                    </a:p>
                  </a:txBody>
                  <a:tcPr anchor="ctr">
                    <a:solidFill>
                      <a:schemeClr val="bg1"/>
                    </a:solidFill>
                  </a:tcPr>
                </a:tc>
                <a:extLst>
                  <a:ext uri="{0D108BD9-81ED-4DB2-BD59-A6C34878D82A}">
                    <a16:rowId xmlns:a16="http://schemas.microsoft.com/office/drawing/2014/main" val="2762572854"/>
                  </a:ext>
                </a:extLst>
              </a:tr>
              <a:tr h="417074">
                <a:tc>
                  <a:txBody>
                    <a:bodyPr/>
                    <a:lstStyle/>
                    <a:p>
                      <a:pPr marL="91440"/>
                      <a:r>
                        <a:rPr lang="en-US" sz="1600" dirty="0">
                          <a:solidFill>
                            <a:schemeClr val="tx1">
                              <a:lumMod val="65000"/>
                              <a:lumOff val="35000"/>
                            </a:schemeClr>
                          </a:solidFill>
                        </a:rPr>
                        <a:t>Join</a:t>
                      </a:r>
                    </a:p>
                  </a:txBody>
                  <a:tcPr anchor="ctr">
                    <a:solidFill>
                      <a:schemeClr val="bg1"/>
                    </a:solidFill>
                  </a:tcPr>
                </a:tc>
                <a:tc>
                  <a:txBody>
                    <a:bodyPr/>
                    <a:lstStyle/>
                    <a:p>
                      <a:r>
                        <a:rPr lang="en-US" sz="1600" dirty="0">
                          <a:solidFill>
                            <a:schemeClr val="tx1">
                              <a:lumMod val="65000"/>
                              <a:lumOff val="35000"/>
                            </a:schemeClr>
                          </a:solidFill>
                        </a:rPr>
                        <a:t>Join</a:t>
                      </a:r>
                      <a:r>
                        <a:rPr lang="en-US" sz="1600" baseline="0" dirty="0">
                          <a:solidFill>
                            <a:schemeClr val="tx1">
                              <a:lumMod val="65000"/>
                              <a:lumOff val="35000"/>
                            </a:schemeClr>
                          </a:solidFill>
                        </a:rPr>
                        <a:t> two or more inputs based on a key</a:t>
                      </a:r>
                      <a:endParaRPr lang="en-US" sz="1600" dirty="0">
                        <a:solidFill>
                          <a:schemeClr val="tx1">
                            <a:lumMod val="65000"/>
                            <a:lumOff val="35000"/>
                          </a:schemeClr>
                        </a:solidFill>
                      </a:endParaRPr>
                    </a:p>
                  </a:txBody>
                  <a:tcPr anchor="ctr">
                    <a:solidFill>
                      <a:schemeClr val="bg1"/>
                    </a:solidFill>
                  </a:tcPr>
                </a:tc>
                <a:extLst>
                  <a:ext uri="{0D108BD9-81ED-4DB2-BD59-A6C34878D82A}">
                    <a16:rowId xmlns:a16="http://schemas.microsoft.com/office/drawing/2014/main" val="141199190"/>
                  </a:ext>
                </a:extLst>
              </a:tr>
              <a:tr h="417074">
                <a:tc>
                  <a:txBody>
                    <a:bodyPr/>
                    <a:lstStyle/>
                    <a:p>
                      <a:pPr marL="91440"/>
                      <a:r>
                        <a:rPr lang="en-US" sz="1600" dirty="0">
                          <a:solidFill>
                            <a:schemeClr val="tx1">
                              <a:lumMod val="65000"/>
                              <a:lumOff val="35000"/>
                            </a:schemeClr>
                          </a:solidFill>
                        </a:rPr>
                        <a:t>Order</a:t>
                      </a:r>
                    </a:p>
                  </a:txBody>
                  <a:tcPr anchor="ctr">
                    <a:solidFill>
                      <a:schemeClr val="bg1"/>
                    </a:solidFill>
                  </a:tcPr>
                </a:tc>
                <a:tc>
                  <a:txBody>
                    <a:bodyPr/>
                    <a:lstStyle/>
                    <a:p>
                      <a:r>
                        <a:rPr lang="en-US" sz="1600" dirty="0">
                          <a:solidFill>
                            <a:schemeClr val="tx1">
                              <a:lumMod val="65000"/>
                              <a:lumOff val="35000"/>
                            </a:schemeClr>
                          </a:solidFill>
                        </a:rPr>
                        <a:t>Sort</a:t>
                      </a:r>
                      <a:r>
                        <a:rPr lang="en-US" sz="1600" baseline="0" dirty="0">
                          <a:solidFill>
                            <a:schemeClr val="tx1">
                              <a:lumMod val="65000"/>
                              <a:lumOff val="35000"/>
                            </a:schemeClr>
                          </a:solidFill>
                        </a:rPr>
                        <a:t> records based on a key</a:t>
                      </a:r>
                      <a:endParaRPr lang="en-US" sz="1600" dirty="0">
                        <a:solidFill>
                          <a:schemeClr val="tx1">
                            <a:lumMod val="65000"/>
                            <a:lumOff val="35000"/>
                          </a:schemeClr>
                        </a:solidFill>
                      </a:endParaRPr>
                    </a:p>
                  </a:txBody>
                  <a:tcPr anchor="ctr">
                    <a:solidFill>
                      <a:schemeClr val="bg1"/>
                    </a:solidFill>
                  </a:tcPr>
                </a:tc>
                <a:extLst>
                  <a:ext uri="{0D108BD9-81ED-4DB2-BD59-A6C34878D82A}">
                    <a16:rowId xmlns:a16="http://schemas.microsoft.com/office/drawing/2014/main" val="139461461"/>
                  </a:ext>
                </a:extLst>
              </a:tr>
              <a:tr h="417074">
                <a:tc>
                  <a:txBody>
                    <a:bodyPr/>
                    <a:lstStyle/>
                    <a:p>
                      <a:pPr marL="91440"/>
                      <a:r>
                        <a:rPr lang="en-US" sz="1600" dirty="0">
                          <a:solidFill>
                            <a:schemeClr val="tx1">
                              <a:lumMod val="65000"/>
                              <a:lumOff val="35000"/>
                            </a:schemeClr>
                          </a:solidFill>
                        </a:rPr>
                        <a:t>Distinct</a:t>
                      </a:r>
                    </a:p>
                  </a:txBody>
                  <a:tcPr anchor="ctr">
                    <a:solidFill>
                      <a:schemeClr val="bg1"/>
                    </a:solidFill>
                  </a:tcPr>
                </a:tc>
                <a:tc>
                  <a:txBody>
                    <a:bodyPr/>
                    <a:lstStyle/>
                    <a:p>
                      <a:r>
                        <a:rPr lang="en-US" sz="1600" dirty="0">
                          <a:solidFill>
                            <a:schemeClr val="tx1">
                              <a:lumMod val="65000"/>
                              <a:lumOff val="35000"/>
                            </a:schemeClr>
                          </a:solidFill>
                        </a:rPr>
                        <a:t>Remove</a:t>
                      </a:r>
                      <a:r>
                        <a:rPr lang="en-US" sz="1600" baseline="0" dirty="0">
                          <a:solidFill>
                            <a:schemeClr val="tx1">
                              <a:lumMod val="65000"/>
                              <a:lumOff val="35000"/>
                            </a:schemeClr>
                          </a:solidFill>
                        </a:rPr>
                        <a:t> duplicate records</a:t>
                      </a:r>
                      <a:endParaRPr lang="en-US" sz="1600" dirty="0">
                        <a:solidFill>
                          <a:schemeClr val="tx1">
                            <a:lumMod val="65000"/>
                            <a:lumOff val="35000"/>
                          </a:schemeClr>
                        </a:solidFill>
                      </a:endParaRPr>
                    </a:p>
                  </a:txBody>
                  <a:tcPr anchor="ctr">
                    <a:solidFill>
                      <a:schemeClr val="bg1"/>
                    </a:solidFill>
                  </a:tcPr>
                </a:tc>
                <a:extLst>
                  <a:ext uri="{0D108BD9-81ED-4DB2-BD59-A6C34878D82A}">
                    <a16:rowId xmlns:a16="http://schemas.microsoft.com/office/drawing/2014/main" val="4082512540"/>
                  </a:ext>
                </a:extLst>
              </a:tr>
              <a:tr h="417074">
                <a:tc>
                  <a:txBody>
                    <a:bodyPr/>
                    <a:lstStyle/>
                    <a:p>
                      <a:pPr marL="91440"/>
                      <a:r>
                        <a:rPr lang="en-US" sz="1600" dirty="0">
                          <a:solidFill>
                            <a:schemeClr val="tx1">
                              <a:lumMod val="65000"/>
                              <a:lumOff val="35000"/>
                            </a:schemeClr>
                          </a:solidFill>
                        </a:rPr>
                        <a:t>Union</a:t>
                      </a:r>
                    </a:p>
                  </a:txBody>
                  <a:tcPr anchor="ctr">
                    <a:solidFill>
                      <a:schemeClr val="bg1"/>
                    </a:solidFill>
                  </a:tcPr>
                </a:tc>
                <a:tc>
                  <a:txBody>
                    <a:bodyPr/>
                    <a:lstStyle/>
                    <a:p>
                      <a:r>
                        <a:rPr lang="en-US" sz="1600" dirty="0">
                          <a:solidFill>
                            <a:schemeClr val="tx1">
                              <a:lumMod val="65000"/>
                              <a:lumOff val="35000"/>
                            </a:schemeClr>
                          </a:solidFill>
                        </a:rPr>
                        <a:t>Merge</a:t>
                      </a:r>
                      <a:r>
                        <a:rPr lang="en-US" sz="1600" baseline="0" dirty="0">
                          <a:solidFill>
                            <a:schemeClr val="tx1">
                              <a:lumMod val="65000"/>
                              <a:lumOff val="35000"/>
                            </a:schemeClr>
                          </a:solidFill>
                        </a:rPr>
                        <a:t> two datasets</a:t>
                      </a:r>
                      <a:endParaRPr lang="en-US" sz="1600" dirty="0">
                        <a:solidFill>
                          <a:schemeClr val="tx1">
                            <a:lumMod val="65000"/>
                            <a:lumOff val="35000"/>
                          </a:schemeClr>
                        </a:solidFill>
                      </a:endParaRPr>
                    </a:p>
                  </a:txBody>
                  <a:tcPr anchor="ctr">
                    <a:solidFill>
                      <a:schemeClr val="bg1"/>
                    </a:solidFill>
                  </a:tcPr>
                </a:tc>
                <a:extLst>
                  <a:ext uri="{0D108BD9-81ED-4DB2-BD59-A6C34878D82A}">
                    <a16:rowId xmlns:a16="http://schemas.microsoft.com/office/drawing/2014/main" val="859991152"/>
                  </a:ext>
                </a:extLst>
              </a:tr>
              <a:tr h="417074">
                <a:tc>
                  <a:txBody>
                    <a:bodyPr/>
                    <a:lstStyle/>
                    <a:p>
                      <a:pPr marL="91440"/>
                      <a:r>
                        <a:rPr lang="en-US" sz="1600" dirty="0">
                          <a:solidFill>
                            <a:schemeClr val="tx1">
                              <a:lumMod val="65000"/>
                              <a:lumOff val="35000"/>
                            </a:schemeClr>
                          </a:solidFill>
                        </a:rPr>
                        <a:t>Limit</a:t>
                      </a:r>
                    </a:p>
                  </a:txBody>
                  <a:tcPr anchor="ctr">
                    <a:solidFill>
                      <a:schemeClr val="bg1"/>
                    </a:solidFill>
                  </a:tcPr>
                </a:tc>
                <a:tc>
                  <a:txBody>
                    <a:bodyPr/>
                    <a:lstStyle/>
                    <a:p>
                      <a:r>
                        <a:rPr lang="en-US" sz="1600" dirty="0">
                          <a:solidFill>
                            <a:schemeClr val="tx1">
                              <a:lumMod val="65000"/>
                              <a:lumOff val="35000"/>
                            </a:schemeClr>
                          </a:solidFill>
                        </a:rPr>
                        <a:t>Limit the number of records</a:t>
                      </a:r>
                    </a:p>
                  </a:txBody>
                  <a:tcPr anchor="ctr">
                    <a:solidFill>
                      <a:schemeClr val="bg1"/>
                    </a:solidFill>
                  </a:tcPr>
                </a:tc>
                <a:extLst>
                  <a:ext uri="{0D108BD9-81ED-4DB2-BD59-A6C34878D82A}">
                    <a16:rowId xmlns:a16="http://schemas.microsoft.com/office/drawing/2014/main" val="2110049799"/>
                  </a:ext>
                </a:extLst>
              </a:tr>
              <a:tr h="417074">
                <a:tc>
                  <a:txBody>
                    <a:bodyPr/>
                    <a:lstStyle/>
                    <a:p>
                      <a:pPr marL="91440"/>
                      <a:r>
                        <a:rPr lang="en-US" sz="1600" dirty="0">
                          <a:solidFill>
                            <a:schemeClr val="tx1">
                              <a:lumMod val="65000"/>
                              <a:lumOff val="35000"/>
                            </a:schemeClr>
                          </a:solidFill>
                        </a:rPr>
                        <a:t>Split</a:t>
                      </a:r>
                    </a:p>
                  </a:txBody>
                  <a:tcPr anchor="ctr">
                    <a:solidFill>
                      <a:schemeClr val="bg1"/>
                    </a:solidFill>
                  </a:tcPr>
                </a:tc>
                <a:tc>
                  <a:txBody>
                    <a:bodyPr/>
                    <a:lstStyle/>
                    <a:p>
                      <a:r>
                        <a:rPr lang="en-US" sz="1600" dirty="0">
                          <a:solidFill>
                            <a:schemeClr val="tx1">
                              <a:lumMod val="65000"/>
                              <a:lumOff val="35000"/>
                            </a:schemeClr>
                          </a:solidFill>
                        </a:rPr>
                        <a:t>Split data into 2 or more sets, based on filter conditions</a:t>
                      </a:r>
                    </a:p>
                  </a:txBody>
                  <a:tcPr anchor="ctr">
                    <a:solidFill>
                      <a:schemeClr val="bg1"/>
                    </a:solidFill>
                  </a:tcPr>
                </a:tc>
                <a:extLst>
                  <a:ext uri="{0D108BD9-81ED-4DB2-BD59-A6C34878D82A}">
                    <a16:rowId xmlns:a16="http://schemas.microsoft.com/office/drawing/2014/main" val="1907782124"/>
                  </a:ext>
                </a:extLst>
              </a:tr>
            </a:tbl>
          </a:graphicData>
        </a:graphic>
      </p:graphicFrame>
      <p:sp>
        <p:nvSpPr>
          <p:cNvPr id="14" name="Rectangle 13"/>
          <p:cNvSpPr/>
          <p:nvPr/>
        </p:nvSpPr>
        <p:spPr bwMode="auto">
          <a:xfrm>
            <a:off x="3389084" y="1359154"/>
            <a:ext cx="7775102" cy="448381"/>
          </a:xfrm>
          <a:prstGeom prst="rect">
            <a:avLst/>
          </a:prstGeom>
          <a:solidFill>
            <a:srgbClr val="F4E4F8">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5" name="Rectangle 14"/>
          <p:cNvSpPr/>
          <p:nvPr/>
        </p:nvSpPr>
        <p:spPr bwMode="auto">
          <a:xfrm>
            <a:off x="3389084" y="3035801"/>
            <a:ext cx="7775102" cy="448381"/>
          </a:xfrm>
          <a:prstGeom prst="rect">
            <a:avLst/>
          </a:prstGeom>
          <a:solidFill>
            <a:srgbClr val="F4E4F8">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6" name="Rectangle 15"/>
          <p:cNvSpPr/>
          <p:nvPr/>
        </p:nvSpPr>
        <p:spPr bwMode="auto">
          <a:xfrm>
            <a:off x="3389084" y="2175362"/>
            <a:ext cx="7775102" cy="448381"/>
          </a:xfrm>
          <a:prstGeom prst="rect">
            <a:avLst/>
          </a:prstGeom>
          <a:solidFill>
            <a:srgbClr val="F4E4F8">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7" name="Rectangle 16"/>
          <p:cNvSpPr/>
          <p:nvPr/>
        </p:nvSpPr>
        <p:spPr bwMode="auto">
          <a:xfrm>
            <a:off x="3389084" y="4257463"/>
            <a:ext cx="7775102" cy="448381"/>
          </a:xfrm>
          <a:prstGeom prst="rect">
            <a:avLst/>
          </a:prstGeom>
          <a:solidFill>
            <a:srgbClr val="F4E4F8">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8" name="Rectangle 17"/>
          <p:cNvSpPr/>
          <p:nvPr/>
        </p:nvSpPr>
        <p:spPr bwMode="auto">
          <a:xfrm>
            <a:off x="3389084" y="5120182"/>
            <a:ext cx="7775102" cy="418626"/>
          </a:xfrm>
          <a:prstGeom prst="rect">
            <a:avLst/>
          </a:prstGeom>
          <a:solidFill>
            <a:srgbClr val="F4E4F8">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9" name="Rectangle 18"/>
          <p:cNvSpPr/>
          <p:nvPr/>
        </p:nvSpPr>
        <p:spPr bwMode="auto">
          <a:xfrm>
            <a:off x="3389084" y="5995340"/>
            <a:ext cx="7775102" cy="390157"/>
          </a:xfrm>
          <a:prstGeom prst="rect">
            <a:avLst/>
          </a:prstGeom>
          <a:solidFill>
            <a:srgbClr val="F4E4F8">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Tree>
    <p:extLst>
      <p:ext uri="{BB962C8B-B14F-4D97-AF65-F5344CB8AC3E}">
        <p14:creationId xmlns:p14="http://schemas.microsoft.com/office/powerpoint/2010/main" val="4033082566"/>
      </p:ext>
    </p:extLst>
  </p:cSld>
  <p:clrMapOvr>
    <a:masterClrMapping/>
  </p:clrMapOvr>
  <p:transition spd="med">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ig – Sample ‘Customers’ data file</a:t>
            </a:r>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49</a:t>
            </a:fld>
            <a:endParaRPr lang="en-US" dirty="0"/>
          </a:p>
        </p:txBody>
      </p:sp>
      <p:pic>
        <p:nvPicPr>
          <p:cNvPr id="4" name="Picture 3"/>
          <p:cNvPicPr>
            <a:picLocks noChangeAspect="1"/>
          </p:cNvPicPr>
          <p:nvPr/>
        </p:nvPicPr>
        <p:blipFill>
          <a:blip r:embed="rId2"/>
          <a:stretch>
            <a:fillRect/>
          </a:stretch>
        </p:blipFill>
        <p:spPr>
          <a:xfrm>
            <a:off x="554789" y="1427940"/>
            <a:ext cx="11090174" cy="4796182"/>
          </a:xfrm>
          <a:prstGeom prst="rect">
            <a:avLst/>
          </a:prstGeom>
          <a:ln>
            <a:solidFill>
              <a:schemeClr val="bg2">
                <a:lumMod val="75000"/>
              </a:schemeClr>
            </a:solidFill>
          </a:ln>
        </p:spPr>
      </p:pic>
    </p:spTree>
    <p:extLst>
      <p:ext uri="{BB962C8B-B14F-4D97-AF65-F5344CB8AC3E}">
        <p14:creationId xmlns:p14="http://schemas.microsoft.com/office/powerpoint/2010/main" val="3256880980"/>
      </p:ext>
    </p:extLst>
  </p:cSld>
  <p:clrMapOvr>
    <a:masterClrMapping/>
  </p:clrMapOvr>
  <p:transition spd="med">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6380107" y="1173224"/>
            <a:ext cx="5811893" cy="487754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2" name="Title 1"/>
          <p:cNvSpPr>
            <a:spLocks noGrp="1"/>
          </p:cNvSpPr>
          <p:nvPr>
            <p:ph type="title"/>
          </p:nvPr>
        </p:nvSpPr>
        <p:spPr/>
        <p:txBody>
          <a:bodyPr/>
          <a:lstStyle/>
          <a:p>
            <a:r>
              <a:rPr lang="en-US" dirty="0"/>
              <a:t>MapReduce Component: Job Tracker</a:t>
            </a:r>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5</a:t>
            </a:fld>
            <a:endParaRPr lang="en-US" dirty="0"/>
          </a:p>
        </p:txBody>
      </p:sp>
      <p:grpSp>
        <p:nvGrpSpPr>
          <p:cNvPr id="55" name="Group 54"/>
          <p:cNvGrpSpPr/>
          <p:nvPr/>
        </p:nvGrpSpPr>
        <p:grpSpPr>
          <a:xfrm>
            <a:off x="6380107" y="1301261"/>
            <a:ext cx="5621438" cy="4749506"/>
            <a:chOff x="5365111" y="1525926"/>
            <a:chExt cx="6680397" cy="5263395"/>
          </a:xfrm>
        </p:grpSpPr>
        <p:sp>
          <p:nvSpPr>
            <p:cNvPr id="48" name="Rectangle 47"/>
            <p:cNvSpPr/>
            <p:nvPr/>
          </p:nvSpPr>
          <p:spPr bwMode="auto">
            <a:xfrm>
              <a:off x="8517276" y="2527443"/>
              <a:ext cx="3528232" cy="1130157"/>
            </a:xfrm>
            <a:prstGeom prst="rect">
              <a:avLst/>
            </a:prstGeom>
            <a:solidFill>
              <a:schemeClr val="accent3">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b="1"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4" name="Rounded Rectangle 3"/>
            <p:cNvSpPr/>
            <p:nvPr/>
          </p:nvSpPr>
          <p:spPr bwMode="auto">
            <a:xfrm>
              <a:off x="8620538" y="2668925"/>
              <a:ext cx="1522208" cy="844838"/>
            </a:xfrm>
            <a:prstGeom prst="round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b="1"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8" name="Oval 7"/>
            <p:cNvSpPr/>
            <p:nvPr/>
          </p:nvSpPr>
          <p:spPr bwMode="auto">
            <a:xfrm>
              <a:off x="8445262" y="1525926"/>
              <a:ext cx="1872761" cy="55391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b="1"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5" name="Rectangle 4"/>
            <p:cNvSpPr/>
            <p:nvPr/>
          </p:nvSpPr>
          <p:spPr bwMode="auto">
            <a:xfrm>
              <a:off x="8593092" y="4057911"/>
              <a:ext cx="1577100" cy="189311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b="1"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9" name="TextBox 8"/>
            <p:cNvSpPr txBox="1"/>
            <p:nvPr/>
          </p:nvSpPr>
          <p:spPr>
            <a:xfrm>
              <a:off x="8699498" y="4140497"/>
              <a:ext cx="1364289" cy="421539"/>
            </a:xfrm>
            <a:prstGeom prst="rect">
              <a:avLst/>
            </a:prstGeom>
            <a:solidFill>
              <a:schemeClr val="bg1"/>
            </a:solidFill>
          </p:spPr>
          <p:txBody>
            <a:bodyPr wrap="none" lIns="91440" tIns="91440" rIns="91440" bIns="91440" rtlCol="0" anchor="ctr">
              <a:noAutofit/>
            </a:bodyPr>
            <a:lstStyle/>
            <a:p>
              <a:pPr algn="ctr">
                <a:lnSpc>
                  <a:spcPct val="90000"/>
                </a:lnSpc>
                <a:spcAft>
                  <a:spcPts val="600"/>
                </a:spcAft>
              </a:pPr>
              <a:r>
                <a:rPr lang="en-US" sz="1400" dirty="0">
                  <a:solidFill>
                    <a:schemeClr val="tx1">
                      <a:lumMod val="85000"/>
                      <a:lumOff val="15000"/>
                    </a:schemeClr>
                  </a:solidFill>
                  <a:latin typeface="Segoe UI Semibold" panose="020B0702040204020203" pitchFamily="34" charset="0"/>
                  <a:cs typeface="Segoe UI Semibold" panose="020B0702040204020203" pitchFamily="34" charset="0"/>
                </a:rPr>
                <a:t>TaskTracker</a:t>
              </a:r>
            </a:p>
          </p:txBody>
        </p:sp>
        <p:sp>
          <p:nvSpPr>
            <p:cNvPr id="10" name="Rectangle 9"/>
            <p:cNvSpPr/>
            <p:nvPr/>
          </p:nvSpPr>
          <p:spPr bwMode="auto">
            <a:xfrm>
              <a:off x="8696722" y="4682165"/>
              <a:ext cx="623276" cy="44178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b="1" dirty="0">
                  <a:solidFill>
                    <a:schemeClr val="bg1"/>
                  </a:solidFill>
                  <a:latin typeface="Segoe UI Semibold" panose="020B0702040204020203" pitchFamily="34" charset="0"/>
                  <a:ea typeface="Segoe UI" pitchFamily="34" charset="0"/>
                  <a:cs typeface="Segoe UI Semibold" panose="020B0702040204020203" pitchFamily="34" charset="0"/>
                </a:rPr>
                <a:t>Tasks</a:t>
              </a:r>
            </a:p>
          </p:txBody>
        </p:sp>
        <p:sp>
          <p:nvSpPr>
            <p:cNvPr id="11" name="Rectangle 10"/>
            <p:cNvSpPr/>
            <p:nvPr/>
          </p:nvSpPr>
          <p:spPr bwMode="auto">
            <a:xfrm>
              <a:off x="9456122" y="4682165"/>
              <a:ext cx="622448" cy="44178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b="1" dirty="0">
                  <a:solidFill>
                    <a:schemeClr val="bg1"/>
                  </a:solidFill>
                  <a:latin typeface="Segoe UI Semibold" panose="020B0702040204020203" pitchFamily="34" charset="0"/>
                  <a:ea typeface="Segoe UI" pitchFamily="34" charset="0"/>
                  <a:cs typeface="Segoe UI Semibold" panose="020B0702040204020203" pitchFamily="34" charset="0"/>
                </a:rPr>
                <a:t>Tasks</a:t>
              </a:r>
            </a:p>
          </p:txBody>
        </p:sp>
        <p:sp>
          <p:nvSpPr>
            <p:cNvPr id="12" name="Rectangle 11"/>
            <p:cNvSpPr/>
            <p:nvPr/>
          </p:nvSpPr>
          <p:spPr bwMode="auto">
            <a:xfrm>
              <a:off x="8695011" y="5266078"/>
              <a:ext cx="623276" cy="441789"/>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b="1" dirty="0">
                  <a:solidFill>
                    <a:schemeClr val="bg1"/>
                  </a:solidFill>
                  <a:latin typeface="Segoe UI Semibold" panose="020B0702040204020203" pitchFamily="34" charset="0"/>
                  <a:ea typeface="Segoe UI" pitchFamily="34" charset="0"/>
                  <a:cs typeface="Segoe UI Semibold" panose="020B0702040204020203" pitchFamily="34" charset="0"/>
                </a:rPr>
                <a:t>Tasks</a:t>
              </a:r>
            </a:p>
          </p:txBody>
        </p:sp>
        <p:sp>
          <p:nvSpPr>
            <p:cNvPr id="13" name="Rectangle 12"/>
            <p:cNvSpPr/>
            <p:nvPr/>
          </p:nvSpPr>
          <p:spPr bwMode="auto">
            <a:xfrm>
              <a:off x="9454411" y="5266078"/>
              <a:ext cx="622448" cy="44178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b="1" dirty="0">
                  <a:solidFill>
                    <a:schemeClr val="bg1"/>
                  </a:solidFill>
                  <a:latin typeface="Segoe UI Semibold" panose="020B0702040204020203" pitchFamily="34" charset="0"/>
                  <a:ea typeface="Segoe UI" pitchFamily="34" charset="0"/>
                  <a:cs typeface="Segoe UI Semibold" panose="020B0702040204020203" pitchFamily="34" charset="0"/>
                </a:rPr>
                <a:t>Tasks</a:t>
              </a:r>
            </a:p>
          </p:txBody>
        </p:sp>
        <p:sp>
          <p:nvSpPr>
            <p:cNvPr id="14" name="TextBox 13"/>
            <p:cNvSpPr txBox="1"/>
            <p:nvPr/>
          </p:nvSpPr>
          <p:spPr>
            <a:xfrm>
              <a:off x="8701848" y="2880575"/>
              <a:ext cx="1359589" cy="421539"/>
            </a:xfrm>
            <a:prstGeom prst="roundRect">
              <a:avLst/>
            </a:prstGeom>
            <a:solidFill>
              <a:schemeClr val="bg1"/>
            </a:solidFill>
          </p:spPr>
          <p:txBody>
            <a:bodyPr wrap="none" lIns="91440" tIns="91440" rIns="91440" bIns="91440" rtlCol="0" anchor="ctr">
              <a:noAutofit/>
            </a:bodyPr>
            <a:lstStyle/>
            <a:p>
              <a:pPr algn="ctr">
                <a:lnSpc>
                  <a:spcPct val="90000"/>
                </a:lnSpc>
                <a:spcAft>
                  <a:spcPts val="600"/>
                </a:spcAft>
              </a:pPr>
              <a:r>
                <a:rPr lang="en-US" sz="1400" dirty="0">
                  <a:solidFill>
                    <a:schemeClr val="tx1">
                      <a:lumMod val="85000"/>
                      <a:lumOff val="15000"/>
                    </a:schemeClr>
                  </a:solidFill>
                  <a:latin typeface="Segoe UI Semibold" panose="020B0702040204020203" pitchFamily="34" charset="0"/>
                  <a:cs typeface="Segoe UI Semibold" panose="020B0702040204020203" pitchFamily="34" charset="0"/>
                </a:rPr>
                <a:t>JobTracker</a:t>
              </a:r>
            </a:p>
          </p:txBody>
        </p:sp>
        <p:sp>
          <p:nvSpPr>
            <p:cNvPr id="15" name="Rounded Rectangle 14"/>
            <p:cNvSpPr/>
            <p:nvPr/>
          </p:nvSpPr>
          <p:spPr bwMode="auto">
            <a:xfrm>
              <a:off x="10304665" y="2668925"/>
              <a:ext cx="1688123" cy="844838"/>
            </a:xfrm>
            <a:prstGeom prst="round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b="1"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16" name="TextBox 15"/>
            <p:cNvSpPr txBox="1"/>
            <p:nvPr/>
          </p:nvSpPr>
          <p:spPr>
            <a:xfrm>
              <a:off x="10468409" y="2880575"/>
              <a:ext cx="1362462" cy="421539"/>
            </a:xfrm>
            <a:prstGeom prst="roundRect">
              <a:avLst/>
            </a:prstGeom>
            <a:solidFill>
              <a:schemeClr val="bg1"/>
            </a:solidFill>
          </p:spPr>
          <p:txBody>
            <a:bodyPr wrap="none" lIns="91440" tIns="91440" rIns="91440" bIns="91440" rtlCol="0" anchor="ctr">
              <a:noAutofit/>
            </a:bodyPr>
            <a:lstStyle/>
            <a:p>
              <a:pPr algn="ctr">
                <a:lnSpc>
                  <a:spcPct val="90000"/>
                </a:lnSpc>
                <a:spcAft>
                  <a:spcPts val="600"/>
                </a:spcAft>
              </a:pPr>
              <a:r>
                <a:rPr lang="en-US" sz="1400" dirty="0">
                  <a:solidFill>
                    <a:schemeClr val="tx1">
                      <a:lumMod val="85000"/>
                      <a:lumOff val="15000"/>
                    </a:schemeClr>
                  </a:solidFill>
                  <a:latin typeface="Segoe UI Semibold" panose="020B0702040204020203" pitchFamily="34" charset="0"/>
                  <a:cs typeface="Segoe UI Semibold" panose="020B0702040204020203" pitchFamily="34" charset="0"/>
                </a:rPr>
                <a:t>NameNode</a:t>
              </a:r>
            </a:p>
          </p:txBody>
        </p:sp>
        <p:grpSp>
          <p:nvGrpSpPr>
            <p:cNvPr id="18" name="Group 17"/>
            <p:cNvGrpSpPr/>
            <p:nvPr/>
          </p:nvGrpSpPr>
          <p:grpSpPr>
            <a:xfrm>
              <a:off x="10468408" y="4057911"/>
              <a:ext cx="1577100" cy="1893111"/>
              <a:chOff x="6133673" y="4404946"/>
              <a:chExt cx="1577100" cy="1893111"/>
            </a:xfrm>
          </p:grpSpPr>
          <p:sp>
            <p:nvSpPr>
              <p:cNvPr id="19" name="Rectangle 18"/>
              <p:cNvSpPr/>
              <p:nvPr/>
            </p:nvSpPr>
            <p:spPr bwMode="auto">
              <a:xfrm>
                <a:off x="6133673" y="4404946"/>
                <a:ext cx="1577100" cy="189311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b="1"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20" name="TextBox 19"/>
              <p:cNvSpPr txBox="1"/>
              <p:nvPr/>
            </p:nvSpPr>
            <p:spPr>
              <a:xfrm>
                <a:off x="6257851" y="4487532"/>
                <a:ext cx="1364289" cy="421539"/>
              </a:xfrm>
              <a:prstGeom prst="rect">
                <a:avLst/>
              </a:prstGeom>
              <a:solidFill>
                <a:schemeClr val="bg1"/>
              </a:solidFill>
            </p:spPr>
            <p:txBody>
              <a:bodyPr wrap="none" lIns="91440" tIns="91440" rIns="91440" bIns="91440" rtlCol="0" anchor="ctr">
                <a:noAutofit/>
              </a:bodyPr>
              <a:lstStyle/>
              <a:p>
                <a:pPr algn="ctr">
                  <a:lnSpc>
                    <a:spcPct val="90000"/>
                  </a:lnSpc>
                  <a:spcAft>
                    <a:spcPts val="600"/>
                  </a:spcAft>
                </a:pPr>
                <a:r>
                  <a:rPr lang="en-US" sz="1400" dirty="0">
                    <a:solidFill>
                      <a:schemeClr val="tx1">
                        <a:lumMod val="85000"/>
                        <a:lumOff val="15000"/>
                      </a:schemeClr>
                    </a:solidFill>
                    <a:latin typeface="Segoe UI Semibold" panose="020B0702040204020203" pitchFamily="34" charset="0"/>
                    <a:cs typeface="Segoe UI Semibold" panose="020B0702040204020203" pitchFamily="34" charset="0"/>
                  </a:rPr>
                  <a:t>TaskTracker</a:t>
                </a:r>
              </a:p>
            </p:txBody>
          </p:sp>
          <p:sp>
            <p:nvSpPr>
              <p:cNvPr id="21" name="Rectangle 20"/>
              <p:cNvSpPr/>
              <p:nvPr/>
            </p:nvSpPr>
            <p:spPr bwMode="auto">
              <a:xfrm>
                <a:off x="6237303" y="5029200"/>
                <a:ext cx="623276" cy="44178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b="1" dirty="0">
                    <a:solidFill>
                      <a:schemeClr val="bg1"/>
                    </a:solidFill>
                    <a:latin typeface="Segoe UI Semibold" panose="020B0702040204020203" pitchFamily="34" charset="0"/>
                    <a:ea typeface="Segoe UI" pitchFamily="34" charset="0"/>
                    <a:cs typeface="Segoe UI Semibold" panose="020B0702040204020203" pitchFamily="34" charset="0"/>
                  </a:rPr>
                  <a:t>Tasks</a:t>
                </a:r>
              </a:p>
            </p:txBody>
          </p:sp>
          <p:sp>
            <p:nvSpPr>
              <p:cNvPr id="22" name="Rectangle 21"/>
              <p:cNvSpPr/>
              <p:nvPr/>
            </p:nvSpPr>
            <p:spPr bwMode="auto">
              <a:xfrm>
                <a:off x="6996703" y="5029200"/>
                <a:ext cx="622448" cy="44178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b="1" dirty="0">
                    <a:solidFill>
                      <a:schemeClr val="bg1"/>
                    </a:solidFill>
                    <a:latin typeface="Segoe UI Semibold" panose="020B0702040204020203" pitchFamily="34" charset="0"/>
                    <a:ea typeface="Segoe UI" pitchFamily="34" charset="0"/>
                    <a:cs typeface="Segoe UI Semibold" panose="020B0702040204020203" pitchFamily="34" charset="0"/>
                  </a:rPr>
                  <a:t>Tasks</a:t>
                </a:r>
              </a:p>
            </p:txBody>
          </p:sp>
          <p:sp>
            <p:nvSpPr>
              <p:cNvPr id="23" name="Rectangle 22"/>
              <p:cNvSpPr/>
              <p:nvPr/>
            </p:nvSpPr>
            <p:spPr bwMode="auto">
              <a:xfrm>
                <a:off x="6235592" y="5613113"/>
                <a:ext cx="623276" cy="441789"/>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b="1" dirty="0">
                    <a:solidFill>
                      <a:schemeClr val="bg1"/>
                    </a:solidFill>
                    <a:latin typeface="Segoe UI Semibold" panose="020B0702040204020203" pitchFamily="34" charset="0"/>
                    <a:ea typeface="Segoe UI" pitchFamily="34" charset="0"/>
                    <a:cs typeface="Segoe UI Semibold" panose="020B0702040204020203" pitchFamily="34" charset="0"/>
                  </a:rPr>
                  <a:t>Tasks</a:t>
                </a:r>
              </a:p>
            </p:txBody>
          </p:sp>
          <p:sp>
            <p:nvSpPr>
              <p:cNvPr id="24" name="Rectangle 23"/>
              <p:cNvSpPr/>
              <p:nvPr/>
            </p:nvSpPr>
            <p:spPr bwMode="auto">
              <a:xfrm>
                <a:off x="6994992" y="5613113"/>
                <a:ext cx="622448" cy="44178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b="1" dirty="0">
                    <a:solidFill>
                      <a:schemeClr val="bg1"/>
                    </a:solidFill>
                    <a:latin typeface="Segoe UI Semibold" panose="020B0702040204020203" pitchFamily="34" charset="0"/>
                    <a:ea typeface="Segoe UI" pitchFamily="34" charset="0"/>
                    <a:cs typeface="Segoe UI Semibold" panose="020B0702040204020203" pitchFamily="34" charset="0"/>
                  </a:rPr>
                  <a:t>Tasks</a:t>
                </a:r>
              </a:p>
            </p:txBody>
          </p:sp>
        </p:grpSp>
        <p:grpSp>
          <p:nvGrpSpPr>
            <p:cNvPr id="25" name="Group 24"/>
            <p:cNvGrpSpPr/>
            <p:nvPr/>
          </p:nvGrpSpPr>
          <p:grpSpPr>
            <a:xfrm>
              <a:off x="6766275" y="4057911"/>
              <a:ext cx="1577100" cy="1893111"/>
              <a:chOff x="6133673" y="4404946"/>
              <a:chExt cx="1577100" cy="1893111"/>
            </a:xfrm>
          </p:grpSpPr>
          <p:sp>
            <p:nvSpPr>
              <p:cNvPr id="26" name="Rectangle 25"/>
              <p:cNvSpPr/>
              <p:nvPr/>
            </p:nvSpPr>
            <p:spPr bwMode="auto">
              <a:xfrm>
                <a:off x="6133673" y="4404946"/>
                <a:ext cx="1577100" cy="189311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b="1"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27" name="TextBox 26"/>
              <p:cNvSpPr txBox="1"/>
              <p:nvPr/>
            </p:nvSpPr>
            <p:spPr>
              <a:xfrm>
                <a:off x="6257851" y="4487532"/>
                <a:ext cx="1364289" cy="421539"/>
              </a:xfrm>
              <a:prstGeom prst="rect">
                <a:avLst/>
              </a:prstGeom>
              <a:solidFill>
                <a:schemeClr val="bg1"/>
              </a:solidFill>
            </p:spPr>
            <p:txBody>
              <a:bodyPr wrap="none" lIns="91440" tIns="91440" rIns="91440" bIns="91440" rtlCol="0" anchor="ctr">
                <a:noAutofit/>
              </a:bodyPr>
              <a:lstStyle/>
              <a:p>
                <a:pPr algn="ctr">
                  <a:lnSpc>
                    <a:spcPct val="90000"/>
                  </a:lnSpc>
                  <a:spcAft>
                    <a:spcPts val="600"/>
                  </a:spcAft>
                </a:pPr>
                <a:r>
                  <a:rPr lang="en-US" sz="1400" dirty="0">
                    <a:solidFill>
                      <a:schemeClr val="tx1">
                        <a:lumMod val="85000"/>
                        <a:lumOff val="15000"/>
                      </a:schemeClr>
                    </a:solidFill>
                    <a:latin typeface="Segoe UI Semibold" panose="020B0702040204020203" pitchFamily="34" charset="0"/>
                    <a:cs typeface="Segoe UI Semibold" panose="020B0702040204020203" pitchFamily="34" charset="0"/>
                  </a:rPr>
                  <a:t>TaskTracker</a:t>
                </a:r>
              </a:p>
            </p:txBody>
          </p:sp>
          <p:sp>
            <p:nvSpPr>
              <p:cNvPr id="28" name="Rectangle 27"/>
              <p:cNvSpPr/>
              <p:nvPr/>
            </p:nvSpPr>
            <p:spPr bwMode="auto">
              <a:xfrm>
                <a:off x="6237303" y="5029200"/>
                <a:ext cx="623276" cy="44178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b="1" dirty="0">
                    <a:solidFill>
                      <a:schemeClr val="bg1"/>
                    </a:solidFill>
                    <a:latin typeface="Segoe UI Semibold" panose="020B0702040204020203" pitchFamily="34" charset="0"/>
                    <a:ea typeface="Segoe UI" pitchFamily="34" charset="0"/>
                    <a:cs typeface="Segoe UI Semibold" panose="020B0702040204020203" pitchFamily="34" charset="0"/>
                  </a:rPr>
                  <a:t>Tasks</a:t>
                </a:r>
              </a:p>
            </p:txBody>
          </p:sp>
          <p:sp>
            <p:nvSpPr>
              <p:cNvPr id="29" name="Rectangle 28"/>
              <p:cNvSpPr/>
              <p:nvPr/>
            </p:nvSpPr>
            <p:spPr bwMode="auto">
              <a:xfrm>
                <a:off x="6996703" y="5029200"/>
                <a:ext cx="622448" cy="44178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b="1" dirty="0">
                    <a:solidFill>
                      <a:schemeClr val="bg1"/>
                    </a:solidFill>
                    <a:latin typeface="Segoe UI Semibold" panose="020B0702040204020203" pitchFamily="34" charset="0"/>
                    <a:ea typeface="Segoe UI" pitchFamily="34" charset="0"/>
                    <a:cs typeface="Segoe UI Semibold" panose="020B0702040204020203" pitchFamily="34" charset="0"/>
                  </a:rPr>
                  <a:t>Tasks</a:t>
                </a:r>
              </a:p>
            </p:txBody>
          </p:sp>
          <p:sp>
            <p:nvSpPr>
              <p:cNvPr id="30" name="Rectangle 29"/>
              <p:cNvSpPr/>
              <p:nvPr/>
            </p:nvSpPr>
            <p:spPr bwMode="auto">
              <a:xfrm>
                <a:off x="6235592" y="5613113"/>
                <a:ext cx="623276" cy="441789"/>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b="1" dirty="0">
                    <a:solidFill>
                      <a:schemeClr val="bg1"/>
                    </a:solidFill>
                    <a:latin typeface="Segoe UI Semibold" panose="020B0702040204020203" pitchFamily="34" charset="0"/>
                    <a:ea typeface="Segoe UI" pitchFamily="34" charset="0"/>
                    <a:cs typeface="Segoe UI Semibold" panose="020B0702040204020203" pitchFamily="34" charset="0"/>
                  </a:rPr>
                  <a:t>Tasks</a:t>
                </a:r>
              </a:p>
            </p:txBody>
          </p:sp>
          <p:sp>
            <p:nvSpPr>
              <p:cNvPr id="31" name="Rectangle 30"/>
              <p:cNvSpPr/>
              <p:nvPr/>
            </p:nvSpPr>
            <p:spPr bwMode="auto">
              <a:xfrm>
                <a:off x="6994992" y="5613113"/>
                <a:ext cx="622448" cy="44178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b="1" dirty="0">
                    <a:solidFill>
                      <a:schemeClr val="bg1"/>
                    </a:solidFill>
                    <a:latin typeface="Segoe UI Semibold" panose="020B0702040204020203" pitchFamily="34" charset="0"/>
                    <a:ea typeface="Segoe UI" pitchFamily="34" charset="0"/>
                    <a:cs typeface="Segoe UI Semibold" panose="020B0702040204020203" pitchFamily="34" charset="0"/>
                  </a:rPr>
                  <a:t>Tasks</a:t>
                </a:r>
              </a:p>
            </p:txBody>
          </p:sp>
        </p:grpSp>
        <p:sp>
          <p:nvSpPr>
            <p:cNvPr id="32" name="TextBox 31"/>
            <p:cNvSpPr txBox="1"/>
            <p:nvPr/>
          </p:nvSpPr>
          <p:spPr>
            <a:xfrm>
              <a:off x="8783431" y="1681842"/>
              <a:ext cx="1196422" cy="244852"/>
            </a:xfrm>
            <a:prstGeom prst="ellipse">
              <a:avLst/>
            </a:prstGeom>
            <a:solidFill>
              <a:schemeClr val="bg1"/>
            </a:solidFill>
          </p:spPr>
          <p:txBody>
            <a:bodyPr wrap="none" lIns="91440" tIns="91440" rIns="91440" bIns="91440" rtlCol="0" anchor="ctr">
              <a:noAutofit/>
            </a:bodyPr>
            <a:lstStyle/>
            <a:p>
              <a:pPr algn="ctr">
                <a:lnSpc>
                  <a:spcPct val="90000"/>
                </a:lnSpc>
                <a:spcAft>
                  <a:spcPts val="600"/>
                </a:spcAft>
              </a:pPr>
              <a:r>
                <a:rPr lang="en-US" sz="1400" dirty="0">
                  <a:solidFill>
                    <a:schemeClr val="tx1">
                      <a:lumMod val="85000"/>
                      <a:lumOff val="15000"/>
                    </a:schemeClr>
                  </a:solidFill>
                  <a:latin typeface="Segoe UI Semibold" panose="020B0702040204020203" pitchFamily="34" charset="0"/>
                  <a:cs typeface="Segoe UI Semibold" panose="020B0702040204020203" pitchFamily="34" charset="0"/>
                </a:rPr>
                <a:t>Client</a:t>
              </a:r>
            </a:p>
          </p:txBody>
        </p:sp>
        <p:cxnSp>
          <p:nvCxnSpPr>
            <p:cNvPr id="34" name="Straight Arrow Connector 33"/>
            <p:cNvCxnSpPr/>
            <p:nvPr/>
          </p:nvCxnSpPr>
          <p:spPr>
            <a:xfrm flipH="1">
              <a:off x="9381642" y="2079841"/>
              <a:ext cx="1" cy="58908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a:off x="10076859" y="3091344"/>
              <a:ext cx="391550" cy="0"/>
            </a:xfrm>
            <a:prstGeom prst="straightConnector1">
              <a:avLst/>
            </a:prstGeom>
            <a:ln w="38100">
              <a:solidFill>
                <a:srgbClr val="92D05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8" name="Elbow Connector 37"/>
            <p:cNvCxnSpPr>
              <a:stCxn id="4" idx="2"/>
              <a:endCxn id="27" idx="0"/>
            </p:cNvCxnSpPr>
            <p:nvPr/>
          </p:nvCxnSpPr>
          <p:spPr>
            <a:xfrm rot="5400000">
              <a:off x="8163753" y="2922608"/>
              <a:ext cx="626734" cy="1809044"/>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0" name="Elbow Connector 39"/>
            <p:cNvCxnSpPr>
              <a:stCxn id="4" idx="2"/>
              <a:endCxn id="20" idx="0"/>
            </p:cNvCxnSpPr>
            <p:nvPr/>
          </p:nvCxnSpPr>
          <p:spPr>
            <a:xfrm rot="16200000" flipH="1">
              <a:off x="10014819" y="2880585"/>
              <a:ext cx="626734" cy="1893089"/>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a:stCxn id="4" idx="2"/>
              <a:endCxn id="9" idx="0"/>
            </p:cNvCxnSpPr>
            <p:nvPr/>
          </p:nvCxnSpPr>
          <p:spPr>
            <a:xfrm>
              <a:off x="9381642" y="3513763"/>
              <a:ext cx="1" cy="62673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9" name="TextBox 48"/>
            <p:cNvSpPr txBox="1"/>
            <p:nvPr/>
          </p:nvSpPr>
          <p:spPr>
            <a:xfrm>
              <a:off x="6601817" y="5874921"/>
              <a:ext cx="5229053" cy="914400"/>
            </a:xfrm>
            <a:prstGeom prst="rect">
              <a:avLst/>
            </a:prstGeom>
            <a:noFill/>
          </p:spPr>
          <p:txBody>
            <a:bodyPr wrap="square" lIns="182880" tIns="146304" rIns="182880" bIns="146304" rtlCol="0">
              <a:noAutofit/>
            </a:bodyPr>
            <a:lstStyle/>
            <a:p>
              <a:pPr marL="285750" indent="-285750">
                <a:lnSpc>
                  <a:spcPct val="90000"/>
                </a:lnSpc>
                <a:spcAft>
                  <a:spcPts val="600"/>
                </a:spcAft>
                <a:buFont typeface="Arial" panose="020B0604020202020204" pitchFamily="34" charset="0"/>
                <a:buChar char="•"/>
              </a:pPr>
              <a:r>
                <a:rPr lang="en-US" sz="1200" dirty="0">
                  <a:solidFill>
                    <a:schemeClr val="tx1">
                      <a:lumMod val="85000"/>
                      <a:lumOff val="15000"/>
                    </a:schemeClr>
                  </a:solidFill>
                  <a:latin typeface="Segoe UI Semibold" panose="020B0702040204020203" pitchFamily="34" charset="0"/>
                  <a:cs typeface="Segoe UI Semibold" panose="020B0702040204020203" pitchFamily="34" charset="0"/>
                </a:rPr>
                <a:t>Tasks can be Map or Reduce tasks</a:t>
              </a:r>
            </a:p>
            <a:p>
              <a:pPr marL="285750" indent="-285750">
                <a:lnSpc>
                  <a:spcPct val="90000"/>
                </a:lnSpc>
                <a:spcAft>
                  <a:spcPts val="600"/>
                </a:spcAft>
                <a:buFont typeface="Arial" panose="020B0604020202020204" pitchFamily="34" charset="0"/>
                <a:buChar char="•"/>
              </a:pPr>
              <a:r>
                <a:rPr lang="en-US" sz="1200" dirty="0">
                  <a:solidFill>
                    <a:schemeClr val="tx1">
                      <a:lumMod val="85000"/>
                      <a:lumOff val="15000"/>
                    </a:schemeClr>
                  </a:solidFill>
                  <a:latin typeface="Segoe UI Semibold" panose="020B0702040204020203" pitchFamily="34" charset="0"/>
                  <a:cs typeface="Segoe UI Semibold" panose="020B0702040204020203" pitchFamily="34" charset="0"/>
                </a:rPr>
                <a:t>HDFS component </a:t>
              </a:r>
              <a:r>
                <a:rPr lang="en-US" sz="1200" dirty="0" err="1">
                  <a:solidFill>
                    <a:schemeClr val="tx1">
                      <a:lumMod val="85000"/>
                      <a:lumOff val="15000"/>
                    </a:schemeClr>
                  </a:solidFill>
                  <a:latin typeface="Segoe UI Semibold" panose="020B0702040204020203" pitchFamily="34" charset="0"/>
                  <a:cs typeface="Segoe UI Semibold" panose="020B0702040204020203" pitchFamily="34" charset="0"/>
                </a:rPr>
                <a:t>DataNodes</a:t>
              </a:r>
              <a:r>
                <a:rPr lang="en-US" sz="1200" dirty="0">
                  <a:solidFill>
                    <a:schemeClr val="tx1">
                      <a:lumMod val="85000"/>
                      <a:lumOff val="15000"/>
                    </a:schemeClr>
                  </a:solidFill>
                  <a:latin typeface="Segoe UI Semibold" panose="020B0702040204020203" pitchFamily="34" charset="0"/>
                  <a:cs typeface="Segoe UI Semibold" panose="020B0702040204020203" pitchFamily="34" charset="0"/>
                </a:rPr>
                <a:t> are not shown. They are usually be on the same servers as TaskTrackers</a:t>
              </a:r>
            </a:p>
          </p:txBody>
        </p:sp>
        <p:sp>
          <p:nvSpPr>
            <p:cNvPr id="51" name="Left Brace 50"/>
            <p:cNvSpPr/>
            <p:nvPr/>
          </p:nvSpPr>
          <p:spPr>
            <a:xfrm>
              <a:off x="6040282" y="4067281"/>
              <a:ext cx="499890" cy="1883741"/>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latin typeface="Segoe UI Semibold" panose="020B0702040204020203" pitchFamily="34" charset="0"/>
                <a:cs typeface="Segoe UI Semibold" panose="020B0702040204020203" pitchFamily="34" charset="0"/>
              </a:endParaRPr>
            </a:p>
          </p:txBody>
        </p:sp>
        <p:sp>
          <p:nvSpPr>
            <p:cNvPr id="52" name="TextBox 51"/>
            <p:cNvSpPr txBox="1"/>
            <p:nvPr/>
          </p:nvSpPr>
          <p:spPr>
            <a:xfrm>
              <a:off x="5365111" y="4227984"/>
              <a:ext cx="708425" cy="1552964"/>
            </a:xfrm>
            <a:prstGeom prst="rect">
              <a:avLst/>
            </a:prstGeom>
            <a:noFill/>
          </p:spPr>
          <p:txBody>
            <a:bodyPr wrap="square" lIns="0" tIns="146304" rIns="0" bIns="146304" rtlCol="0" anchor="ctr">
              <a:noAutofit/>
            </a:bodyPr>
            <a:lstStyle/>
            <a:p>
              <a:pPr algn="r">
                <a:lnSpc>
                  <a:spcPct val="90000"/>
                </a:lnSpc>
                <a:spcAft>
                  <a:spcPts val="600"/>
                </a:spcAft>
              </a:pPr>
              <a:r>
                <a:rPr lang="en-US" sz="1400" dirty="0">
                  <a:solidFill>
                    <a:schemeClr val="tx1">
                      <a:lumMod val="85000"/>
                      <a:lumOff val="15000"/>
                    </a:schemeClr>
                  </a:solidFill>
                  <a:latin typeface="Segoe UI Semibold" panose="020B0702040204020203" pitchFamily="34" charset="0"/>
                  <a:cs typeface="Segoe UI Semibold" panose="020B0702040204020203" pitchFamily="34" charset="0"/>
                </a:rPr>
                <a:t>Slave Nodes</a:t>
              </a:r>
            </a:p>
          </p:txBody>
        </p:sp>
        <p:sp>
          <p:nvSpPr>
            <p:cNvPr id="53" name="Left Brace 52"/>
            <p:cNvSpPr/>
            <p:nvPr/>
          </p:nvSpPr>
          <p:spPr>
            <a:xfrm>
              <a:off x="7983791" y="2527206"/>
              <a:ext cx="506757" cy="1109166"/>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latin typeface="Segoe UI Semibold" panose="020B0702040204020203" pitchFamily="34" charset="0"/>
                <a:cs typeface="Segoe UI Semibold" panose="020B0702040204020203" pitchFamily="34" charset="0"/>
              </a:endParaRPr>
            </a:p>
          </p:txBody>
        </p:sp>
        <p:sp>
          <p:nvSpPr>
            <p:cNvPr id="54" name="TextBox 53"/>
            <p:cNvSpPr txBox="1"/>
            <p:nvPr/>
          </p:nvSpPr>
          <p:spPr>
            <a:xfrm>
              <a:off x="7287333" y="2292655"/>
              <a:ext cx="710771" cy="1552964"/>
            </a:xfrm>
            <a:prstGeom prst="rect">
              <a:avLst/>
            </a:prstGeom>
            <a:noFill/>
          </p:spPr>
          <p:txBody>
            <a:bodyPr wrap="square" lIns="0" tIns="146304" rIns="0" bIns="146304" rtlCol="0" anchor="ctr">
              <a:noAutofit/>
            </a:bodyPr>
            <a:lstStyle/>
            <a:p>
              <a:pPr algn="r">
                <a:lnSpc>
                  <a:spcPct val="90000"/>
                </a:lnSpc>
                <a:spcAft>
                  <a:spcPts val="600"/>
                </a:spcAft>
              </a:pPr>
              <a:r>
                <a:rPr lang="en-US" sz="1400" dirty="0">
                  <a:solidFill>
                    <a:schemeClr val="tx1">
                      <a:lumMod val="85000"/>
                      <a:lumOff val="15000"/>
                    </a:schemeClr>
                  </a:solidFill>
                  <a:latin typeface="Segoe UI Semibold" panose="020B0702040204020203" pitchFamily="34" charset="0"/>
                  <a:cs typeface="Segoe UI Semibold" panose="020B0702040204020203" pitchFamily="34" charset="0"/>
                </a:rPr>
                <a:t>Master Nodes</a:t>
              </a:r>
            </a:p>
          </p:txBody>
        </p:sp>
      </p:grpSp>
      <p:sp>
        <p:nvSpPr>
          <p:cNvPr id="56" name="Rectangle 55"/>
          <p:cNvSpPr/>
          <p:nvPr/>
        </p:nvSpPr>
        <p:spPr>
          <a:xfrm>
            <a:off x="390664" y="1173224"/>
            <a:ext cx="5820023" cy="5216813"/>
          </a:xfrm>
          <a:prstGeom prst="rect">
            <a:avLst/>
          </a:prstGeom>
        </p:spPr>
        <p:txBody>
          <a:bodyPr wrap="square">
            <a:spAutoFit/>
          </a:bodyPr>
          <a:lstStyle/>
          <a:p>
            <a:pPr>
              <a:spcAft>
                <a:spcPts val="600"/>
              </a:spcAft>
            </a:pPr>
            <a:r>
              <a:rPr lang="en-US" sz="1600" dirty="0">
                <a:solidFill>
                  <a:schemeClr val="tx1">
                    <a:lumMod val="65000"/>
                    <a:lumOff val="35000"/>
                  </a:schemeClr>
                </a:solidFill>
              </a:rPr>
              <a:t>The JobTracker service farms out MapReduce tasks to specific nodes in the cluster (ideally the nodes that have the data, or at least are in the same rack).</a:t>
            </a:r>
          </a:p>
          <a:p>
            <a:pPr marL="342900" indent="-342900">
              <a:lnSpc>
                <a:spcPts val="1800"/>
              </a:lnSpc>
              <a:spcAft>
                <a:spcPts val="600"/>
              </a:spcAft>
              <a:buSzPct val="85000"/>
              <a:buFont typeface="+mj-lt"/>
              <a:buAutoNum type="arabicPeriod"/>
            </a:pPr>
            <a:r>
              <a:rPr lang="en-US" sz="1500" dirty="0">
                <a:solidFill>
                  <a:schemeClr val="tx1">
                    <a:lumMod val="65000"/>
                    <a:lumOff val="35000"/>
                  </a:schemeClr>
                </a:solidFill>
              </a:rPr>
              <a:t>Client applications submit jobs to the Job tracker.</a:t>
            </a:r>
          </a:p>
          <a:p>
            <a:pPr marL="342900" indent="-342900">
              <a:lnSpc>
                <a:spcPts val="1800"/>
              </a:lnSpc>
              <a:spcAft>
                <a:spcPts val="600"/>
              </a:spcAft>
              <a:buSzPct val="85000"/>
              <a:buFont typeface="+mj-lt"/>
              <a:buAutoNum type="arabicPeriod"/>
            </a:pPr>
            <a:r>
              <a:rPr lang="en-US" sz="1500" dirty="0">
                <a:solidFill>
                  <a:schemeClr val="tx1">
                    <a:lumMod val="65000"/>
                    <a:lumOff val="35000"/>
                  </a:schemeClr>
                </a:solidFill>
              </a:rPr>
              <a:t>The JobTracker talks to the NameNode to determine the location of the data</a:t>
            </a:r>
          </a:p>
          <a:p>
            <a:pPr marL="342900" indent="-342900">
              <a:lnSpc>
                <a:spcPts val="1800"/>
              </a:lnSpc>
              <a:spcAft>
                <a:spcPts val="600"/>
              </a:spcAft>
              <a:buSzPct val="85000"/>
              <a:buFont typeface="+mj-lt"/>
              <a:buAutoNum type="arabicPeriod"/>
            </a:pPr>
            <a:r>
              <a:rPr lang="en-US" sz="1500" dirty="0">
                <a:solidFill>
                  <a:schemeClr val="tx1">
                    <a:lumMod val="65000"/>
                    <a:lumOff val="35000"/>
                  </a:schemeClr>
                </a:solidFill>
              </a:rPr>
              <a:t>The JobTracker locates TaskTracker nodes with available slots at or near the data</a:t>
            </a:r>
          </a:p>
          <a:p>
            <a:pPr marL="342900" indent="-342900">
              <a:lnSpc>
                <a:spcPts val="1800"/>
              </a:lnSpc>
              <a:spcAft>
                <a:spcPts val="600"/>
              </a:spcAft>
              <a:buSzPct val="85000"/>
              <a:buFont typeface="+mj-lt"/>
              <a:buAutoNum type="arabicPeriod"/>
            </a:pPr>
            <a:r>
              <a:rPr lang="en-US" sz="1500" dirty="0">
                <a:solidFill>
                  <a:schemeClr val="tx1">
                    <a:lumMod val="65000"/>
                    <a:lumOff val="35000"/>
                  </a:schemeClr>
                </a:solidFill>
              </a:rPr>
              <a:t>The JobTracker submits the work to the chosen TaskTracker nodes.</a:t>
            </a:r>
          </a:p>
          <a:p>
            <a:pPr marL="342900" indent="-342900">
              <a:lnSpc>
                <a:spcPts val="1800"/>
              </a:lnSpc>
              <a:spcAft>
                <a:spcPts val="600"/>
              </a:spcAft>
              <a:buSzPct val="85000"/>
              <a:buFont typeface="+mj-lt"/>
              <a:buAutoNum type="arabicPeriod"/>
            </a:pPr>
            <a:r>
              <a:rPr lang="en-US" sz="1500" dirty="0">
                <a:solidFill>
                  <a:schemeClr val="tx1">
                    <a:lumMod val="65000"/>
                    <a:lumOff val="35000"/>
                  </a:schemeClr>
                </a:solidFill>
              </a:rPr>
              <a:t>When the work is completed, the JobTracker updates its status.</a:t>
            </a:r>
          </a:p>
          <a:p>
            <a:pPr>
              <a:lnSpc>
                <a:spcPts val="1800"/>
              </a:lnSpc>
              <a:spcAft>
                <a:spcPts val="600"/>
              </a:spcAft>
              <a:buSzPct val="85000"/>
            </a:pPr>
            <a:r>
              <a:rPr lang="en-US" sz="1500" dirty="0">
                <a:solidFill>
                  <a:schemeClr val="tx1">
                    <a:lumMod val="65000"/>
                    <a:lumOff val="35000"/>
                  </a:schemeClr>
                </a:solidFill>
              </a:rPr>
              <a:t>TaskTracker nodes are monitored.</a:t>
            </a:r>
          </a:p>
          <a:p>
            <a:pPr marL="285750" indent="-285750">
              <a:lnSpc>
                <a:spcPts val="1800"/>
              </a:lnSpc>
              <a:spcAft>
                <a:spcPts val="600"/>
              </a:spcAft>
              <a:buSzPct val="85000"/>
              <a:buFont typeface="Arial" panose="020B0604020202020204" pitchFamily="34" charset="0"/>
              <a:buChar char="•"/>
            </a:pPr>
            <a:r>
              <a:rPr lang="en-US" sz="1400" dirty="0">
                <a:solidFill>
                  <a:schemeClr val="tx1">
                    <a:lumMod val="65000"/>
                    <a:lumOff val="35000"/>
                  </a:schemeClr>
                </a:solidFill>
              </a:rPr>
              <a:t>If they do not submit heartbeat signals often enough, they are deemed to have failed and the work is scheduled on a different TaskTracker.</a:t>
            </a:r>
          </a:p>
          <a:p>
            <a:pPr>
              <a:lnSpc>
                <a:spcPts val="1800"/>
              </a:lnSpc>
              <a:spcAft>
                <a:spcPts val="600"/>
              </a:spcAft>
              <a:buSzPct val="85000"/>
            </a:pPr>
            <a:r>
              <a:rPr lang="en-US" sz="1500" dirty="0">
                <a:solidFill>
                  <a:schemeClr val="tx1">
                    <a:lumMod val="65000"/>
                    <a:lumOff val="35000"/>
                  </a:schemeClr>
                </a:solidFill>
              </a:rPr>
              <a:t>A TaskTracker will notify the JobTracker when a task fails</a:t>
            </a:r>
          </a:p>
          <a:p>
            <a:pPr marL="285750" indent="-285750">
              <a:lnSpc>
                <a:spcPts val="1800"/>
              </a:lnSpc>
              <a:spcAft>
                <a:spcPts val="600"/>
              </a:spcAft>
              <a:buSzPct val="85000"/>
              <a:buFont typeface="Arial" panose="020B0604020202020204" pitchFamily="34" charset="0"/>
              <a:buChar char="•"/>
            </a:pPr>
            <a:r>
              <a:rPr lang="en-US" sz="1400" dirty="0">
                <a:solidFill>
                  <a:schemeClr val="tx1">
                    <a:lumMod val="65000"/>
                    <a:lumOff val="35000"/>
                  </a:schemeClr>
                </a:solidFill>
              </a:rPr>
              <a:t>The Job Tracker may resubmit the job elsewhere, mark that specific record as something to avoid and even blacklist the TaskTracker as unreliable.</a:t>
            </a:r>
          </a:p>
        </p:txBody>
      </p:sp>
    </p:spTree>
    <p:extLst>
      <p:ext uri="{BB962C8B-B14F-4D97-AF65-F5344CB8AC3E}">
        <p14:creationId xmlns:p14="http://schemas.microsoft.com/office/powerpoint/2010/main" val="1554203861"/>
      </p:ext>
    </p:extLst>
  </p:cSld>
  <p:clrMapOvr>
    <a:masterClrMapping/>
  </p:clrMapOvr>
  <p:transition spd="med">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ig – Sample ‘Orders’ data file</a:t>
            </a:r>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50</a:t>
            </a:fld>
            <a:endParaRPr lang="en-US" dirty="0"/>
          </a:p>
        </p:txBody>
      </p:sp>
      <p:pic>
        <p:nvPicPr>
          <p:cNvPr id="4" name="Picture 3"/>
          <p:cNvPicPr>
            <a:picLocks noChangeAspect="1"/>
          </p:cNvPicPr>
          <p:nvPr/>
        </p:nvPicPr>
        <p:blipFill>
          <a:blip r:embed="rId2"/>
          <a:stretch>
            <a:fillRect/>
          </a:stretch>
        </p:blipFill>
        <p:spPr>
          <a:xfrm>
            <a:off x="454350" y="1520981"/>
            <a:ext cx="11468100" cy="4610100"/>
          </a:xfrm>
          <a:prstGeom prst="rect">
            <a:avLst/>
          </a:prstGeom>
          <a:ln>
            <a:solidFill>
              <a:schemeClr val="bg2">
                <a:lumMod val="75000"/>
              </a:schemeClr>
            </a:solidFill>
          </a:ln>
        </p:spPr>
      </p:pic>
    </p:spTree>
    <p:extLst>
      <p:ext uri="{BB962C8B-B14F-4D97-AF65-F5344CB8AC3E}">
        <p14:creationId xmlns:p14="http://schemas.microsoft.com/office/powerpoint/2010/main" val="3207754679"/>
      </p:ext>
    </p:extLst>
  </p:cSld>
  <p:clrMapOvr>
    <a:masterClrMapping/>
  </p:clrMapOvr>
  <p:transition spd="med">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oading and Querying with Pig</a:t>
            </a:r>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51</a:t>
            </a:fld>
            <a:endParaRPr lang="en-US" dirty="0"/>
          </a:p>
        </p:txBody>
      </p:sp>
      <p:pic>
        <p:nvPicPr>
          <p:cNvPr id="4" name="Picture 3"/>
          <p:cNvPicPr>
            <a:picLocks noChangeAspect="1"/>
          </p:cNvPicPr>
          <p:nvPr/>
        </p:nvPicPr>
        <p:blipFill>
          <a:blip r:embed="rId2"/>
          <a:stretch>
            <a:fillRect/>
          </a:stretch>
        </p:blipFill>
        <p:spPr>
          <a:xfrm>
            <a:off x="723122" y="1221813"/>
            <a:ext cx="10644043" cy="5069368"/>
          </a:xfrm>
          <a:prstGeom prst="rect">
            <a:avLst/>
          </a:prstGeom>
          <a:ln>
            <a:solidFill>
              <a:schemeClr val="bg2">
                <a:lumMod val="75000"/>
              </a:schemeClr>
            </a:solidFill>
          </a:ln>
        </p:spPr>
      </p:pic>
    </p:spTree>
    <p:extLst>
      <p:ext uri="{BB962C8B-B14F-4D97-AF65-F5344CB8AC3E}">
        <p14:creationId xmlns:p14="http://schemas.microsoft.com/office/powerpoint/2010/main" val="3268637190"/>
      </p:ext>
    </p:extLst>
  </p:cSld>
  <p:clrMapOvr>
    <a:masterClrMapping/>
  </p:clrMapOvr>
  <p:transition spd="med">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1" y="487"/>
            <a:ext cx="5220356" cy="6857027"/>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endParaRPr lang="en-US" sz="5294" dirty="0">
              <a:solidFill>
                <a:schemeClr val="bg1"/>
              </a:solidFill>
              <a:latin typeface="+mj-lt"/>
              <a:ea typeface="Segoe UI" pitchFamily="34" charset="0"/>
              <a:cs typeface="Segoe UI" pitchFamily="34" charset="0"/>
            </a:endParaRPr>
          </a:p>
          <a:p>
            <a:pPr defTabSz="914102" fontAlgn="base">
              <a:lnSpc>
                <a:spcPct val="90000"/>
              </a:lnSpc>
              <a:spcBef>
                <a:spcPct val="0"/>
              </a:spcBef>
              <a:spcAft>
                <a:spcPct val="0"/>
              </a:spcAft>
            </a:pPr>
            <a:endParaRPr lang="en-US" sz="5294" dirty="0">
              <a:solidFill>
                <a:schemeClr val="bg1"/>
              </a:solidFill>
              <a:latin typeface="+mj-lt"/>
              <a:ea typeface="Segoe UI" pitchFamily="34" charset="0"/>
              <a:cs typeface="Segoe UI" pitchFamily="34" charset="0"/>
            </a:endParaRPr>
          </a:p>
        </p:txBody>
      </p:sp>
      <p:sp>
        <p:nvSpPr>
          <p:cNvPr id="4" name="TextBox 3"/>
          <p:cNvSpPr txBox="1"/>
          <p:nvPr/>
        </p:nvSpPr>
        <p:spPr>
          <a:xfrm>
            <a:off x="5220356" y="1283300"/>
            <a:ext cx="6553002" cy="2156943"/>
          </a:xfrm>
          <a:prstGeom prst="rect">
            <a:avLst/>
          </a:prstGeom>
          <a:noFill/>
        </p:spPr>
        <p:txBody>
          <a:bodyPr wrap="square" lIns="268927" tIns="143428" rIns="179285" bIns="143428" rtlCol="0">
            <a:noAutofit/>
          </a:bodyPr>
          <a:lstStyle/>
          <a:p>
            <a:pPr marL="52912" lvl="1" defTabSz="913770" fontAlgn="base">
              <a:spcBef>
                <a:spcPts val="1176"/>
              </a:spcBef>
              <a:buClr>
                <a:schemeClr val="accent3">
                  <a:lumMod val="50000"/>
                </a:schemeClr>
              </a:buClr>
            </a:pPr>
            <a:r>
              <a:rPr lang="en-US" sz="3137" dirty="0">
                <a:ln>
                  <a:solidFill>
                    <a:srgbClr val="FFFFFF">
                      <a:alpha val="0"/>
                    </a:srgbClr>
                  </a:solidFill>
                </a:ln>
                <a:solidFill>
                  <a:schemeClr val="accent3"/>
                </a:solidFill>
                <a:latin typeface="+mj-lt"/>
                <a:ea typeface="Segoe UI" pitchFamily="34" charset="0"/>
                <a:cs typeface="Segoe UI" pitchFamily="34" charset="0"/>
              </a:rPr>
              <a:t>Agenda</a:t>
            </a:r>
          </a:p>
          <a:p>
            <a:pPr marL="558686" lvl="1" indent="-448193" defTabSz="913770" fontAlgn="base">
              <a:buClr>
                <a:schemeClr val="accent3">
                  <a:lumMod val="50000"/>
                </a:schemeClr>
              </a:buClr>
              <a:buBlip>
                <a:blip r:embed="rId2"/>
              </a:buBlip>
            </a:pPr>
            <a:r>
              <a:rPr lang="en-US" sz="2353" dirty="0">
                <a:ln>
                  <a:solidFill>
                    <a:srgbClr val="FFFFFF">
                      <a:alpha val="0"/>
                    </a:srgbClr>
                  </a:solidFill>
                </a:ln>
                <a:solidFill>
                  <a:schemeClr val="tx2"/>
                </a:solidFill>
                <a:ea typeface="Segoe UI" pitchFamily="34" charset="0"/>
                <a:cs typeface="Segoe UI" pitchFamily="34" charset="0"/>
              </a:rPr>
              <a:t>HBase Essentials</a:t>
            </a:r>
          </a:p>
          <a:p>
            <a:pPr marL="558686" lvl="1" indent="-448193" defTabSz="913770" fontAlgn="base">
              <a:buClr>
                <a:schemeClr val="accent3">
                  <a:lumMod val="50000"/>
                </a:schemeClr>
              </a:buClr>
              <a:buBlip>
                <a:blip r:embed="rId2"/>
              </a:buBlip>
            </a:pPr>
            <a:r>
              <a:rPr lang="en-US" sz="2353" dirty="0">
                <a:ln>
                  <a:solidFill>
                    <a:srgbClr val="FFFFFF">
                      <a:alpha val="0"/>
                    </a:srgbClr>
                  </a:solidFill>
                </a:ln>
                <a:solidFill>
                  <a:schemeClr val="tx2"/>
                </a:solidFill>
                <a:ea typeface="Segoe UI" pitchFamily="34" charset="0"/>
                <a:cs typeface="Segoe UI" pitchFamily="34" charset="0"/>
              </a:rPr>
              <a:t>HBase Architecture</a:t>
            </a:r>
          </a:p>
          <a:p>
            <a:pPr marL="558686" lvl="1" indent="-448193" defTabSz="913770" fontAlgn="base">
              <a:buClr>
                <a:schemeClr val="accent3">
                  <a:lumMod val="50000"/>
                </a:schemeClr>
              </a:buClr>
              <a:buBlip>
                <a:blip r:embed="rId2"/>
              </a:buBlip>
            </a:pPr>
            <a:r>
              <a:rPr lang="en-US" sz="2353" dirty="0">
                <a:ln>
                  <a:solidFill>
                    <a:srgbClr val="FFFFFF">
                      <a:alpha val="0"/>
                    </a:srgbClr>
                  </a:solidFill>
                </a:ln>
                <a:solidFill>
                  <a:schemeClr val="tx2"/>
                </a:solidFill>
                <a:ea typeface="Segoe UI" pitchFamily="34" charset="0"/>
                <a:cs typeface="Segoe UI" pitchFamily="34" charset="0"/>
              </a:rPr>
              <a:t>HBase and RDBMS</a:t>
            </a:r>
          </a:p>
          <a:p>
            <a:pPr marL="558686" lvl="1" indent="-448193" defTabSz="913770" fontAlgn="base">
              <a:buClr>
                <a:schemeClr val="accent3">
                  <a:lumMod val="50000"/>
                </a:schemeClr>
              </a:buClr>
              <a:buBlip>
                <a:blip r:embed="rId2"/>
              </a:buBlip>
            </a:pPr>
            <a:r>
              <a:rPr lang="en-US" sz="2353" dirty="0">
                <a:ln>
                  <a:solidFill>
                    <a:srgbClr val="FFFFFF">
                      <a:alpha val="0"/>
                    </a:srgbClr>
                  </a:solidFill>
                </a:ln>
                <a:solidFill>
                  <a:schemeClr val="tx2"/>
                </a:solidFill>
                <a:ea typeface="Segoe UI" pitchFamily="34" charset="0"/>
                <a:cs typeface="Segoe UI" pitchFamily="34" charset="0"/>
              </a:rPr>
              <a:t>HBase and Apache Phoenix</a:t>
            </a:r>
          </a:p>
          <a:p>
            <a:pPr marL="110493" lvl="1" defTabSz="913770" fontAlgn="base">
              <a:buClr>
                <a:schemeClr val="accent3">
                  <a:lumMod val="50000"/>
                </a:schemeClr>
              </a:buClr>
            </a:pPr>
            <a:endParaRPr lang="en-US" sz="2353" dirty="0">
              <a:ln>
                <a:solidFill>
                  <a:srgbClr val="FFFFFF">
                    <a:alpha val="0"/>
                  </a:srgbClr>
                </a:solidFill>
              </a:ln>
              <a:solidFill>
                <a:schemeClr val="tx2"/>
              </a:solidFill>
              <a:ea typeface="Segoe UI" pitchFamily="34" charset="0"/>
              <a:cs typeface="Segoe UI" pitchFamily="34" charset="0"/>
            </a:endParaRPr>
          </a:p>
        </p:txBody>
      </p:sp>
      <p:sp>
        <p:nvSpPr>
          <p:cNvPr id="5" name="Rectangle 4"/>
          <p:cNvSpPr/>
          <p:nvPr/>
        </p:nvSpPr>
        <p:spPr bwMode="auto">
          <a:xfrm>
            <a:off x="1" y="6319659"/>
            <a:ext cx="5220356" cy="537855"/>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endParaRPr lang="en-US" sz="2353" kern="0" dirty="0">
              <a:ln>
                <a:solidFill>
                  <a:srgbClr val="FFFFFF">
                    <a:alpha val="0"/>
                  </a:srgbClr>
                </a:solidFill>
              </a:ln>
              <a:solidFill>
                <a:srgbClr val="FFFFFF"/>
              </a:solidFill>
              <a:latin typeface="Segoe UI Semibold" panose="020B0702040204020203" pitchFamily="34" charset="0"/>
              <a:ea typeface="MS PGothic" charset="0"/>
              <a:cs typeface="Segoe UI Semibold" panose="020B0702040204020203" pitchFamily="34" charset="0"/>
            </a:endParaRPr>
          </a:p>
        </p:txBody>
      </p:sp>
      <p:sp>
        <p:nvSpPr>
          <p:cNvPr id="6" name="Freeform 5"/>
          <p:cNvSpPr>
            <a:spLocks/>
          </p:cNvSpPr>
          <p:nvPr/>
        </p:nvSpPr>
        <p:spPr bwMode="auto">
          <a:xfrm flipH="1">
            <a:off x="2619107" y="4183803"/>
            <a:ext cx="2601249" cy="2135857"/>
          </a:xfrm>
          <a:custGeom>
            <a:avLst/>
            <a:gdLst>
              <a:gd name="connsiteX0" fmla="*/ 603413 w 1090712"/>
              <a:gd name="connsiteY0" fmla="*/ 721327 h 895572"/>
              <a:gd name="connsiteX1" fmla="*/ 578466 w 1090712"/>
              <a:gd name="connsiteY1" fmla="*/ 770746 h 895572"/>
              <a:gd name="connsiteX2" fmla="*/ 553519 w 1090712"/>
              <a:gd name="connsiteY2" fmla="*/ 818264 h 895572"/>
              <a:gd name="connsiteX3" fmla="*/ 528334 w 1090712"/>
              <a:gd name="connsiteY3" fmla="*/ 865069 h 895572"/>
              <a:gd name="connsiteX4" fmla="*/ 511825 w 1090712"/>
              <a:gd name="connsiteY4" fmla="*/ 895572 h 895572"/>
              <a:gd name="connsiteX5" fmla="*/ 624528 w 1090712"/>
              <a:gd name="connsiteY5" fmla="*/ 895572 h 895572"/>
              <a:gd name="connsiteX6" fmla="*/ 624796 w 1090712"/>
              <a:gd name="connsiteY6" fmla="*/ 894768 h 895572"/>
              <a:gd name="connsiteX7" fmla="*/ 625271 w 1090712"/>
              <a:gd name="connsiteY7" fmla="*/ 891679 h 895572"/>
              <a:gd name="connsiteX8" fmla="*/ 625747 w 1090712"/>
              <a:gd name="connsiteY8" fmla="*/ 889066 h 895572"/>
              <a:gd name="connsiteX9" fmla="*/ 625747 w 1090712"/>
              <a:gd name="connsiteY9" fmla="*/ 860555 h 895572"/>
              <a:gd name="connsiteX10" fmla="*/ 624796 w 1090712"/>
              <a:gd name="connsiteY10" fmla="*/ 833945 h 895572"/>
              <a:gd name="connsiteX11" fmla="*/ 624321 w 1090712"/>
              <a:gd name="connsiteY11" fmla="*/ 820877 h 895572"/>
              <a:gd name="connsiteX12" fmla="*/ 623608 w 1090712"/>
              <a:gd name="connsiteY12" fmla="*/ 808047 h 895572"/>
              <a:gd name="connsiteX13" fmla="*/ 621708 w 1090712"/>
              <a:gd name="connsiteY13" fmla="*/ 795218 h 895572"/>
              <a:gd name="connsiteX14" fmla="*/ 620044 w 1090712"/>
              <a:gd name="connsiteY14" fmla="*/ 782625 h 895572"/>
              <a:gd name="connsiteX15" fmla="*/ 616005 w 1090712"/>
              <a:gd name="connsiteY15" fmla="*/ 766707 h 895572"/>
              <a:gd name="connsiteX16" fmla="*/ 611966 w 1090712"/>
              <a:gd name="connsiteY16" fmla="*/ 751976 h 895572"/>
              <a:gd name="connsiteX17" fmla="*/ 607452 w 1090712"/>
              <a:gd name="connsiteY17" fmla="*/ 737245 h 895572"/>
              <a:gd name="connsiteX18" fmla="*/ 698212 w 1090712"/>
              <a:gd name="connsiteY18" fmla="*/ 530778 h 895572"/>
              <a:gd name="connsiteX19" fmla="*/ 693460 w 1090712"/>
              <a:gd name="connsiteY19" fmla="*/ 534818 h 895572"/>
              <a:gd name="connsiteX20" fmla="*/ 688471 w 1090712"/>
              <a:gd name="connsiteY20" fmla="*/ 538857 h 895572"/>
              <a:gd name="connsiteX21" fmla="*/ 678254 w 1090712"/>
              <a:gd name="connsiteY21" fmla="*/ 546935 h 895572"/>
              <a:gd name="connsiteX22" fmla="*/ 669226 w 1090712"/>
              <a:gd name="connsiteY22" fmla="*/ 553587 h 895572"/>
              <a:gd name="connsiteX23" fmla="*/ 663048 w 1090712"/>
              <a:gd name="connsiteY23" fmla="*/ 558814 h 895572"/>
              <a:gd name="connsiteX24" fmla="*/ 663048 w 1090712"/>
              <a:gd name="connsiteY24" fmla="*/ 556676 h 895572"/>
              <a:gd name="connsiteX25" fmla="*/ 663523 w 1090712"/>
              <a:gd name="connsiteY25" fmla="*/ 554538 h 895572"/>
              <a:gd name="connsiteX26" fmla="*/ 665424 w 1090712"/>
              <a:gd name="connsiteY26" fmla="*/ 550498 h 895572"/>
              <a:gd name="connsiteX27" fmla="*/ 668038 w 1090712"/>
              <a:gd name="connsiteY27" fmla="*/ 546459 h 895572"/>
              <a:gd name="connsiteX28" fmla="*/ 671602 w 1090712"/>
              <a:gd name="connsiteY28" fmla="*/ 542420 h 895572"/>
              <a:gd name="connsiteX29" fmla="*/ 676829 w 1090712"/>
              <a:gd name="connsiteY29" fmla="*/ 538857 h 895572"/>
              <a:gd name="connsiteX30" fmla="*/ 682768 w 1090712"/>
              <a:gd name="connsiteY30" fmla="*/ 535768 h 895572"/>
              <a:gd name="connsiteX31" fmla="*/ 689896 w 1090712"/>
              <a:gd name="connsiteY31" fmla="*/ 533154 h 895572"/>
              <a:gd name="connsiteX32" fmla="*/ 654257 w 1090712"/>
              <a:gd name="connsiteY32" fmla="*/ 302216 h 895572"/>
              <a:gd name="connsiteX33" fmla="*/ 651882 w 1090712"/>
              <a:gd name="connsiteY33" fmla="*/ 302691 h 895572"/>
              <a:gd name="connsiteX34" fmla="*/ 649268 w 1090712"/>
              <a:gd name="connsiteY34" fmla="*/ 303166 h 895572"/>
              <a:gd name="connsiteX35" fmla="*/ 647130 w 1090712"/>
              <a:gd name="connsiteY35" fmla="*/ 304354 h 895572"/>
              <a:gd name="connsiteX36" fmla="*/ 644516 w 1090712"/>
              <a:gd name="connsiteY36" fmla="*/ 306255 h 895572"/>
              <a:gd name="connsiteX37" fmla="*/ 642140 w 1090712"/>
              <a:gd name="connsiteY37" fmla="*/ 307918 h 895572"/>
              <a:gd name="connsiteX38" fmla="*/ 640002 w 1090712"/>
              <a:gd name="connsiteY38" fmla="*/ 310294 h 895572"/>
              <a:gd name="connsiteX39" fmla="*/ 638101 w 1090712"/>
              <a:gd name="connsiteY39" fmla="*/ 312432 h 895572"/>
              <a:gd name="connsiteX40" fmla="*/ 636913 w 1090712"/>
              <a:gd name="connsiteY40" fmla="*/ 314571 h 895572"/>
              <a:gd name="connsiteX41" fmla="*/ 635963 w 1090712"/>
              <a:gd name="connsiteY41" fmla="*/ 316946 h 895572"/>
              <a:gd name="connsiteX42" fmla="*/ 635963 w 1090712"/>
              <a:gd name="connsiteY42" fmla="*/ 319085 h 895572"/>
              <a:gd name="connsiteX43" fmla="*/ 636913 w 1090712"/>
              <a:gd name="connsiteY43" fmla="*/ 321223 h 895572"/>
              <a:gd name="connsiteX44" fmla="*/ 637626 w 1090712"/>
              <a:gd name="connsiteY44" fmla="*/ 324074 h 895572"/>
              <a:gd name="connsiteX45" fmla="*/ 639527 w 1090712"/>
              <a:gd name="connsiteY45" fmla="*/ 326688 h 895572"/>
              <a:gd name="connsiteX46" fmla="*/ 643091 w 1090712"/>
              <a:gd name="connsiteY46" fmla="*/ 331677 h 895572"/>
              <a:gd name="connsiteX47" fmla="*/ 647130 w 1090712"/>
              <a:gd name="connsiteY47" fmla="*/ 335954 h 895572"/>
              <a:gd name="connsiteX48" fmla="*/ 655920 w 1090712"/>
              <a:gd name="connsiteY48" fmla="*/ 330727 h 895572"/>
              <a:gd name="connsiteX49" fmla="*/ 663999 w 1090712"/>
              <a:gd name="connsiteY49" fmla="*/ 324787 h 895572"/>
              <a:gd name="connsiteX50" fmla="*/ 679917 w 1090712"/>
              <a:gd name="connsiteY50" fmla="*/ 313383 h 895572"/>
              <a:gd name="connsiteX51" fmla="*/ 676354 w 1090712"/>
              <a:gd name="connsiteY51" fmla="*/ 311007 h 895572"/>
              <a:gd name="connsiteX52" fmla="*/ 672790 w 1090712"/>
              <a:gd name="connsiteY52" fmla="*/ 308393 h 895572"/>
              <a:gd name="connsiteX53" fmla="*/ 668988 w 1090712"/>
              <a:gd name="connsiteY53" fmla="*/ 306730 h 895572"/>
              <a:gd name="connsiteX54" fmla="*/ 664949 w 1090712"/>
              <a:gd name="connsiteY54" fmla="*/ 304829 h 895572"/>
              <a:gd name="connsiteX55" fmla="*/ 660910 w 1090712"/>
              <a:gd name="connsiteY55" fmla="*/ 303641 h 895572"/>
              <a:gd name="connsiteX56" fmla="*/ 657346 w 1090712"/>
              <a:gd name="connsiteY56" fmla="*/ 302691 h 895572"/>
              <a:gd name="connsiteX57" fmla="*/ 696549 w 1090712"/>
              <a:gd name="connsiteY57" fmla="*/ 252322 h 895572"/>
              <a:gd name="connsiteX58" fmla="*/ 696786 w 1090712"/>
              <a:gd name="connsiteY58" fmla="*/ 259925 h 895572"/>
              <a:gd name="connsiteX59" fmla="*/ 698212 w 1090712"/>
              <a:gd name="connsiteY59" fmla="*/ 266102 h 895572"/>
              <a:gd name="connsiteX60" fmla="*/ 700113 w 1090712"/>
              <a:gd name="connsiteY60" fmla="*/ 272042 h 895572"/>
              <a:gd name="connsiteX61" fmla="*/ 701776 w 1090712"/>
              <a:gd name="connsiteY61" fmla="*/ 276794 h 895572"/>
              <a:gd name="connsiteX62" fmla="*/ 704389 w 1090712"/>
              <a:gd name="connsiteY62" fmla="*/ 280833 h 895572"/>
              <a:gd name="connsiteX63" fmla="*/ 707240 w 1090712"/>
              <a:gd name="connsiteY63" fmla="*/ 284397 h 895572"/>
              <a:gd name="connsiteX64" fmla="*/ 710329 w 1090712"/>
              <a:gd name="connsiteY64" fmla="*/ 287010 h 895572"/>
              <a:gd name="connsiteX65" fmla="*/ 713418 w 1090712"/>
              <a:gd name="connsiteY65" fmla="*/ 289624 h 895572"/>
              <a:gd name="connsiteX66" fmla="*/ 716506 w 1090712"/>
              <a:gd name="connsiteY66" fmla="*/ 291524 h 895572"/>
              <a:gd name="connsiteX67" fmla="*/ 719595 w 1090712"/>
              <a:gd name="connsiteY67" fmla="*/ 293187 h 895572"/>
              <a:gd name="connsiteX68" fmla="*/ 725772 w 1090712"/>
              <a:gd name="connsiteY68" fmla="*/ 295088 h 895572"/>
              <a:gd name="connsiteX69" fmla="*/ 731237 w 1090712"/>
              <a:gd name="connsiteY69" fmla="*/ 296514 h 895572"/>
              <a:gd name="connsiteX70" fmla="*/ 734801 w 1090712"/>
              <a:gd name="connsiteY70" fmla="*/ 296751 h 895572"/>
              <a:gd name="connsiteX71" fmla="*/ 722209 w 1090712"/>
              <a:gd name="connsiteY71" fmla="*/ 303879 h 895572"/>
              <a:gd name="connsiteX72" fmla="*/ 710804 w 1090712"/>
              <a:gd name="connsiteY72" fmla="*/ 311007 h 895572"/>
              <a:gd name="connsiteX73" fmla="*/ 688471 w 1090712"/>
              <a:gd name="connsiteY73" fmla="*/ 324787 h 895572"/>
              <a:gd name="connsiteX74" fmla="*/ 667563 w 1090712"/>
              <a:gd name="connsiteY74" fmla="*/ 339043 h 895572"/>
              <a:gd name="connsiteX75" fmla="*/ 646179 w 1090712"/>
              <a:gd name="connsiteY75" fmla="*/ 352823 h 895572"/>
              <a:gd name="connsiteX76" fmla="*/ 620044 w 1090712"/>
              <a:gd name="connsiteY76" fmla="*/ 313383 h 895572"/>
              <a:gd name="connsiteX77" fmla="*/ 617668 w 1090712"/>
              <a:gd name="connsiteY77" fmla="*/ 312432 h 895572"/>
              <a:gd name="connsiteX78" fmla="*/ 615055 w 1090712"/>
              <a:gd name="connsiteY78" fmla="*/ 312432 h 895572"/>
              <a:gd name="connsiteX79" fmla="*/ 612441 w 1090712"/>
              <a:gd name="connsiteY79" fmla="*/ 313383 h 895572"/>
              <a:gd name="connsiteX80" fmla="*/ 609353 w 1090712"/>
              <a:gd name="connsiteY80" fmla="*/ 314095 h 895572"/>
              <a:gd name="connsiteX81" fmla="*/ 602938 w 1090712"/>
              <a:gd name="connsiteY81" fmla="*/ 316946 h 895572"/>
              <a:gd name="connsiteX82" fmla="*/ 599849 w 1090712"/>
              <a:gd name="connsiteY82" fmla="*/ 317659 h 895572"/>
              <a:gd name="connsiteX83" fmla="*/ 596760 w 1090712"/>
              <a:gd name="connsiteY83" fmla="*/ 318610 h 895572"/>
              <a:gd name="connsiteX84" fmla="*/ 607927 w 1090712"/>
              <a:gd name="connsiteY84" fmla="*/ 307205 h 895572"/>
              <a:gd name="connsiteX85" fmla="*/ 618619 w 1090712"/>
              <a:gd name="connsiteY85" fmla="*/ 295088 h 895572"/>
              <a:gd name="connsiteX86" fmla="*/ 623846 w 1090712"/>
              <a:gd name="connsiteY86" fmla="*/ 289386 h 895572"/>
              <a:gd name="connsiteX87" fmla="*/ 629786 w 1090712"/>
              <a:gd name="connsiteY87" fmla="*/ 283921 h 895572"/>
              <a:gd name="connsiteX88" fmla="*/ 635963 w 1090712"/>
              <a:gd name="connsiteY88" fmla="*/ 278694 h 895572"/>
              <a:gd name="connsiteX89" fmla="*/ 642140 w 1090712"/>
              <a:gd name="connsiteY89" fmla="*/ 273705 h 895572"/>
              <a:gd name="connsiteX90" fmla="*/ 648793 w 1090712"/>
              <a:gd name="connsiteY90" fmla="*/ 269191 h 895572"/>
              <a:gd name="connsiteX91" fmla="*/ 655446 w 1090712"/>
              <a:gd name="connsiteY91" fmla="*/ 265627 h 895572"/>
              <a:gd name="connsiteX92" fmla="*/ 662098 w 1090712"/>
              <a:gd name="connsiteY92" fmla="*/ 263013 h 895572"/>
              <a:gd name="connsiteX93" fmla="*/ 668988 w 1090712"/>
              <a:gd name="connsiteY93" fmla="*/ 260400 h 895572"/>
              <a:gd name="connsiteX94" fmla="*/ 682768 w 1090712"/>
              <a:gd name="connsiteY94" fmla="*/ 256361 h 895572"/>
              <a:gd name="connsiteX95" fmla="*/ 1030602 w 1090712"/>
              <a:gd name="connsiteY95" fmla="*/ 200289 h 895572"/>
              <a:gd name="connsiteX96" fmla="*/ 1027513 w 1090712"/>
              <a:gd name="connsiteY96" fmla="*/ 207892 h 895572"/>
              <a:gd name="connsiteX97" fmla="*/ 1023949 w 1090712"/>
              <a:gd name="connsiteY97" fmla="*/ 214545 h 895572"/>
              <a:gd name="connsiteX98" fmla="*/ 1019910 w 1090712"/>
              <a:gd name="connsiteY98" fmla="*/ 221197 h 895572"/>
              <a:gd name="connsiteX99" fmla="*/ 1015396 w 1090712"/>
              <a:gd name="connsiteY99" fmla="*/ 226899 h 895572"/>
              <a:gd name="connsiteX100" fmla="*/ 1011119 w 1090712"/>
              <a:gd name="connsiteY100" fmla="*/ 232839 h 895572"/>
              <a:gd name="connsiteX101" fmla="*/ 1006130 w 1090712"/>
              <a:gd name="connsiteY101" fmla="*/ 237591 h 895572"/>
              <a:gd name="connsiteX102" fmla="*/ 1001140 w 1090712"/>
              <a:gd name="connsiteY102" fmla="*/ 242105 h 895572"/>
              <a:gd name="connsiteX103" fmla="*/ 996388 w 1090712"/>
              <a:gd name="connsiteY103" fmla="*/ 246144 h 895572"/>
              <a:gd name="connsiteX104" fmla="*/ 990924 w 1090712"/>
              <a:gd name="connsiteY104" fmla="*/ 249708 h 895572"/>
              <a:gd name="connsiteX105" fmla="*/ 985697 w 1090712"/>
              <a:gd name="connsiteY105" fmla="*/ 252797 h 895572"/>
              <a:gd name="connsiteX106" fmla="*/ 980232 w 1090712"/>
              <a:gd name="connsiteY106" fmla="*/ 254935 h 895572"/>
              <a:gd name="connsiteX107" fmla="*/ 975005 w 1090712"/>
              <a:gd name="connsiteY107" fmla="*/ 256836 h 895572"/>
              <a:gd name="connsiteX108" fmla="*/ 969541 w 1090712"/>
              <a:gd name="connsiteY108" fmla="*/ 258262 h 895572"/>
              <a:gd name="connsiteX109" fmla="*/ 963839 w 1090712"/>
              <a:gd name="connsiteY109" fmla="*/ 258499 h 895572"/>
              <a:gd name="connsiteX110" fmla="*/ 958612 w 1090712"/>
              <a:gd name="connsiteY110" fmla="*/ 258499 h 895572"/>
              <a:gd name="connsiteX111" fmla="*/ 953622 w 1090712"/>
              <a:gd name="connsiteY111" fmla="*/ 257786 h 895572"/>
              <a:gd name="connsiteX112" fmla="*/ 970966 w 1090712"/>
              <a:gd name="connsiteY112" fmla="*/ 244006 h 895572"/>
              <a:gd name="connsiteX113" fmla="*/ 990211 w 1090712"/>
              <a:gd name="connsiteY113" fmla="*/ 229275 h 895572"/>
              <a:gd name="connsiteX114" fmla="*/ 1010169 w 1090712"/>
              <a:gd name="connsiteY114" fmla="*/ 214069 h 895572"/>
              <a:gd name="connsiteX115" fmla="*/ 1020385 w 1090712"/>
              <a:gd name="connsiteY115" fmla="*/ 206942 h 895572"/>
              <a:gd name="connsiteX116" fmla="*/ 389581 w 1090712"/>
              <a:gd name="connsiteY116" fmla="*/ 176768 h 895572"/>
              <a:gd name="connsiteX117" fmla="*/ 397422 w 1090712"/>
              <a:gd name="connsiteY117" fmla="*/ 177243 h 895572"/>
              <a:gd name="connsiteX118" fmla="*/ 414766 w 1090712"/>
              <a:gd name="connsiteY118" fmla="*/ 178906 h 895572"/>
              <a:gd name="connsiteX119" fmla="*/ 405500 w 1090712"/>
              <a:gd name="connsiteY119" fmla="*/ 179856 h 895572"/>
              <a:gd name="connsiteX120" fmla="*/ 396946 w 1090712"/>
              <a:gd name="connsiteY120" fmla="*/ 181995 h 895572"/>
              <a:gd name="connsiteX121" fmla="*/ 389581 w 1090712"/>
              <a:gd name="connsiteY121" fmla="*/ 184371 h 895572"/>
              <a:gd name="connsiteX122" fmla="*/ 381978 w 1090712"/>
              <a:gd name="connsiteY122" fmla="*/ 186984 h 895572"/>
              <a:gd name="connsiteX123" fmla="*/ 375326 w 1090712"/>
              <a:gd name="connsiteY123" fmla="*/ 190548 h 895572"/>
              <a:gd name="connsiteX124" fmla="*/ 368911 w 1090712"/>
              <a:gd name="connsiteY124" fmla="*/ 194112 h 895572"/>
              <a:gd name="connsiteX125" fmla="*/ 363208 w 1090712"/>
              <a:gd name="connsiteY125" fmla="*/ 198626 h 895572"/>
              <a:gd name="connsiteX126" fmla="*/ 357981 w 1090712"/>
              <a:gd name="connsiteY126" fmla="*/ 202903 h 895572"/>
              <a:gd name="connsiteX127" fmla="*/ 352517 w 1090712"/>
              <a:gd name="connsiteY127" fmla="*/ 208367 h 895572"/>
              <a:gd name="connsiteX128" fmla="*/ 348003 w 1090712"/>
              <a:gd name="connsiteY128" fmla="*/ 214070 h 895572"/>
              <a:gd name="connsiteX129" fmla="*/ 343726 w 1090712"/>
              <a:gd name="connsiteY129" fmla="*/ 220247 h 895572"/>
              <a:gd name="connsiteX130" fmla="*/ 339687 w 1090712"/>
              <a:gd name="connsiteY130" fmla="*/ 226662 h 895572"/>
              <a:gd name="connsiteX131" fmla="*/ 335648 w 1090712"/>
              <a:gd name="connsiteY131" fmla="*/ 233790 h 895572"/>
              <a:gd name="connsiteX132" fmla="*/ 332559 w 1090712"/>
              <a:gd name="connsiteY132" fmla="*/ 240917 h 895572"/>
              <a:gd name="connsiteX133" fmla="*/ 328995 w 1090712"/>
              <a:gd name="connsiteY133" fmla="*/ 248758 h 895572"/>
              <a:gd name="connsiteX134" fmla="*/ 325907 w 1090712"/>
              <a:gd name="connsiteY134" fmla="*/ 256836 h 895572"/>
              <a:gd name="connsiteX135" fmla="*/ 325432 w 1090712"/>
              <a:gd name="connsiteY135" fmla="*/ 252797 h 895572"/>
              <a:gd name="connsiteX136" fmla="*/ 324956 w 1090712"/>
              <a:gd name="connsiteY136" fmla="*/ 248283 h 895572"/>
              <a:gd name="connsiteX137" fmla="*/ 323056 w 1090712"/>
              <a:gd name="connsiteY137" fmla="*/ 239492 h 895572"/>
              <a:gd name="connsiteX138" fmla="*/ 320917 w 1090712"/>
              <a:gd name="connsiteY138" fmla="*/ 229275 h 895572"/>
              <a:gd name="connsiteX139" fmla="*/ 320442 w 1090712"/>
              <a:gd name="connsiteY139" fmla="*/ 223811 h 895572"/>
              <a:gd name="connsiteX140" fmla="*/ 319967 w 1090712"/>
              <a:gd name="connsiteY140" fmla="*/ 217633 h 895572"/>
              <a:gd name="connsiteX141" fmla="*/ 314740 w 1090712"/>
              <a:gd name="connsiteY141" fmla="*/ 217633 h 895572"/>
              <a:gd name="connsiteX142" fmla="*/ 302148 w 1090712"/>
              <a:gd name="connsiteY142" fmla="*/ 243056 h 895572"/>
              <a:gd name="connsiteX143" fmla="*/ 289793 w 1090712"/>
              <a:gd name="connsiteY143" fmla="*/ 267528 h 895572"/>
              <a:gd name="connsiteX144" fmla="*/ 277438 w 1090712"/>
              <a:gd name="connsiteY144" fmla="*/ 291049 h 895572"/>
              <a:gd name="connsiteX145" fmla="*/ 264371 w 1090712"/>
              <a:gd name="connsiteY145" fmla="*/ 312907 h 895572"/>
              <a:gd name="connsiteX146" fmla="*/ 267459 w 1090712"/>
              <a:gd name="connsiteY146" fmla="*/ 295088 h 895572"/>
              <a:gd name="connsiteX147" fmla="*/ 271023 w 1090712"/>
              <a:gd name="connsiteY147" fmla="*/ 279170 h 895572"/>
              <a:gd name="connsiteX148" fmla="*/ 274587 w 1090712"/>
              <a:gd name="connsiteY148" fmla="*/ 263964 h 895572"/>
              <a:gd name="connsiteX149" fmla="*/ 279101 w 1090712"/>
              <a:gd name="connsiteY149" fmla="*/ 250183 h 895572"/>
              <a:gd name="connsiteX150" fmla="*/ 284091 w 1090712"/>
              <a:gd name="connsiteY150" fmla="*/ 238066 h 895572"/>
              <a:gd name="connsiteX151" fmla="*/ 289318 w 1090712"/>
              <a:gd name="connsiteY151" fmla="*/ 226900 h 895572"/>
              <a:gd name="connsiteX152" fmla="*/ 292406 w 1090712"/>
              <a:gd name="connsiteY152" fmla="*/ 221673 h 895572"/>
              <a:gd name="connsiteX153" fmla="*/ 295495 w 1090712"/>
              <a:gd name="connsiteY153" fmla="*/ 217158 h 895572"/>
              <a:gd name="connsiteX154" fmla="*/ 298584 w 1090712"/>
              <a:gd name="connsiteY154" fmla="*/ 212406 h 895572"/>
              <a:gd name="connsiteX155" fmla="*/ 302148 w 1090712"/>
              <a:gd name="connsiteY155" fmla="*/ 208367 h 895572"/>
              <a:gd name="connsiteX156" fmla="*/ 305711 w 1090712"/>
              <a:gd name="connsiteY156" fmla="*/ 204328 h 895572"/>
              <a:gd name="connsiteX157" fmla="*/ 309275 w 1090712"/>
              <a:gd name="connsiteY157" fmla="*/ 200765 h 895572"/>
              <a:gd name="connsiteX158" fmla="*/ 313314 w 1090712"/>
              <a:gd name="connsiteY158" fmla="*/ 197201 h 895572"/>
              <a:gd name="connsiteX159" fmla="*/ 317354 w 1090712"/>
              <a:gd name="connsiteY159" fmla="*/ 194112 h 895572"/>
              <a:gd name="connsiteX160" fmla="*/ 321868 w 1090712"/>
              <a:gd name="connsiteY160" fmla="*/ 191498 h 895572"/>
              <a:gd name="connsiteX161" fmla="*/ 326382 w 1090712"/>
              <a:gd name="connsiteY161" fmla="*/ 188647 h 895572"/>
              <a:gd name="connsiteX162" fmla="*/ 330659 w 1090712"/>
              <a:gd name="connsiteY162" fmla="*/ 186509 h 895572"/>
              <a:gd name="connsiteX163" fmla="*/ 335648 w 1090712"/>
              <a:gd name="connsiteY163" fmla="*/ 184371 h 895572"/>
              <a:gd name="connsiteX164" fmla="*/ 340637 w 1090712"/>
              <a:gd name="connsiteY164" fmla="*/ 182470 h 895572"/>
              <a:gd name="connsiteX165" fmla="*/ 345864 w 1090712"/>
              <a:gd name="connsiteY165" fmla="*/ 181282 h 895572"/>
              <a:gd name="connsiteX166" fmla="*/ 351091 w 1090712"/>
              <a:gd name="connsiteY166" fmla="*/ 179856 h 895572"/>
              <a:gd name="connsiteX167" fmla="*/ 357031 w 1090712"/>
              <a:gd name="connsiteY167" fmla="*/ 178431 h 895572"/>
              <a:gd name="connsiteX168" fmla="*/ 368911 w 1090712"/>
              <a:gd name="connsiteY168" fmla="*/ 177243 h 895572"/>
              <a:gd name="connsiteX169" fmla="*/ 381978 w 1090712"/>
              <a:gd name="connsiteY169" fmla="*/ 176768 h 895572"/>
              <a:gd name="connsiteX170" fmla="*/ 609353 w 1090712"/>
              <a:gd name="connsiteY170" fmla="*/ 174629 h 895572"/>
              <a:gd name="connsiteX171" fmla="*/ 602463 w 1090712"/>
              <a:gd name="connsiteY171" fmla="*/ 180807 h 895572"/>
              <a:gd name="connsiteX172" fmla="*/ 596285 w 1090712"/>
              <a:gd name="connsiteY172" fmla="*/ 187459 h 895572"/>
              <a:gd name="connsiteX173" fmla="*/ 583931 w 1090712"/>
              <a:gd name="connsiteY173" fmla="*/ 201715 h 895572"/>
              <a:gd name="connsiteX174" fmla="*/ 571101 w 1090712"/>
              <a:gd name="connsiteY174" fmla="*/ 215495 h 895572"/>
              <a:gd name="connsiteX175" fmla="*/ 564686 w 1090712"/>
              <a:gd name="connsiteY175" fmla="*/ 222148 h 895572"/>
              <a:gd name="connsiteX176" fmla="*/ 558508 w 1090712"/>
              <a:gd name="connsiteY176" fmla="*/ 228325 h 895572"/>
              <a:gd name="connsiteX177" fmla="*/ 557558 w 1090712"/>
              <a:gd name="connsiteY177" fmla="*/ 223335 h 895572"/>
              <a:gd name="connsiteX178" fmla="*/ 557083 w 1090712"/>
              <a:gd name="connsiteY178" fmla="*/ 219059 h 895572"/>
              <a:gd name="connsiteX179" fmla="*/ 557083 w 1090712"/>
              <a:gd name="connsiteY179" fmla="*/ 215020 h 895572"/>
              <a:gd name="connsiteX180" fmla="*/ 557558 w 1090712"/>
              <a:gd name="connsiteY180" fmla="*/ 210981 h 895572"/>
              <a:gd name="connsiteX181" fmla="*/ 558508 w 1090712"/>
              <a:gd name="connsiteY181" fmla="*/ 207417 h 895572"/>
              <a:gd name="connsiteX182" fmla="*/ 560409 w 1090712"/>
              <a:gd name="connsiteY182" fmla="*/ 203853 h 895572"/>
              <a:gd name="connsiteX183" fmla="*/ 562072 w 1090712"/>
              <a:gd name="connsiteY183" fmla="*/ 200764 h 895572"/>
              <a:gd name="connsiteX184" fmla="*/ 564686 w 1090712"/>
              <a:gd name="connsiteY184" fmla="*/ 197676 h 895572"/>
              <a:gd name="connsiteX185" fmla="*/ 567774 w 1090712"/>
              <a:gd name="connsiteY185" fmla="*/ 194587 h 895572"/>
              <a:gd name="connsiteX186" fmla="*/ 571813 w 1090712"/>
              <a:gd name="connsiteY186" fmla="*/ 191973 h 895572"/>
              <a:gd name="connsiteX187" fmla="*/ 576328 w 1090712"/>
              <a:gd name="connsiteY187" fmla="*/ 188647 h 895572"/>
              <a:gd name="connsiteX188" fmla="*/ 581317 w 1090712"/>
              <a:gd name="connsiteY188" fmla="*/ 186034 h 895572"/>
              <a:gd name="connsiteX189" fmla="*/ 587019 w 1090712"/>
              <a:gd name="connsiteY189" fmla="*/ 183420 h 895572"/>
              <a:gd name="connsiteX190" fmla="*/ 593672 w 1090712"/>
              <a:gd name="connsiteY190" fmla="*/ 180332 h 895572"/>
              <a:gd name="connsiteX191" fmla="*/ 586544 w 1090712"/>
              <a:gd name="connsiteY191" fmla="*/ 0 h 895572"/>
              <a:gd name="connsiteX192" fmla="*/ 570150 w 1090712"/>
              <a:gd name="connsiteY192" fmla="*/ 2851 h 895572"/>
              <a:gd name="connsiteX193" fmla="*/ 553519 w 1090712"/>
              <a:gd name="connsiteY193" fmla="*/ 5940 h 895572"/>
              <a:gd name="connsiteX194" fmla="*/ 536650 w 1090712"/>
              <a:gd name="connsiteY194" fmla="*/ 10454 h 895572"/>
              <a:gd name="connsiteX195" fmla="*/ 520256 w 1090712"/>
              <a:gd name="connsiteY195" fmla="*/ 14731 h 895572"/>
              <a:gd name="connsiteX196" fmla="*/ 486993 w 1090712"/>
              <a:gd name="connsiteY196" fmla="*/ 24472 h 895572"/>
              <a:gd name="connsiteX197" fmla="*/ 469887 w 1090712"/>
              <a:gd name="connsiteY197" fmla="*/ 28986 h 895572"/>
              <a:gd name="connsiteX198" fmla="*/ 453493 w 1090712"/>
              <a:gd name="connsiteY198" fmla="*/ 33500 h 895572"/>
              <a:gd name="connsiteX199" fmla="*/ 438762 w 1090712"/>
              <a:gd name="connsiteY199" fmla="*/ 40153 h 895572"/>
              <a:gd name="connsiteX200" fmla="*/ 424507 w 1090712"/>
              <a:gd name="connsiteY200" fmla="*/ 47281 h 895572"/>
              <a:gd name="connsiteX201" fmla="*/ 417379 w 1090712"/>
              <a:gd name="connsiteY201" fmla="*/ 51320 h 895572"/>
              <a:gd name="connsiteX202" fmla="*/ 410727 w 1090712"/>
              <a:gd name="connsiteY202" fmla="*/ 55834 h 895572"/>
              <a:gd name="connsiteX203" fmla="*/ 403599 w 1090712"/>
              <a:gd name="connsiteY203" fmla="*/ 60111 h 895572"/>
              <a:gd name="connsiteX204" fmla="*/ 397422 w 1090712"/>
              <a:gd name="connsiteY204" fmla="*/ 65100 h 895572"/>
              <a:gd name="connsiteX205" fmla="*/ 390769 w 1090712"/>
              <a:gd name="connsiteY205" fmla="*/ 69852 h 895572"/>
              <a:gd name="connsiteX206" fmla="*/ 384592 w 1090712"/>
              <a:gd name="connsiteY206" fmla="*/ 75792 h 895572"/>
              <a:gd name="connsiteX207" fmla="*/ 378889 w 1090712"/>
              <a:gd name="connsiteY207" fmla="*/ 81494 h 895572"/>
              <a:gd name="connsiteX208" fmla="*/ 372950 w 1090712"/>
              <a:gd name="connsiteY208" fmla="*/ 87671 h 895572"/>
              <a:gd name="connsiteX209" fmla="*/ 367723 w 1090712"/>
              <a:gd name="connsiteY209" fmla="*/ 94324 h 895572"/>
              <a:gd name="connsiteX210" fmla="*/ 362733 w 1090712"/>
              <a:gd name="connsiteY210" fmla="*/ 101452 h 895572"/>
              <a:gd name="connsiteX211" fmla="*/ 357981 w 1090712"/>
              <a:gd name="connsiteY211" fmla="*/ 109055 h 895572"/>
              <a:gd name="connsiteX212" fmla="*/ 353467 w 1090712"/>
              <a:gd name="connsiteY212" fmla="*/ 117608 h 895572"/>
              <a:gd name="connsiteX213" fmla="*/ 409064 w 1090712"/>
              <a:gd name="connsiteY213" fmla="*/ 117608 h 895572"/>
              <a:gd name="connsiteX214" fmla="*/ 406925 w 1090712"/>
              <a:gd name="connsiteY214" fmla="*/ 119271 h 895572"/>
              <a:gd name="connsiteX215" fmla="*/ 404074 w 1090712"/>
              <a:gd name="connsiteY215" fmla="*/ 121647 h 895572"/>
              <a:gd name="connsiteX216" fmla="*/ 400510 w 1090712"/>
              <a:gd name="connsiteY216" fmla="*/ 123310 h 895572"/>
              <a:gd name="connsiteX217" fmla="*/ 397422 w 1090712"/>
              <a:gd name="connsiteY217" fmla="*/ 125211 h 895572"/>
              <a:gd name="connsiteX218" fmla="*/ 393383 w 1090712"/>
              <a:gd name="connsiteY218" fmla="*/ 126399 h 895572"/>
              <a:gd name="connsiteX219" fmla="*/ 389581 w 1090712"/>
              <a:gd name="connsiteY219" fmla="*/ 127824 h 895572"/>
              <a:gd name="connsiteX220" fmla="*/ 385542 w 1090712"/>
              <a:gd name="connsiteY220" fmla="*/ 128299 h 895572"/>
              <a:gd name="connsiteX221" fmla="*/ 381503 w 1090712"/>
              <a:gd name="connsiteY221" fmla="*/ 128774 h 895572"/>
              <a:gd name="connsiteX222" fmla="*/ 375326 w 1090712"/>
              <a:gd name="connsiteY222" fmla="*/ 130438 h 895572"/>
              <a:gd name="connsiteX223" fmla="*/ 368435 w 1090712"/>
              <a:gd name="connsiteY223" fmla="*/ 131863 h 895572"/>
              <a:gd name="connsiteX224" fmla="*/ 361783 w 1090712"/>
              <a:gd name="connsiteY224" fmla="*/ 133051 h 895572"/>
              <a:gd name="connsiteX225" fmla="*/ 355606 w 1090712"/>
              <a:gd name="connsiteY225" fmla="*/ 134001 h 895572"/>
              <a:gd name="connsiteX226" fmla="*/ 342300 w 1090712"/>
              <a:gd name="connsiteY226" fmla="*/ 135427 h 895572"/>
              <a:gd name="connsiteX227" fmla="*/ 329471 w 1090712"/>
              <a:gd name="connsiteY227" fmla="*/ 137090 h 895572"/>
              <a:gd name="connsiteX228" fmla="*/ 322818 w 1090712"/>
              <a:gd name="connsiteY228" fmla="*/ 138040 h 895572"/>
              <a:gd name="connsiteX229" fmla="*/ 316403 w 1090712"/>
              <a:gd name="connsiteY229" fmla="*/ 139704 h 895572"/>
              <a:gd name="connsiteX230" fmla="*/ 310226 w 1090712"/>
              <a:gd name="connsiteY230" fmla="*/ 141604 h 895572"/>
              <a:gd name="connsiteX231" fmla="*/ 304048 w 1090712"/>
              <a:gd name="connsiteY231" fmla="*/ 144218 h 895572"/>
              <a:gd name="connsiteX232" fmla="*/ 298346 w 1090712"/>
              <a:gd name="connsiteY232" fmla="*/ 147307 h 895572"/>
              <a:gd name="connsiteX233" fmla="*/ 292406 w 1090712"/>
              <a:gd name="connsiteY233" fmla="*/ 151346 h 895572"/>
              <a:gd name="connsiteX234" fmla="*/ 286704 w 1090712"/>
              <a:gd name="connsiteY234" fmla="*/ 156335 h 895572"/>
              <a:gd name="connsiteX235" fmla="*/ 281240 w 1090712"/>
              <a:gd name="connsiteY235" fmla="*/ 162037 h 895572"/>
              <a:gd name="connsiteX236" fmla="*/ 262232 w 1090712"/>
              <a:gd name="connsiteY236" fmla="*/ 182945 h 895572"/>
              <a:gd name="connsiteX237" fmla="*/ 242987 w 1090712"/>
              <a:gd name="connsiteY237" fmla="*/ 203378 h 895572"/>
              <a:gd name="connsiteX238" fmla="*/ 203547 w 1090712"/>
              <a:gd name="connsiteY238" fmla="*/ 244006 h 895572"/>
              <a:gd name="connsiteX239" fmla="*/ 183827 w 1090712"/>
              <a:gd name="connsiteY239" fmla="*/ 264439 h 895572"/>
              <a:gd name="connsiteX240" fmla="*/ 164345 w 1090712"/>
              <a:gd name="connsiteY240" fmla="*/ 285822 h 895572"/>
              <a:gd name="connsiteX241" fmla="*/ 144862 w 1090712"/>
              <a:gd name="connsiteY241" fmla="*/ 307443 h 895572"/>
              <a:gd name="connsiteX242" fmla="*/ 126093 w 1090712"/>
              <a:gd name="connsiteY242" fmla="*/ 329777 h 895572"/>
              <a:gd name="connsiteX243" fmla="*/ 122054 w 1090712"/>
              <a:gd name="connsiteY243" fmla="*/ 335004 h 895572"/>
              <a:gd name="connsiteX244" fmla="*/ 118015 w 1090712"/>
              <a:gd name="connsiteY244" fmla="*/ 340468 h 895572"/>
              <a:gd name="connsiteX245" fmla="*/ 110887 w 1090712"/>
              <a:gd name="connsiteY245" fmla="*/ 352110 h 895572"/>
              <a:gd name="connsiteX246" fmla="*/ 104709 w 1090712"/>
              <a:gd name="connsiteY246" fmla="*/ 363514 h 895572"/>
              <a:gd name="connsiteX247" fmla="*/ 99007 w 1090712"/>
              <a:gd name="connsiteY247" fmla="*/ 375156 h 895572"/>
              <a:gd name="connsiteX248" fmla="*/ 87840 w 1090712"/>
              <a:gd name="connsiteY248" fmla="*/ 400103 h 895572"/>
              <a:gd name="connsiteX249" fmla="*/ 82138 w 1090712"/>
              <a:gd name="connsiteY249" fmla="*/ 412458 h 895572"/>
              <a:gd name="connsiteX250" fmla="*/ 75723 w 1090712"/>
              <a:gd name="connsiteY250" fmla="*/ 425050 h 895572"/>
              <a:gd name="connsiteX251" fmla="*/ 75723 w 1090712"/>
              <a:gd name="connsiteY251" fmla="*/ 429802 h 895572"/>
              <a:gd name="connsiteX252" fmla="*/ 76674 w 1090712"/>
              <a:gd name="connsiteY252" fmla="*/ 436217 h 895572"/>
              <a:gd name="connsiteX253" fmla="*/ 77149 w 1090712"/>
              <a:gd name="connsiteY253" fmla="*/ 439306 h 895572"/>
              <a:gd name="connsiteX254" fmla="*/ 78574 w 1090712"/>
              <a:gd name="connsiteY254" fmla="*/ 442395 h 895572"/>
              <a:gd name="connsiteX255" fmla="*/ 79762 w 1090712"/>
              <a:gd name="connsiteY255" fmla="*/ 445008 h 895572"/>
              <a:gd name="connsiteX256" fmla="*/ 81663 w 1090712"/>
              <a:gd name="connsiteY256" fmla="*/ 447147 h 895572"/>
              <a:gd name="connsiteX257" fmla="*/ 94018 w 1090712"/>
              <a:gd name="connsiteY257" fmla="*/ 468055 h 895572"/>
              <a:gd name="connsiteX258" fmla="*/ 106848 w 1090712"/>
              <a:gd name="connsiteY258" fmla="*/ 488963 h 895572"/>
              <a:gd name="connsiteX259" fmla="*/ 113975 w 1090712"/>
              <a:gd name="connsiteY259" fmla="*/ 499654 h 895572"/>
              <a:gd name="connsiteX260" fmla="*/ 121103 w 1090712"/>
              <a:gd name="connsiteY260" fmla="*/ 510346 h 895572"/>
              <a:gd name="connsiteX261" fmla="*/ 128706 w 1090712"/>
              <a:gd name="connsiteY261" fmla="*/ 520562 h 895572"/>
              <a:gd name="connsiteX262" fmla="*/ 137259 w 1090712"/>
              <a:gd name="connsiteY262" fmla="*/ 531254 h 895572"/>
              <a:gd name="connsiteX263" fmla="*/ 149614 w 1090712"/>
              <a:gd name="connsiteY263" fmla="*/ 514385 h 895572"/>
              <a:gd name="connsiteX264" fmla="*/ 162206 w 1090712"/>
              <a:gd name="connsiteY264" fmla="*/ 498466 h 895572"/>
              <a:gd name="connsiteX265" fmla="*/ 174561 w 1090712"/>
              <a:gd name="connsiteY265" fmla="*/ 483260 h 895572"/>
              <a:gd name="connsiteX266" fmla="*/ 180739 w 1090712"/>
              <a:gd name="connsiteY266" fmla="*/ 476133 h 895572"/>
              <a:gd name="connsiteX267" fmla="*/ 186916 w 1090712"/>
              <a:gd name="connsiteY267" fmla="*/ 469480 h 895572"/>
              <a:gd name="connsiteX268" fmla="*/ 182639 w 1090712"/>
              <a:gd name="connsiteY268" fmla="*/ 482310 h 895572"/>
              <a:gd name="connsiteX269" fmla="*/ 178125 w 1090712"/>
              <a:gd name="connsiteY269" fmla="*/ 495615 h 895572"/>
              <a:gd name="connsiteX270" fmla="*/ 172423 w 1090712"/>
              <a:gd name="connsiteY270" fmla="*/ 509871 h 895572"/>
              <a:gd name="connsiteX271" fmla="*/ 164820 w 1090712"/>
              <a:gd name="connsiteY271" fmla="*/ 525552 h 895572"/>
              <a:gd name="connsiteX272" fmla="*/ 156267 w 1090712"/>
              <a:gd name="connsiteY272" fmla="*/ 538381 h 895572"/>
              <a:gd name="connsiteX273" fmla="*/ 152703 w 1090712"/>
              <a:gd name="connsiteY273" fmla="*/ 544559 h 895572"/>
              <a:gd name="connsiteX274" fmla="*/ 148664 w 1090712"/>
              <a:gd name="connsiteY274" fmla="*/ 551449 h 895572"/>
              <a:gd name="connsiteX275" fmla="*/ 145100 w 1090712"/>
              <a:gd name="connsiteY275" fmla="*/ 558339 h 895572"/>
              <a:gd name="connsiteX276" fmla="*/ 142011 w 1090712"/>
              <a:gd name="connsiteY276" fmla="*/ 565467 h 895572"/>
              <a:gd name="connsiteX277" fmla="*/ 139398 w 1090712"/>
              <a:gd name="connsiteY277" fmla="*/ 573070 h 895572"/>
              <a:gd name="connsiteX278" fmla="*/ 137259 w 1090712"/>
              <a:gd name="connsiteY278" fmla="*/ 581623 h 895572"/>
              <a:gd name="connsiteX279" fmla="*/ 136309 w 1090712"/>
              <a:gd name="connsiteY279" fmla="*/ 583761 h 895572"/>
              <a:gd name="connsiteX280" fmla="*/ 135359 w 1090712"/>
              <a:gd name="connsiteY280" fmla="*/ 586137 h 895572"/>
              <a:gd name="connsiteX281" fmla="*/ 134883 w 1090712"/>
              <a:gd name="connsiteY281" fmla="*/ 590889 h 895572"/>
              <a:gd name="connsiteX282" fmla="*/ 134883 w 1090712"/>
              <a:gd name="connsiteY282" fmla="*/ 595879 h 895572"/>
              <a:gd name="connsiteX283" fmla="*/ 135359 w 1090712"/>
              <a:gd name="connsiteY283" fmla="*/ 601106 h 895572"/>
              <a:gd name="connsiteX284" fmla="*/ 136784 w 1090712"/>
              <a:gd name="connsiteY284" fmla="*/ 606095 h 895572"/>
              <a:gd name="connsiteX285" fmla="*/ 138447 w 1090712"/>
              <a:gd name="connsiteY285" fmla="*/ 611322 h 895572"/>
              <a:gd name="connsiteX286" fmla="*/ 140348 w 1090712"/>
              <a:gd name="connsiteY286" fmla="*/ 616311 h 895572"/>
              <a:gd name="connsiteX287" fmla="*/ 142486 w 1090712"/>
              <a:gd name="connsiteY287" fmla="*/ 620826 h 895572"/>
              <a:gd name="connsiteX288" fmla="*/ 148664 w 1090712"/>
              <a:gd name="connsiteY288" fmla="*/ 629616 h 895572"/>
              <a:gd name="connsiteX289" fmla="*/ 155554 w 1090712"/>
              <a:gd name="connsiteY289" fmla="*/ 637219 h 895572"/>
              <a:gd name="connsiteX290" fmla="*/ 162444 w 1090712"/>
              <a:gd name="connsiteY290" fmla="*/ 643872 h 895572"/>
              <a:gd name="connsiteX291" fmla="*/ 169572 w 1090712"/>
              <a:gd name="connsiteY291" fmla="*/ 649099 h 895572"/>
              <a:gd name="connsiteX292" fmla="*/ 177175 w 1090712"/>
              <a:gd name="connsiteY292" fmla="*/ 653613 h 895572"/>
              <a:gd name="connsiteX293" fmla="*/ 184778 w 1090712"/>
              <a:gd name="connsiteY293" fmla="*/ 657177 h 895572"/>
              <a:gd name="connsiteX294" fmla="*/ 192856 w 1090712"/>
              <a:gd name="connsiteY294" fmla="*/ 659553 h 895572"/>
              <a:gd name="connsiteX295" fmla="*/ 200934 w 1090712"/>
              <a:gd name="connsiteY295" fmla="*/ 661216 h 895572"/>
              <a:gd name="connsiteX296" fmla="*/ 209250 w 1090712"/>
              <a:gd name="connsiteY296" fmla="*/ 661691 h 895572"/>
              <a:gd name="connsiteX297" fmla="*/ 218278 w 1090712"/>
              <a:gd name="connsiteY297" fmla="*/ 661691 h 895572"/>
              <a:gd name="connsiteX298" fmla="*/ 227069 w 1090712"/>
              <a:gd name="connsiteY298" fmla="*/ 660266 h 895572"/>
              <a:gd name="connsiteX299" fmla="*/ 236335 w 1090712"/>
              <a:gd name="connsiteY299" fmla="*/ 658603 h 895572"/>
              <a:gd name="connsiteX300" fmla="*/ 245838 w 1090712"/>
              <a:gd name="connsiteY300" fmla="*/ 655514 h 895572"/>
              <a:gd name="connsiteX301" fmla="*/ 255580 w 1090712"/>
              <a:gd name="connsiteY301" fmla="*/ 652425 h 895572"/>
              <a:gd name="connsiteX302" fmla="*/ 265321 w 1090712"/>
              <a:gd name="connsiteY302" fmla="*/ 647911 h 895572"/>
              <a:gd name="connsiteX303" fmla="*/ 276013 w 1090712"/>
              <a:gd name="connsiteY303" fmla="*/ 642922 h 895572"/>
              <a:gd name="connsiteX304" fmla="*/ 288367 w 1090712"/>
              <a:gd name="connsiteY304" fmla="*/ 635081 h 895572"/>
              <a:gd name="connsiteX305" fmla="*/ 301910 w 1090712"/>
              <a:gd name="connsiteY305" fmla="*/ 627478 h 895572"/>
              <a:gd name="connsiteX306" fmla="*/ 315215 w 1090712"/>
              <a:gd name="connsiteY306" fmla="*/ 620350 h 895572"/>
              <a:gd name="connsiteX307" fmla="*/ 329471 w 1090712"/>
              <a:gd name="connsiteY307" fmla="*/ 613698 h 895572"/>
              <a:gd name="connsiteX308" fmla="*/ 343726 w 1090712"/>
              <a:gd name="connsiteY308" fmla="*/ 607283 h 895572"/>
              <a:gd name="connsiteX309" fmla="*/ 357981 w 1090712"/>
              <a:gd name="connsiteY309" fmla="*/ 602056 h 895572"/>
              <a:gd name="connsiteX310" fmla="*/ 371999 w 1090712"/>
              <a:gd name="connsiteY310" fmla="*/ 597066 h 895572"/>
              <a:gd name="connsiteX311" fmla="*/ 386730 w 1090712"/>
              <a:gd name="connsiteY311" fmla="*/ 592790 h 895572"/>
              <a:gd name="connsiteX312" fmla="*/ 394808 w 1090712"/>
              <a:gd name="connsiteY312" fmla="*/ 590414 h 895572"/>
              <a:gd name="connsiteX313" fmla="*/ 402411 w 1090712"/>
              <a:gd name="connsiteY313" fmla="*/ 587325 h 895572"/>
              <a:gd name="connsiteX314" fmla="*/ 409064 w 1090712"/>
              <a:gd name="connsiteY314" fmla="*/ 583761 h 895572"/>
              <a:gd name="connsiteX315" fmla="*/ 411677 w 1090712"/>
              <a:gd name="connsiteY315" fmla="*/ 581623 h 895572"/>
              <a:gd name="connsiteX316" fmla="*/ 414766 w 1090712"/>
              <a:gd name="connsiteY316" fmla="*/ 579247 h 895572"/>
              <a:gd name="connsiteX317" fmla="*/ 417142 w 1090712"/>
              <a:gd name="connsiteY317" fmla="*/ 577109 h 895572"/>
              <a:gd name="connsiteX318" fmla="*/ 419280 w 1090712"/>
              <a:gd name="connsiteY318" fmla="*/ 574495 h 895572"/>
              <a:gd name="connsiteX319" fmla="*/ 420943 w 1090712"/>
              <a:gd name="connsiteY319" fmla="*/ 571407 h 895572"/>
              <a:gd name="connsiteX320" fmla="*/ 422844 w 1090712"/>
              <a:gd name="connsiteY320" fmla="*/ 568318 h 895572"/>
              <a:gd name="connsiteX321" fmla="*/ 424269 w 1090712"/>
              <a:gd name="connsiteY321" fmla="*/ 565229 h 895572"/>
              <a:gd name="connsiteX322" fmla="*/ 424982 w 1090712"/>
              <a:gd name="connsiteY322" fmla="*/ 561665 h 895572"/>
              <a:gd name="connsiteX323" fmla="*/ 425457 w 1090712"/>
              <a:gd name="connsiteY323" fmla="*/ 557626 h 895572"/>
              <a:gd name="connsiteX324" fmla="*/ 425932 w 1090712"/>
              <a:gd name="connsiteY324" fmla="*/ 553587 h 895572"/>
              <a:gd name="connsiteX325" fmla="*/ 425932 w 1090712"/>
              <a:gd name="connsiteY325" fmla="*/ 413884 h 895572"/>
              <a:gd name="connsiteX326" fmla="*/ 425932 w 1090712"/>
              <a:gd name="connsiteY326" fmla="*/ 285347 h 895572"/>
              <a:gd name="connsiteX327" fmla="*/ 429496 w 1090712"/>
              <a:gd name="connsiteY327" fmla="*/ 300078 h 895572"/>
              <a:gd name="connsiteX328" fmla="*/ 433060 w 1090712"/>
              <a:gd name="connsiteY328" fmla="*/ 314096 h 895572"/>
              <a:gd name="connsiteX329" fmla="*/ 436149 w 1090712"/>
              <a:gd name="connsiteY329" fmla="*/ 328826 h 895572"/>
              <a:gd name="connsiteX330" fmla="*/ 438762 w 1090712"/>
              <a:gd name="connsiteY330" fmla="*/ 343082 h 895572"/>
              <a:gd name="connsiteX331" fmla="*/ 443752 w 1090712"/>
              <a:gd name="connsiteY331" fmla="*/ 370642 h 895572"/>
              <a:gd name="connsiteX332" fmla="*/ 447791 w 1090712"/>
              <a:gd name="connsiteY332" fmla="*/ 397015 h 895572"/>
              <a:gd name="connsiteX333" fmla="*/ 451830 w 1090712"/>
              <a:gd name="connsiteY333" fmla="*/ 421962 h 895572"/>
              <a:gd name="connsiteX334" fmla="*/ 454919 w 1090712"/>
              <a:gd name="connsiteY334" fmla="*/ 446434 h 895572"/>
              <a:gd name="connsiteX335" fmla="*/ 456106 w 1090712"/>
              <a:gd name="connsiteY335" fmla="*/ 458313 h 895572"/>
              <a:gd name="connsiteX336" fmla="*/ 457057 w 1090712"/>
              <a:gd name="connsiteY336" fmla="*/ 470430 h 895572"/>
              <a:gd name="connsiteX337" fmla="*/ 457532 w 1090712"/>
              <a:gd name="connsiteY337" fmla="*/ 482310 h 895572"/>
              <a:gd name="connsiteX338" fmla="*/ 457532 w 1090712"/>
              <a:gd name="connsiteY338" fmla="*/ 493952 h 895572"/>
              <a:gd name="connsiteX339" fmla="*/ 457532 w 1090712"/>
              <a:gd name="connsiteY339" fmla="*/ 506069 h 895572"/>
              <a:gd name="connsiteX340" fmla="*/ 456582 w 1090712"/>
              <a:gd name="connsiteY340" fmla="*/ 517473 h 895572"/>
              <a:gd name="connsiteX341" fmla="*/ 455869 w 1090712"/>
              <a:gd name="connsiteY341" fmla="*/ 529116 h 895572"/>
              <a:gd name="connsiteX342" fmla="*/ 453968 w 1090712"/>
              <a:gd name="connsiteY342" fmla="*/ 540757 h 895572"/>
              <a:gd name="connsiteX343" fmla="*/ 452305 w 1090712"/>
              <a:gd name="connsiteY343" fmla="*/ 552162 h 895572"/>
              <a:gd name="connsiteX344" fmla="*/ 449454 w 1090712"/>
              <a:gd name="connsiteY344" fmla="*/ 563804 h 895572"/>
              <a:gd name="connsiteX345" fmla="*/ 446365 w 1090712"/>
              <a:gd name="connsiteY345" fmla="*/ 575446 h 895572"/>
              <a:gd name="connsiteX346" fmla="*/ 442326 w 1090712"/>
              <a:gd name="connsiteY346" fmla="*/ 586850 h 895572"/>
              <a:gd name="connsiteX347" fmla="*/ 440188 w 1090712"/>
              <a:gd name="connsiteY347" fmla="*/ 591364 h 895572"/>
              <a:gd name="connsiteX348" fmla="*/ 437574 w 1090712"/>
              <a:gd name="connsiteY348" fmla="*/ 595403 h 895572"/>
              <a:gd name="connsiteX349" fmla="*/ 434486 w 1090712"/>
              <a:gd name="connsiteY349" fmla="*/ 598967 h 895572"/>
              <a:gd name="connsiteX350" fmla="*/ 431397 w 1090712"/>
              <a:gd name="connsiteY350" fmla="*/ 602531 h 895572"/>
              <a:gd name="connsiteX351" fmla="*/ 428071 w 1090712"/>
              <a:gd name="connsiteY351" fmla="*/ 605145 h 895572"/>
              <a:gd name="connsiteX352" fmla="*/ 424982 w 1090712"/>
              <a:gd name="connsiteY352" fmla="*/ 607283 h 895572"/>
              <a:gd name="connsiteX353" fmla="*/ 422369 w 1090712"/>
              <a:gd name="connsiteY353" fmla="*/ 608708 h 895572"/>
              <a:gd name="connsiteX354" fmla="*/ 420230 w 1090712"/>
              <a:gd name="connsiteY354" fmla="*/ 609659 h 895572"/>
              <a:gd name="connsiteX355" fmla="*/ 410727 w 1090712"/>
              <a:gd name="connsiteY355" fmla="*/ 610847 h 895572"/>
              <a:gd name="connsiteX356" fmla="*/ 401461 w 1090712"/>
              <a:gd name="connsiteY356" fmla="*/ 612748 h 895572"/>
              <a:gd name="connsiteX357" fmla="*/ 392670 w 1090712"/>
              <a:gd name="connsiteY357" fmla="*/ 614886 h 895572"/>
              <a:gd name="connsiteX358" fmla="*/ 383641 w 1090712"/>
              <a:gd name="connsiteY358" fmla="*/ 617262 h 895572"/>
              <a:gd name="connsiteX359" fmla="*/ 374850 w 1090712"/>
              <a:gd name="connsiteY359" fmla="*/ 620350 h 895572"/>
              <a:gd name="connsiteX360" fmla="*/ 365822 w 1090712"/>
              <a:gd name="connsiteY360" fmla="*/ 623914 h 895572"/>
              <a:gd name="connsiteX361" fmla="*/ 348478 w 1090712"/>
              <a:gd name="connsiteY361" fmla="*/ 631042 h 895572"/>
              <a:gd name="connsiteX362" fmla="*/ 331609 w 1090712"/>
              <a:gd name="connsiteY362" fmla="*/ 639358 h 895572"/>
              <a:gd name="connsiteX363" fmla="*/ 314740 w 1090712"/>
              <a:gd name="connsiteY363" fmla="*/ 647911 h 895572"/>
              <a:gd name="connsiteX364" fmla="*/ 281240 w 1090712"/>
              <a:gd name="connsiteY364" fmla="*/ 665255 h 895572"/>
              <a:gd name="connsiteX365" fmla="*/ 274587 w 1090712"/>
              <a:gd name="connsiteY365" fmla="*/ 669294 h 895572"/>
              <a:gd name="connsiteX366" fmla="*/ 267935 w 1090712"/>
              <a:gd name="connsiteY366" fmla="*/ 672858 h 895572"/>
              <a:gd name="connsiteX367" fmla="*/ 261757 w 1090712"/>
              <a:gd name="connsiteY367" fmla="*/ 675947 h 895572"/>
              <a:gd name="connsiteX368" fmla="*/ 255105 w 1090712"/>
              <a:gd name="connsiteY368" fmla="*/ 679035 h 895572"/>
              <a:gd name="connsiteX369" fmla="*/ 248927 w 1090712"/>
              <a:gd name="connsiteY369" fmla="*/ 681174 h 895572"/>
              <a:gd name="connsiteX370" fmla="*/ 242987 w 1090712"/>
              <a:gd name="connsiteY370" fmla="*/ 683075 h 895572"/>
              <a:gd name="connsiteX371" fmla="*/ 236810 w 1090712"/>
              <a:gd name="connsiteY371" fmla="*/ 684738 h 895572"/>
              <a:gd name="connsiteX372" fmla="*/ 231108 w 1090712"/>
              <a:gd name="connsiteY372" fmla="*/ 686163 h 895572"/>
              <a:gd name="connsiteX373" fmla="*/ 225406 w 1090712"/>
              <a:gd name="connsiteY373" fmla="*/ 687114 h 895572"/>
              <a:gd name="connsiteX374" fmla="*/ 219466 w 1090712"/>
              <a:gd name="connsiteY374" fmla="*/ 687589 h 895572"/>
              <a:gd name="connsiteX375" fmla="*/ 213764 w 1090712"/>
              <a:gd name="connsiteY375" fmla="*/ 687589 h 895572"/>
              <a:gd name="connsiteX376" fmla="*/ 208299 w 1090712"/>
              <a:gd name="connsiteY376" fmla="*/ 687589 h 895572"/>
              <a:gd name="connsiteX377" fmla="*/ 203072 w 1090712"/>
              <a:gd name="connsiteY377" fmla="*/ 687114 h 895572"/>
              <a:gd name="connsiteX378" fmla="*/ 197607 w 1090712"/>
              <a:gd name="connsiteY378" fmla="*/ 686163 h 895572"/>
              <a:gd name="connsiteX379" fmla="*/ 192380 w 1090712"/>
              <a:gd name="connsiteY379" fmla="*/ 684738 h 895572"/>
              <a:gd name="connsiteX380" fmla="*/ 186916 w 1090712"/>
              <a:gd name="connsiteY380" fmla="*/ 683550 h 895572"/>
              <a:gd name="connsiteX381" fmla="*/ 181689 w 1090712"/>
              <a:gd name="connsiteY381" fmla="*/ 681649 h 895572"/>
              <a:gd name="connsiteX382" fmla="*/ 176699 w 1090712"/>
              <a:gd name="connsiteY382" fmla="*/ 679986 h 895572"/>
              <a:gd name="connsiteX383" fmla="*/ 171472 w 1090712"/>
              <a:gd name="connsiteY383" fmla="*/ 677610 h 895572"/>
              <a:gd name="connsiteX384" fmla="*/ 166483 w 1090712"/>
              <a:gd name="connsiteY384" fmla="*/ 674996 h 895572"/>
              <a:gd name="connsiteX385" fmla="*/ 156742 w 1090712"/>
              <a:gd name="connsiteY385" fmla="*/ 669294 h 895572"/>
              <a:gd name="connsiteX386" fmla="*/ 147001 w 1090712"/>
              <a:gd name="connsiteY386" fmla="*/ 662167 h 895572"/>
              <a:gd name="connsiteX387" fmla="*/ 137735 w 1090712"/>
              <a:gd name="connsiteY387" fmla="*/ 654564 h 895572"/>
              <a:gd name="connsiteX388" fmla="*/ 127756 w 1090712"/>
              <a:gd name="connsiteY388" fmla="*/ 645535 h 895572"/>
              <a:gd name="connsiteX389" fmla="*/ 118490 w 1090712"/>
              <a:gd name="connsiteY389" fmla="*/ 636269 h 895572"/>
              <a:gd name="connsiteX390" fmla="*/ 109224 w 1090712"/>
              <a:gd name="connsiteY390" fmla="*/ 626053 h 895572"/>
              <a:gd name="connsiteX391" fmla="*/ 107323 w 1090712"/>
              <a:gd name="connsiteY391" fmla="*/ 623914 h 895572"/>
              <a:gd name="connsiteX392" fmla="*/ 106135 w 1090712"/>
              <a:gd name="connsiteY392" fmla="*/ 620350 h 895572"/>
              <a:gd name="connsiteX393" fmla="*/ 105185 w 1090712"/>
              <a:gd name="connsiteY393" fmla="*/ 616311 h 895572"/>
              <a:gd name="connsiteX394" fmla="*/ 105185 w 1090712"/>
              <a:gd name="connsiteY394" fmla="*/ 612272 h 895572"/>
              <a:gd name="connsiteX395" fmla="*/ 105185 w 1090712"/>
              <a:gd name="connsiteY395" fmla="*/ 608233 h 895572"/>
              <a:gd name="connsiteX396" fmla="*/ 106135 w 1090712"/>
              <a:gd name="connsiteY396" fmla="*/ 604194 h 895572"/>
              <a:gd name="connsiteX397" fmla="*/ 107323 w 1090712"/>
              <a:gd name="connsiteY397" fmla="*/ 600630 h 895572"/>
              <a:gd name="connsiteX398" fmla="*/ 109224 w 1090712"/>
              <a:gd name="connsiteY398" fmla="*/ 598017 h 895572"/>
              <a:gd name="connsiteX399" fmla="*/ 111837 w 1090712"/>
              <a:gd name="connsiteY399" fmla="*/ 591840 h 895572"/>
              <a:gd name="connsiteX400" fmla="*/ 113975 w 1090712"/>
              <a:gd name="connsiteY400" fmla="*/ 586137 h 895572"/>
              <a:gd name="connsiteX401" fmla="*/ 115401 w 1090712"/>
              <a:gd name="connsiteY401" fmla="*/ 579722 h 895572"/>
              <a:gd name="connsiteX402" fmla="*/ 115876 w 1090712"/>
              <a:gd name="connsiteY402" fmla="*/ 574020 h 895572"/>
              <a:gd name="connsiteX403" fmla="*/ 115876 w 1090712"/>
              <a:gd name="connsiteY403" fmla="*/ 568318 h 895572"/>
              <a:gd name="connsiteX404" fmla="*/ 115401 w 1090712"/>
              <a:gd name="connsiteY404" fmla="*/ 562378 h 895572"/>
              <a:gd name="connsiteX405" fmla="*/ 114451 w 1090712"/>
              <a:gd name="connsiteY405" fmla="*/ 557151 h 895572"/>
              <a:gd name="connsiteX406" fmla="*/ 112788 w 1090712"/>
              <a:gd name="connsiteY406" fmla="*/ 551449 h 895572"/>
              <a:gd name="connsiteX407" fmla="*/ 110412 w 1090712"/>
              <a:gd name="connsiteY407" fmla="*/ 545984 h 895572"/>
              <a:gd name="connsiteX408" fmla="*/ 108273 w 1090712"/>
              <a:gd name="connsiteY408" fmla="*/ 540757 h 895572"/>
              <a:gd name="connsiteX409" fmla="*/ 105185 w 1090712"/>
              <a:gd name="connsiteY409" fmla="*/ 535293 h 895572"/>
              <a:gd name="connsiteX410" fmla="*/ 102096 w 1090712"/>
              <a:gd name="connsiteY410" fmla="*/ 530066 h 895572"/>
              <a:gd name="connsiteX411" fmla="*/ 94968 w 1090712"/>
              <a:gd name="connsiteY411" fmla="*/ 519374 h 895572"/>
              <a:gd name="connsiteX412" fmla="*/ 86890 w 1090712"/>
              <a:gd name="connsiteY412" fmla="*/ 508683 h 895572"/>
              <a:gd name="connsiteX413" fmla="*/ 78812 w 1090712"/>
              <a:gd name="connsiteY413" fmla="*/ 497991 h 895572"/>
              <a:gd name="connsiteX414" fmla="*/ 70972 w 1090712"/>
              <a:gd name="connsiteY414" fmla="*/ 486824 h 895572"/>
              <a:gd name="connsiteX415" fmla="*/ 67408 w 1090712"/>
              <a:gd name="connsiteY415" fmla="*/ 481122 h 895572"/>
              <a:gd name="connsiteX416" fmla="*/ 64319 w 1090712"/>
              <a:gd name="connsiteY416" fmla="*/ 474707 h 895572"/>
              <a:gd name="connsiteX417" fmla="*/ 61230 w 1090712"/>
              <a:gd name="connsiteY417" fmla="*/ 469005 h 895572"/>
              <a:gd name="connsiteX418" fmla="*/ 58379 w 1090712"/>
              <a:gd name="connsiteY418" fmla="*/ 462828 h 895572"/>
              <a:gd name="connsiteX419" fmla="*/ 56716 w 1090712"/>
              <a:gd name="connsiteY419" fmla="*/ 456175 h 895572"/>
              <a:gd name="connsiteX420" fmla="*/ 54815 w 1090712"/>
              <a:gd name="connsiteY420" fmla="*/ 449998 h 895572"/>
              <a:gd name="connsiteX421" fmla="*/ 54103 w 1090712"/>
              <a:gd name="connsiteY421" fmla="*/ 443345 h 895572"/>
              <a:gd name="connsiteX422" fmla="*/ 53627 w 1090712"/>
              <a:gd name="connsiteY422" fmla="*/ 436455 h 895572"/>
              <a:gd name="connsiteX423" fmla="*/ 53627 w 1090712"/>
              <a:gd name="connsiteY423" fmla="*/ 429327 h 895572"/>
              <a:gd name="connsiteX424" fmla="*/ 54815 w 1090712"/>
              <a:gd name="connsiteY424" fmla="*/ 422675 h 895572"/>
              <a:gd name="connsiteX425" fmla="*/ 56716 w 1090712"/>
              <a:gd name="connsiteY425" fmla="*/ 415547 h 895572"/>
              <a:gd name="connsiteX426" fmla="*/ 59330 w 1090712"/>
              <a:gd name="connsiteY426" fmla="*/ 408182 h 895572"/>
              <a:gd name="connsiteX427" fmla="*/ 60280 w 1090712"/>
              <a:gd name="connsiteY427" fmla="*/ 403192 h 895572"/>
              <a:gd name="connsiteX428" fmla="*/ 61943 w 1090712"/>
              <a:gd name="connsiteY428" fmla="*/ 397965 h 895572"/>
              <a:gd name="connsiteX429" fmla="*/ 65507 w 1090712"/>
              <a:gd name="connsiteY429" fmla="*/ 387986 h 895572"/>
              <a:gd name="connsiteX430" fmla="*/ 69546 w 1090712"/>
              <a:gd name="connsiteY430" fmla="*/ 378720 h 895572"/>
              <a:gd name="connsiteX431" fmla="*/ 74535 w 1090712"/>
              <a:gd name="connsiteY431" fmla="*/ 369929 h 895572"/>
              <a:gd name="connsiteX432" fmla="*/ 79762 w 1090712"/>
              <a:gd name="connsiteY432" fmla="*/ 360901 h 895572"/>
              <a:gd name="connsiteX433" fmla="*/ 85940 w 1090712"/>
              <a:gd name="connsiteY433" fmla="*/ 352585 h 895572"/>
              <a:gd name="connsiteX434" fmla="*/ 98057 w 1090712"/>
              <a:gd name="connsiteY434" fmla="*/ 335479 h 895572"/>
              <a:gd name="connsiteX435" fmla="*/ 102571 w 1090712"/>
              <a:gd name="connsiteY435" fmla="*/ 328113 h 895572"/>
              <a:gd name="connsiteX436" fmla="*/ 106848 w 1090712"/>
              <a:gd name="connsiteY436" fmla="*/ 320986 h 895572"/>
              <a:gd name="connsiteX437" fmla="*/ 116827 w 1090712"/>
              <a:gd name="connsiteY437" fmla="*/ 307205 h 895572"/>
              <a:gd name="connsiteX438" fmla="*/ 127043 w 1090712"/>
              <a:gd name="connsiteY438" fmla="*/ 293188 h 895572"/>
              <a:gd name="connsiteX439" fmla="*/ 137735 w 1090712"/>
              <a:gd name="connsiteY439" fmla="*/ 279407 h 895572"/>
              <a:gd name="connsiteX440" fmla="*/ 159831 w 1090712"/>
              <a:gd name="connsiteY440" fmla="*/ 251847 h 895572"/>
              <a:gd name="connsiteX441" fmla="*/ 170522 w 1090712"/>
              <a:gd name="connsiteY441" fmla="*/ 238066 h 895572"/>
              <a:gd name="connsiteX442" fmla="*/ 181214 w 1090712"/>
              <a:gd name="connsiteY442" fmla="*/ 223336 h 895572"/>
              <a:gd name="connsiteX443" fmla="*/ 164820 w 1090712"/>
              <a:gd name="connsiteY443" fmla="*/ 223336 h 895572"/>
              <a:gd name="connsiteX444" fmla="*/ 137972 w 1090712"/>
              <a:gd name="connsiteY444" fmla="*/ 230226 h 895572"/>
              <a:gd name="connsiteX445" fmla="*/ 125142 w 1090712"/>
              <a:gd name="connsiteY445" fmla="*/ 233790 h 895572"/>
              <a:gd name="connsiteX446" fmla="*/ 112788 w 1090712"/>
              <a:gd name="connsiteY446" fmla="*/ 237591 h 895572"/>
              <a:gd name="connsiteX447" fmla="*/ 100195 w 1090712"/>
              <a:gd name="connsiteY447" fmla="*/ 241630 h 895572"/>
              <a:gd name="connsiteX448" fmla="*/ 87840 w 1090712"/>
              <a:gd name="connsiteY448" fmla="*/ 245669 h 895572"/>
              <a:gd name="connsiteX449" fmla="*/ 75723 w 1090712"/>
              <a:gd name="connsiteY449" fmla="*/ 250183 h 895572"/>
              <a:gd name="connsiteX450" fmla="*/ 64319 w 1090712"/>
              <a:gd name="connsiteY450" fmla="*/ 254935 h 895572"/>
              <a:gd name="connsiteX451" fmla="*/ 52677 w 1090712"/>
              <a:gd name="connsiteY451" fmla="*/ 260400 h 895572"/>
              <a:gd name="connsiteX452" fmla="*/ 41035 w 1090712"/>
              <a:gd name="connsiteY452" fmla="*/ 265627 h 895572"/>
              <a:gd name="connsiteX453" fmla="*/ 29868 w 1090712"/>
              <a:gd name="connsiteY453" fmla="*/ 271567 h 895572"/>
              <a:gd name="connsiteX454" fmla="*/ 18939 w 1090712"/>
              <a:gd name="connsiteY454" fmla="*/ 277744 h 895572"/>
              <a:gd name="connsiteX455" fmla="*/ 7772 w 1090712"/>
              <a:gd name="connsiteY455" fmla="*/ 284397 h 895572"/>
              <a:gd name="connsiteX456" fmla="*/ 0 w 1090712"/>
              <a:gd name="connsiteY456" fmla="*/ 289924 h 895572"/>
              <a:gd name="connsiteX457" fmla="*/ 0 w 1090712"/>
              <a:gd name="connsiteY457" fmla="*/ 895572 h 895572"/>
              <a:gd name="connsiteX458" fmla="*/ 125653 w 1090712"/>
              <a:gd name="connsiteY458" fmla="*/ 895572 h 895572"/>
              <a:gd name="connsiteX459" fmla="*/ 127756 w 1090712"/>
              <a:gd name="connsiteY459" fmla="*/ 892155 h 895572"/>
              <a:gd name="connsiteX460" fmla="*/ 131082 w 1090712"/>
              <a:gd name="connsiteY460" fmla="*/ 885502 h 895572"/>
              <a:gd name="connsiteX461" fmla="*/ 133696 w 1090712"/>
              <a:gd name="connsiteY461" fmla="*/ 878374 h 895572"/>
              <a:gd name="connsiteX462" fmla="*/ 135834 w 1090712"/>
              <a:gd name="connsiteY462" fmla="*/ 871722 h 895572"/>
              <a:gd name="connsiteX463" fmla="*/ 137735 w 1090712"/>
              <a:gd name="connsiteY463" fmla="*/ 864594 h 895572"/>
              <a:gd name="connsiteX464" fmla="*/ 138923 w 1090712"/>
              <a:gd name="connsiteY464" fmla="*/ 857466 h 895572"/>
              <a:gd name="connsiteX465" fmla="*/ 140348 w 1090712"/>
              <a:gd name="connsiteY465" fmla="*/ 850339 h 895572"/>
              <a:gd name="connsiteX466" fmla="*/ 141298 w 1090712"/>
              <a:gd name="connsiteY466" fmla="*/ 843211 h 895572"/>
              <a:gd name="connsiteX467" fmla="*/ 142011 w 1090712"/>
              <a:gd name="connsiteY467" fmla="*/ 828955 h 895572"/>
              <a:gd name="connsiteX468" fmla="*/ 142486 w 1090712"/>
              <a:gd name="connsiteY468" fmla="*/ 814225 h 895572"/>
              <a:gd name="connsiteX469" fmla="*/ 142486 w 1090712"/>
              <a:gd name="connsiteY469" fmla="*/ 799494 h 895572"/>
              <a:gd name="connsiteX470" fmla="*/ 142486 w 1090712"/>
              <a:gd name="connsiteY470" fmla="*/ 782625 h 895572"/>
              <a:gd name="connsiteX471" fmla="*/ 142486 w 1090712"/>
              <a:gd name="connsiteY471" fmla="*/ 771458 h 895572"/>
              <a:gd name="connsiteX472" fmla="*/ 143912 w 1090712"/>
              <a:gd name="connsiteY472" fmla="*/ 778586 h 895572"/>
              <a:gd name="connsiteX473" fmla="*/ 145100 w 1090712"/>
              <a:gd name="connsiteY473" fmla="*/ 784526 h 895572"/>
              <a:gd name="connsiteX474" fmla="*/ 147476 w 1090712"/>
              <a:gd name="connsiteY474" fmla="*/ 789753 h 895572"/>
              <a:gd name="connsiteX475" fmla="*/ 149614 w 1090712"/>
              <a:gd name="connsiteY475" fmla="*/ 794267 h 895572"/>
              <a:gd name="connsiteX476" fmla="*/ 152228 w 1090712"/>
              <a:gd name="connsiteY476" fmla="*/ 797831 h 895572"/>
              <a:gd name="connsiteX477" fmla="*/ 155554 w 1090712"/>
              <a:gd name="connsiteY477" fmla="*/ 801395 h 895572"/>
              <a:gd name="connsiteX478" fmla="*/ 158643 w 1090712"/>
              <a:gd name="connsiteY478" fmla="*/ 803533 h 895572"/>
              <a:gd name="connsiteX479" fmla="*/ 162206 w 1090712"/>
              <a:gd name="connsiteY479" fmla="*/ 805909 h 895572"/>
              <a:gd name="connsiteX480" fmla="*/ 165770 w 1090712"/>
              <a:gd name="connsiteY480" fmla="*/ 807572 h 895572"/>
              <a:gd name="connsiteX481" fmla="*/ 169572 w 1090712"/>
              <a:gd name="connsiteY481" fmla="*/ 808523 h 895572"/>
              <a:gd name="connsiteX482" fmla="*/ 174086 w 1090712"/>
              <a:gd name="connsiteY482" fmla="*/ 809473 h 895572"/>
              <a:gd name="connsiteX483" fmla="*/ 178600 w 1090712"/>
              <a:gd name="connsiteY483" fmla="*/ 810186 h 895572"/>
              <a:gd name="connsiteX484" fmla="*/ 187866 w 1090712"/>
              <a:gd name="connsiteY484" fmla="*/ 810661 h 895572"/>
              <a:gd name="connsiteX485" fmla="*/ 198083 w 1090712"/>
              <a:gd name="connsiteY485" fmla="*/ 810661 h 895572"/>
              <a:gd name="connsiteX486" fmla="*/ 236810 w 1090712"/>
              <a:gd name="connsiteY486" fmla="*/ 810661 h 895572"/>
              <a:gd name="connsiteX487" fmla="*/ 249640 w 1090712"/>
              <a:gd name="connsiteY487" fmla="*/ 811136 h 895572"/>
              <a:gd name="connsiteX488" fmla="*/ 263183 w 1090712"/>
              <a:gd name="connsiteY488" fmla="*/ 811611 h 895572"/>
              <a:gd name="connsiteX489" fmla="*/ 270310 w 1090712"/>
              <a:gd name="connsiteY489" fmla="*/ 811611 h 895572"/>
              <a:gd name="connsiteX490" fmla="*/ 276963 w 1090712"/>
              <a:gd name="connsiteY490" fmla="*/ 811136 h 895572"/>
              <a:gd name="connsiteX491" fmla="*/ 283140 w 1090712"/>
              <a:gd name="connsiteY491" fmla="*/ 810186 h 895572"/>
              <a:gd name="connsiteX492" fmla="*/ 289793 w 1090712"/>
              <a:gd name="connsiteY492" fmla="*/ 808523 h 895572"/>
              <a:gd name="connsiteX493" fmla="*/ 295495 w 1090712"/>
              <a:gd name="connsiteY493" fmla="*/ 806147 h 895572"/>
              <a:gd name="connsiteX494" fmla="*/ 301435 w 1090712"/>
              <a:gd name="connsiteY494" fmla="*/ 803058 h 895572"/>
              <a:gd name="connsiteX495" fmla="*/ 304524 w 1090712"/>
              <a:gd name="connsiteY495" fmla="*/ 801395 h 895572"/>
              <a:gd name="connsiteX496" fmla="*/ 307137 w 1090712"/>
              <a:gd name="connsiteY496" fmla="*/ 799256 h 895572"/>
              <a:gd name="connsiteX497" fmla="*/ 309275 w 1090712"/>
              <a:gd name="connsiteY497" fmla="*/ 796881 h 895572"/>
              <a:gd name="connsiteX498" fmla="*/ 312126 w 1090712"/>
              <a:gd name="connsiteY498" fmla="*/ 794267 h 895572"/>
              <a:gd name="connsiteX499" fmla="*/ 314265 w 1090712"/>
              <a:gd name="connsiteY499" fmla="*/ 791178 h 895572"/>
              <a:gd name="connsiteX500" fmla="*/ 316403 w 1090712"/>
              <a:gd name="connsiteY500" fmla="*/ 788090 h 895572"/>
              <a:gd name="connsiteX501" fmla="*/ 318304 w 1090712"/>
              <a:gd name="connsiteY501" fmla="*/ 784051 h 895572"/>
              <a:gd name="connsiteX502" fmla="*/ 319967 w 1090712"/>
              <a:gd name="connsiteY502" fmla="*/ 780012 h 895572"/>
              <a:gd name="connsiteX503" fmla="*/ 321868 w 1090712"/>
              <a:gd name="connsiteY503" fmla="*/ 775973 h 895572"/>
              <a:gd name="connsiteX504" fmla="*/ 323056 w 1090712"/>
              <a:gd name="connsiteY504" fmla="*/ 771221 h 895572"/>
              <a:gd name="connsiteX505" fmla="*/ 324481 w 1090712"/>
              <a:gd name="connsiteY505" fmla="*/ 765756 h 895572"/>
              <a:gd name="connsiteX506" fmla="*/ 325907 w 1090712"/>
              <a:gd name="connsiteY506" fmla="*/ 760529 h 895572"/>
              <a:gd name="connsiteX507" fmla="*/ 325907 w 1090712"/>
              <a:gd name="connsiteY507" fmla="*/ 827530 h 895572"/>
              <a:gd name="connsiteX508" fmla="*/ 310226 w 1090712"/>
              <a:gd name="connsiteY508" fmla="*/ 835608 h 895572"/>
              <a:gd name="connsiteX509" fmla="*/ 295970 w 1090712"/>
              <a:gd name="connsiteY509" fmla="*/ 843686 h 895572"/>
              <a:gd name="connsiteX510" fmla="*/ 282665 w 1090712"/>
              <a:gd name="connsiteY510" fmla="*/ 850339 h 895572"/>
              <a:gd name="connsiteX511" fmla="*/ 276488 w 1090712"/>
              <a:gd name="connsiteY511" fmla="*/ 852952 h 895572"/>
              <a:gd name="connsiteX512" fmla="*/ 270310 w 1090712"/>
              <a:gd name="connsiteY512" fmla="*/ 855565 h 895572"/>
              <a:gd name="connsiteX513" fmla="*/ 266271 w 1090712"/>
              <a:gd name="connsiteY513" fmla="*/ 857942 h 895572"/>
              <a:gd name="connsiteX514" fmla="*/ 262708 w 1090712"/>
              <a:gd name="connsiteY514" fmla="*/ 860080 h 895572"/>
              <a:gd name="connsiteX515" fmla="*/ 259619 w 1090712"/>
              <a:gd name="connsiteY515" fmla="*/ 862693 h 895572"/>
              <a:gd name="connsiteX516" fmla="*/ 256768 w 1090712"/>
              <a:gd name="connsiteY516" fmla="*/ 865544 h 895572"/>
              <a:gd name="connsiteX517" fmla="*/ 254154 w 1090712"/>
              <a:gd name="connsiteY517" fmla="*/ 868633 h 895572"/>
              <a:gd name="connsiteX518" fmla="*/ 252491 w 1090712"/>
              <a:gd name="connsiteY518" fmla="*/ 871722 h 895572"/>
              <a:gd name="connsiteX519" fmla="*/ 250590 w 1090712"/>
              <a:gd name="connsiteY519" fmla="*/ 874810 h 895572"/>
              <a:gd name="connsiteX520" fmla="*/ 249402 w 1090712"/>
              <a:gd name="connsiteY520" fmla="*/ 877899 h 895572"/>
              <a:gd name="connsiteX521" fmla="*/ 248452 w 1090712"/>
              <a:gd name="connsiteY521" fmla="*/ 880988 h 895572"/>
              <a:gd name="connsiteX522" fmla="*/ 247977 w 1090712"/>
              <a:gd name="connsiteY522" fmla="*/ 884076 h 895572"/>
              <a:gd name="connsiteX523" fmla="*/ 247977 w 1090712"/>
              <a:gd name="connsiteY523" fmla="*/ 887165 h 895572"/>
              <a:gd name="connsiteX524" fmla="*/ 248452 w 1090712"/>
              <a:gd name="connsiteY524" fmla="*/ 890016 h 895572"/>
              <a:gd name="connsiteX525" fmla="*/ 249402 w 1090712"/>
              <a:gd name="connsiteY525" fmla="*/ 893105 h 895572"/>
              <a:gd name="connsiteX526" fmla="*/ 250075 w 1090712"/>
              <a:gd name="connsiteY526" fmla="*/ 895572 h 895572"/>
              <a:gd name="connsiteX527" fmla="*/ 474750 w 1090712"/>
              <a:gd name="connsiteY527" fmla="*/ 895572 h 895572"/>
              <a:gd name="connsiteX528" fmla="*/ 475827 w 1090712"/>
              <a:gd name="connsiteY528" fmla="*/ 894768 h 895572"/>
              <a:gd name="connsiteX529" fmla="*/ 486993 w 1090712"/>
              <a:gd name="connsiteY529" fmla="*/ 882889 h 895572"/>
              <a:gd name="connsiteX530" fmla="*/ 497210 w 1090712"/>
              <a:gd name="connsiteY530" fmla="*/ 870296 h 895572"/>
              <a:gd name="connsiteX531" fmla="*/ 506951 w 1090712"/>
              <a:gd name="connsiteY531" fmla="*/ 857942 h 895572"/>
              <a:gd name="connsiteX532" fmla="*/ 515742 w 1090712"/>
              <a:gd name="connsiteY532" fmla="*/ 844636 h 895572"/>
              <a:gd name="connsiteX533" fmla="*/ 523820 w 1090712"/>
              <a:gd name="connsiteY533" fmla="*/ 831094 h 895572"/>
              <a:gd name="connsiteX534" fmla="*/ 531898 w 1090712"/>
              <a:gd name="connsiteY534" fmla="*/ 816838 h 895572"/>
              <a:gd name="connsiteX535" fmla="*/ 539026 w 1090712"/>
              <a:gd name="connsiteY535" fmla="*/ 802583 h 895572"/>
              <a:gd name="connsiteX536" fmla="*/ 545678 w 1090712"/>
              <a:gd name="connsiteY536" fmla="*/ 788565 h 895572"/>
              <a:gd name="connsiteX537" fmla="*/ 552331 w 1090712"/>
              <a:gd name="connsiteY537" fmla="*/ 773359 h 895572"/>
              <a:gd name="connsiteX538" fmla="*/ 558033 w 1090712"/>
              <a:gd name="connsiteY538" fmla="*/ 758628 h 895572"/>
              <a:gd name="connsiteX539" fmla="*/ 563498 w 1090712"/>
              <a:gd name="connsiteY539" fmla="*/ 743185 h 895572"/>
              <a:gd name="connsiteX540" fmla="*/ 568725 w 1090712"/>
              <a:gd name="connsiteY540" fmla="*/ 727979 h 895572"/>
              <a:gd name="connsiteX541" fmla="*/ 573714 w 1090712"/>
              <a:gd name="connsiteY541" fmla="*/ 712298 h 895572"/>
              <a:gd name="connsiteX542" fmla="*/ 577991 w 1090712"/>
              <a:gd name="connsiteY542" fmla="*/ 696855 h 895572"/>
              <a:gd name="connsiteX543" fmla="*/ 586544 w 1090712"/>
              <a:gd name="connsiteY543" fmla="*/ 665255 h 895572"/>
              <a:gd name="connsiteX544" fmla="*/ 586069 w 1090712"/>
              <a:gd name="connsiteY544" fmla="*/ 663117 h 895572"/>
              <a:gd name="connsiteX545" fmla="*/ 584881 w 1090712"/>
              <a:gd name="connsiteY545" fmla="*/ 660266 h 895572"/>
              <a:gd name="connsiteX546" fmla="*/ 582980 w 1090712"/>
              <a:gd name="connsiteY546" fmla="*/ 657177 h 895572"/>
              <a:gd name="connsiteX547" fmla="*/ 580367 w 1090712"/>
              <a:gd name="connsiteY547" fmla="*/ 654088 h 895572"/>
              <a:gd name="connsiteX548" fmla="*/ 574902 w 1090712"/>
              <a:gd name="connsiteY548" fmla="*/ 647911 h 895572"/>
              <a:gd name="connsiteX549" fmla="*/ 570150 w 1090712"/>
              <a:gd name="connsiteY549" fmla="*/ 642922 h 895572"/>
              <a:gd name="connsiteX550" fmla="*/ 565636 w 1090712"/>
              <a:gd name="connsiteY550" fmla="*/ 636744 h 895572"/>
              <a:gd name="connsiteX551" fmla="*/ 560647 w 1090712"/>
              <a:gd name="connsiteY551" fmla="*/ 631517 h 895572"/>
              <a:gd name="connsiteX552" fmla="*/ 555420 w 1090712"/>
              <a:gd name="connsiteY552" fmla="*/ 626053 h 895572"/>
              <a:gd name="connsiteX553" fmla="*/ 550193 w 1090712"/>
              <a:gd name="connsiteY553" fmla="*/ 621301 h 895572"/>
              <a:gd name="connsiteX554" fmla="*/ 544253 w 1090712"/>
              <a:gd name="connsiteY554" fmla="*/ 616787 h 895572"/>
              <a:gd name="connsiteX555" fmla="*/ 538075 w 1090712"/>
              <a:gd name="connsiteY555" fmla="*/ 612272 h 895572"/>
              <a:gd name="connsiteX556" fmla="*/ 525721 w 1090712"/>
              <a:gd name="connsiteY556" fmla="*/ 603719 h 895572"/>
              <a:gd name="connsiteX557" fmla="*/ 563023 w 1090712"/>
              <a:gd name="connsiteY557" fmla="*/ 619875 h 895572"/>
              <a:gd name="connsiteX558" fmla="*/ 581317 w 1090712"/>
              <a:gd name="connsiteY558" fmla="*/ 628191 h 895572"/>
              <a:gd name="connsiteX559" fmla="*/ 599374 w 1090712"/>
              <a:gd name="connsiteY559" fmla="*/ 636744 h 895572"/>
              <a:gd name="connsiteX560" fmla="*/ 607927 w 1090712"/>
              <a:gd name="connsiteY560" fmla="*/ 641259 h 895572"/>
              <a:gd name="connsiteX561" fmla="*/ 616718 w 1090712"/>
              <a:gd name="connsiteY561" fmla="*/ 646010 h 895572"/>
              <a:gd name="connsiteX562" fmla="*/ 625271 w 1090712"/>
              <a:gd name="connsiteY562" fmla="*/ 651000 h 895572"/>
              <a:gd name="connsiteX563" fmla="*/ 633349 w 1090712"/>
              <a:gd name="connsiteY563" fmla="*/ 656227 h 895572"/>
              <a:gd name="connsiteX564" fmla="*/ 641665 w 1090712"/>
              <a:gd name="connsiteY564" fmla="*/ 662167 h 895572"/>
              <a:gd name="connsiteX565" fmla="*/ 649268 w 1090712"/>
              <a:gd name="connsiteY565" fmla="*/ 668344 h 895572"/>
              <a:gd name="connsiteX566" fmla="*/ 656871 w 1090712"/>
              <a:gd name="connsiteY566" fmla="*/ 674996 h 895572"/>
              <a:gd name="connsiteX567" fmla="*/ 664474 w 1090712"/>
              <a:gd name="connsiteY567" fmla="*/ 682124 h 895572"/>
              <a:gd name="connsiteX568" fmla="*/ 668988 w 1090712"/>
              <a:gd name="connsiteY568" fmla="*/ 686163 h 895572"/>
              <a:gd name="connsiteX569" fmla="*/ 672790 w 1090712"/>
              <a:gd name="connsiteY569" fmla="*/ 690202 h 895572"/>
              <a:gd name="connsiteX570" fmla="*/ 677304 w 1090712"/>
              <a:gd name="connsiteY570" fmla="*/ 693291 h 895572"/>
              <a:gd name="connsiteX571" fmla="*/ 682293 w 1090712"/>
              <a:gd name="connsiteY571" fmla="*/ 696855 h 895572"/>
              <a:gd name="connsiteX572" fmla="*/ 686570 w 1090712"/>
              <a:gd name="connsiteY572" fmla="*/ 699468 h 895572"/>
              <a:gd name="connsiteX573" fmla="*/ 691559 w 1090712"/>
              <a:gd name="connsiteY573" fmla="*/ 702082 h 895572"/>
              <a:gd name="connsiteX574" fmla="*/ 696549 w 1090712"/>
              <a:gd name="connsiteY574" fmla="*/ 703983 h 895572"/>
              <a:gd name="connsiteX575" fmla="*/ 701300 w 1090712"/>
              <a:gd name="connsiteY575" fmla="*/ 705646 h 895572"/>
              <a:gd name="connsiteX576" fmla="*/ 706290 w 1090712"/>
              <a:gd name="connsiteY576" fmla="*/ 707071 h 895572"/>
              <a:gd name="connsiteX577" fmla="*/ 711042 w 1090712"/>
              <a:gd name="connsiteY577" fmla="*/ 708497 h 895572"/>
              <a:gd name="connsiteX578" fmla="*/ 716506 w 1090712"/>
              <a:gd name="connsiteY578" fmla="*/ 708734 h 895572"/>
              <a:gd name="connsiteX579" fmla="*/ 721258 w 1090712"/>
              <a:gd name="connsiteY579" fmla="*/ 708734 h 895572"/>
              <a:gd name="connsiteX580" fmla="*/ 726723 w 1090712"/>
              <a:gd name="connsiteY580" fmla="*/ 708497 h 895572"/>
              <a:gd name="connsiteX581" fmla="*/ 731712 w 1090712"/>
              <a:gd name="connsiteY581" fmla="*/ 707546 h 895572"/>
              <a:gd name="connsiteX582" fmla="*/ 736939 w 1090712"/>
              <a:gd name="connsiteY582" fmla="*/ 706121 h 895572"/>
              <a:gd name="connsiteX583" fmla="*/ 742166 w 1090712"/>
              <a:gd name="connsiteY583" fmla="*/ 704458 h 895572"/>
              <a:gd name="connsiteX584" fmla="*/ 749294 w 1090712"/>
              <a:gd name="connsiteY584" fmla="*/ 702082 h 895572"/>
              <a:gd name="connsiteX585" fmla="*/ 756184 w 1090712"/>
              <a:gd name="connsiteY585" fmla="*/ 699468 h 895572"/>
              <a:gd name="connsiteX586" fmla="*/ 762361 w 1090712"/>
              <a:gd name="connsiteY586" fmla="*/ 696380 h 895572"/>
              <a:gd name="connsiteX587" fmla="*/ 768063 w 1090712"/>
              <a:gd name="connsiteY587" fmla="*/ 692816 h 895572"/>
              <a:gd name="connsiteX588" fmla="*/ 773528 w 1090712"/>
              <a:gd name="connsiteY588" fmla="*/ 689252 h 895572"/>
              <a:gd name="connsiteX589" fmla="*/ 778755 w 1090712"/>
              <a:gd name="connsiteY589" fmla="*/ 684738 h 895572"/>
              <a:gd name="connsiteX590" fmla="*/ 783269 w 1090712"/>
              <a:gd name="connsiteY590" fmla="*/ 680461 h 895572"/>
              <a:gd name="connsiteX591" fmla="*/ 787308 w 1090712"/>
              <a:gd name="connsiteY591" fmla="*/ 674996 h 895572"/>
              <a:gd name="connsiteX592" fmla="*/ 791110 w 1090712"/>
              <a:gd name="connsiteY592" fmla="*/ 669769 h 895572"/>
              <a:gd name="connsiteX593" fmla="*/ 794436 w 1090712"/>
              <a:gd name="connsiteY593" fmla="*/ 663830 h 895572"/>
              <a:gd name="connsiteX594" fmla="*/ 797050 w 1090712"/>
              <a:gd name="connsiteY594" fmla="*/ 657652 h 895572"/>
              <a:gd name="connsiteX595" fmla="*/ 799188 w 1090712"/>
              <a:gd name="connsiteY595" fmla="*/ 651000 h 895572"/>
              <a:gd name="connsiteX596" fmla="*/ 801089 w 1090712"/>
              <a:gd name="connsiteY596" fmla="*/ 643872 h 895572"/>
              <a:gd name="connsiteX597" fmla="*/ 802277 w 1090712"/>
              <a:gd name="connsiteY597" fmla="*/ 636744 h 895572"/>
              <a:gd name="connsiteX598" fmla="*/ 803227 w 1090712"/>
              <a:gd name="connsiteY598" fmla="*/ 628666 h 895572"/>
              <a:gd name="connsiteX599" fmla="*/ 803227 w 1090712"/>
              <a:gd name="connsiteY599" fmla="*/ 620826 h 895572"/>
              <a:gd name="connsiteX600" fmla="*/ 801089 w 1090712"/>
              <a:gd name="connsiteY600" fmla="*/ 622489 h 895572"/>
              <a:gd name="connsiteX601" fmla="*/ 798238 w 1090712"/>
              <a:gd name="connsiteY601" fmla="*/ 623914 h 895572"/>
              <a:gd name="connsiteX602" fmla="*/ 793011 w 1090712"/>
              <a:gd name="connsiteY602" fmla="*/ 626053 h 895572"/>
              <a:gd name="connsiteX603" fmla="*/ 790397 w 1090712"/>
              <a:gd name="connsiteY603" fmla="*/ 627478 h 895572"/>
              <a:gd name="connsiteX604" fmla="*/ 788496 w 1090712"/>
              <a:gd name="connsiteY604" fmla="*/ 628191 h 895572"/>
              <a:gd name="connsiteX605" fmla="*/ 787308 w 1090712"/>
              <a:gd name="connsiteY605" fmla="*/ 630092 h 895572"/>
              <a:gd name="connsiteX606" fmla="*/ 786833 w 1090712"/>
              <a:gd name="connsiteY606" fmla="*/ 631755 h 895572"/>
              <a:gd name="connsiteX607" fmla="*/ 785408 w 1090712"/>
              <a:gd name="connsiteY607" fmla="*/ 635794 h 895572"/>
              <a:gd name="connsiteX608" fmla="*/ 784220 w 1090712"/>
              <a:gd name="connsiteY608" fmla="*/ 639833 h 895572"/>
              <a:gd name="connsiteX609" fmla="*/ 780656 w 1090712"/>
              <a:gd name="connsiteY609" fmla="*/ 646485 h 895572"/>
              <a:gd name="connsiteX610" fmla="*/ 776617 w 1090712"/>
              <a:gd name="connsiteY610" fmla="*/ 653138 h 895572"/>
              <a:gd name="connsiteX611" fmla="*/ 772103 w 1090712"/>
              <a:gd name="connsiteY611" fmla="*/ 659078 h 895572"/>
              <a:gd name="connsiteX612" fmla="*/ 762361 w 1090712"/>
              <a:gd name="connsiteY612" fmla="*/ 670007 h 895572"/>
              <a:gd name="connsiteX613" fmla="*/ 757847 w 1090712"/>
              <a:gd name="connsiteY613" fmla="*/ 675947 h 895572"/>
              <a:gd name="connsiteX614" fmla="*/ 753333 w 1090712"/>
              <a:gd name="connsiteY614" fmla="*/ 682124 h 895572"/>
              <a:gd name="connsiteX615" fmla="*/ 750244 w 1090712"/>
              <a:gd name="connsiteY615" fmla="*/ 684738 h 895572"/>
              <a:gd name="connsiteX616" fmla="*/ 747155 w 1090712"/>
              <a:gd name="connsiteY616" fmla="*/ 687589 h 895572"/>
              <a:gd name="connsiteX617" fmla="*/ 744067 w 1090712"/>
              <a:gd name="connsiteY617" fmla="*/ 689252 h 895572"/>
              <a:gd name="connsiteX618" fmla="*/ 740978 w 1090712"/>
              <a:gd name="connsiteY618" fmla="*/ 690915 h 895572"/>
              <a:gd name="connsiteX619" fmla="*/ 737890 w 1090712"/>
              <a:gd name="connsiteY619" fmla="*/ 691865 h 895572"/>
              <a:gd name="connsiteX620" fmla="*/ 734801 w 1090712"/>
              <a:gd name="connsiteY620" fmla="*/ 692816 h 895572"/>
              <a:gd name="connsiteX621" fmla="*/ 731950 w 1090712"/>
              <a:gd name="connsiteY621" fmla="*/ 693291 h 895572"/>
              <a:gd name="connsiteX622" fmla="*/ 728861 w 1090712"/>
              <a:gd name="connsiteY622" fmla="*/ 693291 h 895572"/>
              <a:gd name="connsiteX623" fmla="*/ 723634 w 1090712"/>
              <a:gd name="connsiteY623" fmla="*/ 692816 h 895572"/>
              <a:gd name="connsiteX624" fmla="*/ 718169 w 1090712"/>
              <a:gd name="connsiteY624" fmla="*/ 691390 h 895572"/>
              <a:gd name="connsiteX625" fmla="*/ 713418 w 1090712"/>
              <a:gd name="connsiteY625" fmla="*/ 689727 h 895572"/>
              <a:gd name="connsiteX626" fmla="*/ 708903 w 1090712"/>
              <a:gd name="connsiteY626" fmla="*/ 687826 h 895572"/>
              <a:gd name="connsiteX627" fmla="*/ 706765 w 1090712"/>
              <a:gd name="connsiteY627" fmla="*/ 687589 h 895572"/>
              <a:gd name="connsiteX628" fmla="*/ 704864 w 1090712"/>
              <a:gd name="connsiteY628" fmla="*/ 687114 h 895572"/>
              <a:gd name="connsiteX629" fmla="*/ 703201 w 1090712"/>
              <a:gd name="connsiteY629" fmla="*/ 686163 h 895572"/>
              <a:gd name="connsiteX630" fmla="*/ 701776 w 1090712"/>
              <a:gd name="connsiteY630" fmla="*/ 684738 h 895572"/>
              <a:gd name="connsiteX631" fmla="*/ 698687 w 1090712"/>
              <a:gd name="connsiteY631" fmla="*/ 681649 h 895572"/>
              <a:gd name="connsiteX632" fmla="*/ 696549 w 1090712"/>
              <a:gd name="connsiteY632" fmla="*/ 678085 h 895572"/>
              <a:gd name="connsiteX633" fmla="*/ 694648 w 1090712"/>
              <a:gd name="connsiteY633" fmla="*/ 673571 h 895572"/>
              <a:gd name="connsiteX634" fmla="*/ 693460 w 1090712"/>
              <a:gd name="connsiteY634" fmla="*/ 668819 h 895572"/>
              <a:gd name="connsiteX635" fmla="*/ 692510 w 1090712"/>
              <a:gd name="connsiteY635" fmla="*/ 664305 h 895572"/>
              <a:gd name="connsiteX636" fmla="*/ 692510 w 1090712"/>
              <a:gd name="connsiteY636" fmla="*/ 659790 h 895572"/>
              <a:gd name="connsiteX637" fmla="*/ 692510 w 1090712"/>
              <a:gd name="connsiteY637" fmla="*/ 647436 h 895572"/>
              <a:gd name="connsiteX638" fmla="*/ 693460 w 1090712"/>
              <a:gd name="connsiteY638" fmla="*/ 635319 h 895572"/>
              <a:gd name="connsiteX639" fmla="*/ 694173 w 1090712"/>
              <a:gd name="connsiteY639" fmla="*/ 624389 h 895572"/>
              <a:gd name="connsiteX640" fmla="*/ 695598 w 1090712"/>
              <a:gd name="connsiteY640" fmla="*/ 612748 h 895572"/>
              <a:gd name="connsiteX641" fmla="*/ 699162 w 1090712"/>
              <a:gd name="connsiteY641" fmla="*/ 591364 h 895572"/>
              <a:gd name="connsiteX642" fmla="*/ 703676 w 1090712"/>
              <a:gd name="connsiteY642" fmla="*/ 570456 h 895572"/>
              <a:gd name="connsiteX643" fmla="*/ 720070 w 1090712"/>
              <a:gd name="connsiteY643" fmla="*/ 574971 h 895572"/>
              <a:gd name="connsiteX644" fmla="*/ 736939 w 1090712"/>
              <a:gd name="connsiteY644" fmla="*/ 579247 h 895572"/>
              <a:gd name="connsiteX645" fmla="*/ 770677 w 1090712"/>
              <a:gd name="connsiteY645" fmla="*/ 589226 h 895572"/>
              <a:gd name="connsiteX646" fmla="*/ 788021 w 1090712"/>
              <a:gd name="connsiteY646" fmla="*/ 593503 h 895572"/>
              <a:gd name="connsiteX647" fmla="*/ 805365 w 1090712"/>
              <a:gd name="connsiteY647" fmla="*/ 597542 h 895572"/>
              <a:gd name="connsiteX648" fmla="*/ 823660 w 1090712"/>
              <a:gd name="connsiteY648" fmla="*/ 601106 h 895572"/>
              <a:gd name="connsiteX649" fmla="*/ 841954 w 1090712"/>
              <a:gd name="connsiteY649" fmla="*/ 603719 h 895572"/>
              <a:gd name="connsiteX650" fmla="*/ 861437 w 1090712"/>
              <a:gd name="connsiteY650" fmla="*/ 606570 h 895572"/>
              <a:gd name="connsiteX651" fmla="*/ 880682 w 1090712"/>
              <a:gd name="connsiteY651" fmla="*/ 608233 h 895572"/>
              <a:gd name="connsiteX652" fmla="*/ 889948 w 1090712"/>
              <a:gd name="connsiteY652" fmla="*/ 608708 h 895572"/>
              <a:gd name="connsiteX653" fmla="*/ 898976 w 1090712"/>
              <a:gd name="connsiteY653" fmla="*/ 608708 h 895572"/>
              <a:gd name="connsiteX654" fmla="*/ 908242 w 1090712"/>
              <a:gd name="connsiteY654" fmla="*/ 608708 h 895572"/>
              <a:gd name="connsiteX655" fmla="*/ 916795 w 1090712"/>
              <a:gd name="connsiteY655" fmla="*/ 608233 h 895572"/>
              <a:gd name="connsiteX656" fmla="*/ 925586 w 1090712"/>
              <a:gd name="connsiteY656" fmla="*/ 607283 h 895572"/>
              <a:gd name="connsiteX657" fmla="*/ 934140 w 1090712"/>
              <a:gd name="connsiteY657" fmla="*/ 606095 h 895572"/>
              <a:gd name="connsiteX658" fmla="*/ 942455 w 1090712"/>
              <a:gd name="connsiteY658" fmla="*/ 604669 h 895572"/>
              <a:gd name="connsiteX659" fmla="*/ 950533 w 1090712"/>
              <a:gd name="connsiteY659" fmla="*/ 603006 h 895572"/>
              <a:gd name="connsiteX660" fmla="*/ 958611 w 1090712"/>
              <a:gd name="connsiteY660" fmla="*/ 600630 h 895572"/>
              <a:gd name="connsiteX661" fmla="*/ 966452 w 1090712"/>
              <a:gd name="connsiteY661" fmla="*/ 598017 h 895572"/>
              <a:gd name="connsiteX662" fmla="*/ 974055 w 1090712"/>
              <a:gd name="connsiteY662" fmla="*/ 595403 h 895572"/>
              <a:gd name="connsiteX663" fmla="*/ 981658 w 1090712"/>
              <a:gd name="connsiteY663" fmla="*/ 591840 h 895572"/>
              <a:gd name="connsiteX664" fmla="*/ 989261 w 1090712"/>
              <a:gd name="connsiteY664" fmla="*/ 588276 h 895572"/>
              <a:gd name="connsiteX665" fmla="*/ 996388 w 1090712"/>
              <a:gd name="connsiteY665" fmla="*/ 584237 h 895572"/>
              <a:gd name="connsiteX666" fmla="*/ 1003041 w 1090712"/>
              <a:gd name="connsiteY666" fmla="*/ 579247 h 895572"/>
              <a:gd name="connsiteX667" fmla="*/ 1009694 w 1090712"/>
              <a:gd name="connsiteY667" fmla="*/ 574495 h 895572"/>
              <a:gd name="connsiteX668" fmla="*/ 1016346 w 1090712"/>
              <a:gd name="connsiteY668" fmla="*/ 569031 h 895572"/>
              <a:gd name="connsiteX669" fmla="*/ 1022998 w 1090712"/>
              <a:gd name="connsiteY669" fmla="*/ 562853 h 895572"/>
              <a:gd name="connsiteX670" fmla="*/ 1029176 w 1090712"/>
              <a:gd name="connsiteY670" fmla="*/ 556676 h 895572"/>
              <a:gd name="connsiteX671" fmla="*/ 1035116 w 1090712"/>
              <a:gd name="connsiteY671" fmla="*/ 549548 h 895572"/>
              <a:gd name="connsiteX672" fmla="*/ 1040818 w 1090712"/>
              <a:gd name="connsiteY672" fmla="*/ 541945 h 895572"/>
              <a:gd name="connsiteX673" fmla="*/ 1046520 w 1090712"/>
              <a:gd name="connsiteY673" fmla="*/ 534342 h 895572"/>
              <a:gd name="connsiteX674" fmla="*/ 1051985 w 1090712"/>
              <a:gd name="connsiteY674" fmla="*/ 526027 h 895572"/>
              <a:gd name="connsiteX675" fmla="*/ 1056737 w 1090712"/>
              <a:gd name="connsiteY675" fmla="*/ 516523 h 895572"/>
              <a:gd name="connsiteX676" fmla="*/ 1061726 w 1090712"/>
              <a:gd name="connsiteY676" fmla="*/ 507257 h 895572"/>
              <a:gd name="connsiteX677" fmla="*/ 1066715 w 1090712"/>
              <a:gd name="connsiteY677" fmla="*/ 497041 h 895572"/>
              <a:gd name="connsiteX678" fmla="*/ 1070992 w 1090712"/>
              <a:gd name="connsiteY678" fmla="*/ 486349 h 895572"/>
              <a:gd name="connsiteX679" fmla="*/ 1075506 w 1090712"/>
              <a:gd name="connsiteY679" fmla="*/ 475182 h 895572"/>
              <a:gd name="connsiteX680" fmla="*/ 1079070 w 1090712"/>
              <a:gd name="connsiteY680" fmla="*/ 462828 h 895572"/>
              <a:gd name="connsiteX681" fmla="*/ 1082634 w 1090712"/>
              <a:gd name="connsiteY681" fmla="*/ 449998 h 895572"/>
              <a:gd name="connsiteX682" fmla="*/ 1084772 w 1090712"/>
              <a:gd name="connsiteY682" fmla="*/ 437405 h 895572"/>
              <a:gd name="connsiteX683" fmla="*/ 1087148 w 1090712"/>
              <a:gd name="connsiteY683" fmla="*/ 425050 h 895572"/>
              <a:gd name="connsiteX684" fmla="*/ 1088811 w 1090712"/>
              <a:gd name="connsiteY684" fmla="*/ 411983 h 895572"/>
              <a:gd name="connsiteX685" fmla="*/ 1089762 w 1090712"/>
              <a:gd name="connsiteY685" fmla="*/ 399628 h 895572"/>
              <a:gd name="connsiteX686" fmla="*/ 1090712 w 1090712"/>
              <a:gd name="connsiteY686" fmla="*/ 386798 h 895572"/>
              <a:gd name="connsiteX687" fmla="*/ 1090712 w 1090712"/>
              <a:gd name="connsiteY687" fmla="*/ 373731 h 895572"/>
              <a:gd name="connsiteX688" fmla="*/ 1090712 w 1090712"/>
              <a:gd name="connsiteY688" fmla="*/ 360901 h 895572"/>
              <a:gd name="connsiteX689" fmla="*/ 1089762 w 1090712"/>
              <a:gd name="connsiteY689" fmla="*/ 348071 h 895572"/>
              <a:gd name="connsiteX690" fmla="*/ 1088811 w 1090712"/>
              <a:gd name="connsiteY690" fmla="*/ 335004 h 895572"/>
              <a:gd name="connsiteX691" fmla="*/ 1088099 w 1090712"/>
              <a:gd name="connsiteY691" fmla="*/ 321698 h 895572"/>
              <a:gd name="connsiteX692" fmla="*/ 1084772 w 1090712"/>
              <a:gd name="connsiteY692" fmla="*/ 295563 h 895572"/>
              <a:gd name="connsiteX693" fmla="*/ 1080971 w 1090712"/>
              <a:gd name="connsiteY693" fmla="*/ 268478 h 895572"/>
              <a:gd name="connsiteX694" fmla="*/ 1078595 w 1090712"/>
              <a:gd name="connsiteY694" fmla="*/ 258262 h 895572"/>
              <a:gd name="connsiteX695" fmla="*/ 1075981 w 1090712"/>
              <a:gd name="connsiteY695" fmla="*/ 248283 h 895572"/>
              <a:gd name="connsiteX696" fmla="*/ 1072417 w 1090712"/>
              <a:gd name="connsiteY696" fmla="*/ 238542 h 895572"/>
              <a:gd name="connsiteX697" fmla="*/ 1069329 w 1090712"/>
              <a:gd name="connsiteY697" fmla="*/ 229275 h 895572"/>
              <a:gd name="connsiteX698" fmla="*/ 1061251 w 1090712"/>
              <a:gd name="connsiteY698" fmla="*/ 210031 h 895572"/>
              <a:gd name="connsiteX699" fmla="*/ 1053173 w 1090712"/>
              <a:gd name="connsiteY699" fmla="*/ 190073 h 895572"/>
              <a:gd name="connsiteX700" fmla="*/ 1051034 w 1090712"/>
              <a:gd name="connsiteY700" fmla="*/ 186034 h 895572"/>
              <a:gd name="connsiteX701" fmla="*/ 1048896 w 1090712"/>
              <a:gd name="connsiteY701" fmla="*/ 182470 h 895572"/>
              <a:gd name="connsiteX702" fmla="*/ 1046045 w 1090712"/>
              <a:gd name="connsiteY702" fmla="*/ 179381 h 895572"/>
              <a:gd name="connsiteX703" fmla="*/ 1043906 w 1090712"/>
              <a:gd name="connsiteY703" fmla="*/ 176768 h 895572"/>
              <a:gd name="connsiteX704" fmla="*/ 1041293 w 1090712"/>
              <a:gd name="connsiteY704" fmla="*/ 174630 h 895572"/>
              <a:gd name="connsiteX705" fmla="*/ 1038680 w 1090712"/>
              <a:gd name="connsiteY705" fmla="*/ 172729 h 895572"/>
              <a:gd name="connsiteX706" fmla="*/ 1035828 w 1090712"/>
              <a:gd name="connsiteY706" fmla="*/ 171303 h 895572"/>
              <a:gd name="connsiteX707" fmla="*/ 1032740 w 1090712"/>
              <a:gd name="connsiteY707" fmla="*/ 170591 h 895572"/>
              <a:gd name="connsiteX708" fmla="*/ 1030126 w 1090712"/>
              <a:gd name="connsiteY708" fmla="*/ 170591 h 895572"/>
              <a:gd name="connsiteX709" fmla="*/ 1027038 w 1090712"/>
              <a:gd name="connsiteY709" fmla="*/ 170591 h 895572"/>
              <a:gd name="connsiteX710" fmla="*/ 1024424 w 1090712"/>
              <a:gd name="connsiteY710" fmla="*/ 171303 h 895572"/>
              <a:gd name="connsiteX711" fmla="*/ 1021335 w 1090712"/>
              <a:gd name="connsiteY711" fmla="*/ 172729 h 895572"/>
              <a:gd name="connsiteX712" fmla="*/ 1018247 w 1090712"/>
              <a:gd name="connsiteY712" fmla="*/ 174867 h 895572"/>
              <a:gd name="connsiteX713" fmla="*/ 1014920 w 1090712"/>
              <a:gd name="connsiteY713" fmla="*/ 177718 h 895572"/>
              <a:gd name="connsiteX714" fmla="*/ 1011832 w 1090712"/>
              <a:gd name="connsiteY714" fmla="*/ 180807 h 895572"/>
              <a:gd name="connsiteX715" fmla="*/ 1008743 w 1090712"/>
              <a:gd name="connsiteY715" fmla="*/ 184846 h 895572"/>
              <a:gd name="connsiteX716" fmla="*/ 991874 w 1090712"/>
              <a:gd name="connsiteY716" fmla="*/ 201240 h 895572"/>
              <a:gd name="connsiteX717" fmla="*/ 983321 w 1090712"/>
              <a:gd name="connsiteY717" fmla="*/ 209318 h 895572"/>
              <a:gd name="connsiteX718" fmla="*/ 974530 w 1090712"/>
              <a:gd name="connsiteY718" fmla="*/ 216683 h 895572"/>
              <a:gd name="connsiteX719" fmla="*/ 965739 w 1090712"/>
              <a:gd name="connsiteY719" fmla="*/ 223811 h 895572"/>
              <a:gd name="connsiteX720" fmla="*/ 956236 w 1090712"/>
              <a:gd name="connsiteY720" fmla="*/ 230226 h 895572"/>
              <a:gd name="connsiteX721" fmla="*/ 946494 w 1090712"/>
              <a:gd name="connsiteY721" fmla="*/ 235928 h 895572"/>
              <a:gd name="connsiteX722" fmla="*/ 941505 w 1090712"/>
              <a:gd name="connsiteY722" fmla="*/ 238066 h 895572"/>
              <a:gd name="connsiteX723" fmla="*/ 936753 w 1090712"/>
              <a:gd name="connsiteY723" fmla="*/ 240442 h 895572"/>
              <a:gd name="connsiteX724" fmla="*/ 932239 w 1090712"/>
              <a:gd name="connsiteY724" fmla="*/ 242581 h 895572"/>
              <a:gd name="connsiteX725" fmla="*/ 928675 w 1090712"/>
              <a:gd name="connsiteY725" fmla="*/ 245669 h 895572"/>
              <a:gd name="connsiteX726" fmla="*/ 925111 w 1090712"/>
              <a:gd name="connsiteY726" fmla="*/ 249233 h 895572"/>
              <a:gd name="connsiteX727" fmla="*/ 922022 w 1090712"/>
              <a:gd name="connsiteY727" fmla="*/ 252797 h 895572"/>
              <a:gd name="connsiteX728" fmla="*/ 919884 w 1090712"/>
              <a:gd name="connsiteY728" fmla="*/ 257311 h 895572"/>
              <a:gd name="connsiteX729" fmla="*/ 918934 w 1090712"/>
              <a:gd name="connsiteY729" fmla="*/ 259925 h 895572"/>
              <a:gd name="connsiteX730" fmla="*/ 918459 w 1090712"/>
              <a:gd name="connsiteY730" fmla="*/ 262538 h 895572"/>
              <a:gd name="connsiteX731" fmla="*/ 918459 w 1090712"/>
              <a:gd name="connsiteY731" fmla="*/ 265389 h 895572"/>
              <a:gd name="connsiteX732" fmla="*/ 918459 w 1090712"/>
              <a:gd name="connsiteY732" fmla="*/ 268003 h 895572"/>
              <a:gd name="connsiteX733" fmla="*/ 918934 w 1090712"/>
              <a:gd name="connsiteY733" fmla="*/ 271091 h 895572"/>
              <a:gd name="connsiteX734" fmla="*/ 919884 w 1090712"/>
              <a:gd name="connsiteY734" fmla="*/ 274180 h 895572"/>
              <a:gd name="connsiteX735" fmla="*/ 921547 w 1090712"/>
              <a:gd name="connsiteY735" fmla="*/ 282258 h 895572"/>
              <a:gd name="connsiteX736" fmla="*/ 922973 w 1090712"/>
              <a:gd name="connsiteY736" fmla="*/ 290574 h 895572"/>
              <a:gd name="connsiteX737" fmla="*/ 923923 w 1090712"/>
              <a:gd name="connsiteY737" fmla="*/ 299127 h 895572"/>
              <a:gd name="connsiteX738" fmla="*/ 924161 w 1090712"/>
              <a:gd name="connsiteY738" fmla="*/ 307443 h 895572"/>
              <a:gd name="connsiteX739" fmla="*/ 924161 w 1090712"/>
              <a:gd name="connsiteY739" fmla="*/ 315996 h 895572"/>
              <a:gd name="connsiteX740" fmla="*/ 923923 w 1090712"/>
              <a:gd name="connsiteY740" fmla="*/ 324550 h 895572"/>
              <a:gd name="connsiteX741" fmla="*/ 922973 w 1090712"/>
              <a:gd name="connsiteY741" fmla="*/ 332865 h 895572"/>
              <a:gd name="connsiteX742" fmla="*/ 922022 w 1090712"/>
              <a:gd name="connsiteY742" fmla="*/ 340943 h 895572"/>
              <a:gd name="connsiteX743" fmla="*/ 920597 w 1090712"/>
              <a:gd name="connsiteY743" fmla="*/ 349259 h 895572"/>
              <a:gd name="connsiteX744" fmla="*/ 918934 w 1090712"/>
              <a:gd name="connsiteY744" fmla="*/ 357812 h 895572"/>
              <a:gd name="connsiteX745" fmla="*/ 914420 w 1090712"/>
              <a:gd name="connsiteY745" fmla="*/ 374681 h 895572"/>
              <a:gd name="connsiteX746" fmla="*/ 909192 w 1090712"/>
              <a:gd name="connsiteY746" fmla="*/ 391075 h 895572"/>
              <a:gd name="connsiteX747" fmla="*/ 903253 w 1090712"/>
              <a:gd name="connsiteY747" fmla="*/ 408182 h 895572"/>
              <a:gd name="connsiteX748" fmla="*/ 903253 w 1090712"/>
              <a:gd name="connsiteY748" fmla="*/ 397965 h 895572"/>
              <a:gd name="connsiteX749" fmla="*/ 904203 w 1090712"/>
              <a:gd name="connsiteY749" fmla="*/ 387274 h 895572"/>
              <a:gd name="connsiteX750" fmla="*/ 906104 w 1090712"/>
              <a:gd name="connsiteY750" fmla="*/ 367078 h 895572"/>
              <a:gd name="connsiteX751" fmla="*/ 907767 w 1090712"/>
              <a:gd name="connsiteY751" fmla="*/ 347596 h 895572"/>
              <a:gd name="connsiteX752" fmla="*/ 908717 w 1090712"/>
              <a:gd name="connsiteY752" fmla="*/ 338567 h 895572"/>
              <a:gd name="connsiteX753" fmla="*/ 908717 w 1090712"/>
              <a:gd name="connsiteY753" fmla="*/ 329777 h 895572"/>
              <a:gd name="connsiteX754" fmla="*/ 908717 w 1090712"/>
              <a:gd name="connsiteY754" fmla="*/ 325738 h 895572"/>
              <a:gd name="connsiteX755" fmla="*/ 907767 w 1090712"/>
              <a:gd name="connsiteY755" fmla="*/ 322649 h 895572"/>
              <a:gd name="connsiteX756" fmla="*/ 906817 w 1090712"/>
              <a:gd name="connsiteY756" fmla="*/ 319560 h 895572"/>
              <a:gd name="connsiteX757" fmla="*/ 905154 w 1090712"/>
              <a:gd name="connsiteY757" fmla="*/ 316471 h 895572"/>
              <a:gd name="connsiteX758" fmla="*/ 903728 w 1090712"/>
              <a:gd name="connsiteY758" fmla="*/ 314096 h 895572"/>
              <a:gd name="connsiteX759" fmla="*/ 901590 w 1090712"/>
              <a:gd name="connsiteY759" fmla="*/ 311957 h 895572"/>
              <a:gd name="connsiteX760" fmla="*/ 897551 w 1090712"/>
              <a:gd name="connsiteY760" fmla="*/ 307443 h 895572"/>
              <a:gd name="connsiteX761" fmla="*/ 895412 w 1090712"/>
              <a:gd name="connsiteY761" fmla="*/ 309344 h 895572"/>
              <a:gd name="connsiteX762" fmla="*/ 892561 w 1090712"/>
              <a:gd name="connsiteY762" fmla="*/ 310769 h 895572"/>
              <a:gd name="connsiteX763" fmla="*/ 887334 w 1090712"/>
              <a:gd name="connsiteY763" fmla="*/ 313383 h 895572"/>
              <a:gd name="connsiteX764" fmla="*/ 884721 w 1090712"/>
              <a:gd name="connsiteY764" fmla="*/ 314096 h 895572"/>
              <a:gd name="connsiteX765" fmla="*/ 882820 w 1090712"/>
              <a:gd name="connsiteY765" fmla="*/ 315521 h 895572"/>
              <a:gd name="connsiteX766" fmla="*/ 881632 w 1090712"/>
              <a:gd name="connsiteY766" fmla="*/ 316947 h 895572"/>
              <a:gd name="connsiteX767" fmla="*/ 881157 w 1090712"/>
              <a:gd name="connsiteY767" fmla="*/ 318610 h 895572"/>
              <a:gd name="connsiteX768" fmla="*/ 872604 w 1090712"/>
              <a:gd name="connsiteY768" fmla="*/ 331915 h 895572"/>
              <a:gd name="connsiteX769" fmla="*/ 864288 w 1090712"/>
              <a:gd name="connsiteY769" fmla="*/ 346646 h 895572"/>
              <a:gd name="connsiteX770" fmla="*/ 856210 w 1090712"/>
              <a:gd name="connsiteY770" fmla="*/ 361376 h 895572"/>
              <a:gd name="connsiteX771" fmla="*/ 847656 w 1090712"/>
              <a:gd name="connsiteY771" fmla="*/ 374681 h 895572"/>
              <a:gd name="connsiteX772" fmla="*/ 841954 w 1090712"/>
              <a:gd name="connsiteY772" fmla="*/ 374681 h 895572"/>
              <a:gd name="connsiteX773" fmla="*/ 846468 w 1090712"/>
              <a:gd name="connsiteY773" fmla="*/ 357812 h 895572"/>
              <a:gd name="connsiteX774" fmla="*/ 850508 w 1090712"/>
              <a:gd name="connsiteY774" fmla="*/ 339518 h 895572"/>
              <a:gd name="connsiteX775" fmla="*/ 854784 w 1090712"/>
              <a:gd name="connsiteY775" fmla="*/ 319560 h 895572"/>
              <a:gd name="connsiteX776" fmla="*/ 858823 w 1090712"/>
              <a:gd name="connsiteY776" fmla="*/ 296514 h 895572"/>
              <a:gd name="connsiteX777" fmla="*/ 848132 w 1090712"/>
              <a:gd name="connsiteY777" fmla="*/ 303879 h 895572"/>
              <a:gd name="connsiteX778" fmla="*/ 840054 w 1090712"/>
              <a:gd name="connsiteY778" fmla="*/ 310294 h 895572"/>
              <a:gd name="connsiteX779" fmla="*/ 833163 w 1090712"/>
              <a:gd name="connsiteY779" fmla="*/ 316947 h 895572"/>
              <a:gd name="connsiteX780" fmla="*/ 825560 w 1090712"/>
              <a:gd name="connsiteY780" fmla="*/ 324550 h 895572"/>
              <a:gd name="connsiteX781" fmla="*/ 823185 w 1090712"/>
              <a:gd name="connsiteY781" fmla="*/ 326688 h 895572"/>
              <a:gd name="connsiteX782" fmla="*/ 821522 w 1090712"/>
              <a:gd name="connsiteY782" fmla="*/ 329301 h 895572"/>
              <a:gd name="connsiteX783" fmla="*/ 817007 w 1090712"/>
              <a:gd name="connsiteY783" fmla="*/ 335954 h 895572"/>
              <a:gd name="connsiteX784" fmla="*/ 812968 w 1090712"/>
              <a:gd name="connsiteY784" fmla="*/ 344032 h 895572"/>
              <a:gd name="connsiteX785" fmla="*/ 808929 w 1090712"/>
              <a:gd name="connsiteY785" fmla="*/ 352585 h 895572"/>
              <a:gd name="connsiteX786" fmla="*/ 809880 w 1090712"/>
              <a:gd name="connsiteY786" fmla="*/ 343557 h 895572"/>
              <a:gd name="connsiteX787" fmla="*/ 811305 w 1090712"/>
              <a:gd name="connsiteY787" fmla="*/ 335479 h 895572"/>
              <a:gd name="connsiteX788" fmla="*/ 812493 w 1090712"/>
              <a:gd name="connsiteY788" fmla="*/ 328826 h 895572"/>
              <a:gd name="connsiteX789" fmla="*/ 814394 w 1090712"/>
              <a:gd name="connsiteY789" fmla="*/ 323124 h 895572"/>
              <a:gd name="connsiteX790" fmla="*/ 816532 w 1090712"/>
              <a:gd name="connsiteY790" fmla="*/ 317659 h 895572"/>
              <a:gd name="connsiteX791" fmla="*/ 819146 w 1090712"/>
              <a:gd name="connsiteY791" fmla="*/ 313383 h 895572"/>
              <a:gd name="connsiteX792" fmla="*/ 822709 w 1090712"/>
              <a:gd name="connsiteY792" fmla="*/ 309344 h 895572"/>
              <a:gd name="connsiteX793" fmla="*/ 826748 w 1090712"/>
              <a:gd name="connsiteY793" fmla="*/ 306255 h 895572"/>
              <a:gd name="connsiteX794" fmla="*/ 832213 w 1090712"/>
              <a:gd name="connsiteY794" fmla="*/ 303166 h 895572"/>
              <a:gd name="connsiteX795" fmla="*/ 838390 w 1090712"/>
              <a:gd name="connsiteY795" fmla="*/ 300315 h 895572"/>
              <a:gd name="connsiteX796" fmla="*/ 845518 w 1090712"/>
              <a:gd name="connsiteY796" fmla="*/ 298177 h 895572"/>
              <a:gd name="connsiteX797" fmla="*/ 854071 w 1090712"/>
              <a:gd name="connsiteY797" fmla="*/ 295563 h 895572"/>
              <a:gd name="connsiteX798" fmla="*/ 875217 w 1090712"/>
              <a:gd name="connsiteY798" fmla="*/ 290574 h 895572"/>
              <a:gd name="connsiteX799" fmla="*/ 903253 w 1090712"/>
              <a:gd name="connsiteY799" fmla="*/ 285347 h 895572"/>
              <a:gd name="connsiteX800" fmla="*/ 886384 w 1090712"/>
              <a:gd name="connsiteY800" fmla="*/ 268478 h 895572"/>
              <a:gd name="connsiteX801" fmla="*/ 879731 w 1090712"/>
              <a:gd name="connsiteY801" fmla="*/ 270141 h 895572"/>
              <a:gd name="connsiteX802" fmla="*/ 873079 w 1090712"/>
              <a:gd name="connsiteY802" fmla="*/ 271091 h 895572"/>
              <a:gd name="connsiteX803" fmla="*/ 867376 w 1090712"/>
              <a:gd name="connsiteY803" fmla="*/ 271567 h 895572"/>
              <a:gd name="connsiteX804" fmla="*/ 862387 w 1090712"/>
              <a:gd name="connsiteY804" fmla="*/ 271091 h 895572"/>
              <a:gd name="connsiteX805" fmla="*/ 857398 w 1090712"/>
              <a:gd name="connsiteY805" fmla="*/ 269666 h 895572"/>
              <a:gd name="connsiteX806" fmla="*/ 853596 w 1090712"/>
              <a:gd name="connsiteY806" fmla="*/ 268003 h 895572"/>
              <a:gd name="connsiteX807" fmla="*/ 849557 w 1090712"/>
              <a:gd name="connsiteY807" fmla="*/ 265627 h 895572"/>
              <a:gd name="connsiteX808" fmla="*/ 846468 w 1090712"/>
              <a:gd name="connsiteY808" fmla="*/ 262538 h 895572"/>
              <a:gd name="connsiteX809" fmla="*/ 843380 w 1090712"/>
              <a:gd name="connsiteY809" fmla="*/ 259450 h 895572"/>
              <a:gd name="connsiteX810" fmla="*/ 840529 w 1090712"/>
              <a:gd name="connsiteY810" fmla="*/ 255411 h 895572"/>
              <a:gd name="connsiteX811" fmla="*/ 838390 w 1090712"/>
              <a:gd name="connsiteY811" fmla="*/ 251134 h 895572"/>
              <a:gd name="connsiteX812" fmla="*/ 836490 w 1090712"/>
              <a:gd name="connsiteY812" fmla="*/ 246620 h 895572"/>
              <a:gd name="connsiteX813" fmla="*/ 834827 w 1090712"/>
              <a:gd name="connsiteY813" fmla="*/ 241155 h 895572"/>
              <a:gd name="connsiteX814" fmla="*/ 833401 w 1090712"/>
              <a:gd name="connsiteY814" fmla="*/ 235453 h 895572"/>
              <a:gd name="connsiteX815" fmla="*/ 831263 w 1090712"/>
              <a:gd name="connsiteY815" fmla="*/ 223336 h 895572"/>
              <a:gd name="connsiteX816" fmla="*/ 897551 w 1090712"/>
              <a:gd name="connsiteY816" fmla="*/ 206942 h 895572"/>
              <a:gd name="connsiteX817" fmla="*/ 888997 w 1090712"/>
              <a:gd name="connsiteY817" fmla="*/ 194112 h 895572"/>
              <a:gd name="connsiteX818" fmla="*/ 880682 w 1090712"/>
              <a:gd name="connsiteY818" fmla="*/ 181282 h 895572"/>
              <a:gd name="connsiteX819" fmla="*/ 871416 w 1090712"/>
              <a:gd name="connsiteY819" fmla="*/ 168690 h 895572"/>
              <a:gd name="connsiteX820" fmla="*/ 866901 w 1090712"/>
              <a:gd name="connsiteY820" fmla="*/ 162988 h 895572"/>
              <a:gd name="connsiteX821" fmla="*/ 861437 w 1090712"/>
              <a:gd name="connsiteY821" fmla="*/ 157048 h 895572"/>
              <a:gd name="connsiteX822" fmla="*/ 856210 w 1090712"/>
              <a:gd name="connsiteY822" fmla="*/ 151821 h 895572"/>
              <a:gd name="connsiteX823" fmla="*/ 850745 w 1090712"/>
              <a:gd name="connsiteY823" fmla="*/ 146831 h 895572"/>
              <a:gd name="connsiteX824" fmla="*/ 844568 w 1090712"/>
              <a:gd name="connsiteY824" fmla="*/ 142555 h 895572"/>
              <a:gd name="connsiteX825" fmla="*/ 838390 w 1090712"/>
              <a:gd name="connsiteY825" fmla="*/ 138516 h 895572"/>
              <a:gd name="connsiteX826" fmla="*/ 831738 w 1090712"/>
              <a:gd name="connsiteY826" fmla="*/ 134952 h 895572"/>
              <a:gd name="connsiteX827" fmla="*/ 824610 w 1090712"/>
              <a:gd name="connsiteY827" fmla="*/ 132338 h 895572"/>
              <a:gd name="connsiteX828" fmla="*/ 817007 w 1090712"/>
              <a:gd name="connsiteY828" fmla="*/ 129963 h 895572"/>
              <a:gd name="connsiteX829" fmla="*/ 808929 w 1090712"/>
              <a:gd name="connsiteY829" fmla="*/ 128774 h 895572"/>
              <a:gd name="connsiteX830" fmla="*/ 806791 w 1090712"/>
              <a:gd name="connsiteY830" fmla="*/ 128299 h 895572"/>
              <a:gd name="connsiteX831" fmla="*/ 804652 w 1090712"/>
              <a:gd name="connsiteY831" fmla="*/ 127824 h 895572"/>
              <a:gd name="connsiteX832" fmla="*/ 802752 w 1090712"/>
              <a:gd name="connsiteY832" fmla="*/ 126399 h 895572"/>
              <a:gd name="connsiteX833" fmla="*/ 801089 w 1090712"/>
              <a:gd name="connsiteY833" fmla="*/ 125211 h 895572"/>
              <a:gd name="connsiteX834" fmla="*/ 799663 w 1090712"/>
              <a:gd name="connsiteY834" fmla="*/ 123310 h 895572"/>
              <a:gd name="connsiteX835" fmla="*/ 798713 w 1090712"/>
              <a:gd name="connsiteY835" fmla="*/ 121647 h 895572"/>
              <a:gd name="connsiteX836" fmla="*/ 798000 w 1090712"/>
              <a:gd name="connsiteY836" fmla="*/ 119271 h 895572"/>
              <a:gd name="connsiteX837" fmla="*/ 798000 w 1090712"/>
              <a:gd name="connsiteY837" fmla="*/ 117608 h 895572"/>
              <a:gd name="connsiteX838" fmla="*/ 785408 w 1090712"/>
              <a:gd name="connsiteY838" fmla="*/ 106916 h 895572"/>
              <a:gd name="connsiteX839" fmla="*/ 772578 w 1090712"/>
              <a:gd name="connsiteY839" fmla="*/ 95749 h 895572"/>
              <a:gd name="connsiteX840" fmla="*/ 747155 w 1090712"/>
              <a:gd name="connsiteY840" fmla="*/ 72703 h 895572"/>
              <a:gd name="connsiteX841" fmla="*/ 733850 w 1090712"/>
              <a:gd name="connsiteY841" fmla="*/ 61061 h 895572"/>
              <a:gd name="connsiteX842" fmla="*/ 720545 w 1090712"/>
              <a:gd name="connsiteY842" fmla="*/ 49894 h 895572"/>
              <a:gd name="connsiteX843" fmla="*/ 706765 w 1090712"/>
              <a:gd name="connsiteY843" fmla="*/ 38728 h 895572"/>
              <a:gd name="connsiteX844" fmla="*/ 692510 w 1090712"/>
              <a:gd name="connsiteY844" fmla="*/ 28036 h 895572"/>
              <a:gd name="connsiteX845" fmla="*/ 679442 w 1090712"/>
              <a:gd name="connsiteY845" fmla="*/ 21859 h 895572"/>
              <a:gd name="connsiteX846" fmla="*/ 666137 w 1090712"/>
              <a:gd name="connsiteY846" fmla="*/ 16632 h 895572"/>
              <a:gd name="connsiteX847" fmla="*/ 652832 w 1090712"/>
              <a:gd name="connsiteY847" fmla="*/ 11642 h 895572"/>
              <a:gd name="connsiteX848" fmla="*/ 639527 w 1090712"/>
              <a:gd name="connsiteY848" fmla="*/ 7603 h 895572"/>
              <a:gd name="connsiteX849" fmla="*/ 626222 w 1090712"/>
              <a:gd name="connsiteY849" fmla="*/ 4514 h 895572"/>
              <a:gd name="connsiteX850" fmla="*/ 612917 w 1090712"/>
              <a:gd name="connsiteY850" fmla="*/ 1901 h 895572"/>
              <a:gd name="connsiteX851" fmla="*/ 599374 w 1090712"/>
              <a:gd name="connsiteY851" fmla="*/ 475 h 895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Lst>
            <a:rect l="l" t="t" r="r" b="b"/>
            <a:pathLst>
              <a:path w="1090712" h="895572">
                <a:moveTo>
                  <a:pt x="603413" y="721327"/>
                </a:moveTo>
                <a:lnTo>
                  <a:pt x="578466" y="770746"/>
                </a:lnTo>
                <a:lnTo>
                  <a:pt x="553519" y="818264"/>
                </a:lnTo>
                <a:lnTo>
                  <a:pt x="528334" y="865069"/>
                </a:lnTo>
                <a:lnTo>
                  <a:pt x="511825" y="895572"/>
                </a:lnTo>
                <a:lnTo>
                  <a:pt x="624528" y="895572"/>
                </a:lnTo>
                <a:lnTo>
                  <a:pt x="624796" y="894768"/>
                </a:lnTo>
                <a:lnTo>
                  <a:pt x="625271" y="891679"/>
                </a:lnTo>
                <a:lnTo>
                  <a:pt x="625747" y="889066"/>
                </a:lnTo>
                <a:lnTo>
                  <a:pt x="625747" y="860555"/>
                </a:lnTo>
                <a:lnTo>
                  <a:pt x="624796" y="833945"/>
                </a:lnTo>
                <a:lnTo>
                  <a:pt x="624321" y="820877"/>
                </a:lnTo>
                <a:lnTo>
                  <a:pt x="623608" y="808047"/>
                </a:lnTo>
                <a:lnTo>
                  <a:pt x="621708" y="795218"/>
                </a:lnTo>
                <a:lnTo>
                  <a:pt x="620044" y="782625"/>
                </a:lnTo>
                <a:lnTo>
                  <a:pt x="616005" y="766707"/>
                </a:lnTo>
                <a:lnTo>
                  <a:pt x="611966" y="751976"/>
                </a:lnTo>
                <a:lnTo>
                  <a:pt x="607452" y="737245"/>
                </a:lnTo>
                <a:close/>
                <a:moveTo>
                  <a:pt x="698212" y="530778"/>
                </a:moveTo>
                <a:lnTo>
                  <a:pt x="693460" y="534818"/>
                </a:lnTo>
                <a:lnTo>
                  <a:pt x="688471" y="538857"/>
                </a:lnTo>
                <a:lnTo>
                  <a:pt x="678254" y="546935"/>
                </a:lnTo>
                <a:lnTo>
                  <a:pt x="669226" y="553587"/>
                </a:lnTo>
                <a:lnTo>
                  <a:pt x="663048" y="558814"/>
                </a:lnTo>
                <a:lnTo>
                  <a:pt x="663048" y="556676"/>
                </a:lnTo>
                <a:lnTo>
                  <a:pt x="663523" y="554538"/>
                </a:lnTo>
                <a:lnTo>
                  <a:pt x="665424" y="550498"/>
                </a:lnTo>
                <a:lnTo>
                  <a:pt x="668038" y="546459"/>
                </a:lnTo>
                <a:lnTo>
                  <a:pt x="671602" y="542420"/>
                </a:lnTo>
                <a:lnTo>
                  <a:pt x="676829" y="538857"/>
                </a:lnTo>
                <a:lnTo>
                  <a:pt x="682768" y="535768"/>
                </a:lnTo>
                <a:lnTo>
                  <a:pt x="689896" y="533154"/>
                </a:lnTo>
                <a:close/>
                <a:moveTo>
                  <a:pt x="654257" y="302216"/>
                </a:moveTo>
                <a:lnTo>
                  <a:pt x="651882" y="302691"/>
                </a:lnTo>
                <a:lnTo>
                  <a:pt x="649268" y="303166"/>
                </a:lnTo>
                <a:lnTo>
                  <a:pt x="647130" y="304354"/>
                </a:lnTo>
                <a:lnTo>
                  <a:pt x="644516" y="306255"/>
                </a:lnTo>
                <a:lnTo>
                  <a:pt x="642140" y="307918"/>
                </a:lnTo>
                <a:lnTo>
                  <a:pt x="640002" y="310294"/>
                </a:lnTo>
                <a:lnTo>
                  <a:pt x="638101" y="312432"/>
                </a:lnTo>
                <a:lnTo>
                  <a:pt x="636913" y="314571"/>
                </a:lnTo>
                <a:lnTo>
                  <a:pt x="635963" y="316946"/>
                </a:lnTo>
                <a:lnTo>
                  <a:pt x="635963" y="319085"/>
                </a:lnTo>
                <a:lnTo>
                  <a:pt x="636913" y="321223"/>
                </a:lnTo>
                <a:lnTo>
                  <a:pt x="637626" y="324074"/>
                </a:lnTo>
                <a:lnTo>
                  <a:pt x="639527" y="326688"/>
                </a:lnTo>
                <a:lnTo>
                  <a:pt x="643091" y="331677"/>
                </a:lnTo>
                <a:lnTo>
                  <a:pt x="647130" y="335954"/>
                </a:lnTo>
                <a:lnTo>
                  <a:pt x="655920" y="330727"/>
                </a:lnTo>
                <a:lnTo>
                  <a:pt x="663999" y="324787"/>
                </a:lnTo>
                <a:lnTo>
                  <a:pt x="679917" y="313383"/>
                </a:lnTo>
                <a:lnTo>
                  <a:pt x="676354" y="311007"/>
                </a:lnTo>
                <a:lnTo>
                  <a:pt x="672790" y="308393"/>
                </a:lnTo>
                <a:lnTo>
                  <a:pt x="668988" y="306730"/>
                </a:lnTo>
                <a:lnTo>
                  <a:pt x="664949" y="304829"/>
                </a:lnTo>
                <a:lnTo>
                  <a:pt x="660910" y="303641"/>
                </a:lnTo>
                <a:lnTo>
                  <a:pt x="657346" y="302691"/>
                </a:lnTo>
                <a:close/>
                <a:moveTo>
                  <a:pt x="696549" y="252322"/>
                </a:moveTo>
                <a:lnTo>
                  <a:pt x="696786" y="259925"/>
                </a:lnTo>
                <a:lnTo>
                  <a:pt x="698212" y="266102"/>
                </a:lnTo>
                <a:lnTo>
                  <a:pt x="700113" y="272042"/>
                </a:lnTo>
                <a:lnTo>
                  <a:pt x="701776" y="276794"/>
                </a:lnTo>
                <a:lnTo>
                  <a:pt x="704389" y="280833"/>
                </a:lnTo>
                <a:lnTo>
                  <a:pt x="707240" y="284397"/>
                </a:lnTo>
                <a:lnTo>
                  <a:pt x="710329" y="287010"/>
                </a:lnTo>
                <a:lnTo>
                  <a:pt x="713418" y="289624"/>
                </a:lnTo>
                <a:lnTo>
                  <a:pt x="716506" y="291524"/>
                </a:lnTo>
                <a:lnTo>
                  <a:pt x="719595" y="293187"/>
                </a:lnTo>
                <a:lnTo>
                  <a:pt x="725772" y="295088"/>
                </a:lnTo>
                <a:lnTo>
                  <a:pt x="731237" y="296514"/>
                </a:lnTo>
                <a:lnTo>
                  <a:pt x="734801" y="296751"/>
                </a:lnTo>
                <a:lnTo>
                  <a:pt x="722209" y="303879"/>
                </a:lnTo>
                <a:lnTo>
                  <a:pt x="710804" y="311007"/>
                </a:lnTo>
                <a:lnTo>
                  <a:pt x="688471" y="324787"/>
                </a:lnTo>
                <a:lnTo>
                  <a:pt x="667563" y="339043"/>
                </a:lnTo>
                <a:lnTo>
                  <a:pt x="646179" y="352823"/>
                </a:lnTo>
                <a:lnTo>
                  <a:pt x="620044" y="313383"/>
                </a:lnTo>
                <a:lnTo>
                  <a:pt x="617668" y="312432"/>
                </a:lnTo>
                <a:lnTo>
                  <a:pt x="615055" y="312432"/>
                </a:lnTo>
                <a:lnTo>
                  <a:pt x="612441" y="313383"/>
                </a:lnTo>
                <a:lnTo>
                  <a:pt x="609353" y="314095"/>
                </a:lnTo>
                <a:lnTo>
                  <a:pt x="602938" y="316946"/>
                </a:lnTo>
                <a:lnTo>
                  <a:pt x="599849" y="317659"/>
                </a:lnTo>
                <a:lnTo>
                  <a:pt x="596760" y="318610"/>
                </a:lnTo>
                <a:lnTo>
                  <a:pt x="607927" y="307205"/>
                </a:lnTo>
                <a:lnTo>
                  <a:pt x="618619" y="295088"/>
                </a:lnTo>
                <a:lnTo>
                  <a:pt x="623846" y="289386"/>
                </a:lnTo>
                <a:lnTo>
                  <a:pt x="629786" y="283921"/>
                </a:lnTo>
                <a:lnTo>
                  <a:pt x="635963" y="278694"/>
                </a:lnTo>
                <a:lnTo>
                  <a:pt x="642140" y="273705"/>
                </a:lnTo>
                <a:lnTo>
                  <a:pt x="648793" y="269191"/>
                </a:lnTo>
                <a:lnTo>
                  <a:pt x="655446" y="265627"/>
                </a:lnTo>
                <a:lnTo>
                  <a:pt x="662098" y="263013"/>
                </a:lnTo>
                <a:lnTo>
                  <a:pt x="668988" y="260400"/>
                </a:lnTo>
                <a:lnTo>
                  <a:pt x="682768" y="256361"/>
                </a:lnTo>
                <a:close/>
                <a:moveTo>
                  <a:pt x="1030602" y="200289"/>
                </a:moveTo>
                <a:lnTo>
                  <a:pt x="1027513" y="207892"/>
                </a:lnTo>
                <a:lnTo>
                  <a:pt x="1023949" y="214545"/>
                </a:lnTo>
                <a:lnTo>
                  <a:pt x="1019910" y="221197"/>
                </a:lnTo>
                <a:lnTo>
                  <a:pt x="1015396" y="226899"/>
                </a:lnTo>
                <a:lnTo>
                  <a:pt x="1011119" y="232839"/>
                </a:lnTo>
                <a:lnTo>
                  <a:pt x="1006130" y="237591"/>
                </a:lnTo>
                <a:lnTo>
                  <a:pt x="1001140" y="242105"/>
                </a:lnTo>
                <a:lnTo>
                  <a:pt x="996388" y="246144"/>
                </a:lnTo>
                <a:lnTo>
                  <a:pt x="990924" y="249708"/>
                </a:lnTo>
                <a:lnTo>
                  <a:pt x="985697" y="252797"/>
                </a:lnTo>
                <a:lnTo>
                  <a:pt x="980232" y="254935"/>
                </a:lnTo>
                <a:lnTo>
                  <a:pt x="975005" y="256836"/>
                </a:lnTo>
                <a:lnTo>
                  <a:pt x="969541" y="258262"/>
                </a:lnTo>
                <a:lnTo>
                  <a:pt x="963839" y="258499"/>
                </a:lnTo>
                <a:lnTo>
                  <a:pt x="958612" y="258499"/>
                </a:lnTo>
                <a:lnTo>
                  <a:pt x="953622" y="257786"/>
                </a:lnTo>
                <a:lnTo>
                  <a:pt x="970966" y="244006"/>
                </a:lnTo>
                <a:lnTo>
                  <a:pt x="990211" y="229275"/>
                </a:lnTo>
                <a:lnTo>
                  <a:pt x="1010169" y="214069"/>
                </a:lnTo>
                <a:lnTo>
                  <a:pt x="1020385" y="206942"/>
                </a:lnTo>
                <a:close/>
                <a:moveTo>
                  <a:pt x="389581" y="176768"/>
                </a:moveTo>
                <a:lnTo>
                  <a:pt x="397422" y="177243"/>
                </a:lnTo>
                <a:lnTo>
                  <a:pt x="414766" y="178906"/>
                </a:lnTo>
                <a:lnTo>
                  <a:pt x="405500" y="179856"/>
                </a:lnTo>
                <a:lnTo>
                  <a:pt x="396946" y="181995"/>
                </a:lnTo>
                <a:lnTo>
                  <a:pt x="389581" y="184371"/>
                </a:lnTo>
                <a:lnTo>
                  <a:pt x="381978" y="186984"/>
                </a:lnTo>
                <a:lnTo>
                  <a:pt x="375326" y="190548"/>
                </a:lnTo>
                <a:lnTo>
                  <a:pt x="368911" y="194112"/>
                </a:lnTo>
                <a:lnTo>
                  <a:pt x="363208" y="198626"/>
                </a:lnTo>
                <a:lnTo>
                  <a:pt x="357981" y="202903"/>
                </a:lnTo>
                <a:lnTo>
                  <a:pt x="352517" y="208367"/>
                </a:lnTo>
                <a:lnTo>
                  <a:pt x="348003" y="214070"/>
                </a:lnTo>
                <a:lnTo>
                  <a:pt x="343726" y="220247"/>
                </a:lnTo>
                <a:lnTo>
                  <a:pt x="339687" y="226662"/>
                </a:lnTo>
                <a:lnTo>
                  <a:pt x="335648" y="233790"/>
                </a:lnTo>
                <a:lnTo>
                  <a:pt x="332559" y="240917"/>
                </a:lnTo>
                <a:lnTo>
                  <a:pt x="328995" y="248758"/>
                </a:lnTo>
                <a:lnTo>
                  <a:pt x="325907" y="256836"/>
                </a:lnTo>
                <a:lnTo>
                  <a:pt x="325432" y="252797"/>
                </a:lnTo>
                <a:lnTo>
                  <a:pt x="324956" y="248283"/>
                </a:lnTo>
                <a:lnTo>
                  <a:pt x="323056" y="239492"/>
                </a:lnTo>
                <a:lnTo>
                  <a:pt x="320917" y="229275"/>
                </a:lnTo>
                <a:lnTo>
                  <a:pt x="320442" y="223811"/>
                </a:lnTo>
                <a:lnTo>
                  <a:pt x="319967" y="217633"/>
                </a:lnTo>
                <a:lnTo>
                  <a:pt x="314740" y="217633"/>
                </a:lnTo>
                <a:lnTo>
                  <a:pt x="302148" y="243056"/>
                </a:lnTo>
                <a:lnTo>
                  <a:pt x="289793" y="267528"/>
                </a:lnTo>
                <a:lnTo>
                  <a:pt x="277438" y="291049"/>
                </a:lnTo>
                <a:lnTo>
                  <a:pt x="264371" y="312907"/>
                </a:lnTo>
                <a:lnTo>
                  <a:pt x="267459" y="295088"/>
                </a:lnTo>
                <a:lnTo>
                  <a:pt x="271023" y="279170"/>
                </a:lnTo>
                <a:lnTo>
                  <a:pt x="274587" y="263964"/>
                </a:lnTo>
                <a:lnTo>
                  <a:pt x="279101" y="250183"/>
                </a:lnTo>
                <a:lnTo>
                  <a:pt x="284091" y="238066"/>
                </a:lnTo>
                <a:lnTo>
                  <a:pt x="289318" y="226900"/>
                </a:lnTo>
                <a:lnTo>
                  <a:pt x="292406" y="221673"/>
                </a:lnTo>
                <a:lnTo>
                  <a:pt x="295495" y="217158"/>
                </a:lnTo>
                <a:lnTo>
                  <a:pt x="298584" y="212406"/>
                </a:lnTo>
                <a:lnTo>
                  <a:pt x="302148" y="208367"/>
                </a:lnTo>
                <a:lnTo>
                  <a:pt x="305711" y="204328"/>
                </a:lnTo>
                <a:lnTo>
                  <a:pt x="309275" y="200765"/>
                </a:lnTo>
                <a:lnTo>
                  <a:pt x="313314" y="197201"/>
                </a:lnTo>
                <a:lnTo>
                  <a:pt x="317354" y="194112"/>
                </a:lnTo>
                <a:lnTo>
                  <a:pt x="321868" y="191498"/>
                </a:lnTo>
                <a:lnTo>
                  <a:pt x="326382" y="188647"/>
                </a:lnTo>
                <a:lnTo>
                  <a:pt x="330659" y="186509"/>
                </a:lnTo>
                <a:lnTo>
                  <a:pt x="335648" y="184371"/>
                </a:lnTo>
                <a:lnTo>
                  <a:pt x="340637" y="182470"/>
                </a:lnTo>
                <a:lnTo>
                  <a:pt x="345864" y="181282"/>
                </a:lnTo>
                <a:lnTo>
                  <a:pt x="351091" y="179856"/>
                </a:lnTo>
                <a:lnTo>
                  <a:pt x="357031" y="178431"/>
                </a:lnTo>
                <a:lnTo>
                  <a:pt x="368911" y="177243"/>
                </a:lnTo>
                <a:lnTo>
                  <a:pt x="381978" y="176768"/>
                </a:lnTo>
                <a:close/>
                <a:moveTo>
                  <a:pt x="609353" y="174629"/>
                </a:moveTo>
                <a:lnTo>
                  <a:pt x="602463" y="180807"/>
                </a:lnTo>
                <a:lnTo>
                  <a:pt x="596285" y="187459"/>
                </a:lnTo>
                <a:lnTo>
                  <a:pt x="583931" y="201715"/>
                </a:lnTo>
                <a:lnTo>
                  <a:pt x="571101" y="215495"/>
                </a:lnTo>
                <a:lnTo>
                  <a:pt x="564686" y="222148"/>
                </a:lnTo>
                <a:lnTo>
                  <a:pt x="558508" y="228325"/>
                </a:lnTo>
                <a:lnTo>
                  <a:pt x="557558" y="223335"/>
                </a:lnTo>
                <a:lnTo>
                  <a:pt x="557083" y="219059"/>
                </a:lnTo>
                <a:lnTo>
                  <a:pt x="557083" y="215020"/>
                </a:lnTo>
                <a:lnTo>
                  <a:pt x="557558" y="210981"/>
                </a:lnTo>
                <a:lnTo>
                  <a:pt x="558508" y="207417"/>
                </a:lnTo>
                <a:lnTo>
                  <a:pt x="560409" y="203853"/>
                </a:lnTo>
                <a:lnTo>
                  <a:pt x="562072" y="200764"/>
                </a:lnTo>
                <a:lnTo>
                  <a:pt x="564686" y="197676"/>
                </a:lnTo>
                <a:lnTo>
                  <a:pt x="567774" y="194587"/>
                </a:lnTo>
                <a:lnTo>
                  <a:pt x="571813" y="191973"/>
                </a:lnTo>
                <a:lnTo>
                  <a:pt x="576328" y="188647"/>
                </a:lnTo>
                <a:lnTo>
                  <a:pt x="581317" y="186034"/>
                </a:lnTo>
                <a:lnTo>
                  <a:pt x="587019" y="183420"/>
                </a:lnTo>
                <a:lnTo>
                  <a:pt x="593672" y="180332"/>
                </a:lnTo>
                <a:close/>
                <a:moveTo>
                  <a:pt x="586544" y="0"/>
                </a:moveTo>
                <a:lnTo>
                  <a:pt x="570150" y="2851"/>
                </a:lnTo>
                <a:lnTo>
                  <a:pt x="553519" y="5940"/>
                </a:lnTo>
                <a:lnTo>
                  <a:pt x="536650" y="10454"/>
                </a:lnTo>
                <a:lnTo>
                  <a:pt x="520256" y="14731"/>
                </a:lnTo>
                <a:lnTo>
                  <a:pt x="486993" y="24472"/>
                </a:lnTo>
                <a:lnTo>
                  <a:pt x="469887" y="28986"/>
                </a:lnTo>
                <a:lnTo>
                  <a:pt x="453493" y="33500"/>
                </a:lnTo>
                <a:lnTo>
                  <a:pt x="438762" y="40153"/>
                </a:lnTo>
                <a:lnTo>
                  <a:pt x="424507" y="47281"/>
                </a:lnTo>
                <a:lnTo>
                  <a:pt x="417379" y="51320"/>
                </a:lnTo>
                <a:lnTo>
                  <a:pt x="410727" y="55834"/>
                </a:lnTo>
                <a:lnTo>
                  <a:pt x="403599" y="60111"/>
                </a:lnTo>
                <a:lnTo>
                  <a:pt x="397422" y="65100"/>
                </a:lnTo>
                <a:lnTo>
                  <a:pt x="390769" y="69852"/>
                </a:lnTo>
                <a:lnTo>
                  <a:pt x="384592" y="75792"/>
                </a:lnTo>
                <a:lnTo>
                  <a:pt x="378889" y="81494"/>
                </a:lnTo>
                <a:lnTo>
                  <a:pt x="372950" y="87671"/>
                </a:lnTo>
                <a:lnTo>
                  <a:pt x="367723" y="94324"/>
                </a:lnTo>
                <a:lnTo>
                  <a:pt x="362733" y="101452"/>
                </a:lnTo>
                <a:lnTo>
                  <a:pt x="357981" y="109055"/>
                </a:lnTo>
                <a:lnTo>
                  <a:pt x="353467" y="117608"/>
                </a:lnTo>
                <a:lnTo>
                  <a:pt x="409064" y="117608"/>
                </a:lnTo>
                <a:lnTo>
                  <a:pt x="406925" y="119271"/>
                </a:lnTo>
                <a:lnTo>
                  <a:pt x="404074" y="121647"/>
                </a:lnTo>
                <a:lnTo>
                  <a:pt x="400510" y="123310"/>
                </a:lnTo>
                <a:lnTo>
                  <a:pt x="397422" y="125211"/>
                </a:lnTo>
                <a:lnTo>
                  <a:pt x="393383" y="126399"/>
                </a:lnTo>
                <a:lnTo>
                  <a:pt x="389581" y="127824"/>
                </a:lnTo>
                <a:lnTo>
                  <a:pt x="385542" y="128299"/>
                </a:lnTo>
                <a:lnTo>
                  <a:pt x="381503" y="128774"/>
                </a:lnTo>
                <a:lnTo>
                  <a:pt x="375326" y="130438"/>
                </a:lnTo>
                <a:lnTo>
                  <a:pt x="368435" y="131863"/>
                </a:lnTo>
                <a:lnTo>
                  <a:pt x="361783" y="133051"/>
                </a:lnTo>
                <a:lnTo>
                  <a:pt x="355606" y="134001"/>
                </a:lnTo>
                <a:lnTo>
                  <a:pt x="342300" y="135427"/>
                </a:lnTo>
                <a:lnTo>
                  <a:pt x="329471" y="137090"/>
                </a:lnTo>
                <a:lnTo>
                  <a:pt x="322818" y="138040"/>
                </a:lnTo>
                <a:lnTo>
                  <a:pt x="316403" y="139704"/>
                </a:lnTo>
                <a:lnTo>
                  <a:pt x="310226" y="141604"/>
                </a:lnTo>
                <a:lnTo>
                  <a:pt x="304048" y="144218"/>
                </a:lnTo>
                <a:lnTo>
                  <a:pt x="298346" y="147307"/>
                </a:lnTo>
                <a:lnTo>
                  <a:pt x="292406" y="151346"/>
                </a:lnTo>
                <a:lnTo>
                  <a:pt x="286704" y="156335"/>
                </a:lnTo>
                <a:lnTo>
                  <a:pt x="281240" y="162037"/>
                </a:lnTo>
                <a:lnTo>
                  <a:pt x="262232" y="182945"/>
                </a:lnTo>
                <a:lnTo>
                  <a:pt x="242987" y="203378"/>
                </a:lnTo>
                <a:lnTo>
                  <a:pt x="203547" y="244006"/>
                </a:lnTo>
                <a:lnTo>
                  <a:pt x="183827" y="264439"/>
                </a:lnTo>
                <a:lnTo>
                  <a:pt x="164345" y="285822"/>
                </a:lnTo>
                <a:lnTo>
                  <a:pt x="144862" y="307443"/>
                </a:lnTo>
                <a:lnTo>
                  <a:pt x="126093" y="329777"/>
                </a:lnTo>
                <a:lnTo>
                  <a:pt x="122054" y="335004"/>
                </a:lnTo>
                <a:lnTo>
                  <a:pt x="118015" y="340468"/>
                </a:lnTo>
                <a:lnTo>
                  <a:pt x="110887" y="352110"/>
                </a:lnTo>
                <a:lnTo>
                  <a:pt x="104709" y="363514"/>
                </a:lnTo>
                <a:lnTo>
                  <a:pt x="99007" y="375156"/>
                </a:lnTo>
                <a:lnTo>
                  <a:pt x="87840" y="400103"/>
                </a:lnTo>
                <a:lnTo>
                  <a:pt x="82138" y="412458"/>
                </a:lnTo>
                <a:lnTo>
                  <a:pt x="75723" y="425050"/>
                </a:lnTo>
                <a:lnTo>
                  <a:pt x="75723" y="429802"/>
                </a:lnTo>
                <a:lnTo>
                  <a:pt x="76674" y="436217"/>
                </a:lnTo>
                <a:lnTo>
                  <a:pt x="77149" y="439306"/>
                </a:lnTo>
                <a:lnTo>
                  <a:pt x="78574" y="442395"/>
                </a:lnTo>
                <a:lnTo>
                  <a:pt x="79762" y="445008"/>
                </a:lnTo>
                <a:lnTo>
                  <a:pt x="81663" y="447147"/>
                </a:lnTo>
                <a:lnTo>
                  <a:pt x="94018" y="468055"/>
                </a:lnTo>
                <a:lnTo>
                  <a:pt x="106848" y="488963"/>
                </a:lnTo>
                <a:lnTo>
                  <a:pt x="113975" y="499654"/>
                </a:lnTo>
                <a:lnTo>
                  <a:pt x="121103" y="510346"/>
                </a:lnTo>
                <a:lnTo>
                  <a:pt x="128706" y="520562"/>
                </a:lnTo>
                <a:lnTo>
                  <a:pt x="137259" y="531254"/>
                </a:lnTo>
                <a:lnTo>
                  <a:pt x="149614" y="514385"/>
                </a:lnTo>
                <a:lnTo>
                  <a:pt x="162206" y="498466"/>
                </a:lnTo>
                <a:lnTo>
                  <a:pt x="174561" y="483260"/>
                </a:lnTo>
                <a:lnTo>
                  <a:pt x="180739" y="476133"/>
                </a:lnTo>
                <a:lnTo>
                  <a:pt x="186916" y="469480"/>
                </a:lnTo>
                <a:lnTo>
                  <a:pt x="182639" y="482310"/>
                </a:lnTo>
                <a:lnTo>
                  <a:pt x="178125" y="495615"/>
                </a:lnTo>
                <a:lnTo>
                  <a:pt x="172423" y="509871"/>
                </a:lnTo>
                <a:lnTo>
                  <a:pt x="164820" y="525552"/>
                </a:lnTo>
                <a:lnTo>
                  <a:pt x="156267" y="538381"/>
                </a:lnTo>
                <a:lnTo>
                  <a:pt x="152703" y="544559"/>
                </a:lnTo>
                <a:lnTo>
                  <a:pt x="148664" y="551449"/>
                </a:lnTo>
                <a:lnTo>
                  <a:pt x="145100" y="558339"/>
                </a:lnTo>
                <a:lnTo>
                  <a:pt x="142011" y="565467"/>
                </a:lnTo>
                <a:lnTo>
                  <a:pt x="139398" y="573070"/>
                </a:lnTo>
                <a:lnTo>
                  <a:pt x="137259" y="581623"/>
                </a:lnTo>
                <a:lnTo>
                  <a:pt x="136309" y="583761"/>
                </a:lnTo>
                <a:lnTo>
                  <a:pt x="135359" y="586137"/>
                </a:lnTo>
                <a:lnTo>
                  <a:pt x="134883" y="590889"/>
                </a:lnTo>
                <a:lnTo>
                  <a:pt x="134883" y="595879"/>
                </a:lnTo>
                <a:lnTo>
                  <a:pt x="135359" y="601106"/>
                </a:lnTo>
                <a:lnTo>
                  <a:pt x="136784" y="606095"/>
                </a:lnTo>
                <a:lnTo>
                  <a:pt x="138447" y="611322"/>
                </a:lnTo>
                <a:lnTo>
                  <a:pt x="140348" y="616311"/>
                </a:lnTo>
                <a:lnTo>
                  <a:pt x="142486" y="620826"/>
                </a:lnTo>
                <a:lnTo>
                  <a:pt x="148664" y="629616"/>
                </a:lnTo>
                <a:lnTo>
                  <a:pt x="155554" y="637219"/>
                </a:lnTo>
                <a:lnTo>
                  <a:pt x="162444" y="643872"/>
                </a:lnTo>
                <a:lnTo>
                  <a:pt x="169572" y="649099"/>
                </a:lnTo>
                <a:lnTo>
                  <a:pt x="177175" y="653613"/>
                </a:lnTo>
                <a:lnTo>
                  <a:pt x="184778" y="657177"/>
                </a:lnTo>
                <a:lnTo>
                  <a:pt x="192856" y="659553"/>
                </a:lnTo>
                <a:lnTo>
                  <a:pt x="200934" y="661216"/>
                </a:lnTo>
                <a:lnTo>
                  <a:pt x="209250" y="661691"/>
                </a:lnTo>
                <a:lnTo>
                  <a:pt x="218278" y="661691"/>
                </a:lnTo>
                <a:lnTo>
                  <a:pt x="227069" y="660266"/>
                </a:lnTo>
                <a:lnTo>
                  <a:pt x="236335" y="658603"/>
                </a:lnTo>
                <a:lnTo>
                  <a:pt x="245838" y="655514"/>
                </a:lnTo>
                <a:lnTo>
                  <a:pt x="255580" y="652425"/>
                </a:lnTo>
                <a:lnTo>
                  <a:pt x="265321" y="647911"/>
                </a:lnTo>
                <a:lnTo>
                  <a:pt x="276013" y="642922"/>
                </a:lnTo>
                <a:lnTo>
                  <a:pt x="288367" y="635081"/>
                </a:lnTo>
                <a:lnTo>
                  <a:pt x="301910" y="627478"/>
                </a:lnTo>
                <a:lnTo>
                  <a:pt x="315215" y="620350"/>
                </a:lnTo>
                <a:lnTo>
                  <a:pt x="329471" y="613698"/>
                </a:lnTo>
                <a:lnTo>
                  <a:pt x="343726" y="607283"/>
                </a:lnTo>
                <a:lnTo>
                  <a:pt x="357981" y="602056"/>
                </a:lnTo>
                <a:lnTo>
                  <a:pt x="371999" y="597066"/>
                </a:lnTo>
                <a:lnTo>
                  <a:pt x="386730" y="592790"/>
                </a:lnTo>
                <a:lnTo>
                  <a:pt x="394808" y="590414"/>
                </a:lnTo>
                <a:lnTo>
                  <a:pt x="402411" y="587325"/>
                </a:lnTo>
                <a:lnTo>
                  <a:pt x="409064" y="583761"/>
                </a:lnTo>
                <a:lnTo>
                  <a:pt x="411677" y="581623"/>
                </a:lnTo>
                <a:lnTo>
                  <a:pt x="414766" y="579247"/>
                </a:lnTo>
                <a:lnTo>
                  <a:pt x="417142" y="577109"/>
                </a:lnTo>
                <a:lnTo>
                  <a:pt x="419280" y="574495"/>
                </a:lnTo>
                <a:lnTo>
                  <a:pt x="420943" y="571407"/>
                </a:lnTo>
                <a:lnTo>
                  <a:pt x="422844" y="568318"/>
                </a:lnTo>
                <a:lnTo>
                  <a:pt x="424269" y="565229"/>
                </a:lnTo>
                <a:lnTo>
                  <a:pt x="424982" y="561665"/>
                </a:lnTo>
                <a:lnTo>
                  <a:pt x="425457" y="557626"/>
                </a:lnTo>
                <a:lnTo>
                  <a:pt x="425932" y="553587"/>
                </a:lnTo>
                <a:lnTo>
                  <a:pt x="425932" y="413884"/>
                </a:lnTo>
                <a:lnTo>
                  <a:pt x="425932" y="285347"/>
                </a:lnTo>
                <a:lnTo>
                  <a:pt x="429496" y="300078"/>
                </a:lnTo>
                <a:lnTo>
                  <a:pt x="433060" y="314096"/>
                </a:lnTo>
                <a:lnTo>
                  <a:pt x="436149" y="328826"/>
                </a:lnTo>
                <a:lnTo>
                  <a:pt x="438762" y="343082"/>
                </a:lnTo>
                <a:lnTo>
                  <a:pt x="443752" y="370642"/>
                </a:lnTo>
                <a:lnTo>
                  <a:pt x="447791" y="397015"/>
                </a:lnTo>
                <a:lnTo>
                  <a:pt x="451830" y="421962"/>
                </a:lnTo>
                <a:lnTo>
                  <a:pt x="454919" y="446434"/>
                </a:lnTo>
                <a:lnTo>
                  <a:pt x="456106" y="458313"/>
                </a:lnTo>
                <a:lnTo>
                  <a:pt x="457057" y="470430"/>
                </a:lnTo>
                <a:lnTo>
                  <a:pt x="457532" y="482310"/>
                </a:lnTo>
                <a:lnTo>
                  <a:pt x="457532" y="493952"/>
                </a:lnTo>
                <a:lnTo>
                  <a:pt x="457532" y="506069"/>
                </a:lnTo>
                <a:lnTo>
                  <a:pt x="456582" y="517473"/>
                </a:lnTo>
                <a:lnTo>
                  <a:pt x="455869" y="529116"/>
                </a:lnTo>
                <a:lnTo>
                  <a:pt x="453968" y="540757"/>
                </a:lnTo>
                <a:lnTo>
                  <a:pt x="452305" y="552162"/>
                </a:lnTo>
                <a:lnTo>
                  <a:pt x="449454" y="563804"/>
                </a:lnTo>
                <a:lnTo>
                  <a:pt x="446365" y="575446"/>
                </a:lnTo>
                <a:lnTo>
                  <a:pt x="442326" y="586850"/>
                </a:lnTo>
                <a:lnTo>
                  <a:pt x="440188" y="591364"/>
                </a:lnTo>
                <a:lnTo>
                  <a:pt x="437574" y="595403"/>
                </a:lnTo>
                <a:lnTo>
                  <a:pt x="434486" y="598967"/>
                </a:lnTo>
                <a:lnTo>
                  <a:pt x="431397" y="602531"/>
                </a:lnTo>
                <a:lnTo>
                  <a:pt x="428071" y="605145"/>
                </a:lnTo>
                <a:lnTo>
                  <a:pt x="424982" y="607283"/>
                </a:lnTo>
                <a:lnTo>
                  <a:pt x="422369" y="608708"/>
                </a:lnTo>
                <a:lnTo>
                  <a:pt x="420230" y="609659"/>
                </a:lnTo>
                <a:lnTo>
                  <a:pt x="410727" y="610847"/>
                </a:lnTo>
                <a:lnTo>
                  <a:pt x="401461" y="612748"/>
                </a:lnTo>
                <a:lnTo>
                  <a:pt x="392670" y="614886"/>
                </a:lnTo>
                <a:lnTo>
                  <a:pt x="383641" y="617262"/>
                </a:lnTo>
                <a:lnTo>
                  <a:pt x="374850" y="620350"/>
                </a:lnTo>
                <a:lnTo>
                  <a:pt x="365822" y="623914"/>
                </a:lnTo>
                <a:lnTo>
                  <a:pt x="348478" y="631042"/>
                </a:lnTo>
                <a:lnTo>
                  <a:pt x="331609" y="639358"/>
                </a:lnTo>
                <a:lnTo>
                  <a:pt x="314740" y="647911"/>
                </a:lnTo>
                <a:lnTo>
                  <a:pt x="281240" y="665255"/>
                </a:lnTo>
                <a:lnTo>
                  <a:pt x="274587" y="669294"/>
                </a:lnTo>
                <a:lnTo>
                  <a:pt x="267935" y="672858"/>
                </a:lnTo>
                <a:lnTo>
                  <a:pt x="261757" y="675947"/>
                </a:lnTo>
                <a:lnTo>
                  <a:pt x="255105" y="679035"/>
                </a:lnTo>
                <a:lnTo>
                  <a:pt x="248927" y="681174"/>
                </a:lnTo>
                <a:lnTo>
                  <a:pt x="242987" y="683075"/>
                </a:lnTo>
                <a:lnTo>
                  <a:pt x="236810" y="684738"/>
                </a:lnTo>
                <a:lnTo>
                  <a:pt x="231108" y="686163"/>
                </a:lnTo>
                <a:lnTo>
                  <a:pt x="225406" y="687114"/>
                </a:lnTo>
                <a:lnTo>
                  <a:pt x="219466" y="687589"/>
                </a:lnTo>
                <a:lnTo>
                  <a:pt x="213764" y="687589"/>
                </a:lnTo>
                <a:lnTo>
                  <a:pt x="208299" y="687589"/>
                </a:lnTo>
                <a:lnTo>
                  <a:pt x="203072" y="687114"/>
                </a:lnTo>
                <a:lnTo>
                  <a:pt x="197607" y="686163"/>
                </a:lnTo>
                <a:lnTo>
                  <a:pt x="192380" y="684738"/>
                </a:lnTo>
                <a:lnTo>
                  <a:pt x="186916" y="683550"/>
                </a:lnTo>
                <a:lnTo>
                  <a:pt x="181689" y="681649"/>
                </a:lnTo>
                <a:lnTo>
                  <a:pt x="176699" y="679986"/>
                </a:lnTo>
                <a:lnTo>
                  <a:pt x="171472" y="677610"/>
                </a:lnTo>
                <a:lnTo>
                  <a:pt x="166483" y="674996"/>
                </a:lnTo>
                <a:lnTo>
                  <a:pt x="156742" y="669294"/>
                </a:lnTo>
                <a:lnTo>
                  <a:pt x="147001" y="662167"/>
                </a:lnTo>
                <a:lnTo>
                  <a:pt x="137735" y="654564"/>
                </a:lnTo>
                <a:lnTo>
                  <a:pt x="127756" y="645535"/>
                </a:lnTo>
                <a:lnTo>
                  <a:pt x="118490" y="636269"/>
                </a:lnTo>
                <a:lnTo>
                  <a:pt x="109224" y="626053"/>
                </a:lnTo>
                <a:lnTo>
                  <a:pt x="107323" y="623914"/>
                </a:lnTo>
                <a:lnTo>
                  <a:pt x="106135" y="620350"/>
                </a:lnTo>
                <a:lnTo>
                  <a:pt x="105185" y="616311"/>
                </a:lnTo>
                <a:lnTo>
                  <a:pt x="105185" y="612272"/>
                </a:lnTo>
                <a:lnTo>
                  <a:pt x="105185" y="608233"/>
                </a:lnTo>
                <a:lnTo>
                  <a:pt x="106135" y="604194"/>
                </a:lnTo>
                <a:lnTo>
                  <a:pt x="107323" y="600630"/>
                </a:lnTo>
                <a:lnTo>
                  <a:pt x="109224" y="598017"/>
                </a:lnTo>
                <a:lnTo>
                  <a:pt x="111837" y="591840"/>
                </a:lnTo>
                <a:lnTo>
                  <a:pt x="113975" y="586137"/>
                </a:lnTo>
                <a:lnTo>
                  <a:pt x="115401" y="579722"/>
                </a:lnTo>
                <a:lnTo>
                  <a:pt x="115876" y="574020"/>
                </a:lnTo>
                <a:lnTo>
                  <a:pt x="115876" y="568318"/>
                </a:lnTo>
                <a:lnTo>
                  <a:pt x="115401" y="562378"/>
                </a:lnTo>
                <a:lnTo>
                  <a:pt x="114451" y="557151"/>
                </a:lnTo>
                <a:lnTo>
                  <a:pt x="112788" y="551449"/>
                </a:lnTo>
                <a:lnTo>
                  <a:pt x="110412" y="545984"/>
                </a:lnTo>
                <a:lnTo>
                  <a:pt x="108273" y="540757"/>
                </a:lnTo>
                <a:lnTo>
                  <a:pt x="105185" y="535293"/>
                </a:lnTo>
                <a:lnTo>
                  <a:pt x="102096" y="530066"/>
                </a:lnTo>
                <a:lnTo>
                  <a:pt x="94968" y="519374"/>
                </a:lnTo>
                <a:lnTo>
                  <a:pt x="86890" y="508683"/>
                </a:lnTo>
                <a:lnTo>
                  <a:pt x="78812" y="497991"/>
                </a:lnTo>
                <a:lnTo>
                  <a:pt x="70972" y="486824"/>
                </a:lnTo>
                <a:lnTo>
                  <a:pt x="67408" y="481122"/>
                </a:lnTo>
                <a:lnTo>
                  <a:pt x="64319" y="474707"/>
                </a:lnTo>
                <a:lnTo>
                  <a:pt x="61230" y="469005"/>
                </a:lnTo>
                <a:lnTo>
                  <a:pt x="58379" y="462828"/>
                </a:lnTo>
                <a:lnTo>
                  <a:pt x="56716" y="456175"/>
                </a:lnTo>
                <a:lnTo>
                  <a:pt x="54815" y="449998"/>
                </a:lnTo>
                <a:lnTo>
                  <a:pt x="54103" y="443345"/>
                </a:lnTo>
                <a:lnTo>
                  <a:pt x="53627" y="436455"/>
                </a:lnTo>
                <a:lnTo>
                  <a:pt x="53627" y="429327"/>
                </a:lnTo>
                <a:lnTo>
                  <a:pt x="54815" y="422675"/>
                </a:lnTo>
                <a:lnTo>
                  <a:pt x="56716" y="415547"/>
                </a:lnTo>
                <a:lnTo>
                  <a:pt x="59330" y="408182"/>
                </a:lnTo>
                <a:lnTo>
                  <a:pt x="60280" y="403192"/>
                </a:lnTo>
                <a:lnTo>
                  <a:pt x="61943" y="397965"/>
                </a:lnTo>
                <a:lnTo>
                  <a:pt x="65507" y="387986"/>
                </a:lnTo>
                <a:lnTo>
                  <a:pt x="69546" y="378720"/>
                </a:lnTo>
                <a:lnTo>
                  <a:pt x="74535" y="369929"/>
                </a:lnTo>
                <a:lnTo>
                  <a:pt x="79762" y="360901"/>
                </a:lnTo>
                <a:lnTo>
                  <a:pt x="85940" y="352585"/>
                </a:lnTo>
                <a:lnTo>
                  <a:pt x="98057" y="335479"/>
                </a:lnTo>
                <a:lnTo>
                  <a:pt x="102571" y="328113"/>
                </a:lnTo>
                <a:lnTo>
                  <a:pt x="106848" y="320986"/>
                </a:lnTo>
                <a:lnTo>
                  <a:pt x="116827" y="307205"/>
                </a:lnTo>
                <a:lnTo>
                  <a:pt x="127043" y="293188"/>
                </a:lnTo>
                <a:lnTo>
                  <a:pt x="137735" y="279407"/>
                </a:lnTo>
                <a:lnTo>
                  <a:pt x="159831" y="251847"/>
                </a:lnTo>
                <a:lnTo>
                  <a:pt x="170522" y="238066"/>
                </a:lnTo>
                <a:lnTo>
                  <a:pt x="181214" y="223336"/>
                </a:lnTo>
                <a:lnTo>
                  <a:pt x="164820" y="223336"/>
                </a:lnTo>
                <a:lnTo>
                  <a:pt x="137972" y="230226"/>
                </a:lnTo>
                <a:lnTo>
                  <a:pt x="125142" y="233790"/>
                </a:lnTo>
                <a:lnTo>
                  <a:pt x="112788" y="237591"/>
                </a:lnTo>
                <a:lnTo>
                  <a:pt x="100195" y="241630"/>
                </a:lnTo>
                <a:lnTo>
                  <a:pt x="87840" y="245669"/>
                </a:lnTo>
                <a:lnTo>
                  <a:pt x="75723" y="250183"/>
                </a:lnTo>
                <a:lnTo>
                  <a:pt x="64319" y="254935"/>
                </a:lnTo>
                <a:lnTo>
                  <a:pt x="52677" y="260400"/>
                </a:lnTo>
                <a:lnTo>
                  <a:pt x="41035" y="265627"/>
                </a:lnTo>
                <a:lnTo>
                  <a:pt x="29868" y="271567"/>
                </a:lnTo>
                <a:lnTo>
                  <a:pt x="18939" y="277744"/>
                </a:lnTo>
                <a:lnTo>
                  <a:pt x="7772" y="284397"/>
                </a:lnTo>
                <a:lnTo>
                  <a:pt x="0" y="289924"/>
                </a:lnTo>
                <a:lnTo>
                  <a:pt x="0" y="895572"/>
                </a:lnTo>
                <a:lnTo>
                  <a:pt x="125653" y="895572"/>
                </a:lnTo>
                <a:lnTo>
                  <a:pt x="127756" y="892155"/>
                </a:lnTo>
                <a:lnTo>
                  <a:pt x="131082" y="885502"/>
                </a:lnTo>
                <a:lnTo>
                  <a:pt x="133696" y="878374"/>
                </a:lnTo>
                <a:lnTo>
                  <a:pt x="135834" y="871722"/>
                </a:lnTo>
                <a:lnTo>
                  <a:pt x="137735" y="864594"/>
                </a:lnTo>
                <a:lnTo>
                  <a:pt x="138923" y="857466"/>
                </a:lnTo>
                <a:lnTo>
                  <a:pt x="140348" y="850339"/>
                </a:lnTo>
                <a:lnTo>
                  <a:pt x="141298" y="843211"/>
                </a:lnTo>
                <a:lnTo>
                  <a:pt x="142011" y="828955"/>
                </a:lnTo>
                <a:lnTo>
                  <a:pt x="142486" y="814225"/>
                </a:lnTo>
                <a:lnTo>
                  <a:pt x="142486" y="799494"/>
                </a:lnTo>
                <a:lnTo>
                  <a:pt x="142486" y="782625"/>
                </a:lnTo>
                <a:lnTo>
                  <a:pt x="142486" y="771458"/>
                </a:lnTo>
                <a:lnTo>
                  <a:pt x="143912" y="778586"/>
                </a:lnTo>
                <a:lnTo>
                  <a:pt x="145100" y="784526"/>
                </a:lnTo>
                <a:lnTo>
                  <a:pt x="147476" y="789753"/>
                </a:lnTo>
                <a:lnTo>
                  <a:pt x="149614" y="794267"/>
                </a:lnTo>
                <a:lnTo>
                  <a:pt x="152228" y="797831"/>
                </a:lnTo>
                <a:lnTo>
                  <a:pt x="155554" y="801395"/>
                </a:lnTo>
                <a:lnTo>
                  <a:pt x="158643" y="803533"/>
                </a:lnTo>
                <a:lnTo>
                  <a:pt x="162206" y="805909"/>
                </a:lnTo>
                <a:lnTo>
                  <a:pt x="165770" y="807572"/>
                </a:lnTo>
                <a:lnTo>
                  <a:pt x="169572" y="808523"/>
                </a:lnTo>
                <a:lnTo>
                  <a:pt x="174086" y="809473"/>
                </a:lnTo>
                <a:lnTo>
                  <a:pt x="178600" y="810186"/>
                </a:lnTo>
                <a:lnTo>
                  <a:pt x="187866" y="810661"/>
                </a:lnTo>
                <a:lnTo>
                  <a:pt x="198083" y="810661"/>
                </a:lnTo>
                <a:lnTo>
                  <a:pt x="236810" y="810661"/>
                </a:lnTo>
                <a:lnTo>
                  <a:pt x="249640" y="811136"/>
                </a:lnTo>
                <a:lnTo>
                  <a:pt x="263183" y="811611"/>
                </a:lnTo>
                <a:lnTo>
                  <a:pt x="270310" y="811611"/>
                </a:lnTo>
                <a:lnTo>
                  <a:pt x="276963" y="811136"/>
                </a:lnTo>
                <a:lnTo>
                  <a:pt x="283140" y="810186"/>
                </a:lnTo>
                <a:lnTo>
                  <a:pt x="289793" y="808523"/>
                </a:lnTo>
                <a:lnTo>
                  <a:pt x="295495" y="806147"/>
                </a:lnTo>
                <a:lnTo>
                  <a:pt x="301435" y="803058"/>
                </a:lnTo>
                <a:lnTo>
                  <a:pt x="304524" y="801395"/>
                </a:lnTo>
                <a:lnTo>
                  <a:pt x="307137" y="799256"/>
                </a:lnTo>
                <a:lnTo>
                  <a:pt x="309275" y="796881"/>
                </a:lnTo>
                <a:lnTo>
                  <a:pt x="312126" y="794267"/>
                </a:lnTo>
                <a:lnTo>
                  <a:pt x="314265" y="791178"/>
                </a:lnTo>
                <a:lnTo>
                  <a:pt x="316403" y="788090"/>
                </a:lnTo>
                <a:lnTo>
                  <a:pt x="318304" y="784051"/>
                </a:lnTo>
                <a:lnTo>
                  <a:pt x="319967" y="780012"/>
                </a:lnTo>
                <a:lnTo>
                  <a:pt x="321868" y="775973"/>
                </a:lnTo>
                <a:lnTo>
                  <a:pt x="323056" y="771221"/>
                </a:lnTo>
                <a:lnTo>
                  <a:pt x="324481" y="765756"/>
                </a:lnTo>
                <a:lnTo>
                  <a:pt x="325907" y="760529"/>
                </a:lnTo>
                <a:lnTo>
                  <a:pt x="325907" y="827530"/>
                </a:lnTo>
                <a:lnTo>
                  <a:pt x="310226" y="835608"/>
                </a:lnTo>
                <a:lnTo>
                  <a:pt x="295970" y="843686"/>
                </a:lnTo>
                <a:lnTo>
                  <a:pt x="282665" y="850339"/>
                </a:lnTo>
                <a:lnTo>
                  <a:pt x="276488" y="852952"/>
                </a:lnTo>
                <a:lnTo>
                  <a:pt x="270310" y="855565"/>
                </a:lnTo>
                <a:lnTo>
                  <a:pt x="266271" y="857942"/>
                </a:lnTo>
                <a:lnTo>
                  <a:pt x="262708" y="860080"/>
                </a:lnTo>
                <a:lnTo>
                  <a:pt x="259619" y="862693"/>
                </a:lnTo>
                <a:lnTo>
                  <a:pt x="256768" y="865544"/>
                </a:lnTo>
                <a:lnTo>
                  <a:pt x="254154" y="868633"/>
                </a:lnTo>
                <a:lnTo>
                  <a:pt x="252491" y="871722"/>
                </a:lnTo>
                <a:lnTo>
                  <a:pt x="250590" y="874810"/>
                </a:lnTo>
                <a:lnTo>
                  <a:pt x="249402" y="877899"/>
                </a:lnTo>
                <a:lnTo>
                  <a:pt x="248452" y="880988"/>
                </a:lnTo>
                <a:lnTo>
                  <a:pt x="247977" y="884076"/>
                </a:lnTo>
                <a:lnTo>
                  <a:pt x="247977" y="887165"/>
                </a:lnTo>
                <a:lnTo>
                  <a:pt x="248452" y="890016"/>
                </a:lnTo>
                <a:lnTo>
                  <a:pt x="249402" y="893105"/>
                </a:lnTo>
                <a:lnTo>
                  <a:pt x="250075" y="895572"/>
                </a:lnTo>
                <a:lnTo>
                  <a:pt x="474750" y="895572"/>
                </a:lnTo>
                <a:lnTo>
                  <a:pt x="475827" y="894768"/>
                </a:lnTo>
                <a:lnTo>
                  <a:pt x="486993" y="882889"/>
                </a:lnTo>
                <a:lnTo>
                  <a:pt x="497210" y="870296"/>
                </a:lnTo>
                <a:lnTo>
                  <a:pt x="506951" y="857942"/>
                </a:lnTo>
                <a:lnTo>
                  <a:pt x="515742" y="844636"/>
                </a:lnTo>
                <a:lnTo>
                  <a:pt x="523820" y="831094"/>
                </a:lnTo>
                <a:lnTo>
                  <a:pt x="531898" y="816838"/>
                </a:lnTo>
                <a:lnTo>
                  <a:pt x="539026" y="802583"/>
                </a:lnTo>
                <a:lnTo>
                  <a:pt x="545678" y="788565"/>
                </a:lnTo>
                <a:lnTo>
                  <a:pt x="552331" y="773359"/>
                </a:lnTo>
                <a:lnTo>
                  <a:pt x="558033" y="758628"/>
                </a:lnTo>
                <a:lnTo>
                  <a:pt x="563498" y="743185"/>
                </a:lnTo>
                <a:lnTo>
                  <a:pt x="568725" y="727979"/>
                </a:lnTo>
                <a:lnTo>
                  <a:pt x="573714" y="712298"/>
                </a:lnTo>
                <a:lnTo>
                  <a:pt x="577991" y="696855"/>
                </a:lnTo>
                <a:lnTo>
                  <a:pt x="586544" y="665255"/>
                </a:lnTo>
                <a:lnTo>
                  <a:pt x="586069" y="663117"/>
                </a:lnTo>
                <a:lnTo>
                  <a:pt x="584881" y="660266"/>
                </a:lnTo>
                <a:lnTo>
                  <a:pt x="582980" y="657177"/>
                </a:lnTo>
                <a:lnTo>
                  <a:pt x="580367" y="654088"/>
                </a:lnTo>
                <a:lnTo>
                  <a:pt x="574902" y="647911"/>
                </a:lnTo>
                <a:lnTo>
                  <a:pt x="570150" y="642922"/>
                </a:lnTo>
                <a:lnTo>
                  <a:pt x="565636" y="636744"/>
                </a:lnTo>
                <a:lnTo>
                  <a:pt x="560647" y="631517"/>
                </a:lnTo>
                <a:lnTo>
                  <a:pt x="555420" y="626053"/>
                </a:lnTo>
                <a:lnTo>
                  <a:pt x="550193" y="621301"/>
                </a:lnTo>
                <a:lnTo>
                  <a:pt x="544253" y="616787"/>
                </a:lnTo>
                <a:lnTo>
                  <a:pt x="538075" y="612272"/>
                </a:lnTo>
                <a:lnTo>
                  <a:pt x="525721" y="603719"/>
                </a:lnTo>
                <a:lnTo>
                  <a:pt x="563023" y="619875"/>
                </a:lnTo>
                <a:lnTo>
                  <a:pt x="581317" y="628191"/>
                </a:lnTo>
                <a:lnTo>
                  <a:pt x="599374" y="636744"/>
                </a:lnTo>
                <a:lnTo>
                  <a:pt x="607927" y="641259"/>
                </a:lnTo>
                <a:lnTo>
                  <a:pt x="616718" y="646010"/>
                </a:lnTo>
                <a:lnTo>
                  <a:pt x="625271" y="651000"/>
                </a:lnTo>
                <a:lnTo>
                  <a:pt x="633349" y="656227"/>
                </a:lnTo>
                <a:lnTo>
                  <a:pt x="641665" y="662167"/>
                </a:lnTo>
                <a:lnTo>
                  <a:pt x="649268" y="668344"/>
                </a:lnTo>
                <a:lnTo>
                  <a:pt x="656871" y="674996"/>
                </a:lnTo>
                <a:lnTo>
                  <a:pt x="664474" y="682124"/>
                </a:lnTo>
                <a:lnTo>
                  <a:pt x="668988" y="686163"/>
                </a:lnTo>
                <a:lnTo>
                  <a:pt x="672790" y="690202"/>
                </a:lnTo>
                <a:lnTo>
                  <a:pt x="677304" y="693291"/>
                </a:lnTo>
                <a:lnTo>
                  <a:pt x="682293" y="696855"/>
                </a:lnTo>
                <a:lnTo>
                  <a:pt x="686570" y="699468"/>
                </a:lnTo>
                <a:lnTo>
                  <a:pt x="691559" y="702082"/>
                </a:lnTo>
                <a:lnTo>
                  <a:pt x="696549" y="703983"/>
                </a:lnTo>
                <a:lnTo>
                  <a:pt x="701300" y="705646"/>
                </a:lnTo>
                <a:lnTo>
                  <a:pt x="706290" y="707071"/>
                </a:lnTo>
                <a:lnTo>
                  <a:pt x="711042" y="708497"/>
                </a:lnTo>
                <a:lnTo>
                  <a:pt x="716506" y="708734"/>
                </a:lnTo>
                <a:lnTo>
                  <a:pt x="721258" y="708734"/>
                </a:lnTo>
                <a:lnTo>
                  <a:pt x="726723" y="708497"/>
                </a:lnTo>
                <a:lnTo>
                  <a:pt x="731712" y="707546"/>
                </a:lnTo>
                <a:lnTo>
                  <a:pt x="736939" y="706121"/>
                </a:lnTo>
                <a:lnTo>
                  <a:pt x="742166" y="704458"/>
                </a:lnTo>
                <a:lnTo>
                  <a:pt x="749294" y="702082"/>
                </a:lnTo>
                <a:lnTo>
                  <a:pt x="756184" y="699468"/>
                </a:lnTo>
                <a:lnTo>
                  <a:pt x="762361" y="696380"/>
                </a:lnTo>
                <a:lnTo>
                  <a:pt x="768063" y="692816"/>
                </a:lnTo>
                <a:lnTo>
                  <a:pt x="773528" y="689252"/>
                </a:lnTo>
                <a:lnTo>
                  <a:pt x="778755" y="684738"/>
                </a:lnTo>
                <a:lnTo>
                  <a:pt x="783269" y="680461"/>
                </a:lnTo>
                <a:lnTo>
                  <a:pt x="787308" y="674996"/>
                </a:lnTo>
                <a:lnTo>
                  <a:pt x="791110" y="669769"/>
                </a:lnTo>
                <a:lnTo>
                  <a:pt x="794436" y="663830"/>
                </a:lnTo>
                <a:lnTo>
                  <a:pt x="797050" y="657652"/>
                </a:lnTo>
                <a:lnTo>
                  <a:pt x="799188" y="651000"/>
                </a:lnTo>
                <a:lnTo>
                  <a:pt x="801089" y="643872"/>
                </a:lnTo>
                <a:lnTo>
                  <a:pt x="802277" y="636744"/>
                </a:lnTo>
                <a:lnTo>
                  <a:pt x="803227" y="628666"/>
                </a:lnTo>
                <a:lnTo>
                  <a:pt x="803227" y="620826"/>
                </a:lnTo>
                <a:lnTo>
                  <a:pt x="801089" y="622489"/>
                </a:lnTo>
                <a:lnTo>
                  <a:pt x="798238" y="623914"/>
                </a:lnTo>
                <a:lnTo>
                  <a:pt x="793011" y="626053"/>
                </a:lnTo>
                <a:lnTo>
                  <a:pt x="790397" y="627478"/>
                </a:lnTo>
                <a:lnTo>
                  <a:pt x="788496" y="628191"/>
                </a:lnTo>
                <a:lnTo>
                  <a:pt x="787308" y="630092"/>
                </a:lnTo>
                <a:lnTo>
                  <a:pt x="786833" y="631755"/>
                </a:lnTo>
                <a:lnTo>
                  <a:pt x="785408" y="635794"/>
                </a:lnTo>
                <a:lnTo>
                  <a:pt x="784220" y="639833"/>
                </a:lnTo>
                <a:lnTo>
                  <a:pt x="780656" y="646485"/>
                </a:lnTo>
                <a:lnTo>
                  <a:pt x="776617" y="653138"/>
                </a:lnTo>
                <a:lnTo>
                  <a:pt x="772103" y="659078"/>
                </a:lnTo>
                <a:lnTo>
                  <a:pt x="762361" y="670007"/>
                </a:lnTo>
                <a:lnTo>
                  <a:pt x="757847" y="675947"/>
                </a:lnTo>
                <a:lnTo>
                  <a:pt x="753333" y="682124"/>
                </a:lnTo>
                <a:lnTo>
                  <a:pt x="750244" y="684738"/>
                </a:lnTo>
                <a:lnTo>
                  <a:pt x="747155" y="687589"/>
                </a:lnTo>
                <a:lnTo>
                  <a:pt x="744067" y="689252"/>
                </a:lnTo>
                <a:lnTo>
                  <a:pt x="740978" y="690915"/>
                </a:lnTo>
                <a:lnTo>
                  <a:pt x="737890" y="691865"/>
                </a:lnTo>
                <a:lnTo>
                  <a:pt x="734801" y="692816"/>
                </a:lnTo>
                <a:lnTo>
                  <a:pt x="731950" y="693291"/>
                </a:lnTo>
                <a:lnTo>
                  <a:pt x="728861" y="693291"/>
                </a:lnTo>
                <a:lnTo>
                  <a:pt x="723634" y="692816"/>
                </a:lnTo>
                <a:lnTo>
                  <a:pt x="718169" y="691390"/>
                </a:lnTo>
                <a:lnTo>
                  <a:pt x="713418" y="689727"/>
                </a:lnTo>
                <a:lnTo>
                  <a:pt x="708903" y="687826"/>
                </a:lnTo>
                <a:lnTo>
                  <a:pt x="706765" y="687589"/>
                </a:lnTo>
                <a:lnTo>
                  <a:pt x="704864" y="687114"/>
                </a:lnTo>
                <a:lnTo>
                  <a:pt x="703201" y="686163"/>
                </a:lnTo>
                <a:lnTo>
                  <a:pt x="701776" y="684738"/>
                </a:lnTo>
                <a:lnTo>
                  <a:pt x="698687" y="681649"/>
                </a:lnTo>
                <a:lnTo>
                  <a:pt x="696549" y="678085"/>
                </a:lnTo>
                <a:lnTo>
                  <a:pt x="694648" y="673571"/>
                </a:lnTo>
                <a:lnTo>
                  <a:pt x="693460" y="668819"/>
                </a:lnTo>
                <a:lnTo>
                  <a:pt x="692510" y="664305"/>
                </a:lnTo>
                <a:lnTo>
                  <a:pt x="692510" y="659790"/>
                </a:lnTo>
                <a:lnTo>
                  <a:pt x="692510" y="647436"/>
                </a:lnTo>
                <a:lnTo>
                  <a:pt x="693460" y="635319"/>
                </a:lnTo>
                <a:lnTo>
                  <a:pt x="694173" y="624389"/>
                </a:lnTo>
                <a:lnTo>
                  <a:pt x="695598" y="612748"/>
                </a:lnTo>
                <a:lnTo>
                  <a:pt x="699162" y="591364"/>
                </a:lnTo>
                <a:lnTo>
                  <a:pt x="703676" y="570456"/>
                </a:lnTo>
                <a:lnTo>
                  <a:pt x="720070" y="574971"/>
                </a:lnTo>
                <a:lnTo>
                  <a:pt x="736939" y="579247"/>
                </a:lnTo>
                <a:lnTo>
                  <a:pt x="770677" y="589226"/>
                </a:lnTo>
                <a:lnTo>
                  <a:pt x="788021" y="593503"/>
                </a:lnTo>
                <a:lnTo>
                  <a:pt x="805365" y="597542"/>
                </a:lnTo>
                <a:lnTo>
                  <a:pt x="823660" y="601106"/>
                </a:lnTo>
                <a:lnTo>
                  <a:pt x="841954" y="603719"/>
                </a:lnTo>
                <a:lnTo>
                  <a:pt x="861437" y="606570"/>
                </a:lnTo>
                <a:lnTo>
                  <a:pt x="880682" y="608233"/>
                </a:lnTo>
                <a:lnTo>
                  <a:pt x="889948" y="608708"/>
                </a:lnTo>
                <a:lnTo>
                  <a:pt x="898976" y="608708"/>
                </a:lnTo>
                <a:lnTo>
                  <a:pt x="908242" y="608708"/>
                </a:lnTo>
                <a:lnTo>
                  <a:pt x="916795" y="608233"/>
                </a:lnTo>
                <a:lnTo>
                  <a:pt x="925586" y="607283"/>
                </a:lnTo>
                <a:lnTo>
                  <a:pt x="934140" y="606095"/>
                </a:lnTo>
                <a:lnTo>
                  <a:pt x="942455" y="604669"/>
                </a:lnTo>
                <a:lnTo>
                  <a:pt x="950533" y="603006"/>
                </a:lnTo>
                <a:lnTo>
                  <a:pt x="958611" y="600630"/>
                </a:lnTo>
                <a:lnTo>
                  <a:pt x="966452" y="598017"/>
                </a:lnTo>
                <a:lnTo>
                  <a:pt x="974055" y="595403"/>
                </a:lnTo>
                <a:lnTo>
                  <a:pt x="981658" y="591840"/>
                </a:lnTo>
                <a:lnTo>
                  <a:pt x="989261" y="588276"/>
                </a:lnTo>
                <a:lnTo>
                  <a:pt x="996388" y="584237"/>
                </a:lnTo>
                <a:lnTo>
                  <a:pt x="1003041" y="579247"/>
                </a:lnTo>
                <a:lnTo>
                  <a:pt x="1009694" y="574495"/>
                </a:lnTo>
                <a:lnTo>
                  <a:pt x="1016346" y="569031"/>
                </a:lnTo>
                <a:lnTo>
                  <a:pt x="1022998" y="562853"/>
                </a:lnTo>
                <a:lnTo>
                  <a:pt x="1029176" y="556676"/>
                </a:lnTo>
                <a:lnTo>
                  <a:pt x="1035116" y="549548"/>
                </a:lnTo>
                <a:lnTo>
                  <a:pt x="1040818" y="541945"/>
                </a:lnTo>
                <a:lnTo>
                  <a:pt x="1046520" y="534342"/>
                </a:lnTo>
                <a:lnTo>
                  <a:pt x="1051985" y="526027"/>
                </a:lnTo>
                <a:lnTo>
                  <a:pt x="1056737" y="516523"/>
                </a:lnTo>
                <a:lnTo>
                  <a:pt x="1061726" y="507257"/>
                </a:lnTo>
                <a:lnTo>
                  <a:pt x="1066715" y="497041"/>
                </a:lnTo>
                <a:lnTo>
                  <a:pt x="1070992" y="486349"/>
                </a:lnTo>
                <a:lnTo>
                  <a:pt x="1075506" y="475182"/>
                </a:lnTo>
                <a:lnTo>
                  <a:pt x="1079070" y="462828"/>
                </a:lnTo>
                <a:lnTo>
                  <a:pt x="1082634" y="449998"/>
                </a:lnTo>
                <a:lnTo>
                  <a:pt x="1084772" y="437405"/>
                </a:lnTo>
                <a:lnTo>
                  <a:pt x="1087148" y="425050"/>
                </a:lnTo>
                <a:lnTo>
                  <a:pt x="1088811" y="411983"/>
                </a:lnTo>
                <a:lnTo>
                  <a:pt x="1089762" y="399628"/>
                </a:lnTo>
                <a:lnTo>
                  <a:pt x="1090712" y="386798"/>
                </a:lnTo>
                <a:lnTo>
                  <a:pt x="1090712" y="373731"/>
                </a:lnTo>
                <a:lnTo>
                  <a:pt x="1090712" y="360901"/>
                </a:lnTo>
                <a:lnTo>
                  <a:pt x="1089762" y="348071"/>
                </a:lnTo>
                <a:lnTo>
                  <a:pt x="1088811" y="335004"/>
                </a:lnTo>
                <a:lnTo>
                  <a:pt x="1088099" y="321698"/>
                </a:lnTo>
                <a:lnTo>
                  <a:pt x="1084772" y="295563"/>
                </a:lnTo>
                <a:lnTo>
                  <a:pt x="1080971" y="268478"/>
                </a:lnTo>
                <a:lnTo>
                  <a:pt x="1078595" y="258262"/>
                </a:lnTo>
                <a:lnTo>
                  <a:pt x="1075981" y="248283"/>
                </a:lnTo>
                <a:lnTo>
                  <a:pt x="1072417" y="238542"/>
                </a:lnTo>
                <a:lnTo>
                  <a:pt x="1069329" y="229275"/>
                </a:lnTo>
                <a:lnTo>
                  <a:pt x="1061251" y="210031"/>
                </a:lnTo>
                <a:lnTo>
                  <a:pt x="1053173" y="190073"/>
                </a:lnTo>
                <a:lnTo>
                  <a:pt x="1051034" y="186034"/>
                </a:lnTo>
                <a:lnTo>
                  <a:pt x="1048896" y="182470"/>
                </a:lnTo>
                <a:lnTo>
                  <a:pt x="1046045" y="179381"/>
                </a:lnTo>
                <a:lnTo>
                  <a:pt x="1043906" y="176768"/>
                </a:lnTo>
                <a:lnTo>
                  <a:pt x="1041293" y="174630"/>
                </a:lnTo>
                <a:lnTo>
                  <a:pt x="1038680" y="172729"/>
                </a:lnTo>
                <a:lnTo>
                  <a:pt x="1035828" y="171303"/>
                </a:lnTo>
                <a:lnTo>
                  <a:pt x="1032740" y="170591"/>
                </a:lnTo>
                <a:lnTo>
                  <a:pt x="1030126" y="170591"/>
                </a:lnTo>
                <a:lnTo>
                  <a:pt x="1027038" y="170591"/>
                </a:lnTo>
                <a:lnTo>
                  <a:pt x="1024424" y="171303"/>
                </a:lnTo>
                <a:lnTo>
                  <a:pt x="1021335" y="172729"/>
                </a:lnTo>
                <a:lnTo>
                  <a:pt x="1018247" y="174867"/>
                </a:lnTo>
                <a:lnTo>
                  <a:pt x="1014920" y="177718"/>
                </a:lnTo>
                <a:lnTo>
                  <a:pt x="1011832" y="180807"/>
                </a:lnTo>
                <a:lnTo>
                  <a:pt x="1008743" y="184846"/>
                </a:lnTo>
                <a:lnTo>
                  <a:pt x="991874" y="201240"/>
                </a:lnTo>
                <a:lnTo>
                  <a:pt x="983321" y="209318"/>
                </a:lnTo>
                <a:lnTo>
                  <a:pt x="974530" y="216683"/>
                </a:lnTo>
                <a:lnTo>
                  <a:pt x="965739" y="223811"/>
                </a:lnTo>
                <a:lnTo>
                  <a:pt x="956236" y="230226"/>
                </a:lnTo>
                <a:lnTo>
                  <a:pt x="946494" y="235928"/>
                </a:lnTo>
                <a:lnTo>
                  <a:pt x="941505" y="238066"/>
                </a:lnTo>
                <a:lnTo>
                  <a:pt x="936753" y="240442"/>
                </a:lnTo>
                <a:lnTo>
                  <a:pt x="932239" y="242581"/>
                </a:lnTo>
                <a:lnTo>
                  <a:pt x="928675" y="245669"/>
                </a:lnTo>
                <a:lnTo>
                  <a:pt x="925111" y="249233"/>
                </a:lnTo>
                <a:lnTo>
                  <a:pt x="922022" y="252797"/>
                </a:lnTo>
                <a:lnTo>
                  <a:pt x="919884" y="257311"/>
                </a:lnTo>
                <a:lnTo>
                  <a:pt x="918934" y="259925"/>
                </a:lnTo>
                <a:lnTo>
                  <a:pt x="918459" y="262538"/>
                </a:lnTo>
                <a:lnTo>
                  <a:pt x="918459" y="265389"/>
                </a:lnTo>
                <a:lnTo>
                  <a:pt x="918459" y="268003"/>
                </a:lnTo>
                <a:lnTo>
                  <a:pt x="918934" y="271091"/>
                </a:lnTo>
                <a:lnTo>
                  <a:pt x="919884" y="274180"/>
                </a:lnTo>
                <a:lnTo>
                  <a:pt x="921547" y="282258"/>
                </a:lnTo>
                <a:lnTo>
                  <a:pt x="922973" y="290574"/>
                </a:lnTo>
                <a:lnTo>
                  <a:pt x="923923" y="299127"/>
                </a:lnTo>
                <a:lnTo>
                  <a:pt x="924161" y="307443"/>
                </a:lnTo>
                <a:lnTo>
                  <a:pt x="924161" y="315996"/>
                </a:lnTo>
                <a:lnTo>
                  <a:pt x="923923" y="324550"/>
                </a:lnTo>
                <a:lnTo>
                  <a:pt x="922973" y="332865"/>
                </a:lnTo>
                <a:lnTo>
                  <a:pt x="922022" y="340943"/>
                </a:lnTo>
                <a:lnTo>
                  <a:pt x="920597" y="349259"/>
                </a:lnTo>
                <a:lnTo>
                  <a:pt x="918934" y="357812"/>
                </a:lnTo>
                <a:lnTo>
                  <a:pt x="914420" y="374681"/>
                </a:lnTo>
                <a:lnTo>
                  <a:pt x="909192" y="391075"/>
                </a:lnTo>
                <a:lnTo>
                  <a:pt x="903253" y="408182"/>
                </a:lnTo>
                <a:lnTo>
                  <a:pt x="903253" y="397965"/>
                </a:lnTo>
                <a:lnTo>
                  <a:pt x="904203" y="387274"/>
                </a:lnTo>
                <a:lnTo>
                  <a:pt x="906104" y="367078"/>
                </a:lnTo>
                <a:lnTo>
                  <a:pt x="907767" y="347596"/>
                </a:lnTo>
                <a:lnTo>
                  <a:pt x="908717" y="338567"/>
                </a:lnTo>
                <a:lnTo>
                  <a:pt x="908717" y="329777"/>
                </a:lnTo>
                <a:lnTo>
                  <a:pt x="908717" y="325738"/>
                </a:lnTo>
                <a:lnTo>
                  <a:pt x="907767" y="322649"/>
                </a:lnTo>
                <a:lnTo>
                  <a:pt x="906817" y="319560"/>
                </a:lnTo>
                <a:lnTo>
                  <a:pt x="905154" y="316471"/>
                </a:lnTo>
                <a:lnTo>
                  <a:pt x="903728" y="314096"/>
                </a:lnTo>
                <a:lnTo>
                  <a:pt x="901590" y="311957"/>
                </a:lnTo>
                <a:lnTo>
                  <a:pt x="897551" y="307443"/>
                </a:lnTo>
                <a:lnTo>
                  <a:pt x="895412" y="309344"/>
                </a:lnTo>
                <a:lnTo>
                  <a:pt x="892561" y="310769"/>
                </a:lnTo>
                <a:lnTo>
                  <a:pt x="887334" y="313383"/>
                </a:lnTo>
                <a:lnTo>
                  <a:pt x="884721" y="314096"/>
                </a:lnTo>
                <a:lnTo>
                  <a:pt x="882820" y="315521"/>
                </a:lnTo>
                <a:lnTo>
                  <a:pt x="881632" y="316947"/>
                </a:lnTo>
                <a:lnTo>
                  <a:pt x="881157" y="318610"/>
                </a:lnTo>
                <a:lnTo>
                  <a:pt x="872604" y="331915"/>
                </a:lnTo>
                <a:lnTo>
                  <a:pt x="864288" y="346646"/>
                </a:lnTo>
                <a:lnTo>
                  <a:pt x="856210" y="361376"/>
                </a:lnTo>
                <a:lnTo>
                  <a:pt x="847656" y="374681"/>
                </a:lnTo>
                <a:lnTo>
                  <a:pt x="841954" y="374681"/>
                </a:lnTo>
                <a:lnTo>
                  <a:pt x="846468" y="357812"/>
                </a:lnTo>
                <a:lnTo>
                  <a:pt x="850508" y="339518"/>
                </a:lnTo>
                <a:lnTo>
                  <a:pt x="854784" y="319560"/>
                </a:lnTo>
                <a:lnTo>
                  <a:pt x="858823" y="296514"/>
                </a:lnTo>
                <a:lnTo>
                  <a:pt x="848132" y="303879"/>
                </a:lnTo>
                <a:lnTo>
                  <a:pt x="840054" y="310294"/>
                </a:lnTo>
                <a:lnTo>
                  <a:pt x="833163" y="316947"/>
                </a:lnTo>
                <a:lnTo>
                  <a:pt x="825560" y="324550"/>
                </a:lnTo>
                <a:lnTo>
                  <a:pt x="823185" y="326688"/>
                </a:lnTo>
                <a:lnTo>
                  <a:pt x="821522" y="329301"/>
                </a:lnTo>
                <a:lnTo>
                  <a:pt x="817007" y="335954"/>
                </a:lnTo>
                <a:lnTo>
                  <a:pt x="812968" y="344032"/>
                </a:lnTo>
                <a:lnTo>
                  <a:pt x="808929" y="352585"/>
                </a:lnTo>
                <a:lnTo>
                  <a:pt x="809880" y="343557"/>
                </a:lnTo>
                <a:lnTo>
                  <a:pt x="811305" y="335479"/>
                </a:lnTo>
                <a:lnTo>
                  <a:pt x="812493" y="328826"/>
                </a:lnTo>
                <a:lnTo>
                  <a:pt x="814394" y="323124"/>
                </a:lnTo>
                <a:lnTo>
                  <a:pt x="816532" y="317659"/>
                </a:lnTo>
                <a:lnTo>
                  <a:pt x="819146" y="313383"/>
                </a:lnTo>
                <a:lnTo>
                  <a:pt x="822709" y="309344"/>
                </a:lnTo>
                <a:lnTo>
                  <a:pt x="826748" y="306255"/>
                </a:lnTo>
                <a:lnTo>
                  <a:pt x="832213" y="303166"/>
                </a:lnTo>
                <a:lnTo>
                  <a:pt x="838390" y="300315"/>
                </a:lnTo>
                <a:lnTo>
                  <a:pt x="845518" y="298177"/>
                </a:lnTo>
                <a:lnTo>
                  <a:pt x="854071" y="295563"/>
                </a:lnTo>
                <a:lnTo>
                  <a:pt x="875217" y="290574"/>
                </a:lnTo>
                <a:lnTo>
                  <a:pt x="903253" y="285347"/>
                </a:lnTo>
                <a:lnTo>
                  <a:pt x="886384" y="268478"/>
                </a:lnTo>
                <a:lnTo>
                  <a:pt x="879731" y="270141"/>
                </a:lnTo>
                <a:lnTo>
                  <a:pt x="873079" y="271091"/>
                </a:lnTo>
                <a:lnTo>
                  <a:pt x="867376" y="271567"/>
                </a:lnTo>
                <a:lnTo>
                  <a:pt x="862387" y="271091"/>
                </a:lnTo>
                <a:lnTo>
                  <a:pt x="857398" y="269666"/>
                </a:lnTo>
                <a:lnTo>
                  <a:pt x="853596" y="268003"/>
                </a:lnTo>
                <a:lnTo>
                  <a:pt x="849557" y="265627"/>
                </a:lnTo>
                <a:lnTo>
                  <a:pt x="846468" y="262538"/>
                </a:lnTo>
                <a:lnTo>
                  <a:pt x="843380" y="259450"/>
                </a:lnTo>
                <a:lnTo>
                  <a:pt x="840529" y="255411"/>
                </a:lnTo>
                <a:lnTo>
                  <a:pt x="838390" y="251134"/>
                </a:lnTo>
                <a:lnTo>
                  <a:pt x="836490" y="246620"/>
                </a:lnTo>
                <a:lnTo>
                  <a:pt x="834827" y="241155"/>
                </a:lnTo>
                <a:lnTo>
                  <a:pt x="833401" y="235453"/>
                </a:lnTo>
                <a:lnTo>
                  <a:pt x="831263" y="223336"/>
                </a:lnTo>
                <a:lnTo>
                  <a:pt x="897551" y="206942"/>
                </a:lnTo>
                <a:lnTo>
                  <a:pt x="888997" y="194112"/>
                </a:lnTo>
                <a:lnTo>
                  <a:pt x="880682" y="181282"/>
                </a:lnTo>
                <a:lnTo>
                  <a:pt x="871416" y="168690"/>
                </a:lnTo>
                <a:lnTo>
                  <a:pt x="866901" y="162988"/>
                </a:lnTo>
                <a:lnTo>
                  <a:pt x="861437" y="157048"/>
                </a:lnTo>
                <a:lnTo>
                  <a:pt x="856210" y="151821"/>
                </a:lnTo>
                <a:lnTo>
                  <a:pt x="850745" y="146831"/>
                </a:lnTo>
                <a:lnTo>
                  <a:pt x="844568" y="142555"/>
                </a:lnTo>
                <a:lnTo>
                  <a:pt x="838390" y="138516"/>
                </a:lnTo>
                <a:lnTo>
                  <a:pt x="831738" y="134952"/>
                </a:lnTo>
                <a:lnTo>
                  <a:pt x="824610" y="132338"/>
                </a:lnTo>
                <a:lnTo>
                  <a:pt x="817007" y="129963"/>
                </a:lnTo>
                <a:lnTo>
                  <a:pt x="808929" y="128774"/>
                </a:lnTo>
                <a:lnTo>
                  <a:pt x="806791" y="128299"/>
                </a:lnTo>
                <a:lnTo>
                  <a:pt x="804652" y="127824"/>
                </a:lnTo>
                <a:lnTo>
                  <a:pt x="802752" y="126399"/>
                </a:lnTo>
                <a:lnTo>
                  <a:pt x="801089" y="125211"/>
                </a:lnTo>
                <a:lnTo>
                  <a:pt x="799663" y="123310"/>
                </a:lnTo>
                <a:lnTo>
                  <a:pt x="798713" y="121647"/>
                </a:lnTo>
                <a:lnTo>
                  <a:pt x="798000" y="119271"/>
                </a:lnTo>
                <a:lnTo>
                  <a:pt x="798000" y="117608"/>
                </a:lnTo>
                <a:lnTo>
                  <a:pt x="785408" y="106916"/>
                </a:lnTo>
                <a:lnTo>
                  <a:pt x="772578" y="95749"/>
                </a:lnTo>
                <a:lnTo>
                  <a:pt x="747155" y="72703"/>
                </a:lnTo>
                <a:lnTo>
                  <a:pt x="733850" y="61061"/>
                </a:lnTo>
                <a:lnTo>
                  <a:pt x="720545" y="49894"/>
                </a:lnTo>
                <a:lnTo>
                  <a:pt x="706765" y="38728"/>
                </a:lnTo>
                <a:lnTo>
                  <a:pt x="692510" y="28036"/>
                </a:lnTo>
                <a:lnTo>
                  <a:pt x="679442" y="21859"/>
                </a:lnTo>
                <a:lnTo>
                  <a:pt x="666137" y="16632"/>
                </a:lnTo>
                <a:lnTo>
                  <a:pt x="652832" y="11642"/>
                </a:lnTo>
                <a:lnTo>
                  <a:pt x="639527" y="7603"/>
                </a:lnTo>
                <a:lnTo>
                  <a:pt x="626222" y="4514"/>
                </a:lnTo>
                <a:lnTo>
                  <a:pt x="612917" y="1901"/>
                </a:lnTo>
                <a:lnTo>
                  <a:pt x="599374" y="475"/>
                </a:lnTo>
                <a:close/>
              </a:path>
            </a:pathLst>
          </a:custGeom>
          <a:solidFill>
            <a:schemeClr val="bg1">
              <a:alpha val="25000"/>
            </a:schemeClr>
          </a:solidFill>
          <a:ln>
            <a:noFill/>
          </a:ln>
        </p:spPr>
        <p:txBody>
          <a:bodyPr vert="horz" wrap="square" lIns="89642" tIns="44821" rIns="89642" bIns="44821" numCol="1" anchor="t" anchorCtr="0" compatLnSpc="1">
            <a:prstTxWarp prst="textNoShape">
              <a:avLst/>
            </a:prstTxWarp>
            <a:noAutofit/>
          </a:bodyPr>
          <a:lstStyle/>
          <a:p>
            <a:endParaRPr lang="en-IN" sz="1765"/>
          </a:p>
        </p:txBody>
      </p:sp>
      <p:sp>
        <p:nvSpPr>
          <p:cNvPr id="7" name="Rectangle 6"/>
          <p:cNvSpPr/>
          <p:nvPr/>
        </p:nvSpPr>
        <p:spPr>
          <a:xfrm>
            <a:off x="8929" y="1213304"/>
            <a:ext cx="5220355" cy="825547"/>
          </a:xfrm>
          <a:prstGeom prst="rect">
            <a:avLst/>
          </a:prstGeom>
        </p:spPr>
        <p:txBody>
          <a:bodyPr wrap="square" lIns="268927">
            <a:spAutoFit/>
          </a:bodyPr>
          <a:lstStyle/>
          <a:p>
            <a:pPr defTabSz="914102" fontAlgn="base">
              <a:lnSpc>
                <a:spcPct val="90000"/>
              </a:lnSpc>
              <a:spcBef>
                <a:spcPct val="0"/>
              </a:spcBef>
              <a:spcAft>
                <a:spcPct val="0"/>
              </a:spcAft>
            </a:pPr>
            <a:r>
              <a:rPr lang="en-US" sz="5294" dirty="0">
                <a:solidFill>
                  <a:schemeClr val="bg1"/>
                </a:solidFill>
                <a:latin typeface="+mj-lt"/>
                <a:ea typeface="Segoe UI" pitchFamily="34" charset="0"/>
                <a:cs typeface="Segoe UI" pitchFamily="34" charset="0"/>
              </a:rPr>
              <a:t>HBase</a:t>
            </a:r>
          </a:p>
        </p:txBody>
      </p:sp>
      <p:sp>
        <p:nvSpPr>
          <p:cNvPr id="2" name="Slide Number Placeholder 1"/>
          <p:cNvSpPr>
            <a:spLocks noGrp="1"/>
          </p:cNvSpPr>
          <p:nvPr>
            <p:ph type="sldNum" sz="quarter" idx="11"/>
          </p:nvPr>
        </p:nvSpPr>
        <p:spPr/>
        <p:txBody>
          <a:bodyPr/>
          <a:lstStyle/>
          <a:p>
            <a:pPr>
              <a:defRPr/>
            </a:pPr>
            <a:fld id="{F8A0AC42-AA1D-4944-8D96-660DE70C7E1B}" type="slidenum">
              <a:rPr lang="en-IN" smtClean="0"/>
              <a:pPr>
                <a:defRPr/>
              </a:pPr>
              <a:t>52</a:t>
            </a:fld>
            <a:endParaRPr lang="en-IN" dirty="0"/>
          </a:p>
        </p:txBody>
      </p:sp>
    </p:spTree>
    <p:extLst>
      <p:ext uri="{BB962C8B-B14F-4D97-AF65-F5344CB8AC3E}">
        <p14:creationId xmlns:p14="http://schemas.microsoft.com/office/powerpoint/2010/main" val="1522505386"/>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extLst/>
          </p:nvPr>
        </p:nvGraphicFramePr>
        <p:xfrm>
          <a:off x="1558" y="2044"/>
          <a:ext cx="1556" cy="1556"/>
        </p:xfrm>
        <a:graphic>
          <a:graphicData uri="http://schemas.openxmlformats.org/presentationml/2006/ole">
            <mc:AlternateContent xmlns:mc="http://schemas.openxmlformats.org/markup-compatibility/2006">
              <mc:Choice xmlns:v="urn:schemas-microsoft-com:vml" Requires="v">
                <p:oleObj spid="_x0000_s22701" name="think-cell Slide" r:id="rId4" imgW="377" imgH="377" progId="TCLayout.ActiveDocument.1">
                  <p:embed/>
                </p:oleObj>
              </mc:Choice>
              <mc:Fallback>
                <p:oleObj name="think-cell Slide" r:id="rId4" imgW="377" imgH="377" progId="TCLayout.ActiveDocument.1">
                  <p:embed/>
                  <p:pic>
                    <p:nvPicPr>
                      <p:cNvPr id="31" name="Object 30" hidden="1"/>
                      <p:cNvPicPr/>
                      <p:nvPr/>
                    </p:nvPicPr>
                    <p:blipFill>
                      <a:blip r:embed="rId5"/>
                      <a:stretch>
                        <a:fillRect/>
                      </a:stretch>
                    </p:blipFill>
                    <p:spPr>
                      <a:xfrm>
                        <a:off x="1558" y="2044"/>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Apache HBase: What is it?</a:t>
            </a:r>
          </a:p>
        </p:txBody>
      </p:sp>
      <p:sp>
        <p:nvSpPr>
          <p:cNvPr id="20" name="Rectangle 19"/>
          <p:cNvSpPr/>
          <p:nvPr/>
        </p:nvSpPr>
        <p:spPr>
          <a:xfrm>
            <a:off x="457201" y="1366281"/>
            <a:ext cx="11246850" cy="407660"/>
          </a:xfrm>
          <a:prstGeom prst="rect">
            <a:avLst/>
          </a:prstGeom>
          <a:solidFill>
            <a:schemeClr val="accent3"/>
          </a:solidFill>
          <a:ln w="3175">
            <a:noFill/>
          </a:ln>
        </p:spPr>
        <p:txBody>
          <a:bodyPr wrap="square" lIns="0" tIns="0" rIns="0" bIns="0">
            <a:noAutofit/>
          </a:bodyPr>
          <a:lstStyle/>
          <a:p>
            <a:pPr marL="0" lvl="1" algn="ctr" defTabSz="913770" fontAlgn="base">
              <a:spcBef>
                <a:spcPts val="588"/>
              </a:spcBef>
              <a:buClr>
                <a:srgbClr val="68217A">
                  <a:lumMod val="50000"/>
                </a:srgbClr>
              </a:buClr>
              <a:tabLst>
                <a:tab pos="645523" algn="l"/>
              </a:tabLst>
            </a:pPr>
            <a:r>
              <a:rPr lang="en-IN" sz="2353" dirty="0">
                <a:solidFill>
                  <a:schemeClr val="bg1"/>
                </a:solidFill>
                <a:latin typeface="+mj-lt"/>
                <a:ea typeface="Segoe UI" pitchFamily="34" charset="0"/>
                <a:cs typeface="Segoe UI Semibold" panose="020B0702040204020203" pitchFamily="34" charset="0"/>
              </a:rPr>
              <a:t>A distributed, columnar, NoSQL database based on Hadoop </a:t>
            </a:r>
          </a:p>
        </p:txBody>
      </p:sp>
      <p:sp>
        <p:nvSpPr>
          <p:cNvPr id="23" name="Rectangle 22"/>
          <p:cNvSpPr/>
          <p:nvPr/>
        </p:nvSpPr>
        <p:spPr>
          <a:xfrm>
            <a:off x="567587" y="2255706"/>
            <a:ext cx="5606771" cy="3853260"/>
          </a:xfrm>
          <a:prstGeom prst="rect">
            <a:avLst/>
          </a:prstGeom>
          <a:noFill/>
          <a:ln w="3175">
            <a:noFill/>
          </a:ln>
        </p:spPr>
        <p:txBody>
          <a:bodyPr wrap="square" lIns="0" tIns="0" rIns="0" bIns="0">
            <a:noAutofit/>
          </a:bodyPr>
          <a:lstStyle/>
          <a:p>
            <a:pPr marL="342900" lvl="1" indent="-342900" defTabSz="913770" fontAlgn="base">
              <a:spcBef>
                <a:spcPts val="588"/>
              </a:spcBef>
              <a:buClr>
                <a:schemeClr val="accent3">
                  <a:lumMod val="50000"/>
                </a:schemeClr>
              </a:buClr>
              <a:buSzPct val="75000"/>
              <a:buFont typeface="Wingdings" panose="05000000000000000000" pitchFamily="2" charset="2"/>
              <a:buChar char="v"/>
              <a:tabLst>
                <a:tab pos="645523" algn="l"/>
              </a:tabLst>
            </a:pPr>
            <a:r>
              <a:rPr lang="en-IN" sz="2000" dirty="0">
                <a:solidFill>
                  <a:schemeClr val="tx1">
                    <a:lumMod val="65000"/>
                    <a:lumOff val="35000"/>
                  </a:schemeClr>
                </a:solidFill>
                <a:latin typeface="Segoe UI Semibold" panose="020B0702040204020203" pitchFamily="34" charset="0"/>
                <a:ea typeface="Segoe UI" pitchFamily="34" charset="0"/>
                <a:cs typeface="Segoe UI Semibold" panose="020B0702040204020203" pitchFamily="34" charset="0"/>
              </a:rPr>
              <a:t>Large scale</a:t>
            </a:r>
          </a:p>
          <a:p>
            <a:pPr marL="548640" lvl="2" indent="-285750" defTabSz="913770" fontAlgn="base">
              <a:spcBef>
                <a:spcPts val="196"/>
              </a:spcBef>
              <a:spcAft>
                <a:spcPts val="196"/>
              </a:spcAft>
              <a:buClr>
                <a:srgbClr val="68217A">
                  <a:lumMod val="50000"/>
                </a:srgbClr>
              </a:buClr>
              <a:buFont typeface="Wingdings" panose="05000000000000000000" pitchFamily="2" charset="2"/>
              <a:buChar char="§"/>
              <a:tabLst>
                <a:tab pos="645523" algn="l"/>
              </a:tabLst>
            </a:pPr>
            <a:r>
              <a:rPr lang="en-IN" dirty="0">
                <a:solidFill>
                  <a:schemeClr val="tx1">
                    <a:lumMod val="65000"/>
                    <a:lumOff val="35000"/>
                  </a:schemeClr>
                </a:solidFill>
                <a:ea typeface="Segoe UI" pitchFamily="34" charset="0"/>
                <a:cs typeface="Segoe UI" pitchFamily="34" charset="0"/>
              </a:rPr>
              <a:t>Linear scalability with automatic partitioning</a:t>
            </a:r>
          </a:p>
          <a:p>
            <a:pPr marL="548640" lvl="2" indent="-285750" defTabSz="913770" fontAlgn="base">
              <a:spcBef>
                <a:spcPts val="196"/>
              </a:spcBef>
              <a:spcAft>
                <a:spcPts val="196"/>
              </a:spcAft>
              <a:buClr>
                <a:srgbClr val="68217A">
                  <a:lumMod val="50000"/>
                </a:srgbClr>
              </a:buClr>
              <a:buFont typeface="Wingdings" panose="05000000000000000000" pitchFamily="2" charset="2"/>
              <a:buChar char="§"/>
              <a:tabLst>
                <a:tab pos="645523" algn="l"/>
              </a:tabLst>
            </a:pPr>
            <a:r>
              <a:rPr lang="en-IN" dirty="0">
                <a:solidFill>
                  <a:schemeClr val="tx1">
                    <a:lumMod val="65000"/>
                    <a:lumOff val="35000"/>
                  </a:schemeClr>
                </a:solidFill>
                <a:ea typeface="Segoe UI" pitchFamily="34" charset="0"/>
                <a:cs typeface="Segoe UI" pitchFamily="34" charset="0"/>
              </a:rPr>
              <a:t>Billions of rows X millions of columns</a:t>
            </a:r>
          </a:p>
          <a:p>
            <a:pPr marL="548640" lvl="2" indent="-285750" defTabSz="913770" fontAlgn="base">
              <a:spcBef>
                <a:spcPts val="196"/>
              </a:spcBef>
              <a:spcAft>
                <a:spcPts val="196"/>
              </a:spcAft>
              <a:buClr>
                <a:srgbClr val="68217A">
                  <a:lumMod val="50000"/>
                </a:srgbClr>
              </a:buClr>
              <a:buFont typeface="Wingdings" panose="05000000000000000000" pitchFamily="2" charset="2"/>
              <a:buChar char="§"/>
              <a:tabLst>
                <a:tab pos="645523" algn="l"/>
              </a:tabLst>
            </a:pPr>
            <a:r>
              <a:rPr lang="en-IN" dirty="0">
                <a:solidFill>
                  <a:schemeClr val="tx1">
                    <a:lumMod val="65000"/>
                    <a:lumOff val="35000"/>
                  </a:schemeClr>
                </a:solidFill>
                <a:ea typeface="Segoe UI" pitchFamily="34" charset="0"/>
                <a:cs typeface="Segoe UI" pitchFamily="34" charset="0"/>
              </a:rPr>
              <a:t>Many deployments with 1000+ nodes, PBs of data</a:t>
            </a:r>
          </a:p>
          <a:p>
            <a:pPr marL="342900" lvl="1" indent="-342900" defTabSz="913770" fontAlgn="base">
              <a:spcBef>
                <a:spcPts val="588"/>
              </a:spcBef>
              <a:spcAft>
                <a:spcPts val="196"/>
              </a:spcAft>
              <a:buClr>
                <a:schemeClr val="accent3">
                  <a:lumMod val="50000"/>
                </a:schemeClr>
              </a:buClr>
              <a:buSzPct val="75000"/>
              <a:buFont typeface="Wingdings" panose="05000000000000000000" pitchFamily="2" charset="2"/>
              <a:buChar char="v"/>
              <a:tabLst>
                <a:tab pos="645523" algn="l"/>
              </a:tabLst>
            </a:pPr>
            <a:r>
              <a:rPr lang="en-IN" sz="2000" dirty="0">
                <a:solidFill>
                  <a:schemeClr val="tx1">
                    <a:lumMod val="65000"/>
                    <a:lumOff val="35000"/>
                  </a:schemeClr>
                </a:solidFill>
                <a:latin typeface="Segoe UI Semibold" panose="020B0702040204020203" pitchFamily="34" charset="0"/>
                <a:ea typeface="Segoe UI" pitchFamily="34" charset="0"/>
                <a:cs typeface="Segoe UI Semibold" panose="020B0702040204020203" pitchFamily="34" charset="0"/>
              </a:rPr>
              <a:t>Low </a:t>
            </a:r>
            <a:r>
              <a:rPr lang="en-IN" sz="2000" dirty="0" err="1">
                <a:solidFill>
                  <a:schemeClr val="tx1">
                    <a:lumMod val="65000"/>
                    <a:lumOff val="35000"/>
                  </a:schemeClr>
                </a:solidFill>
                <a:latin typeface="Segoe UI Semibold" panose="020B0702040204020203" pitchFamily="34" charset="0"/>
                <a:ea typeface="Segoe UI" pitchFamily="34" charset="0"/>
                <a:cs typeface="Segoe UI Semibold" panose="020B0702040204020203" pitchFamily="34" charset="0"/>
              </a:rPr>
              <a:t>latencty</a:t>
            </a:r>
            <a:endParaRPr lang="en-IN" sz="2000" dirty="0">
              <a:solidFill>
                <a:schemeClr val="tx1">
                  <a:lumMod val="65000"/>
                  <a:lumOff val="35000"/>
                </a:schemeClr>
              </a:solidFill>
              <a:latin typeface="Segoe UI Semibold" panose="020B0702040204020203" pitchFamily="34" charset="0"/>
              <a:ea typeface="Segoe UI" pitchFamily="34" charset="0"/>
              <a:cs typeface="Segoe UI Semibold" panose="020B0702040204020203" pitchFamily="34" charset="0"/>
            </a:endParaRPr>
          </a:p>
          <a:p>
            <a:pPr marL="548640" lvl="2" indent="-285750" defTabSz="913770" fontAlgn="base">
              <a:spcBef>
                <a:spcPts val="196"/>
              </a:spcBef>
              <a:spcAft>
                <a:spcPts val="196"/>
              </a:spcAft>
              <a:buClr>
                <a:srgbClr val="68217A">
                  <a:lumMod val="50000"/>
                </a:srgbClr>
              </a:buClr>
              <a:buFont typeface="Wingdings" panose="05000000000000000000" pitchFamily="2" charset="2"/>
              <a:buChar char="§"/>
              <a:tabLst>
                <a:tab pos="645523" algn="l"/>
              </a:tabLst>
            </a:pPr>
            <a:r>
              <a:rPr lang="en-IN" sz="1765" dirty="0">
                <a:solidFill>
                  <a:schemeClr val="tx1">
                    <a:lumMod val="65000"/>
                    <a:lumOff val="35000"/>
                  </a:schemeClr>
                </a:solidFill>
                <a:ea typeface="Segoe UI" pitchFamily="34" charset="0"/>
                <a:cs typeface="Segoe UI" pitchFamily="34" charset="0"/>
              </a:rPr>
              <a:t>Supports Real-time random read &amp; writes</a:t>
            </a:r>
          </a:p>
          <a:p>
            <a:pPr marL="342900" lvl="1" indent="-342900" defTabSz="913770" fontAlgn="base">
              <a:spcBef>
                <a:spcPts val="588"/>
              </a:spcBef>
              <a:spcAft>
                <a:spcPts val="196"/>
              </a:spcAft>
              <a:buClr>
                <a:schemeClr val="accent3">
                  <a:lumMod val="50000"/>
                </a:schemeClr>
              </a:buClr>
              <a:buSzPct val="75000"/>
              <a:buFont typeface="Wingdings" panose="05000000000000000000" pitchFamily="2" charset="2"/>
              <a:buChar char="v"/>
              <a:tabLst>
                <a:tab pos="645523" algn="l"/>
              </a:tabLst>
            </a:pPr>
            <a:r>
              <a:rPr lang="en-IN" sz="2000" dirty="0">
                <a:solidFill>
                  <a:schemeClr val="tx1">
                    <a:lumMod val="65000"/>
                    <a:lumOff val="35000"/>
                  </a:schemeClr>
                </a:solidFill>
                <a:latin typeface="Segoe UI Semibold" panose="020B0702040204020203" pitchFamily="34" charset="0"/>
                <a:ea typeface="Segoe UI" pitchFamily="34" charset="0"/>
                <a:cs typeface="Segoe UI Semibold" panose="020B0702040204020203" pitchFamily="34" charset="0"/>
              </a:rPr>
              <a:t>Strongly consistent Read and Writes</a:t>
            </a:r>
          </a:p>
          <a:p>
            <a:pPr marL="548640" lvl="2" indent="-285750" defTabSz="913770" fontAlgn="base">
              <a:spcBef>
                <a:spcPts val="196"/>
              </a:spcBef>
              <a:spcAft>
                <a:spcPts val="196"/>
              </a:spcAft>
              <a:buClr>
                <a:srgbClr val="68217A">
                  <a:lumMod val="50000"/>
                </a:srgbClr>
              </a:buClr>
              <a:buFont typeface="Wingdings" panose="05000000000000000000" pitchFamily="2" charset="2"/>
              <a:buChar char="§"/>
              <a:tabLst>
                <a:tab pos="645523" algn="l"/>
              </a:tabLst>
            </a:pPr>
            <a:r>
              <a:rPr lang="en-IN" dirty="0">
                <a:solidFill>
                  <a:schemeClr val="tx1">
                    <a:lumMod val="65000"/>
                    <a:lumOff val="35000"/>
                  </a:schemeClr>
                </a:solidFill>
                <a:ea typeface="Segoe UI" pitchFamily="34" charset="0"/>
                <a:cs typeface="Segoe UI" pitchFamily="34" charset="0"/>
              </a:rPr>
              <a:t>Supports Transactions (not fully ACID)</a:t>
            </a:r>
          </a:p>
          <a:p>
            <a:pPr marL="342900" lvl="1" indent="-342900" defTabSz="913770" fontAlgn="base">
              <a:spcBef>
                <a:spcPts val="588"/>
              </a:spcBef>
              <a:spcAft>
                <a:spcPts val="196"/>
              </a:spcAft>
              <a:buClr>
                <a:schemeClr val="accent3">
                  <a:lumMod val="50000"/>
                </a:schemeClr>
              </a:buClr>
              <a:buSzPct val="75000"/>
              <a:buFont typeface="Wingdings" panose="05000000000000000000" pitchFamily="2" charset="2"/>
              <a:buChar char="v"/>
              <a:tabLst>
                <a:tab pos="645523" algn="l"/>
              </a:tabLst>
            </a:pPr>
            <a:r>
              <a:rPr lang="en-IN" sz="2000" dirty="0">
                <a:solidFill>
                  <a:schemeClr val="tx1">
                    <a:lumMod val="65000"/>
                    <a:lumOff val="35000"/>
                  </a:schemeClr>
                </a:solidFill>
                <a:latin typeface="Segoe UI Semibold" panose="020B0702040204020203" pitchFamily="34" charset="0"/>
                <a:ea typeface="Segoe UI" pitchFamily="34" charset="0"/>
                <a:cs typeface="Segoe UI Semibold" panose="020B0702040204020203" pitchFamily="34" charset="0"/>
              </a:rPr>
              <a:t>Reliable and Fault Tolerant</a:t>
            </a:r>
          </a:p>
          <a:p>
            <a:pPr marL="548640" lvl="2" indent="-285750" defTabSz="913770" fontAlgn="base">
              <a:spcBef>
                <a:spcPts val="196"/>
              </a:spcBef>
              <a:spcAft>
                <a:spcPts val="196"/>
              </a:spcAft>
              <a:buClr>
                <a:srgbClr val="68217A">
                  <a:lumMod val="50000"/>
                </a:srgbClr>
              </a:buClr>
              <a:buFont typeface="Wingdings" panose="05000000000000000000" pitchFamily="2" charset="2"/>
              <a:buChar char="§"/>
              <a:tabLst>
                <a:tab pos="645523" algn="l"/>
              </a:tabLst>
            </a:pPr>
            <a:r>
              <a:rPr lang="en-IN" dirty="0">
                <a:solidFill>
                  <a:schemeClr val="tx1">
                    <a:lumMod val="65000"/>
                    <a:lumOff val="35000"/>
                  </a:schemeClr>
                </a:solidFill>
                <a:ea typeface="Segoe UI" pitchFamily="34" charset="0"/>
                <a:cs typeface="Segoe UI" pitchFamily="34" charset="0"/>
              </a:rPr>
              <a:t>Automatic failover in case of server failures</a:t>
            </a:r>
          </a:p>
        </p:txBody>
      </p:sp>
      <p:sp>
        <p:nvSpPr>
          <p:cNvPr id="3" name="Slide Number Placeholder 2"/>
          <p:cNvSpPr>
            <a:spLocks noGrp="1"/>
          </p:cNvSpPr>
          <p:nvPr>
            <p:ph type="sldNum" sz="quarter" idx="11"/>
          </p:nvPr>
        </p:nvSpPr>
        <p:spPr/>
        <p:txBody>
          <a:bodyPr/>
          <a:lstStyle/>
          <a:p>
            <a:pPr>
              <a:defRPr/>
            </a:pPr>
            <a:fld id="{F8A0AC42-AA1D-4944-8D96-660DE70C7E1B}" type="slidenum">
              <a:rPr lang="en-IN"/>
              <a:pPr>
                <a:defRPr/>
              </a:pPr>
              <a:t>53</a:t>
            </a:fld>
            <a:endParaRPr lang="en-IN" dirty="0"/>
          </a:p>
        </p:txBody>
      </p:sp>
      <p:grpSp>
        <p:nvGrpSpPr>
          <p:cNvPr id="4" name="Group 3"/>
          <p:cNvGrpSpPr/>
          <p:nvPr/>
        </p:nvGrpSpPr>
        <p:grpSpPr>
          <a:xfrm>
            <a:off x="7352200" y="2405758"/>
            <a:ext cx="3179166" cy="3400166"/>
            <a:chOff x="7005358" y="2220241"/>
            <a:chExt cx="4318839" cy="4471072"/>
          </a:xfrm>
        </p:grpSpPr>
        <p:sp>
          <p:nvSpPr>
            <p:cNvPr id="32" name="Freeform 31"/>
            <p:cNvSpPr/>
            <p:nvPr/>
          </p:nvSpPr>
          <p:spPr>
            <a:xfrm flipH="1">
              <a:off x="10197016" y="3371710"/>
              <a:ext cx="633107" cy="926358"/>
            </a:xfrm>
            <a:custGeom>
              <a:avLst/>
              <a:gdLst>
                <a:gd name="connsiteX0" fmla="*/ 3284673 w 3284673"/>
                <a:gd name="connsiteY0" fmla="*/ 701841 h 4806110"/>
                <a:gd name="connsiteX1" fmla="*/ 3284671 w 3284673"/>
                <a:gd name="connsiteY1" fmla="*/ 701843 h 4806110"/>
                <a:gd name="connsiteX2" fmla="*/ 3284671 w 3284673"/>
                <a:gd name="connsiteY2" fmla="*/ 701841 h 4806110"/>
                <a:gd name="connsiteX3" fmla="*/ 3284669 w 3284673"/>
                <a:gd name="connsiteY3" fmla="*/ 701842 h 4806110"/>
                <a:gd name="connsiteX4" fmla="*/ 3284669 w 3284673"/>
                <a:gd name="connsiteY4" fmla="*/ 701841 h 4806110"/>
                <a:gd name="connsiteX5" fmla="*/ 3195823 w 3284673"/>
                <a:gd name="connsiteY5" fmla="*/ 779666 h 4806110"/>
                <a:gd name="connsiteX6" fmla="*/ 2143690 w 3284673"/>
                <a:gd name="connsiteY6" fmla="*/ 1039044 h 4806110"/>
                <a:gd name="connsiteX7" fmla="*/ 1642337 w 3284673"/>
                <a:gd name="connsiteY7" fmla="*/ 1059655 h 4806110"/>
                <a:gd name="connsiteX8" fmla="*/ 1140983 w 3284673"/>
                <a:gd name="connsiteY8" fmla="*/ 1039044 h 4806110"/>
                <a:gd name="connsiteX9" fmla="*/ 508725 w 3284673"/>
                <a:gd name="connsiteY9" fmla="*/ 940562 h 4806110"/>
                <a:gd name="connsiteX10" fmla="*/ 395039 w 3284673"/>
                <a:gd name="connsiteY10" fmla="*/ 909279 h 4806110"/>
                <a:gd name="connsiteX11" fmla="*/ 380829 w 3284673"/>
                <a:gd name="connsiteY11" fmla="*/ 905369 h 4806110"/>
                <a:gd name="connsiteX12" fmla="*/ 88851 w 3284673"/>
                <a:gd name="connsiteY12" fmla="*/ 779666 h 4806110"/>
                <a:gd name="connsiteX13" fmla="*/ 59720 w 3284673"/>
                <a:gd name="connsiteY13" fmla="*/ 754150 h 4806110"/>
                <a:gd name="connsiteX14" fmla="*/ 4 w 3284673"/>
                <a:gd name="connsiteY14" fmla="*/ 701841 h 4806110"/>
                <a:gd name="connsiteX15" fmla="*/ 4 w 3284673"/>
                <a:gd name="connsiteY15" fmla="*/ 701842 h 4806110"/>
                <a:gd name="connsiteX16" fmla="*/ 2 w 3284673"/>
                <a:gd name="connsiteY16" fmla="*/ 701841 h 4806110"/>
                <a:gd name="connsiteX17" fmla="*/ 2 w 3284673"/>
                <a:gd name="connsiteY17" fmla="*/ 701843 h 4806110"/>
                <a:gd name="connsiteX18" fmla="*/ 0 w 3284673"/>
                <a:gd name="connsiteY18" fmla="*/ 701841 h 4806110"/>
                <a:gd name="connsiteX19" fmla="*/ 0 w 3284673"/>
                <a:gd name="connsiteY19" fmla="*/ 1053189 h 4806110"/>
                <a:gd name="connsiteX20" fmla="*/ 2 w 3284673"/>
                <a:gd name="connsiteY20" fmla="*/ 1053191 h 4806110"/>
                <a:gd name="connsiteX21" fmla="*/ 2 w 3284673"/>
                <a:gd name="connsiteY21" fmla="*/ 1918845 h 4806110"/>
                <a:gd name="connsiteX22" fmla="*/ 2 w 3284673"/>
                <a:gd name="connsiteY22" fmla="*/ 2181795 h 4806110"/>
                <a:gd name="connsiteX23" fmla="*/ 2 w 3284673"/>
                <a:gd name="connsiteY23" fmla="*/ 2551024 h 4806110"/>
                <a:gd name="connsiteX24" fmla="*/ 4 w 3284673"/>
                <a:gd name="connsiteY24" fmla="*/ 2551025 h 4806110"/>
                <a:gd name="connsiteX25" fmla="*/ 4 w 3284673"/>
                <a:gd name="connsiteY25" fmla="*/ 2920828 h 4806110"/>
                <a:gd name="connsiteX26" fmla="*/ 4 w 3284673"/>
                <a:gd name="connsiteY26" fmla="*/ 3146226 h 4806110"/>
                <a:gd name="connsiteX27" fmla="*/ 0 w 3284673"/>
                <a:gd name="connsiteY27" fmla="*/ 3146222 h 4806110"/>
                <a:gd name="connsiteX28" fmla="*/ 0 w 3284673"/>
                <a:gd name="connsiteY28" fmla="*/ 3169359 h 4806110"/>
                <a:gd name="connsiteX29" fmla="*/ 4 w 3284673"/>
                <a:gd name="connsiteY29" fmla="*/ 3169359 h 4806110"/>
                <a:gd name="connsiteX30" fmla="*/ 4 w 3284673"/>
                <a:gd name="connsiteY30" fmla="*/ 3398798 h 4806110"/>
                <a:gd name="connsiteX31" fmla="*/ 4 w 3284673"/>
                <a:gd name="connsiteY31" fmla="*/ 3719407 h 4806110"/>
                <a:gd name="connsiteX32" fmla="*/ 0 w 3284673"/>
                <a:gd name="connsiteY32" fmla="*/ 3719407 h 4806110"/>
                <a:gd name="connsiteX33" fmla="*/ 0 w 3284673"/>
                <a:gd name="connsiteY33" fmla="*/ 4400783 h 4806110"/>
                <a:gd name="connsiteX34" fmla="*/ 1642335 w 3284673"/>
                <a:gd name="connsiteY34" fmla="*/ 4806110 h 4806110"/>
                <a:gd name="connsiteX35" fmla="*/ 1642339 w 3284673"/>
                <a:gd name="connsiteY35" fmla="*/ 4806110 h 4806110"/>
                <a:gd name="connsiteX36" fmla="*/ 3284673 w 3284673"/>
                <a:gd name="connsiteY36" fmla="*/ 4400783 h 4806110"/>
                <a:gd name="connsiteX37" fmla="*/ 3284673 w 3284673"/>
                <a:gd name="connsiteY37" fmla="*/ 3719407 h 4806110"/>
                <a:gd name="connsiteX38" fmla="*/ 3284669 w 3284673"/>
                <a:gd name="connsiteY38" fmla="*/ 3719407 h 4806110"/>
                <a:gd name="connsiteX39" fmla="*/ 3284669 w 3284673"/>
                <a:gd name="connsiteY39" fmla="*/ 3398798 h 4806110"/>
                <a:gd name="connsiteX40" fmla="*/ 3284669 w 3284673"/>
                <a:gd name="connsiteY40" fmla="*/ 3169359 h 4806110"/>
                <a:gd name="connsiteX41" fmla="*/ 3284673 w 3284673"/>
                <a:gd name="connsiteY41" fmla="*/ 3169359 h 4806110"/>
                <a:gd name="connsiteX42" fmla="*/ 3284673 w 3284673"/>
                <a:gd name="connsiteY42" fmla="*/ 3146222 h 4806110"/>
                <a:gd name="connsiteX43" fmla="*/ 3284669 w 3284673"/>
                <a:gd name="connsiteY43" fmla="*/ 3146226 h 4806110"/>
                <a:gd name="connsiteX44" fmla="*/ 3284669 w 3284673"/>
                <a:gd name="connsiteY44" fmla="*/ 2920828 h 4806110"/>
                <a:gd name="connsiteX45" fmla="*/ 3284669 w 3284673"/>
                <a:gd name="connsiteY45" fmla="*/ 2551025 h 4806110"/>
                <a:gd name="connsiteX46" fmla="*/ 3284671 w 3284673"/>
                <a:gd name="connsiteY46" fmla="*/ 2551024 h 4806110"/>
                <a:gd name="connsiteX47" fmla="*/ 3284671 w 3284673"/>
                <a:gd name="connsiteY47" fmla="*/ 2181795 h 4806110"/>
                <a:gd name="connsiteX48" fmla="*/ 3284671 w 3284673"/>
                <a:gd name="connsiteY48" fmla="*/ 1918845 h 4806110"/>
                <a:gd name="connsiteX49" fmla="*/ 3284671 w 3284673"/>
                <a:gd name="connsiteY49" fmla="*/ 1053191 h 4806110"/>
                <a:gd name="connsiteX50" fmla="*/ 3284673 w 3284673"/>
                <a:gd name="connsiteY50" fmla="*/ 1053189 h 4806110"/>
                <a:gd name="connsiteX51" fmla="*/ 1642339 w 3284673"/>
                <a:gd name="connsiteY51" fmla="*/ 0 h 4806110"/>
                <a:gd name="connsiteX52" fmla="*/ 1642335 w 3284673"/>
                <a:gd name="connsiteY52" fmla="*/ 0 h 4806110"/>
                <a:gd name="connsiteX53" fmla="*/ 0 w 3284673"/>
                <a:gd name="connsiteY53" fmla="*/ 458431 h 4806110"/>
                <a:gd name="connsiteX54" fmla="*/ 1642335 w 3284673"/>
                <a:gd name="connsiteY54" fmla="*/ 916862 h 4806110"/>
                <a:gd name="connsiteX55" fmla="*/ 1642339 w 3284673"/>
                <a:gd name="connsiteY55" fmla="*/ 916862 h 4806110"/>
                <a:gd name="connsiteX56" fmla="*/ 3284673 w 3284673"/>
                <a:gd name="connsiteY56" fmla="*/ 458431 h 4806110"/>
                <a:gd name="connsiteX57" fmla="*/ 1642339 w 3284673"/>
                <a:gd name="connsiteY57" fmla="*/ 0 h 4806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3284673" h="4806110">
                  <a:moveTo>
                    <a:pt x="3284673" y="701841"/>
                  </a:moveTo>
                  <a:lnTo>
                    <a:pt x="3284671" y="701843"/>
                  </a:lnTo>
                  <a:lnTo>
                    <a:pt x="3284671" y="701841"/>
                  </a:lnTo>
                  <a:lnTo>
                    <a:pt x="3284669" y="701842"/>
                  </a:lnTo>
                  <a:lnTo>
                    <a:pt x="3284669" y="701841"/>
                  </a:lnTo>
                  <a:lnTo>
                    <a:pt x="3195823" y="779666"/>
                  </a:lnTo>
                  <a:cubicBezTo>
                    <a:pt x="3003862" y="903069"/>
                    <a:pt x="2618829" y="998859"/>
                    <a:pt x="2143690" y="1039044"/>
                  </a:cubicBezTo>
                  <a:lnTo>
                    <a:pt x="1642337" y="1059655"/>
                  </a:lnTo>
                  <a:lnTo>
                    <a:pt x="1140983" y="1039044"/>
                  </a:lnTo>
                  <a:cubicBezTo>
                    <a:pt x="903413" y="1018952"/>
                    <a:pt x="688370" y="984958"/>
                    <a:pt x="508725" y="940562"/>
                  </a:cubicBezTo>
                  <a:lnTo>
                    <a:pt x="395039" y="909279"/>
                  </a:lnTo>
                  <a:lnTo>
                    <a:pt x="380829" y="905369"/>
                  </a:lnTo>
                  <a:cubicBezTo>
                    <a:pt x="259972" y="868335"/>
                    <a:pt x="160836" y="825942"/>
                    <a:pt x="88851" y="779666"/>
                  </a:cubicBezTo>
                  <a:lnTo>
                    <a:pt x="59720" y="754150"/>
                  </a:lnTo>
                  <a:lnTo>
                    <a:pt x="4" y="701841"/>
                  </a:lnTo>
                  <a:lnTo>
                    <a:pt x="4" y="701842"/>
                  </a:lnTo>
                  <a:lnTo>
                    <a:pt x="2" y="701841"/>
                  </a:lnTo>
                  <a:lnTo>
                    <a:pt x="2" y="701843"/>
                  </a:lnTo>
                  <a:lnTo>
                    <a:pt x="0" y="701841"/>
                  </a:lnTo>
                  <a:lnTo>
                    <a:pt x="0" y="1053189"/>
                  </a:lnTo>
                  <a:lnTo>
                    <a:pt x="2" y="1053191"/>
                  </a:lnTo>
                  <a:lnTo>
                    <a:pt x="2" y="1918845"/>
                  </a:lnTo>
                  <a:lnTo>
                    <a:pt x="2" y="2181795"/>
                  </a:lnTo>
                  <a:lnTo>
                    <a:pt x="2" y="2551024"/>
                  </a:lnTo>
                  <a:lnTo>
                    <a:pt x="4" y="2551025"/>
                  </a:lnTo>
                  <a:lnTo>
                    <a:pt x="4" y="2920828"/>
                  </a:lnTo>
                  <a:lnTo>
                    <a:pt x="4" y="3146226"/>
                  </a:lnTo>
                  <a:lnTo>
                    <a:pt x="0" y="3146222"/>
                  </a:lnTo>
                  <a:lnTo>
                    <a:pt x="0" y="3169359"/>
                  </a:lnTo>
                  <a:lnTo>
                    <a:pt x="4" y="3169359"/>
                  </a:lnTo>
                  <a:lnTo>
                    <a:pt x="4" y="3398798"/>
                  </a:lnTo>
                  <a:lnTo>
                    <a:pt x="4" y="3719407"/>
                  </a:lnTo>
                  <a:lnTo>
                    <a:pt x="0" y="3719407"/>
                  </a:lnTo>
                  <a:lnTo>
                    <a:pt x="0" y="4400783"/>
                  </a:lnTo>
                  <a:cubicBezTo>
                    <a:pt x="0" y="4624721"/>
                    <a:pt x="735436" y="4806110"/>
                    <a:pt x="1642335" y="4806110"/>
                  </a:cubicBezTo>
                  <a:lnTo>
                    <a:pt x="1642339" y="4806110"/>
                  </a:lnTo>
                  <a:cubicBezTo>
                    <a:pt x="2549237" y="4806110"/>
                    <a:pt x="3284673" y="4624721"/>
                    <a:pt x="3284673" y="4400783"/>
                  </a:cubicBezTo>
                  <a:lnTo>
                    <a:pt x="3284673" y="3719407"/>
                  </a:lnTo>
                  <a:lnTo>
                    <a:pt x="3284669" y="3719407"/>
                  </a:lnTo>
                  <a:lnTo>
                    <a:pt x="3284669" y="3398798"/>
                  </a:lnTo>
                  <a:lnTo>
                    <a:pt x="3284669" y="3169359"/>
                  </a:lnTo>
                  <a:lnTo>
                    <a:pt x="3284673" y="3169359"/>
                  </a:lnTo>
                  <a:lnTo>
                    <a:pt x="3284673" y="3146222"/>
                  </a:lnTo>
                  <a:lnTo>
                    <a:pt x="3284669" y="3146226"/>
                  </a:lnTo>
                  <a:lnTo>
                    <a:pt x="3284669" y="2920828"/>
                  </a:lnTo>
                  <a:lnTo>
                    <a:pt x="3284669" y="2551025"/>
                  </a:lnTo>
                  <a:lnTo>
                    <a:pt x="3284671" y="2551024"/>
                  </a:lnTo>
                  <a:lnTo>
                    <a:pt x="3284671" y="2181795"/>
                  </a:lnTo>
                  <a:lnTo>
                    <a:pt x="3284671" y="1918845"/>
                  </a:lnTo>
                  <a:lnTo>
                    <a:pt x="3284671" y="1053191"/>
                  </a:lnTo>
                  <a:lnTo>
                    <a:pt x="3284673" y="1053189"/>
                  </a:lnTo>
                  <a:close/>
                  <a:moveTo>
                    <a:pt x="1642339" y="0"/>
                  </a:moveTo>
                  <a:lnTo>
                    <a:pt x="1642335" y="0"/>
                  </a:lnTo>
                  <a:cubicBezTo>
                    <a:pt x="735297" y="0"/>
                    <a:pt x="0" y="205248"/>
                    <a:pt x="0" y="458431"/>
                  </a:cubicBezTo>
                  <a:cubicBezTo>
                    <a:pt x="0" y="711614"/>
                    <a:pt x="735297" y="916862"/>
                    <a:pt x="1642335" y="916862"/>
                  </a:cubicBezTo>
                  <a:lnTo>
                    <a:pt x="1642339" y="916862"/>
                  </a:lnTo>
                  <a:cubicBezTo>
                    <a:pt x="2549376" y="916862"/>
                    <a:pt x="3284673" y="711614"/>
                    <a:pt x="3284673" y="458431"/>
                  </a:cubicBezTo>
                  <a:cubicBezTo>
                    <a:pt x="3284673" y="205248"/>
                    <a:pt x="2549376" y="0"/>
                    <a:pt x="1642339"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367"/>
              <a:endParaRPr lang="en-US" sz="1765">
                <a:solidFill>
                  <a:srgbClr val="FFFFFF"/>
                </a:solidFill>
              </a:endParaRPr>
            </a:p>
          </p:txBody>
        </p:sp>
        <p:sp>
          <p:nvSpPr>
            <p:cNvPr id="34" name="Freeform 33"/>
            <p:cNvSpPr/>
            <p:nvPr/>
          </p:nvSpPr>
          <p:spPr>
            <a:xfrm flipH="1">
              <a:off x="7005358" y="3555225"/>
              <a:ext cx="633107" cy="926358"/>
            </a:xfrm>
            <a:custGeom>
              <a:avLst/>
              <a:gdLst>
                <a:gd name="connsiteX0" fmla="*/ 3284673 w 3284673"/>
                <a:gd name="connsiteY0" fmla="*/ 701841 h 4806110"/>
                <a:gd name="connsiteX1" fmla="*/ 3284671 w 3284673"/>
                <a:gd name="connsiteY1" fmla="*/ 701843 h 4806110"/>
                <a:gd name="connsiteX2" fmla="*/ 3284671 w 3284673"/>
                <a:gd name="connsiteY2" fmla="*/ 701841 h 4806110"/>
                <a:gd name="connsiteX3" fmla="*/ 3284669 w 3284673"/>
                <a:gd name="connsiteY3" fmla="*/ 701842 h 4806110"/>
                <a:gd name="connsiteX4" fmla="*/ 3284669 w 3284673"/>
                <a:gd name="connsiteY4" fmla="*/ 701841 h 4806110"/>
                <a:gd name="connsiteX5" fmla="*/ 3195823 w 3284673"/>
                <a:gd name="connsiteY5" fmla="*/ 779666 h 4806110"/>
                <a:gd name="connsiteX6" fmla="*/ 2143690 w 3284673"/>
                <a:gd name="connsiteY6" fmla="*/ 1039044 h 4806110"/>
                <a:gd name="connsiteX7" fmla="*/ 1642337 w 3284673"/>
                <a:gd name="connsiteY7" fmla="*/ 1059655 h 4806110"/>
                <a:gd name="connsiteX8" fmla="*/ 1140983 w 3284673"/>
                <a:gd name="connsiteY8" fmla="*/ 1039044 h 4806110"/>
                <a:gd name="connsiteX9" fmla="*/ 508725 w 3284673"/>
                <a:gd name="connsiteY9" fmla="*/ 940562 h 4806110"/>
                <a:gd name="connsiteX10" fmla="*/ 395039 w 3284673"/>
                <a:gd name="connsiteY10" fmla="*/ 909279 h 4806110"/>
                <a:gd name="connsiteX11" fmla="*/ 380829 w 3284673"/>
                <a:gd name="connsiteY11" fmla="*/ 905369 h 4806110"/>
                <a:gd name="connsiteX12" fmla="*/ 88851 w 3284673"/>
                <a:gd name="connsiteY12" fmla="*/ 779666 h 4806110"/>
                <a:gd name="connsiteX13" fmla="*/ 59720 w 3284673"/>
                <a:gd name="connsiteY13" fmla="*/ 754150 h 4806110"/>
                <a:gd name="connsiteX14" fmla="*/ 4 w 3284673"/>
                <a:gd name="connsiteY14" fmla="*/ 701841 h 4806110"/>
                <a:gd name="connsiteX15" fmla="*/ 4 w 3284673"/>
                <a:gd name="connsiteY15" fmla="*/ 701842 h 4806110"/>
                <a:gd name="connsiteX16" fmla="*/ 2 w 3284673"/>
                <a:gd name="connsiteY16" fmla="*/ 701841 h 4806110"/>
                <a:gd name="connsiteX17" fmla="*/ 2 w 3284673"/>
                <a:gd name="connsiteY17" fmla="*/ 701843 h 4806110"/>
                <a:gd name="connsiteX18" fmla="*/ 0 w 3284673"/>
                <a:gd name="connsiteY18" fmla="*/ 701841 h 4806110"/>
                <a:gd name="connsiteX19" fmla="*/ 0 w 3284673"/>
                <a:gd name="connsiteY19" fmla="*/ 1053189 h 4806110"/>
                <a:gd name="connsiteX20" fmla="*/ 2 w 3284673"/>
                <a:gd name="connsiteY20" fmla="*/ 1053191 h 4806110"/>
                <a:gd name="connsiteX21" fmla="*/ 2 w 3284673"/>
                <a:gd name="connsiteY21" fmla="*/ 1918845 h 4806110"/>
                <a:gd name="connsiteX22" fmla="*/ 2 w 3284673"/>
                <a:gd name="connsiteY22" fmla="*/ 2181795 h 4806110"/>
                <a:gd name="connsiteX23" fmla="*/ 2 w 3284673"/>
                <a:gd name="connsiteY23" fmla="*/ 2551024 h 4806110"/>
                <a:gd name="connsiteX24" fmla="*/ 4 w 3284673"/>
                <a:gd name="connsiteY24" fmla="*/ 2551025 h 4806110"/>
                <a:gd name="connsiteX25" fmla="*/ 4 w 3284673"/>
                <a:gd name="connsiteY25" fmla="*/ 2920828 h 4806110"/>
                <a:gd name="connsiteX26" fmla="*/ 4 w 3284673"/>
                <a:gd name="connsiteY26" fmla="*/ 3146226 h 4806110"/>
                <a:gd name="connsiteX27" fmla="*/ 0 w 3284673"/>
                <a:gd name="connsiteY27" fmla="*/ 3146222 h 4806110"/>
                <a:gd name="connsiteX28" fmla="*/ 0 w 3284673"/>
                <a:gd name="connsiteY28" fmla="*/ 3169359 h 4806110"/>
                <a:gd name="connsiteX29" fmla="*/ 4 w 3284673"/>
                <a:gd name="connsiteY29" fmla="*/ 3169359 h 4806110"/>
                <a:gd name="connsiteX30" fmla="*/ 4 w 3284673"/>
                <a:gd name="connsiteY30" fmla="*/ 3398798 h 4806110"/>
                <a:gd name="connsiteX31" fmla="*/ 4 w 3284673"/>
                <a:gd name="connsiteY31" fmla="*/ 3719407 h 4806110"/>
                <a:gd name="connsiteX32" fmla="*/ 0 w 3284673"/>
                <a:gd name="connsiteY32" fmla="*/ 3719407 h 4806110"/>
                <a:gd name="connsiteX33" fmla="*/ 0 w 3284673"/>
                <a:gd name="connsiteY33" fmla="*/ 4400783 h 4806110"/>
                <a:gd name="connsiteX34" fmla="*/ 1642335 w 3284673"/>
                <a:gd name="connsiteY34" fmla="*/ 4806110 h 4806110"/>
                <a:gd name="connsiteX35" fmla="*/ 1642339 w 3284673"/>
                <a:gd name="connsiteY35" fmla="*/ 4806110 h 4806110"/>
                <a:gd name="connsiteX36" fmla="*/ 3284673 w 3284673"/>
                <a:gd name="connsiteY36" fmla="*/ 4400783 h 4806110"/>
                <a:gd name="connsiteX37" fmla="*/ 3284673 w 3284673"/>
                <a:gd name="connsiteY37" fmla="*/ 3719407 h 4806110"/>
                <a:gd name="connsiteX38" fmla="*/ 3284669 w 3284673"/>
                <a:gd name="connsiteY38" fmla="*/ 3719407 h 4806110"/>
                <a:gd name="connsiteX39" fmla="*/ 3284669 w 3284673"/>
                <a:gd name="connsiteY39" fmla="*/ 3398798 h 4806110"/>
                <a:gd name="connsiteX40" fmla="*/ 3284669 w 3284673"/>
                <a:gd name="connsiteY40" fmla="*/ 3169359 h 4806110"/>
                <a:gd name="connsiteX41" fmla="*/ 3284673 w 3284673"/>
                <a:gd name="connsiteY41" fmla="*/ 3169359 h 4806110"/>
                <a:gd name="connsiteX42" fmla="*/ 3284673 w 3284673"/>
                <a:gd name="connsiteY42" fmla="*/ 3146222 h 4806110"/>
                <a:gd name="connsiteX43" fmla="*/ 3284669 w 3284673"/>
                <a:gd name="connsiteY43" fmla="*/ 3146226 h 4806110"/>
                <a:gd name="connsiteX44" fmla="*/ 3284669 w 3284673"/>
                <a:gd name="connsiteY44" fmla="*/ 2920828 h 4806110"/>
                <a:gd name="connsiteX45" fmla="*/ 3284669 w 3284673"/>
                <a:gd name="connsiteY45" fmla="*/ 2551025 h 4806110"/>
                <a:gd name="connsiteX46" fmla="*/ 3284671 w 3284673"/>
                <a:gd name="connsiteY46" fmla="*/ 2551024 h 4806110"/>
                <a:gd name="connsiteX47" fmla="*/ 3284671 w 3284673"/>
                <a:gd name="connsiteY47" fmla="*/ 2181795 h 4806110"/>
                <a:gd name="connsiteX48" fmla="*/ 3284671 w 3284673"/>
                <a:gd name="connsiteY48" fmla="*/ 1918845 h 4806110"/>
                <a:gd name="connsiteX49" fmla="*/ 3284671 w 3284673"/>
                <a:gd name="connsiteY49" fmla="*/ 1053191 h 4806110"/>
                <a:gd name="connsiteX50" fmla="*/ 3284673 w 3284673"/>
                <a:gd name="connsiteY50" fmla="*/ 1053189 h 4806110"/>
                <a:gd name="connsiteX51" fmla="*/ 1642339 w 3284673"/>
                <a:gd name="connsiteY51" fmla="*/ 0 h 4806110"/>
                <a:gd name="connsiteX52" fmla="*/ 1642335 w 3284673"/>
                <a:gd name="connsiteY52" fmla="*/ 0 h 4806110"/>
                <a:gd name="connsiteX53" fmla="*/ 0 w 3284673"/>
                <a:gd name="connsiteY53" fmla="*/ 458431 h 4806110"/>
                <a:gd name="connsiteX54" fmla="*/ 1642335 w 3284673"/>
                <a:gd name="connsiteY54" fmla="*/ 916862 h 4806110"/>
                <a:gd name="connsiteX55" fmla="*/ 1642339 w 3284673"/>
                <a:gd name="connsiteY55" fmla="*/ 916862 h 4806110"/>
                <a:gd name="connsiteX56" fmla="*/ 3284673 w 3284673"/>
                <a:gd name="connsiteY56" fmla="*/ 458431 h 4806110"/>
                <a:gd name="connsiteX57" fmla="*/ 1642339 w 3284673"/>
                <a:gd name="connsiteY57" fmla="*/ 0 h 4806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3284673" h="4806110">
                  <a:moveTo>
                    <a:pt x="3284673" y="701841"/>
                  </a:moveTo>
                  <a:lnTo>
                    <a:pt x="3284671" y="701843"/>
                  </a:lnTo>
                  <a:lnTo>
                    <a:pt x="3284671" y="701841"/>
                  </a:lnTo>
                  <a:lnTo>
                    <a:pt x="3284669" y="701842"/>
                  </a:lnTo>
                  <a:lnTo>
                    <a:pt x="3284669" y="701841"/>
                  </a:lnTo>
                  <a:lnTo>
                    <a:pt x="3195823" y="779666"/>
                  </a:lnTo>
                  <a:cubicBezTo>
                    <a:pt x="3003862" y="903069"/>
                    <a:pt x="2618829" y="998859"/>
                    <a:pt x="2143690" y="1039044"/>
                  </a:cubicBezTo>
                  <a:lnTo>
                    <a:pt x="1642337" y="1059655"/>
                  </a:lnTo>
                  <a:lnTo>
                    <a:pt x="1140983" y="1039044"/>
                  </a:lnTo>
                  <a:cubicBezTo>
                    <a:pt x="903413" y="1018952"/>
                    <a:pt x="688370" y="984958"/>
                    <a:pt x="508725" y="940562"/>
                  </a:cubicBezTo>
                  <a:lnTo>
                    <a:pt x="395039" y="909279"/>
                  </a:lnTo>
                  <a:lnTo>
                    <a:pt x="380829" y="905369"/>
                  </a:lnTo>
                  <a:cubicBezTo>
                    <a:pt x="259972" y="868335"/>
                    <a:pt x="160836" y="825942"/>
                    <a:pt x="88851" y="779666"/>
                  </a:cubicBezTo>
                  <a:lnTo>
                    <a:pt x="59720" y="754150"/>
                  </a:lnTo>
                  <a:lnTo>
                    <a:pt x="4" y="701841"/>
                  </a:lnTo>
                  <a:lnTo>
                    <a:pt x="4" y="701842"/>
                  </a:lnTo>
                  <a:lnTo>
                    <a:pt x="2" y="701841"/>
                  </a:lnTo>
                  <a:lnTo>
                    <a:pt x="2" y="701843"/>
                  </a:lnTo>
                  <a:lnTo>
                    <a:pt x="0" y="701841"/>
                  </a:lnTo>
                  <a:lnTo>
                    <a:pt x="0" y="1053189"/>
                  </a:lnTo>
                  <a:lnTo>
                    <a:pt x="2" y="1053191"/>
                  </a:lnTo>
                  <a:lnTo>
                    <a:pt x="2" y="1918845"/>
                  </a:lnTo>
                  <a:lnTo>
                    <a:pt x="2" y="2181795"/>
                  </a:lnTo>
                  <a:lnTo>
                    <a:pt x="2" y="2551024"/>
                  </a:lnTo>
                  <a:lnTo>
                    <a:pt x="4" y="2551025"/>
                  </a:lnTo>
                  <a:lnTo>
                    <a:pt x="4" y="2920828"/>
                  </a:lnTo>
                  <a:lnTo>
                    <a:pt x="4" y="3146226"/>
                  </a:lnTo>
                  <a:lnTo>
                    <a:pt x="0" y="3146222"/>
                  </a:lnTo>
                  <a:lnTo>
                    <a:pt x="0" y="3169359"/>
                  </a:lnTo>
                  <a:lnTo>
                    <a:pt x="4" y="3169359"/>
                  </a:lnTo>
                  <a:lnTo>
                    <a:pt x="4" y="3398798"/>
                  </a:lnTo>
                  <a:lnTo>
                    <a:pt x="4" y="3719407"/>
                  </a:lnTo>
                  <a:lnTo>
                    <a:pt x="0" y="3719407"/>
                  </a:lnTo>
                  <a:lnTo>
                    <a:pt x="0" y="4400783"/>
                  </a:lnTo>
                  <a:cubicBezTo>
                    <a:pt x="0" y="4624721"/>
                    <a:pt x="735436" y="4806110"/>
                    <a:pt x="1642335" y="4806110"/>
                  </a:cubicBezTo>
                  <a:lnTo>
                    <a:pt x="1642339" y="4806110"/>
                  </a:lnTo>
                  <a:cubicBezTo>
                    <a:pt x="2549237" y="4806110"/>
                    <a:pt x="3284673" y="4624721"/>
                    <a:pt x="3284673" y="4400783"/>
                  </a:cubicBezTo>
                  <a:lnTo>
                    <a:pt x="3284673" y="3719407"/>
                  </a:lnTo>
                  <a:lnTo>
                    <a:pt x="3284669" y="3719407"/>
                  </a:lnTo>
                  <a:lnTo>
                    <a:pt x="3284669" y="3398798"/>
                  </a:lnTo>
                  <a:lnTo>
                    <a:pt x="3284669" y="3169359"/>
                  </a:lnTo>
                  <a:lnTo>
                    <a:pt x="3284673" y="3169359"/>
                  </a:lnTo>
                  <a:lnTo>
                    <a:pt x="3284673" y="3146222"/>
                  </a:lnTo>
                  <a:lnTo>
                    <a:pt x="3284669" y="3146226"/>
                  </a:lnTo>
                  <a:lnTo>
                    <a:pt x="3284669" y="2920828"/>
                  </a:lnTo>
                  <a:lnTo>
                    <a:pt x="3284669" y="2551025"/>
                  </a:lnTo>
                  <a:lnTo>
                    <a:pt x="3284671" y="2551024"/>
                  </a:lnTo>
                  <a:lnTo>
                    <a:pt x="3284671" y="2181795"/>
                  </a:lnTo>
                  <a:lnTo>
                    <a:pt x="3284671" y="1918845"/>
                  </a:lnTo>
                  <a:lnTo>
                    <a:pt x="3284671" y="1053191"/>
                  </a:lnTo>
                  <a:lnTo>
                    <a:pt x="3284673" y="1053189"/>
                  </a:lnTo>
                  <a:close/>
                  <a:moveTo>
                    <a:pt x="1642339" y="0"/>
                  </a:moveTo>
                  <a:lnTo>
                    <a:pt x="1642335" y="0"/>
                  </a:lnTo>
                  <a:cubicBezTo>
                    <a:pt x="735297" y="0"/>
                    <a:pt x="0" y="205248"/>
                    <a:pt x="0" y="458431"/>
                  </a:cubicBezTo>
                  <a:cubicBezTo>
                    <a:pt x="0" y="711614"/>
                    <a:pt x="735297" y="916862"/>
                    <a:pt x="1642335" y="916862"/>
                  </a:cubicBezTo>
                  <a:lnTo>
                    <a:pt x="1642339" y="916862"/>
                  </a:lnTo>
                  <a:cubicBezTo>
                    <a:pt x="2549376" y="916862"/>
                    <a:pt x="3284673" y="711614"/>
                    <a:pt x="3284673" y="458431"/>
                  </a:cubicBezTo>
                  <a:cubicBezTo>
                    <a:pt x="3284673" y="205248"/>
                    <a:pt x="2549376" y="0"/>
                    <a:pt x="1642339"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367"/>
              <a:endParaRPr lang="en-US" sz="1765">
                <a:solidFill>
                  <a:srgbClr val="FFFFFF"/>
                </a:solidFill>
              </a:endParaRPr>
            </a:p>
          </p:txBody>
        </p:sp>
        <p:sp>
          <p:nvSpPr>
            <p:cNvPr id="35" name="Freeform 34"/>
            <p:cNvSpPr/>
            <p:nvPr/>
          </p:nvSpPr>
          <p:spPr>
            <a:xfrm flipH="1">
              <a:off x="7769399" y="5353104"/>
              <a:ext cx="421451" cy="616665"/>
            </a:xfrm>
            <a:custGeom>
              <a:avLst/>
              <a:gdLst>
                <a:gd name="connsiteX0" fmla="*/ 3284673 w 3284673"/>
                <a:gd name="connsiteY0" fmla="*/ 701841 h 4806110"/>
                <a:gd name="connsiteX1" fmla="*/ 3284671 w 3284673"/>
                <a:gd name="connsiteY1" fmla="*/ 701843 h 4806110"/>
                <a:gd name="connsiteX2" fmla="*/ 3284671 w 3284673"/>
                <a:gd name="connsiteY2" fmla="*/ 701841 h 4806110"/>
                <a:gd name="connsiteX3" fmla="*/ 3284669 w 3284673"/>
                <a:gd name="connsiteY3" fmla="*/ 701842 h 4806110"/>
                <a:gd name="connsiteX4" fmla="*/ 3284669 w 3284673"/>
                <a:gd name="connsiteY4" fmla="*/ 701841 h 4806110"/>
                <a:gd name="connsiteX5" fmla="*/ 3195823 w 3284673"/>
                <a:gd name="connsiteY5" fmla="*/ 779666 h 4806110"/>
                <a:gd name="connsiteX6" fmla="*/ 2143690 w 3284673"/>
                <a:gd name="connsiteY6" fmla="*/ 1039044 h 4806110"/>
                <a:gd name="connsiteX7" fmla="*/ 1642337 w 3284673"/>
                <a:gd name="connsiteY7" fmla="*/ 1059655 h 4806110"/>
                <a:gd name="connsiteX8" fmla="*/ 1140983 w 3284673"/>
                <a:gd name="connsiteY8" fmla="*/ 1039044 h 4806110"/>
                <a:gd name="connsiteX9" fmla="*/ 508725 w 3284673"/>
                <a:gd name="connsiteY9" fmla="*/ 940562 h 4806110"/>
                <a:gd name="connsiteX10" fmla="*/ 395039 w 3284673"/>
                <a:gd name="connsiteY10" fmla="*/ 909279 h 4806110"/>
                <a:gd name="connsiteX11" fmla="*/ 380829 w 3284673"/>
                <a:gd name="connsiteY11" fmla="*/ 905369 h 4806110"/>
                <a:gd name="connsiteX12" fmla="*/ 88851 w 3284673"/>
                <a:gd name="connsiteY12" fmla="*/ 779666 h 4806110"/>
                <a:gd name="connsiteX13" fmla="*/ 59720 w 3284673"/>
                <a:gd name="connsiteY13" fmla="*/ 754150 h 4806110"/>
                <a:gd name="connsiteX14" fmla="*/ 4 w 3284673"/>
                <a:gd name="connsiteY14" fmla="*/ 701841 h 4806110"/>
                <a:gd name="connsiteX15" fmla="*/ 4 w 3284673"/>
                <a:gd name="connsiteY15" fmla="*/ 701842 h 4806110"/>
                <a:gd name="connsiteX16" fmla="*/ 2 w 3284673"/>
                <a:gd name="connsiteY16" fmla="*/ 701841 h 4806110"/>
                <a:gd name="connsiteX17" fmla="*/ 2 w 3284673"/>
                <a:gd name="connsiteY17" fmla="*/ 701843 h 4806110"/>
                <a:gd name="connsiteX18" fmla="*/ 0 w 3284673"/>
                <a:gd name="connsiteY18" fmla="*/ 701841 h 4806110"/>
                <a:gd name="connsiteX19" fmla="*/ 0 w 3284673"/>
                <a:gd name="connsiteY19" fmla="*/ 1053189 h 4806110"/>
                <a:gd name="connsiteX20" fmla="*/ 2 w 3284673"/>
                <a:gd name="connsiteY20" fmla="*/ 1053191 h 4806110"/>
                <a:gd name="connsiteX21" fmla="*/ 2 w 3284673"/>
                <a:gd name="connsiteY21" fmla="*/ 1918845 h 4806110"/>
                <a:gd name="connsiteX22" fmla="*/ 2 w 3284673"/>
                <a:gd name="connsiteY22" fmla="*/ 2181795 h 4806110"/>
                <a:gd name="connsiteX23" fmla="*/ 2 w 3284673"/>
                <a:gd name="connsiteY23" fmla="*/ 2551024 h 4806110"/>
                <a:gd name="connsiteX24" fmla="*/ 4 w 3284673"/>
                <a:gd name="connsiteY24" fmla="*/ 2551025 h 4806110"/>
                <a:gd name="connsiteX25" fmla="*/ 4 w 3284673"/>
                <a:gd name="connsiteY25" fmla="*/ 2920828 h 4806110"/>
                <a:gd name="connsiteX26" fmla="*/ 4 w 3284673"/>
                <a:gd name="connsiteY26" fmla="*/ 3146226 h 4806110"/>
                <a:gd name="connsiteX27" fmla="*/ 0 w 3284673"/>
                <a:gd name="connsiteY27" fmla="*/ 3146222 h 4806110"/>
                <a:gd name="connsiteX28" fmla="*/ 0 w 3284673"/>
                <a:gd name="connsiteY28" fmla="*/ 3169359 h 4806110"/>
                <a:gd name="connsiteX29" fmla="*/ 4 w 3284673"/>
                <a:gd name="connsiteY29" fmla="*/ 3169359 h 4806110"/>
                <a:gd name="connsiteX30" fmla="*/ 4 w 3284673"/>
                <a:gd name="connsiteY30" fmla="*/ 3398798 h 4806110"/>
                <a:gd name="connsiteX31" fmla="*/ 4 w 3284673"/>
                <a:gd name="connsiteY31" fmla="*/ 3719407 h 4806110"/>
                <a:gd name="connsiteX32" fmla="*/ 0 w 3284673"/>
                <a:gd name="connsiteY32" fmla="*/ 3719407 h 4806110"/>
                <a:gd name="connsiteX33" fmla="*/ 0 w 3284673"/>
                <a:gd name="connsiteY33" fmla="*/ 4400783 h 4806110"/>
                <a:gd name="connsiteX34" fmla="*/ 1642335 w 3284673"/>
                <a:gd name="connsiteY34" fmla="*/ 4806110 h 4806110"/>
                <a:gd name="connsiteX35" fmla="*/ 1642339 w 3284673"/>
                <a:gd name="connsiteY35" fmla="*/ 4806110 h 4806110"/>
                <a:gd name="connsiteX36" fmla="*/ 3284673 w 3284673"/>
                <a:gd name="connsiteY36" fmla="*/ 4400783 h 4806110"/>
                <a:gd name="connsiteX37" fmla="*/ 3284673 w 3284673"/>
                <a:gd name="connsiteY37" fmla="*/ 3719407 h 4806110"/>
                <a:gd name="connsiteX38" fmla="*/ 3284669 w 3284673"/>
                <a:gd name="connsiteY38" fmla="*/ 3719407 h 4806110"/>
                <a:gd name="connsiteX39" fmla="*/ 3284669 w 3284673"/>
                <a:gd name="connsiteY39" fmla="*/ 3398798 h 4806110"/>
                <a:gd name="connsiteX40" fmla="*/ 3284669 w 3284673"/>
                <a:gd name="connsiteY40" fmla="*/ 3169359 h 4806110"/>
                <a:gd name="connsiteX41" fmla="*/ 3284673 w 3284673"/>
                <a:gd name="connsiteY41" fmla="*/ 3169359 h 4806110"/>
                <a:gd name="connsiteX42" fmla="*/ 3284673 w 3284673"/>
                <a:gd name="connsiteY42" fmla="*/ 3146222 h 4806110"/>
                <a:gd name="connsiteX43" fmla="*/ 3284669 w 3284673"/>
                <a:gd name="connsiteY43" fmla="*/ 3146226 h 4806110"/>
                <a:gd name="connsiteX44" fmla="*/ 3284669 w 3284673"/>
                <a:gd name="connsiteY44" fmla="*/ 2920828 h 4806110"/>
                <a:gd name="connsiteX45" fmla="*/ 3284669 w 3284673"/>
                <a:gd name="connsiteY45" fmla="*/ 2551025 h 4806110"/>
                <a:gd name="connsiteX46" fmla="*/ 3284671 w 3284673"/>
                <a:gd name="connsiteY46" fmla="*/ 2551024 h 4806110"/>
                <a:gd name="connsiteX47" fmla="*/ 3284671 w 3284673"/>
                <a:gd name="connsiteY47" fmla="*/ 2181795 h 4806110"/>
                <a:gd name="connsiteX48" fmla="*/ 3284671 w 3284673"/>
                <a:gd name="connsiteY48" fmla="*/ 1918845 h 4806110"/>
                <a:gd name="connsiteX49" fmla="*/ 3284671 w 3284673"/>
                <a:gd name="connsiteY49" fmla="*/ 1053191 h 4806110"/>
                <a:gd name="connsiteX50" fmla="*/ 3284673 w 3284673"/>
                <a:gd name="connsiteY50" fmla="*/ 1053189 h 4806110"/>
                <a:gd name="connsiteX51" fmla="*/ 1642339 w 3284673"/>
                <a:gd name="connsiteY51" fmla="*/ 0 h 4806110"/>
                <a:gd name="connsiteX52" fmla="*/ 1642335 w 3284673"/>
                <a:gd name="connsiteY52" fmla="*/ 0 h 4806110"/>
                <a:gd name="connsiteX53" fmla="*/ 0 w 3284673"/>
                <a:gd name="connsiteY53" fmla="*/ 458431 h 4806110"/>
                <a:gd name="connsiteX54" fmla="*/ 1642335 w 3284673"/>
                <a:gd name="connsiteY54" fmla="*/ 916862 h 4806110"/>
                <a:gd name="connsiteX55" fmla="*/ 1642339 w 3284673"/>
                <a:gd name="connsiteY55" fmla="*/ 916862 h 4806110"/>
                <a:gd name="connsiteX56" fmla="*/ 3284673 w 3284673"/>
                <a:gd name="connsiteY56" fmla="*/ 458431 h 4806110"/>
                <a:gd name="connsiteX57" fmla="*/ 1642339 w 3284673"/>
                <a:gd name="connsiteY57" fmla="*/ 0 h 4806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3284673" h="4806110">
                  <a:moveTo>
                    <a:pt x="3284673" y="701841"/>
                  </a:moveTo>
                  <a:lnTo>
                    <a:pt x="3284671" y="701843"/>
                  </a:lnTo>
                  <a:lnTo>
                    <a:pt x="3284671" y="701841"/>
                  </a:lnTo>
                  <a:lnTo>
                    <a:pt x="3284669" y="701842"/>
                  </a:lnTo>
                  <a:lnTo>
                    <a:pt x="3284669" y="701841"/>
                  </a:lnTo>
                  <a:lnTo>
                    <a:pt x="3195823" y="779666"/>
                  </a:lnTo>
                  <a:cubicBezTo>
                    <a:pt x="3003862" y="903069"/>
                    <a:pt x="2618829" y="998859"/>
                    <a:pt x="2143690" y="1039044"/>
                  </a:cubicBezTo>
                  <a:lnTo>
                    <a:pt x="1642337" y="1059655"/>
                  </a:lnTo>
                  <a:lnTo>
                    <a:pt x="1140983" y="1039044"/>
                  </a:lnTo>
                  <a:cubicBezTo>
                    <a:pt x="903413" y="1018952"/>
                    <a:pt x="688370" y="984958"/>
                    <a:pt x="508725" y="940562"/>
                  </a:cubicBezTo>
                  <a:lnTo>
                    <a:pt x="395039" y="909279"/>
                  </a:lnTo>
                  <a:lnTo>
                    <a:pt x="380829" y="905369"/>
                  </a:lnTo>
                  <a:cubicBezTo>
                    <a:pt x="259972" y="868335"/>
                    <a:pt x="160836" y="825942"/>
                    <a:pt x="88851" y="779666"/>
                  </a:cubicBezTo>
                  <a:lnTo>
                    <a:pt x="59720" y="754150"/>
                  </a:lnTo>
                  <a:lnTo>
                    <a:pt x="4" y="701841"/>
                  </a:lnTo>
                  <a:lnTo>
                    <a:pt x="4" y="701842"/>
                  </a:lnTo>
                  <a:lnTo>
                    <a:pt x="2" y="701841"/>
                  </a:lnTo>
                  <a:lnTo>
                    <a:pt x="2" y="701843"/>
                  </a:lnTo>
                  <a:lnTo>
                    <a:pt x="0" y="701841"/>
                  </a:lnTo>
                  <a:lnTo>
                    <a:pt x="0" y="1053189"/>
                  </a:lnTo>
                  <a:lnTo>
                    <a:pt x="2" y="1053191"/>
                  </a:lnTo>
                  <a:lnTo>
                    <a:pt x="2" y="1918845"/>
                  </a:lnTo>
                  <a:lnTo>
                    <a:pt x="2" y="2181795"/>
                  </a:lnTo>
                  <a:lnTo>
                    <a:pt x="2" y="2551024"/>
                  </a:lnTo>
                  <a:lnTo>
                    <a:pt x="4" y="2551025"/>
                  </a:lnTo>
                  <a:lnTo>
                    <a:pt x="4" y="2920828"/>
                  </a:lnTo>
                  <a:lnTo>
                    <a:pt x="4" y="3146226"/>
                  </a:lnTo>
                  <a:lnTo>
                    <a:pt x="0" y="3146222"/>
                  </a:lnTo>
                  <a:lnTo>
                    <a:pt x="0" y="3169359"/>
                  </a:lnTo>
                  <a:lnTo>
                    <a:pt x="4" y="3169359"/>
                  </a:lnTo>
                  <a:lnTo>
                    <a:pt x="4" y="3398798"/>
                  </a:lnTo>
                  <a:lnTo>
                    <a:pt x="4" y="3719407"/>
                  </a:lnTo>
                  <a:lnTo>
                    <a:pt x="0" y="3719407"/>
                  </a:lnTo>
                  <a:lnTo>
                    <a:pt x="0" y="4400783"/>
                  </a:lnTo>
                  <a:cubicBezTo>
                    <a:pt x="0" y="4624721"/>
                    <a:pt x="735436" y="4806110"/>
                    <a:pt x="1642335" y="4806110"/>
                  </a:cubicBezTo>
                  <a:lnTo>
                    <a:pt x="1642339" y="4806110"/>
                  </a:lnTo>
                  <a:cubicBezTo>
                    <a:pt x="2549237" y="4806110"/>
                    <a:pt x="3284673" y="4624721"/>
                    <a:pt x="3284673" y="4400783"/>
                  </a:cubicBezTo>
                  <a:lnTo>
                    <a:pt x="3284673" y="3719407"/>
                  </a:lnTo>
                  <a:lnTo>
                    <a:pt x="3284669" y="3719407"/>
                  </a:lnTo>
                  <a:lnTo>
                    <a:pt x="3284669" y="3398798"/>
                  </a:lnTo>
                  <a:lnTo>
                    <a:pt x="3284669" y="3169359"/>
                  </a:lnTo>
                  <a:lnTo>
                    <a:pt x="3284673" y="3169359"/>
                  </a:lnTo>
                  <a:lnTo>
                    <a:pt x="3284673" y="3146222"/>
                  </a:lnTo>
                  <a:lnTo>
                    <a:pt x="3284669" y="3146226"/>
                  </a:lnTo>
                  <a:lnTo>
                    <a:pt x="3284669" y="2920828"/>
                  </a:lnTo>
                  <a:lnTo>
                    <a:pt x="3284669" y="2551025"/>
                  </a:lnTo>
                  <a:lnTo>
                    <a:pt x="3284671" y="2551024"/>
                  </a:lnTo>
                  <a:lnTo>
                    <a:pt x="3284671" y="2181795"/>
                  </a:lnTo>
                  <a:lnTo>
                    <a:pt x="3284671" y="1918845"/>
                  </a:lnTo>
                  <a:lnTo>
                    <a:pt x="3284671" y="1053191"/>
                  </a:lnTo>
                  <a:lnTo>
                    <a:pt x="3284673" y="1053189"/>
                  </a:lnTo>
                  <a:close/>
                  <a:moveTo>
                    <a:pt x="1642339" y="0"/>
                  </a:moveTo>
                  <a:lnTo>
                    <a:pt x="1642335" y="0"/>
                  </a:lnTo>
                  <a:cubicBezTo>
                    <a:pt x="735297" y="0"/>
                    <a:pt x="0" y="205248"/>
                    <a:pt x="0" y="458431"/>
                  </a:cubicBezTo>
                  <a:cubicBezTo>
                    <a:pt x="0" y="711614"/>
                    <a:pt x="735297" y="916862"/>
                    <a:pt x="1642335" y="916862"/>
                  </a:cubicBezTo>
                  <a:lnTo>
                    <a:pt x="1642339" y="916862"/>
                  </a:lnTo>
                  <a:cubicBezTo>
                    <a:pt x="2549376" y="916862"/>
                    <a:pt x="3284673" y="711614"/>
                    <a:pt x="3284673" y="458431"/>
                  </a:cubicBezTo>
                  <a:cubicBezTo>
                    <a:pt x="3284673" y="205248"/>
                    <a:pt x="2549376" y="0"/>
                    <a:pt x="1642339"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367"/>
              <a:endParaRPr lang="en-US" sz="1765">
                <a:solidFill>
                  <a:srgbClr val="FFFFFF"/>
                </a:solidFill>
              </a:endParaRPr>
            </a:p>
          </p:txBody>
        </p:sp>
        <p:sp>
          <p:nvSpPr>
            <p:cNvPr id="38" name="Freeform 37"/>
            <p:cNvSpPr/>
            <p:nvPr/>
          </p:nvSpPr>
          <p:spPr>
            <a:xfrm flipH="1">
              <a:off x="10691090" y="2220242"/>
              <a:ext cx="633107" cy="926358"/>
            </a:xfrm>
            <a:custGeom>
              <a:avLst/>
              <a:gdLst>
                <a:gd name="connsiteX0" fmla="*/ 3284673 w 3284673"/>
                <a:gd name="connsiteY0" fmla="*/ 701841 h 4806110"/>
                <a:gd name="connsiteX1" fmla="*/ 3284671 w 3284673"/>
                <a:gd name="connsiteY1" fmla="*/ 701843 h 4806110"/>
                <a:gd name="connsiteX2" fmla="*/ 3284671 w 3284673"/>
                <a:gd name="connsiteY2" fmla="*/ 701841 h 4806110"/>
                <a:gd name="connsiteX3" fmla="*/ 3284669 w 3284673"/>
                <a:gd name="connsiteY3" fmla="*/ 701842 h 4806110"/>
                <a:gd name="connsiteX4" fmla="*/ 3284669 w 3284673"/>
                <a:gd name="connsiteY4" fmla="*/ 701841 h 4806110"/>
                <a:gd name="connsiteX5" fmla="*/ 3195823 w 3284673"/>
                <a:gd name="connsiteY5" fmla="*/ 779666 h 4806110"/>
                <a:gd name="connsiteX6" fmla="*/ 2143690 w 3284673"/>
                <a:gd name="connsiteY6" fmla="*/ 1039044 h 4806110"/>
                <a:gd name="connsiteX7" fmla="*/ 1642337 w 3284673"/>
                <a:gd name="connsiteY7" fmla="*/ 1059655 h 4806110"/>
                <a:gd name="connsiteX8" fmla="*/ 1140983 w 3284673"/>
                <a:gd name="connsiteY8" fmla="*/ 1039044 h 4806110"/>
                <a:gd name="connsiteX9" fmla="*/ 508725 w 3284673"/>
                <a:gd name="connsiteY9" fmla="*/ 940562 h 4806110"/>
                <a:gd name="connsiteX10" fmla="*/ 395039 w 3284673"/>
                <a:gd name="connsiteY10" fmla="*/ 909279 h 4806110"/>
                <a:gd name="connsiteX11" fmla="*/ 380829 w 3284673"/>
                <a:gd name="connsiteY11" fmla="*/ 905369 h 4806110"/>
                <a:gd name="connsiteX12" fmla="*/ 88851 w 3284673"/>
                <a:gd name="connsiteY12" fmla="*/ 779666 h 4806110"/>
                <a:gd name="connsiteX13" fmla="*/ 59720 w 3284673"/>
                <a:gd name="connsiteY13" fmla="*/ 754150 h 4806110"/>
                <a:gd name="connsiteX14" fmla="*/ 4 w 3284673"/>
                <a:gd name="connsiteY14" fmla="*/ 701841 h 4806110"/>
                <a:gd name="connsiteX15" fmla="*/ 4 w 3284673"/>
                <a:gd name="connsiteY15" fmla="*/ 701842 h 4806110"/>
                <a:gd name="connsiteX16" fmla="*/ 2 w 3284673"/>
                <a:gd name="connsiteY16" fmla="*/ 701841 h 4806110"/>
                <a:gd name="connsiteX17" fmla="*/ 2 w 3284673"/>
                <a:gd name="connsiteY17" fmla="*/ 701843 h 4806110"/>
                <a:gd name="connsiteX18" fmla="*/ 0 w 3284673"/>
                <a:gd name="connsiteY18" fmla="*/ 701841 h 4806110"/>
                <a:gd name="connsiteX19" fmla="*/ 0 w 3284673"/>
                <a:gd name="connsiteY19" fmla="*/ 1053189 h 4806110"/>
                <a:gd name="connsiteX20" fmla="*/ 2 w 3284673"/>
                <a:gd name="connsiteY20" fmla="*/ 1053191 h 4806110"/>
                <a:gd name="connsiteX21" fmla="*/ 2 w 3284673"/>
                <a:gd name="connsiteY21" fmla="*/ 1918845 h 4806110"/>
                <a:gd name="connsiteX22" fmla="*/ 2 w 3284673"/>
                <a:gd name="connsiteY22" fmla="*/ 2181795 h 4806110"/>
                <a:gd name="connsiteX23" fmla="*/ 2 w 3284673"/>
                <a:gd name="connsiteY23" fmla="*/ 2551024 h 4806110"/>
                <a:gd name="connsiteX24" fmla="*/ 4 w 3284673"/>
                <a:gd name="connsiteY24" fmla="*/ 2551025 h 4806110"/>
                <a:gd name="connsiteX25" fmla="*/ 4 w 3284673"/>
                <a:gd name="connsiteY25" fmla="*/ 2920828 h 4806110"/>
                <a:gd name="connsiteX26" fmla="*/ 4 w 3284673"/>
                <a:gd name="connsiteY26" fmla="*/ 3146226 h 4806110"/>
                <a:gd name="connsiteX27" fmla="*/ 0 w 3284673"/>
                <a:gd name="connsiteY27" fmla="*/ 3146222 h 4806110"/>
                <a:gd name="connsiteX28" fmla="*/ 0 w 3284673"/>
                <a:gd name="connsiteY28" fmla="*/ 3169359 h 4806110"/>
                <a:gd name="connsiteX29" fmla="*/ 4 w 3284673"/>
                <a:gd name="connsiteY29" fmla="*/ 3169359 h 4806110"/>
                <a:gd name="connsiteX30" fmla="*/ 4 w 3284673"/>
                <a:gd name="connsiteY30" fmla="*/ 3398798 h 4806110"/>
                <a:gd name="connsiteX31" fmla="*/ 4 w 3284673"/>
                <a:gd name="connsiteY31" fmla="*/ 3719407 h 4806110"/>
                <a:gd name="connsiteX32" fmla="*/ 0 w 3284673"/>
                <a:gd name="connsiteY32" fmla="*/ 3719407 h 4806110"/>
                <a:gd name="connsiteX33" fmla="*/ 0 w 3284673"/>
                <a:gd name="connsiteY33" fmla="*/ 4400783 h 4806110"/>
                <a:gd name="connsiteX34" fmla="*/ 1642335 w 3284673"/>
                <a:gd name="connsiteY34" fmla="*/ 4806110 h 4806110"/>
                <a:gd name="connsiteX35" fmla="*/ 1642339 w 3284673"/>
                <a:gd name="connsiteY35" fmla="*/ 4806110 h 4806110"/>
                <a:gd name="connsiteX36" fmla="*/ 3284673 w 3284673"/>
                <a:gd name="connsiteY36" fmla="*/ 4400783 h 4806110"/>
                <a:gd name="connsiteX37" fmla="*/ 3284673 w 3284673"/>
                <a:gd name="connsiteY37" fmla="*/ 3719407 h 4806110"/>
                <a:gd name="connsiteX38" fmla="*/ 3284669 w 3284673"/>
                <a:gd name="connsiteY38" fmla="*/ 3719407 h 4806110"/>
                <a:gd name="connsiteX39" fmla="*/ 3284669 w 3284673"/>
                <a:gd name="connsiteY39" fmla="*/ 3398798 h 4806110"/>
                <a:gd name="connsiteX40" fmla="*/ 3284669 w 3284673"/>
                <a:gd name="connsiteY40" fmla="*/ 3169359 h 4806110"/>
                <a:gd name="connsiteX41" fmla="*/ 3284673 w 3284673"/>
                <a:gd name="connsiteY41" fmla="*/ 3169359 h 4806110"/>
                <a:gd name="connsiteX42" fmla="*/ 3284673 w 3284673"/>
                <a:gd name="connsiteY42" fmla="*/ 3146222 h 4806110"/>
                <a:gd name="connsiteX43" fmla="*/ 3284669 w 3284673"/>
                <a:gd name="connsiteY43" fmla="*/ 3146226 h 4806110"/>
                <a:gd name="connsiteX44" fmla="*/ 3284669 w 3284673"/>
                <a:gd name="connsiteY44" fmla="*/ 2920828 h 4806110"/>
                <a:gd name="connsiteX45" fmla="*/ 3284669 w 3284673"/>
                <a:gd name="connsiteY45" fmla="*/ 2551025 h 4806110"/>
                <a:gd name="connsiteX46" fmla="*/ 3284671 w 3284673"/>
                <a:gd name="connsiteY46" fmla="*/ 2551024 h 4806110"/>
                <a:gd name="connsiteX47" fmla="*/ 3284671 w 3284673"/>
                <a:gd name="connsiteY47" fmla="*/ 2181795 h 4806110"/>
                <a:gd name="connsiteX48" fmla="*/ 3284671 w 3284673"/>
                <a:gd name="connsiteY48" fmla="*/ 1918845 h 4806110"/>
                <a:gd name="connsiteX49" fmla="*/ 3284671 w 3284673"/>
                <a:gd name="connsiteY49" fmla="*/ 1053191 h 4806110"/>
                <a:gd name="connsiteX50" fmla="*/ 3284673 w 3284673"/>
                <a:gd name="connsiteY50" fmla="*/ 1053189 h 4806110"/>
                <a:gd name="connsiteX51" fmla="*/ 1642339 w 3284673"/>
                <a:gd name="connsiteY51" fmla="*/ 0 h 4806110"/>
                <a:gd name="connsiteX52" fmla="*/ 1642335 w 3284673"/>
                <a:gd name="connsiteY52" fmla="*/ 0 h 4806110"/>
                <a:gd name="connsiteX53" fmla="*/ 0 w 3284673"/>
                <a:gd name="connsiteY53" fmla="*/ 458431 h 4806110"/>
                <a:gd name="connsiteX54" fmla="*/ 1642335 w 3284673"/>
                <a:gd name="connsiteY54" fmla="*/ 916862 h 4806110"/>
                <a:gd name="connsiteX55" fmla="*/ 1642339 w 3284673"/>
                <a:gd name="connsiteY55" fmla="*/ 916862 h 4806110"/>
                <a:gd name="connsiteX56" fmla="*/ 3284673 w 3284673"/>
                <a:gd name="connsiteY56" fmla="*/ 458431 h 4806110"/>
                <a:gd name="connsiteX57" fmla="*/ 1642339 w 3284673"/>
                <a:gd name="connsiteY57" fmla="*/ 0 h 4806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3284673" h="4806110">
                  <a:moveTo>
                    <a:pt x="3284673" y="701841"/>
                  </a:moveTo>
                  <a:lnTo>
                    <a:pt x="3284671" y="701843"/>
                  </a:lnTo>
                  <a:lnTo>
                    <a:pt x="3284671" y="701841"/>
                  </a:lnTo>
                  <a:lnTo>
                    <a:pt x="3284669" y="701842"/>
                  </a:lnTo>
                  <a:lnTo>
                    <a:pt x="3284669" y="701841"/>
                  </a:lnTo>
                  <a:lnTo>
                    <a:pt x="3195823" y="779666"/>
                  </a:lnTo>
                  <a:cubicBezTo>
                    <a:pt x="3003862" y="903069"/>
                    <a:pt x="2618829" y="998859"/>
                    <a:pt x="2143690" y="1039044"/>
                  </a:cubicBezTo>
                  <a:lnTo>
                    <a:pt x="1642337" y="1059655"/>
                  </a:lnTo>
                  <a:lnTo>
                    <a:pt x="1140983" y="1039044"/>
                  </a:lnTo>
                  <a:cubicBezTo>
                    <a:pt x="903413" y="1018952"/>
                    <a:pt x="688370" y="984958"/>
                    <a:pt x="508725" y="940562"/>
                  </a:cubicBezTo>
                  <a:lnTo>
                    <a:pt x="395039" y="909279"/>
                  </a:lnTo>
                  <a:lnTo>
                    <a:pt x="380829" y="905369"/>
                  </a:lnTo>
                  <a:cubicBezTo>
                    <a:pt x="259972" y="868335"/>
                    <a:pt x="160836" y="825942"/>
                    <a:pt x="88851" y="779666"/>
                  </a:cubicBezTo>
                  <a:lnTo>
                    <a:pt x="59720" y="754150"/>
                  </a:lnTo>
                  <a:lnTo>
                    <a:pt x="4" y="701841"/>
                  </a:lnTo>
                  <a:lnTo>
                    <a:pt x="4" y="701842"/>
                  </a:lnTo>
                  <a:lnTo>
                    <a:pt x="2" y="701841"/>
                  </a:lnTo>
                  <a:lnTo>
                    <a:pt x="2" y="701843"/>
                  </a:lnTo>
                  <a:lnTo>
                    <a:pt x="0" y="701841"/>
                  </a:lnTo>
                  <a:lnTo>
                    <a:pt x="0" y="1053189"/>
                  </a:lnTo>
                  <a:lnTo>
                    <a:pt x="2" y="1053191"/>
                  </a:lnTo>
                  <a:lnTo>
                    <a:pt x="2" y="1918845"/>
                  </a:lnTo>
                  <a:lnTo>
                    <a:pt x="2" y="2181795"/>
                  </a:lnTo>
                  <a:lnTo>
                    <a:pt x="2" y="2551024"/>
                  </a:lnTo>
                  <a:lnTo>
                    <a:pt x="4" y="2551025"/>
                  </a:lnTo>
                  <a:lnTo>
                    <a:pt x="4" y="2920828"/>
                  </a:lnTo>
                  <a:lnTo>
                    <a:pt x="4" y="3146226"/>
                  </a:lnTo>
                  <a:lnTo>
                    <a:pt x="0" y="3146222"/>
                  </a:lnTo>
                  <a:lnTo>
                    <a:pt x="0" y="3169359"/>
                  </a:lnTo>
                  <a:lnTo>
                    <a:pt x="4" y="3169359"/>
                  </a:lnTo>
                  <a:lnTo>
                    <a:pt x="4" y="3398798"/>
                  </a:lnTo>
                  <a:lnTo>
                    <a:pt x="4" y="3719407"/>
                  </a:lnTo>
                  <a:lnTo>
                    <a:pt x="0" y="3719407"/>
                  </a:lnTo>
                  <a:lnTo>
                    <a:pt x="0" y="4400783"/>
                  </a:lnTo>
                  <a:cubicBezTo>
                    <a:pt x="0" y="4624721"/>
                    <a:pt x="735436" y="4806110"/>
                    <a:pt x="1642335" y="4806110"/>
                  </a:cubicBezTo>
                  <a:lnTo>
                    <a:pt x="1642339" y="4806110"/>
                  </a:lnTo>
                  <a:cubicBezTo>
                    <a:pt x="2549237" y="4806110"/>
                    <a:pt x="3284673" y="4624721"/>
                    <a:pt x="3284673" y="4400783"/>
                  </a:cubicBezTo>
                  <a:lnTo>
                    <a:pt x="3284673" y="3719407"/>
                  </a:lnTo>
                  <a:lnTo>
                    <a:pt x="3284669" y="3719407"/>
                  </a:lnTo>
                  <a:lnTo>
                    <a:pt x="3284669" y="3398798"/>
                  </a:lnTo>
                  <a:lnTo>
                    <a:pt x="3284669" y="3169359"/>
                  </a:lnTo>
                  <a:lnTo>
                    <a:pt x="3284673" y="3169359"/>
                  </a:lnTo>
                  <a:lnTo>
                    <a:pt x="3284673" y="3146222"/>
                  </a:lnTo>
                  <a:lnTo>
                    <a:pt x="3284669" y="3146226"/>
                  </a:lnTo>
                  <a:lnTo>
                    <a:pt x="3284669" y="2920828"/>
                  </a:lnTo>
                  <a:lnTo>
                    <a:pt x="3284669" y="2551025"/>
                  </a:lnTo>
                  <a:lnTo>
                    <a:pt x="3284671" y="2551024"/>
                  </a:lnTo>
                  <a:lnTo>
                    <a:pt x="3284671" y="2181795"/>
                  </a:lnTo>
                  <a:lnTo>
                    <a:pt x="3284671" y="1918845"/>
                  </a:lnTo>
                  <a:lnTo>
                    <a:pt x="3284671" y="1053191"/>
                  </a:lnTo>
                  <a:lnTo>
                    <a:pt x="3284673" y="1053189"/>
                  </a:lnTo>
                  <a:close/>
                  <a:moveTo>
                    <a:pt x="1642339" y="0"/>
                  </a:moveTo>
                  <a:lnTo>
                    <a:pt x="1642335" y="0"/>
                  </a:lnTo>
                  <a:cubicBezTo>
                    <a:pt x="735297" y="0"/>
                    <a:pt x="0" y="205248"/>
                    <a:pt x="0" y="458431"/>
                  </a:cubicBezTo>
                  <a:cubicBezTo>
                    <a:pt x="0" y="711614"/>
                    <a:pt x="735297" y="916862"/>
                    <a:pt x="1642335" y="916862"/>
                  </a:cubicBezTo>
                  <a:lnTo>
                    <a:pt x="1642339" y="916862"/>
                  </a:lnTo>
                  <a:cubicBezTo>
                    <a:pt x="2549376" y="916862"/>
                    <a:pt x="3284673" y="711614"/>
                    <a:pt x="3284673" y="458431"/>
                  </a:cubicBezTo>
                  <a:cubicBezTo>
                    <a:pt x="3284673" y="205248"/>
                    <a:pt x="2549376" y="0"/>
                    <a:pt x="1642339"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367"/>
              <a:endParaRPr lang="en-US" sz="1765">
                <a:solidFill>
                  <a:srgbClr val="FFFFFF"/>
                </a:solidFill>
              </a:endParaRPr>
            </a:p>
          </p:txBody>
        </p:sp>
        <p:sp>
          <p:nvSpPr>
            <p:cNvPr id="39" name="Freeform 38"/>
            <p:cNvSpPr/>
            <p:nvPr/>
          </p:nvSpPr>
          <p:spPr>
            <a:xfrm flipH="1">
              <a:off x="8992872" y="2220241"/>
              <a:ext cx="296948" cy="434492"/>
            </a:xfrm>
            <a:custGeom>
              <a:avLst/>
              <a:gdLst>
                <a:gd name="connsiteX0" fmla="*/ 3284673 w 3284673"/>
                <a:gd name="connsiteY0" fmla="*/ 701841 h 4806110"/>
                <a:gd name="connsiteX1" fmla="*/ 3284671 w 3284673"/>
                <a:gd name="connsiteY1" fmla="*/ 701843 h 4806110"/>
                <a:gd name="connsiteX2" fmla="*/ 3284671 w 3284673"/>
                <a:gd name="connsiteY2" fmla="*/ 701841 h 4806110"/>
                <a:gd name="connsiteX3" fmla="*/ 3284669 w 3284673"/>
                <a:gd name="connsiteY3" fmla="*/ 701842 h 4806110"/>
                <a:gd name="connsiteX4" fmla="*/ 3284669 w 3284673"/>
                <a:gd name="connsiteY4" fmla="*/ 701841 h 4806110"/>
                <a:gd name="connsiteX5" fmla="*/ 3195823 w 3284673"/>
                <a:gd name="connsiteY5" fmla="*/ 779666 h 4806110"/>
                <a:gd name="connsiteX6" fmla="*/ 2143690 w 3284673"/>
                <a:gd name="connsiteY6" fmla="*/ 1039044 h 4806110"/>
                <a:gd name="connsiteX7" fmla="*/ 1642337 w 3284673"/>
                <a:gd name="connsiteY7" fmla="*/ 1059655 h 4806110"/>
                <a:gd name="connsiteX8" fmla="*/ 1140983 w 3284673"/>
                <a:gd name="connsiteY8" fmla="*/ 1039044 h 4806110"/>
                <a:gd name="connsiteX9" fmla="*/ 508725 w 3284673"/>
                <a:gd name="connsiteY9" fmla="*/ 940562 h 4806110"/>
                <a:gd name="connsiteX10" fmla="*/ 395039 w 3284673"/>
                <a:gd name="connsiteY10" fmla="*/ 909279 h 4806110"/>
                <a:gd name="connsiteX11" fmla="*/ 380829 w 3284673"/>
                <a:gd name="connsiteY11" fmla="*/ 905369 h 4806110"/>
                <a:gd name="connsiteX12" fmla="*/ 88851 w 3284673"/>
                <a:gd name="connsiteY12" fmla="*/ 779666 h 4806110"/>
                <a:gd name="connsiteX13" fmla="*/ 59720 w 3284673"/>
                <a:gd name="connsiteY13" fmla="*/ 754150 h 4806110"/>
                <a:gd name="connsiteX14" fmla="*/ 4 w 3284673"/>
                <a:gd name="connsiteY14" fmla="*/ 701841 h 4806110"/>
                <a:gd name="connsiteX15" fmla="*/ 4 w 3284673"/>
                <a:gd name="connsiteY15" fmla="*/ 701842 h 4806110"/>
                <a:gd name="connsiteX16" fmla="*/ 2 w 3284673"/>
                <a:gd name="connsiteY16" fmla="*/ 701841 h 4806110"/>
                <a:gd name="connsiteX17" fmla="*/ 2 w 3284673"/>
                <a:gd name="connsiteY17" fmla="*/ 701843 h 4806110"/>
                <a:gd name="connsiteX18" fmla="*/ 0 w 3284673"/>
                <a:gd name="connsiteY18" fmla="*/ 701841 h 4806110"/>
                <a:gd name="connsiteX19" fmla="*/ 0 w 3284673"/>
                <a:gd name="connsiteY19" fmla="*/ 1053189 h 4806110"/>
                <a:gd name="connsiteX20" fmla="*/ 2 w 3284673"/>
                <a:gd name="connsiteY20" fmla="*/ 1053191 h 4806110"/>
                <a:gd name="connsiteX21" fmla="*/ 2 w 3284673"/>
                <a:gd name="connsiteY21" fmla="*/ 1918845 h 4806110"/>
                <a:gd name="connsiteX22" fmla="*/ 2 w 3284673"/>
                <a:gd name="connsiteY22" fmla="*/ 2181795 h 4806110"/>
                <a:gd name="connsiteX23" fmla="*/ 2 w 3284673"/>
                <a:gd name="connsiteY23" fmla="*/ 2551024 h 4806110"/>
                <a:gd name="connsiteX24" fmla="*/ 4 w 3284673"/>
                <a:gd name="connsiteY24" fmla="*/ 2551025 h 4806110"/>
                <a:gd name="connsiteX25" fmla="*/ 4 w 3284673"/>
                <a:gd name="connsiteY25" fmla="*/ 2920828 h 4806110"/>
                <a:gd name="connsiteX26" fmla="*/ 4 w 3284673"/>
                <a:gd name="connsiteY26" fmla="*/ 3146226 h 4806110"/>
                <a:gd name="connsiteX27" fmla="*/ 0 w 3284673"/>
                <a:gd name="connsiteY27" fmla="*/ 3146222 h 4806110"/>
                <a:gd name="connsiteX28" fmla="*/ 0 w 3284673"/>
                <a:gd name="connsiteY28" fmla="*/ 3169359 h 4806110"/>
                <a:gd name="connsiteX29" fmla="*/ 4 w 3284673"/>
                <a:gd name="connsiteY29" fmla="*/ 3169359 h 4806110"/>
                <a:gd name="connsiteX30" fmla="*/ 4 w 3284673"/>
                <a:gd name="connsiteY30" fmla="*/ 3398798 h 4806110"/>
                <a:gd name="connsiteX31" fmla="*/ 4 w 3284673"/>
                <a:gd name="connsiteY31" fmla="*/ 3719407 h 4806110"/>
                <a:gd name="connsiteX32" fmla="*/ 0 w 3284673"/>
                <a:gd name="connsiteY32" fmla="*/ 3719407 h 4806110"/>
                <a:gd name="connsiteX33" fmla="*/ 0 w 3284673"/>
                <a:gd name="connsiteY33" fmla="*/ 4400783 h 4806110"/>
                <a:gd name="connsiteX34" fmla="*/ 1642335 w 3284673"/>
                <a:gd name="connsiteY34" fmla="*/ 4806110 h 4806110"/>
                <a:gd name="connsiteX35" fmla="*/ 1642339 w 3284673"/>
                <a:gd name="connsiteY35" fmla="*/ 4806110 h 4806110"/>
                <a:gd name="connsiteX36" fmla="*/ 3284673 w 3284673"/>
                <a:gd name="connsiteY36" fmla="*/ 4400783 h 4806110"/>
                <a:gd name="connsiteX37" fmla="*/ 3284673 w 3284673"/>
                <a:gd name="connsiteY37" fmla="*/ 3719407 h 4806110"/>
                <a:gd name="connsiteX38" fmla="*/ 3284669 w 3284673"/>
                <a:gd name="connsiteY38" fmla="*/ 3719407 h 4806110"/>
                <a:gd name="connsiteX39" fmla="*/ 3284669 w 3284673"/>
                <a:gd name="connsiteY39" fmla="*/ 3398798 h 4806110"/>
                <a:gd name="connsiteX40" fmla="*/ 3284669 w 3284673"/>
                <a:gd name="connsiteY40" fmla="*/ 3169359 h 4806110"/>
                <a:gd name="connsiteX41" fmla="*/ 3284673 w 3284673"/>
                <a:gd name="connsiteY41" fmla="*/ 3169359 h 4806110"/>
                <a:gd name="connsiteX42" fmla="*/ 3284673 w 3284673"/>
                <a:gd name="connsiteY42" fmla="*/ 3146222 h 4806110"/>
                <a:gd name="connsiteX43" fmla="*/ 3284669 w 3284673"/>
                <a:gd name="connsiteY43" fmla="*/ 3146226 h 4806110"/>
                <a:gd name="connsiteX44" fmla="*/ 3284669 w 3284673"/>
                <a:gd name="connsiteY44" fmla="*/ 2920828 h 4806110"/>
                <a:gd name="connsiteX45" fmla="*/ 3284669 w 3284673"/>
                <a:gd name="connsiteY45" fmla="*/ 2551025 h 4806110"/>
                <a:gd name="connsiteX46" fmla="*/ 3284671 w 3284673"/>
                <a:gd name="connsiteY46" fmla="*/ 2551024 h 4806110"/>
                <a:gd name="connsiteX47" fmla="*/ 3284671 w 3284673"/>
                <a:gd name="connsiteY47" fmla="*/ 2181795 h 4806110"/>
                <a:gd name="connsiteX48" fmla="*/ 3284671 w 3284673"/>
                <a:gd name="connsiteY48" fmla="*/ 1918845 h 4806110"/>
                <a:gd name="connsiteX49" fmla="*/ 3284671 w 3284673"/>
                <a:gd name="connsiteY49" fmla="*/ 1053191 h 4806110"/>
                <a:gd name="connsiteX50" fmla="*/ 3284673 w 3284673"/>
                <a:gd name="connsiteY50" fmla="*/ 1053189 h 4806110"/>
                <a:gd name="connsiteX51" fmla="*/ 1642339 w 3284673"/>
                <a:gd name="connsiteY51" fmla="*/ 0 h 4806110"/>
                <a:gd name="connsiteX52" fmla="*/ 1642335 w 3284673"/>
                <a:gd name="connsiteY52" fmla="*/ 0 h 4806110"/>
                <a:gd name="connsiteX53" fmla="*/ 0 w 3284673"/>
                <a:gd name="connsiteY53" fmla="*/ 458431 h 4806110"/>
                <a:gd name="connsiteX54" fmla="*/ 1642335 w 3284673"/>
                <a:gd name="connsiteY54" fmla="*/ 916862 h 4806110"/>
                <a:gd name="connsiteX55" fmla="*/ 1642339 w 3284673"/>
                <a:gd name="connsiteY55" fmla="*/ 916862 h 4806110"/>
                <a:gd name="connsiteX56" fmla="*/ 3284673 w 3284673"/>
                <a:gd name="connsiteY56" fmla="*/ 458431 h 4806110"/>
                <a:gd name="connsiteX57" fmla="*/ 1642339 w 3284673"/>
                <a:gd name="connsiteY57" fmla="*/ 0 h 4806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3284673" h="4806110">
                  <a:moveTo>
                    <a:pt x="3284673" y="701841"/>
                  </a:moveTo>
                  <a:lnTo>
                    <a:pt x="3284671" y="701843"/>
                  </a:lnTo>
                  <a:lnTo>
                    <a:pt x="3284671" y="701841"/>
                  </a:lnTo>
                  <a:lnTo>
                    <a:pt x="3284669" y="701842"/>
                  </a:lnTo>
                  <a:lnTo>
                    <a:pt x="3284669" y="701841"/>
                  </a:lnTo>
                  <a:lnTo>
                    <a:pt x="3195823" y="779666"/>
                  </a:lnTo>
                  <a:cubicBezTo>
                    <a:pt x="3003862" y="903069"/>
                    <a:pt x="2618829" y="998859"/>
                    <a:pt x="2143690" y="1039044"/>
                  </a:cubicBezTo>
                  <a:lnTo>
                    <a:pt x="1642337" y="1059655"/>
                  </a:lnTo>
                  <a:lnTo>
                    <a:pt x="1140983" y="1039044"/>
                  </a:lnTo>
                  <a:cubicBezTo>
                    <a:pt x="903413" y="1018952"/>
                    <a:pt x="688370" y="984958"/>
                    <a:pt x="508725" y="940562"/>
                  </a:cubicBezTo>
                  <a:lnTo>
                    <a:pt x="395039" y="909279"/>
                  </a:lnTo>
                  <a:lnTo>
                    <a:pt x="380829" y="905369"/>
                  </a:lnTo>
                  <a:cubicBezTo>
                    <a:pt x="259972" y="868335"/>
                    <a:pt x="160836" y="825942"/>
                    <a:pt x="88851" y="779666"/>
                  </a:cubicBezTo>
                  <a:lnTo>
                    <a:pt x="59720" y="754150"/>
                  </a:lnTo>
                  <a:lnTo>
                    <a:pt x="4" y="701841"/>
                  </a:lnTo>
                  <a:lnTo>
                    <a:pt x="4" y="701842"/>
                  </a:lnTo>
                  <a:lnTo>
                    <a:pt x="2" y="701841"/>
                  </a:lnTo>
                  <a:lnTo>
                    <a:pt x="2" y="701843"/>
                  </a:lnTo>
                  <a:lnTo>
                    <a:pt x="0" y="701841"/>
                  </a:lnTo>
                  <a:lnTo>
                    <a:pt x="0" y="1053189"/>
                  </a:lnTo>
                  <a:lnTo>
                    <a:pt x="2" y="1053191"/>
                  </a:lnTo>
                  <a:lnTo>
                    <a:pt x="2" y="1918845"/>
                  </a:lnTo>
                  <a:lnTo>
                    <a:pt x="2" y="2181795"/>
                  </a:lnTo>
                  <a:lnTo>
                    <a:pt x="2" y="2551024"/>
                  </a:lnTo>
                  <a:lnTo>
                    <a:pt x="4" y="2551025"/>
                  </a:lnTo>
                  <a:lnTo>
                    <a:pt x="4" y="2920828"/>
                  </a:lnTo>
                  <a:lnTo>
                    <a:pt x="4" y="3146226"/>
                  </a:lnTo>
                  <a:lnTo>
                    <a:pt x="0" y="3146222"/>
                  </a:lnTo>
                  <a:lnTo>
                    <a:pt x="0" y="3169359"/>
                  </a:lnTo>
                  <a:lnTo>
                    <a:pt x="4" y="3169359"/>
                  </a:lnTo>
                  <a:lnTo>
                    <a:pt x="4" y="3398798"/>
                  </a:lnTo>
                  <a:lnTo>
                    <a:pt x="4" y="3719407"/>
                  </a:lnTo>
                  <a:lnTo>
                    <a:pt x="0" y="3719407"/>
                  </a:lnTo>
                  <a:lnTo>
                    <a:pt x="0" y="4400783"/>
                  </a:lnTo>
                  <a:cubicBezTo>
                    <a:pt x="0" y="4624721"/>
                    <a:pt x="735436" y="4806110"/>
                    <a:pt x="1642335" y="4806110"/>
                  </a:cubicBezTo>
                  <a:lnTo>
                    <a:pt x="1642339" y="4806110"/>
                  </a:lnTo>
                  <a:cubicBezTo>
                    <a:pt x="2549237" y="4806110"/>
                    <a:pt x="3284673" y="4624721"/>
                    <a:pt x="3284673" y="4400783"/>
                  </a:cubicBezTo>
                  <a:lnTo>
                    <a:pt x="3284673" y="3719407"/>
                  </a:lnTo>
                  <a:lnTo>
                    <a:pt x="3284669" y="3719407"/>
                  </a:lnTo>
                  <a:lnTo>
                    <a:pt x="3284669" y="3398798"/>
                  </a:lnTo>
                  <a:lnTo>
                    <a:pt x="3284669" y="3169359"/>
                  </a:lnTo>
                  <a:lnTo>
                    <a:pt x="3284673" y="3169359"/>
                  </a:lnTo>
                  <a:lnTo>
                    <a:pt x="3284673" y="3146222"/>
                  </a:lnTo>
                  <a:lnTo>
                    <a:pt x="3284669" y="3146226"/>
                  </a:lnTo>
                  <a:lnTo>
                    <a:pt x="3284669" y="2920828"/>
                  </a:lnTo>
                  <a:lnTo>
                    <a:pt x="3284669" y="2551025"/>
                  </a:lnTo>
                  <a:lnTo>
                    <a:pt x="3284671" y="2551024"/>
                  </a:lnTo>
                  <a:lnTo>
                    <a:pt x="3284671" y="2181795"/>
                  </a:lnTo>
                  <a:lnTo>
                    <a:pt x="3284671" y="1918845"/>
                  </a:lnTo>
                  <a:lnTo>
                    <a:pt x="3284671" y="1053191"/>
                  </a:lnTo>
                  <a:lnTo>
                    <a:pt x="3284673" y="1053189"/>
                  </a:lnTo>
                  <a:close/>
                  <a:moveTo>
                    <a:pt x="1642339" y="0"/>
                  </a:moveTo>
                  <a:lnTo>
                    <a:pt x="1642335" y="0"/>
                  </a:lnTo>
                  <a:cubicBezTo>
                    <a:pt x="735297" y="0"/>
                    <a:pt x="0" y="205248"/>
                    <a:pt x="0" y="458431"/>
                  </a:cubicBezTo>
                  <a:cubicBezTo>
                    <a:pt x="0" y="711614"/>
                    <a:pt x="735297" y="916862"/>
                    <a:pt x="1642335" y="916862"/>
                  </a:cubicBezTo>
                  <a:lnTo>
                    <a:pt x="1642339" y="916862"/>
                  </a:lnTo>
                  <a:cubicBezTo>
                    <a:pt x="2549376" y="916862"/>
                    <a:pt x="3284673" y="711614"/>
                    <a:pt x="3284673" y="458431"/>
                  </a:cubicBezTo>
                  <a:cubicBezTo>
                    <a:pt x="3284673" y="205248"/>
                    <a:pt x="2549376" y="0"/>
                    <a:pt x="1642339"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367"/>
              <a:endParaRPr lang="en-US" sz="1765">
                <a:solidFill>
                  <a:srgbClr val="FFFFFF"/>
                </a:solidFill>
              </a:endParaRPr>
            </a:p>
          </p:txBody>
        </p:sp>
        <p:sp>
          <p:nvSpPr>
            <p:cNvPr id="40" name="Freeform 39"/>
            <p:cNvSpPr/>
            <p:nvPr/>
          </p:nvSpPr>
          <p:spPr bwMode="auto">
            <a:xfrm>
              <a:off x="10197016" y="5377078"/>
              <a:ext cx="988148" cy="1314235"/>
            </a:xfrm>
            <a:custGeom>
              <a:avLst/>
              <a:gdLst>
                <a:gd name="connsiteX0" fmla="*/ 460324 w 914400"/>
                <a:gd name="connsiteY0" fmla="*/ 48397 h 1216152"/>
                <a:gd name="connsiteX1" fmla="*/ 76152 w 914400"/>
                <a:gd name="connsiteY1" fmla="*/ 179523 h 1216152"/>
                <a:gd name="connsiteX2" fmla="*/ 460324 w 914400"/>
                <a:gd name="connsiteY2" fmla="*/ 310649 h 1216152"/>
                <a:gd name="connsiteX3" fmla="*/ 844496 w 914400"/>
                <a:gd name="connsiteY3" fmla="*/ 179523 h 1216152"/>
                <a:gd name="connsiteX4" fmla="*/ 460324 w 914400"/>
                <a:gd name="connsiteY4" fmla="*/ 48397 h 1216152"/>
                <a:gd name="connsiteX5" fmla="*/ 457200 w 914400"/>
                <a:gd name="connsiteY5" fmla="*/ 0 h 1216152"/>
                <a:gd name="connsiteX6" fmla="*/ 914400 w 914400"/>
                <a:gd name="connsiteY6" fmla="*/ 178121 h 1216152"/>
                <a:gd name="connsiteX7" fmla="*/ 914400 w 914400"/>
                <a:gd name="connsiteY7" fmla="*/ 1038031 h 1216152"/>
                <a:gd name="connsiteX8" fmla="*/ 457200 w 914400"/>
                <a:gd name="connsiteY8" fmla="*/ 1216152 h 1216152"/>
                <a:gd name="connsiteX9" fmla="*/ 279237 w 914400"/>
                <a:gd name="connsiteY9" fmla="*/ 1202155 h 1216152"/>
                <a:gd name="connsiteX10" fmla="*/ 201575 w 914400"/>
                <a:gd name="connsiteY10" fmla="*/ 1185732 h 1216152"/>
                <a:gd name="connsiteX11" fmla="*/ 0 w 914400"/>
                <a:gd name="connsiteY11" fmla="*/ 1038031 h 1216152"/>
                <a:gd name="connsiteX12" fmla="*/ 0 w 914400"/>
                <a:gd name="connsiteY12" fmla="*/ 178121 h 1216152"/>
                <a:gd name="connsiteX13" fmla="*/ 0 w 914400"/>
                <a:gd name="connsiteY13" fmla="*/ 178121 h 1216152"/>
                <a:gd name="connsiteX14" fmla="*/ 457200 w 914400"/>
                <a:gd name="connsiteY14" fmla="*/ 0 h 1216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14400" h="1216152">
                  <a:moveTo>
                    <a:pt x="460324" y="48397"/>
                  </a:moveTo>
                  <a:cubicBezTo>
                    <a:pt x="248152" y="48397"/>
                    <a:pt x="76152" y="107104"/>
                    <a:pt x="76152" y="179523"/>
                  </a:cubicBezTo>
                  <a:cubicBezTo>
                    <a:pt x="76152" y="251942"/>
                    <a:pt x="248152" y="310649"/>
                    <a:pt x="460324" y="310649"/>
                  </a:cubicBezTo>
                  <a:cubicBezTo>
                    <a:pt x="672496" y="310649"/>
                    <a:pt x="844496" y="251942"/>
                    <a:pt x="844496" y="179523"/>
                  </a:cubicBezTo>
                  <a:cubicBezTo>
                    <a:pt x="844496" y="107104"/>
                    <a:pt x="672496" y="48397"/>
                    <a:pt x="460324" y="48397"/>
                  </a:cubicBezTo>
                  <a:close/>
                  <a:moveTo>
                    <a:pt x="457200" y="0"/>
                  </a:moveTo>
                  <a:cubicBezTo>
                    <a:pt x="709705" y="0"/>
                    <a:pt x="914400" y="79747"/>
                    <a:pt x="914400" y="178121"/>
                  </a:cubicBezTo>
                  <a:lnTo>
                    <a:pt x="914400" y="1038031"/>
                  </a:lnTo>
                  <a:cubicBezTo>
                    <a:pt x="914400" y="1136405"/>
                    <a:pt x="709705" y="1216152"/>
                    <a:pt x="457200" y="1216152"/>
                  </a:cubicBezTo>
                  <a:cubicBezTo>
                    <a:pt x="394074" y="1216152"/>
                    <a:pt x="333936" y="1211168"/>
                    <a:pt x="279237" y="1202155"/>
                  </a:cubicBezTo>
                  <a:cubicBezTo>
                    <a:pt x="251888" y="1197648"/>
                    <a:pt x="225898" y="1192134"/>
                    <a:pt x="201575" y="1185732"/>
                  </a:cubicBezTo>
                  <a:cubicBezTo>
                    <a:pt x="79959" y="1153723"/>
                    <a:pt x="0" y="1099515"/>
                    <a:pt x="0" y="1038031"/>
                  </a:cubicBezTo>
                  <a:lnTo>
                    <a:pt x="0" y="178121"/>
                  </a:lnTo>
                  <a:lnTo>
                    <a:pt x="0" y="178121"/>
                  </a:lnTo>
                  <a:cubicBezTo>
                    <a:pt x="0" y="79747"/>
                    <a:pt x="204695" y="0"/>
                    <a:pt x="457200"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dirty="0">
                <a:solidFill>
                  <a:srgbClr val="FFFFFF"/>
                </a:solidFill>
                <a:latin typeface="Segoe UI Light"/>
                <a:ea typeface="Segoe UI" pitchFamily="34" charset="0"/>
                <a:cs typeface="Segoe UI" pitchFamily="34" charset="0"/>
              </a:endParaRPr>
            </a:p>
          </p:txBody>
        </p:sp>
        <p:sp>
          <p:nvSpPr>
            <p:cNvPr id="41" name="Freeform 40"/>
            <p:cNvSpPr/>
            <p:nvPr/>
          </p:nvSpPr>
          <p:spPr bwMode="auto">
            <a:xfrm>
              <a:off x="7011318" y="5686172"/>
              <a:ext cx="635781" cy="845588"/>
            </a:xfrm>
            <a:custGeom>
              <a:avLst/>
              <a:gdLst>
                <a:gd name="connsiteX0" fmla="*/ 460324 w 914400"/>
                <a:gd name="connsiteY0" fmla="*/ 48397 h 1216152"/>
                <a:gd name="connsiteX1" fmla="*/ 76152 w 914400"/>
                <a:gd name="connsiteY1" fmla="*/ 179523 h 1216152"/>
                <a:gd name="connsiteX2" fmla="*/ 460324 w 914400"/>
                <a:gd name="connsiteY2" fmla="*/ 310649 h 1216152"/>
                <a:gd name="connsiteX3" fmla="*/ 844496 w 914400"/>
                <a:gd name="connsiteY3" fmla="*/ 179523 h 1216152"/>
                <a:gd name="connsiteX4" fmla="*/ 460324 w 914400"/>
                <a:gd name="connsiteY4" fmla="*/ 48397 h 1216152"/>
                <a:gd name="connsiteX5" fmla="*/ 457200 w 914400"/>
                <a:gd name="connsiteY5" fmla="*/ 0 h 1216152"/>
                <a:gd name="connsiteX6" fmla="*/ 914400 w 914400"/>
                <a:gd name="connsiteY6" fmla="*/ 178121 h 1216152"/>
                <a:gd name="connsiteX7" fmla="*/ 914400 w 914400"/>
                <a:gd name="connsiteY7" fmla="*/ 1038031 h 1216152"/>
                <a:gd name="connsiteX8" fmla="*/ 457200 w 914400"/>
                <a:gd name="connsiteY8" fmla="*/ 1216152 h 1216152"/>
                <a:gd name="connsiteX9" fmla="*/ 279237 w 914400"/>
                <a:gd name="connsiteY9" fmla="*/ 1202155 h 1216152"/>
                <a:gd name="connsiteX10" fmla="*/ 201575 w 914400"/>
                <a:gd name="connsiteY10" fmla="*/ 1185732 h 1216152"/>
                <a:gd name="connsiteX11" fmla="*/ 0 w 914400"/>
                <a:gd name="connsiteY11" fmla="*/ 1038031 h 1216152"/>
                <a:gd name="connsiteX12" fmla="*/ 0 w 914400"/>
                <a:gd name="connsiteY12" fmla="*/ 178121 h 1216152"/>
                <a:gd name="connsiteX13" fmla="*/ 0 w 914400"/>
                <a:gd name="connsiteY13" fmla="*/ 178121 h 1216152"/>
                <a:gd name="connsiteX14" fmla="*/ 457200 w 914400"/>
                <a:gd name="connsiteY14" fmla="*/ 0 h 1216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14400" h="1216152">
                  <a:moveTo>
                    <a:pt x="460324" y="48397"/>
                  </a:moveTo>
                  <a:cubicBezTo>
                    <a:pt x="248152" y="48397"/>
                    <a:pt x="76152" y="107104"/>
                    <a:pt x="76152" y="179523"/>
                  </a:cubicBezTo>
                  <a:cubicBezTo>
                    <a:pt x="76152" y="251942"/>
                    <a:pt x="248152" y="310649"/>
                    <a:pt x="460324" y="310649"/>
                  </a:cubicBezTo>
                  <a:cubicBezTo>
                    <a:pt x="672496" y="310649"/>
                    <a:pt x="844496" y="251942"/>
                    <a:pt x="844496" y="179523"/>
                  </a:cubicBezTo>
                  <a:cubicBezTo>
                    <a:pt x="844496" y="107104"/>
                    <a:pt x="672496" y="48397"/>
                    <a:pt x="460324" y="48397"/>
                  </a:cubicBezTo>
                  <a:close/>
                  <a:moveTo>
                    <a:pt x="457200" y="0"/>
                  </a:moveTo>
                  <a:cubicBezTo>
                    <a:pt x="709705" y="0"/>
                    <a:pt x="914400" y="79747"/>
                    <a:pt x="914400" y="178121"/>
                  </a:cubicBezTo>
                  <a:lnTo>
                    <a:pt x="914400" y="1038031"/>
                  </a:lnTo>
                  <a:cubicBezTo>
                    <a:pt x="914400" y="1136405"/>
                    <a:pt x="709705" y="1216152"/>
                    <a:pt x="457200" y="1216152"/>
                  </a:cubicBezTo>
                  <a:cubicBezTo>
                    <a:pt x="394074" y="1216152"/>
                    <a:pt x="333936" y="1211168"/>
                    <a:pt x="279237" y="1202155"/>
                  </a:cubicBezTo>
                  <a:cubicBezTo>
                    <a:pt x="251888" y="1197648"/>
                    <a:pt x="225898" y="1192134"/>
                    <a:pt x="201575" y="1185732"/>
                  </a:cubicBezTo>
                  <a:cubicBezTo>
                    <a:pt x="79959" y="1153723"/>
                    <a:pt x="0" y="1099515"/>
                    <a:pt x="0" y="1038031"/>
                  </a:cubicBezTo>
                  <a:lnTo>
                    <a:pt x="0" y="178121"/>
                  </a:lnTo>
                  <a:lnTo>
                    <a:pt x="0" y="178121"/>
                  </a:lnTo>
                  <a:cubicBezTo>
                    <a:pt x="0" y="79747"/>
                    <a:pt x="204695" y="0"/>
                    <a:pt x="457200"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dirty="0">
                <a:solidFill>
                  <a:srgbClr val="FFFFFF"/>
                </a:solidFill>
                <a:latin typeface="Segoe UI Light"/>
                <a:ea typeface="Segoe UI" pitchFamily="34" charset="0"/>
                <a:cs typeface="Segoe UI" pitchFamily="34" charset="0"/>
              </a:endParaRPr>
            </a:p>
          </p:txBody>
        </p:sp>
        <p:sp>
          <p:nvSpPr>
            <p:cNvPr id="42" name="Freeform 41"/>
            <p:cNvSpPr/>
            <p:nvPr/>
          </p:nvSpPr>
          <p:spPr bwMode="auto">
            <a:xfrm>
              <a:off x="7983296" y="2570870"/>
              <a:ext cx="635781" cy="845588"/>
            </a:xfrm>
            <a:custGeom>
              <a:avLst/>
              <a:gdLst>
                <a:gd name="connsiteX0" fmla="*/ 460324 w 914400"/>
                <a:gd name="connsiteY0" fmla="*/ 48397 h 1216152"/>
                <a:gd name="connsiteX1" fmla="*/ 76152 w 914400"/>
                <a:gd name="connsiteY1" fmla="*/ 179523 h 1216152"/>
                <a:gd name="connsiteX2" fmla="*/ 460324 w 914400"/>
                <a:gd name="connsiteY2" fmla="*/ 310649 h 1216152"/>
                <a:gd name="connsiteX3" fmla="*/ 844496 w 914400"/>
                <a:gd name="connsiteY3" fmla="*/ 179523 h 1216152"/>
                <a:gd name="connsiteX4" fmla="*/ 460324 w 914400"/>
                <a:gd name="connsiteY4" fmla="*/ 48397 h 1216152"/>
                <a:gd name="connsiteX5" fmla="*/ 457200 w 914400"/>
                <a:gd name="connsiteY5" fmla="*/ 0 h 1216152"/>
                <a:gd name="connsiteX6" fmla="*/ 914400 w 914400"/>
                <a:gd name="connsiteY6" fmla="*/ 178121 h 1216152"/>
                <a:gd name="connsiteX7" fmla="*/ 914400 w 914400"/>
                <a:gd name="connsiteY7" fmla="*/ 1038031 h 1216152"/>
                <a:gd name="connsiteX8" fmla="*/ 457200 w 914400"/>
                <a:gd name="connsiteY8" fmla="*/ 1216152 h 1216152"/>
                <a:gd name="connsiteX9" fmla="*/ 279237 w 914400"/>
                <a:gd name="connsiteY9" fmla="*/ 1202155 h 1216152"/>
                <a:gd name="connsiteX10" fmla="*/ 201575 w 914400"/>
                <a:gd name="connsiteY10" fmla="*/ 1185732 h 1216152"/>
                <a:gd name="connsiteX11" fmla="*/ 0 w 914400"/>
                <a:gd name="connsiteY11" fmla="*/ 1038031 h 1216152"/>
                <a:gd name="connsiteX12" fmla="*/ 0 w 914400"/>
                <a:gd name="connsiteY12" fmla="*/ 178121 h 1216152"/>
                <a:gd name="connsiteX13" fmla="*/ 0 w 914400"/>
                <a:gd name="connsiteY13" fmla="*/ 178121 h 1216152"/>
                <a:gd name="connsiteX14" fmla="*/ 457200 w 914400"/>
                <a:gd name="connsiteY14" fmla="*/ 0 h 1216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14400" h="1216152">
                  <a:moveTo>
                    <a:pt x="460324" y="48397"/>
                  </a:moveTo>
                  <a:cubicBezTo>
                    <a:pt x="248152" y="48397"/>
                    <a:pt x="76152" y="107104"/>
                    <a:pt x="76152" y="179523"/>
                  </a:cubicBezTo>
                  <a:cubicBezTo>
                    <a:pt x="76152" y="251942"/>
                    <a:pt x="248152" y="310649"/>
                    <a:pt x="460324" y="310649"/>
                  </a:cubicBezTo>
                  <a:cubicBezTo>
                    <a:pt x="672496" y="310649"/>
                    <a:pt x="844496" y="251942"/>
                    <a:pt x="844496" y="179523"/>
                  </a:cubicBezTo>
                  <a:cubicBezTo>
                    <a:pt x="844496" y="107104"/>
                    <a:pt x="672496" y="48397"/>
                    <a:pt x="460324" y="48397"/>
                  </a:cubicBezTo>
                  <a:close/>
                  <a:moveTo>
                    <a:pt x="457200" y="0"/>
                  </a:moveTo>
                  <a:cubicBezTo>
                    <a:pt x="709705" y="0"/>
                    <a:pt x="914400" y="79747"/>
                    <a:pt x="914400" y="178121"/>
                  </a:cubicBezTo>
                  <a:lnTo>
                    <a:pt x="914400" y="1038031"/>
                  </a:lnTo>
                  <a:cubicBezTo>
                    <a:pt x="914400" y="1136405"/>
                    <a:pt x="709705" y="1216152"/>
                    <a:pt x="457200" y="1216152"/>
                  </a:cubicBezTo>
                  <a:cubicBezTo>
                    <a:pt x="394074" y="1216152"/>
                    <a:pt x="333936" y="1211168"/>
                    <a:pt x="279237" y="1202155"/>
                  </a:cubicBezTo>
                  <a:cubicBezTo>
                    <a:pt x="251888" y="1197648"/>
                    <a:pt x="225898" y="1192134"/>
                    <a:pt x="201575" y="1185732"/>
                  </a:cubicBezTo>
                  <a:cubicBezTo>
                    <a:pt x="79959" y="1153723"/>
                    <a:pt x="0" y="1099515"/>
                    <a:pt x="0" y="1038031"/>
                  </a:cubicBezTo>
                  <a:lnTo>
                    <a:pt x="0" y="178121"/>
                  </a:lnTo>
                  <a:lnTo>
                    <a:pt x="0" y="178121"/>
                  </a:lnTo>
                  <a:cubicBezTo>
                    <a:pt x="0" y="79747"/>
                    <a:pt x="204695" y="0"/>
                    <a:pt x="457200"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dirty="0">
                <a:solidFill>
                  <a:srgbClr val="FFFFFF"/>
                </a:solidFill>
                <a:latin typeface="Segoe UI Light"/>
                <a:ea typeface="Segoe UI" pitchFamily="34" charset="0"/>
                <a:cs typeface="Segoe UI" pitchFamily="34" charset="0"/>
              </a:endParaRPr>
            </a:p>
          </p:txBody>
        </p:sp>
        <p:sp>
          <p:nvSpPr>
            <p:cNvPr id="43" name="Freeform 42"/>
            <p:cNvSpPr/>
            <p:nvPr/>
          </p:nvSpPr>
          <p:spPr bwMode="auto">
            <a:xfrm>
              <a:off x="9205194" y="3072733"/>
              <a:ext cx="334872" cy="445380"/>
            </a:xfrm>
            <a:custGeom>
              <a:avLst/>
              <a:gdLst>
                <a:gd name="connsiteX0" fmla="*/ 460324 w 914400"/>
                <a:gd name="connsiteY0" fmla="*/ 48397 h 1216152"/>
                <a:gd name="connsiteX1" fmla="*/ 76152 w 914400"/>
                <a:gd name="connsiteY1" fmla="*/ 179523 h 1216152"/>
                <a:gd name="connsiteX2" fmla="*/ 460324 w 914400"/>
                <a:gd name="connsiteY2" fmla="*/ 310649 h 1216152"/>
                <a:gd name="connsiteX3" fmla="*/ 844496 w 914400"/>
                <a:gd name="connsiteY3" fmla="*/ 179523 h 1216152"/>
                <a:gd name="connsiteX4" fmla="*/ 460324 w 914400"/>
                <a:gd name="connsiteY4" fmla="*/ 48397 h 1216152"/>
                <a:gd name="connsiteX5" fmla="*/ 457200 w 914400"/>
                <a:gd name="connsiteY5" fmla="*/ 0 h 1216152"/>
                <a:gd name="connsiteX6" fmla="*/ 914400 w 914400"/>
                <a:gd name="connsiteY6" fmla="*/ 178121 h 1216152"/>
                <a:gd name="connsiteX7" fmla="*/ 914400 w 914400"/>
                <a:gd name="connsiteY7" fmla="*/ 1038031 h 1216152"/>
                <a:gd name="connsiteX8" fmla="*/ 457200 w 914400"/>
                <a:gd name="connsiteY8" fmla="*/ 1216152 h 1216152"/>
                <a:gd name="connsiteX9" fmla="*/ 279237 w 914400"/>
                <a:gd name="connsiteY9" fmla="*/ 1202155 h 1216152"/>
                <a:gd name="connsiteX10" fmla="*/ 201575 w 914400"/>
                <a:gd name="connsiteY10" fmla="*/ 1185732 h 1216152"/>
                <a:gd name="connsiteX11" fmla="*/ 0 w 914400"/>
                <a:gd name="connsiteY11" fmla="*/ 1038031 h 1216152"/>
                <a:gd name="connsiteX12" fmla="*/ 0 w 914400"/>
                <a:gd name="connsiteY12" fmla="*/ 178121 h 1216152"/>
                <a:gd name="connsiteX13" fmla="*/ 0 w 914400"/>
                <a:gd name="connsiteY13" fmla="*/ 178121 h 1216152"/>
                <a:gd name="connsiteX14" fmla="*/ 457200 w 914400"/>
                <a:gd name="connsiteY14" fmla="*/ 0 h 1216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14400" h="1216152">
                  <a:moveTo>
                    <a:pt x="460324" y="48397"/>
                  </a:moveTo>
                  <a:cubicBezTo>
                    <a:pt x="248152" y="48397"/>
                    <a:pt x="76152" y="107104"/>
                    <a:pt x="76152" y="179523"/>
                  </a:cubicBezTo>
                  <a:cubicBezTo>
                    <a:pt x="76152" y="251942"/>
                    <a:pt x="248152" y="310649"/>
                    <a:pt x="460324" y="310649"/>
                  </a:cubicBezTo>
                  <a:cubicBezTo>
                    <a:pt x="672496" y="310649"/>
                    <a:pt x="844496" y="251942"/>
                    <a:pt x="844496" y="179523"/>
                  </a:cubicBezTo>
                  <a:cubicBezTo>
                    <a:pt x="844496" y="107104"/>
                    <a:pt x="672496" y="48397"/>
                    <a:pt x="460324" y="48397"/>
                  </a:cubicBezTo>
                  <a:close/>
                  <a:moveTo>
                    <a:pt x="457200" y="0"/>
                  </a:moveTo>
                  <a:cubicBezTo>
                    <a:pt x="709705" y="0"/>
                    <a:pt x="914400" y="79747"/>
                    <a:pt x="914400" y="178121"/>
                  </a:cubicBezTo>
                  <a:lnTo>
                    <a:pt x="914400" y="1038031"/>
                  </a:lnTo>
                  <a:cubicBezTo>
                    <a:pt x="914400" y="1136405"/>
                    <a:pt x="709705" y="1216152"/>
                    <a:pt x="457200" y="1216152"/>
                  </a:cubicBezTo>
                  <a:cubicBezTo>
                    <a:pt x="394074" y="1216152"/>
                    <a:pt x="333936" y="1211168"/>
                    <a:pt x="279237" y="1202155"/>
                  </a:cubicBezTo>
                  <a:cubicBezTo>
                    <a:pt x="251888" y="1197648"/>
                    <a:pt x="225898" y="1192134"/>
                    <a:pt x="201575" y="1185732"/>
                  </a:cubicBezTo>
                  <a:cubicBezTo>
                    <a:pt x="79959" y="1153723"/>
                    <a:pt x="0" y="1099515"/>
                    <a:pt x="0" y="1038031"/>
                  </a:cubicBezTo>
                  <a:lnTo>
                    <a:pt x="0" y="178121"/>
                  </a:lnTo>
                  <a:lnTo>
                    <a:pt x="0" y="178121"/>
                  </a:lnTo>
                  <a:cubicBezTo>
                    <a:pt x="0" y="79747"/>
                    <a:pt x="204695" y="0"/>
                    <a:pt x="457200"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dirty="0">
                <a:solidFill>
                  <a:srgbClr val="FFFFFF"/>
                </a:solidFill>
                <a:latin typeface="Segoe UI Light"/>
                <a:ea typeface="Segoe UI" pitchFamily="34" charset="0"/>
                <a:cs typeface="Segoe UI" pitchFamily="34" charset="0"/>
              </a:endParaRPr>
            </a:p>
          </p:txBody>
        </p:sp>
        <p:sp>
          <p:nvSpPr>
            <p:cNvPr id="44" name="Freeform 43"/>
            <p:cNvSpPr/>
            <p:nvPr/>
          </p:nvSpPr>
          <p:spPr bwMode="auto">
            <a:xfrm>
              <a:off x="10850292" y="4540103"/>
              <a:ext cx="334872" cy="445380"/>
            </a:xfrm>
            <a:custGeom>
              <a:avLst/>
              <a:gdLst>
                <a:gd name="connsiteX0" fmla="*/ 460324 w 914400"/>
                <a:gd name="connsiteY0" fmla="*/ 48397 h 1216152"/>
                <a:gd name="connsiteX1" fmla="*/ 76152 w 914400"/>
                <a:gd name="connsiteY1" fmla="*/ 179523 h 1216152"/>
                <a:gd name="connsiteX2" fmla="*/ 460324 w 914400"/>
                <a:gd name="connsiteY2" fmla="*/ 310649 h 1216152"/>
                <a:gd name="connsiteX3" fmla="*/ 844496 w 914400"/>
                <a:gd name="connsiteY3" fmla="*/ 179523 h 1216152"/>
                <a:gd name="connsiteX4" fmla="*/ 460324 w 914400"/>
                <a:gd name="connsiteY4" fmla="*/ 48397 h 1216152"/>
                <a:gd name="connsiteX5" fmla="*/ 457200 w 914400"/>
                <a:gd name="connsiteY5" fmla="*/ 0 h 1216152"/>
                <a:gd name="connsiteX6" fmla="*/ 914400 w 914400"/>
                <a:gd name="connsiteY6" fmla="*/ 178121 h 1216152"/>
                <a:gd name="connsiteX7" fmla="*/ 914400 w 914400"/>
                <a:gd name="connsiteY7" fmla="*/ 1038031 h 1216152"/>
                <a:gd name="connsiteX8" fmla="*/ 457200 w 914400"/>
                <a:gd name="connsiteY8" fmla="*/ 1216152 h 1216152"/>
                <a:gd name="connsiteX9" fmla="*/ 279237 w 914400"/>
                <a:gd name="connsiteY9" fmla="*/ 1202155 h 1216152"/>
                <a:gd name="connsiteX10" fmla="*/ 201575 w 914400"/>
                <a:gd name="connsiteY10" fmla="*/ 1185732 h 1216152"/>
                <a:gd name="connsiteX11" fmla="*/ 0 w 914400"/>
                <a:gd name="connsiteY11" fmla="*/ 1038031 h 1216152"/>
                <a:gd name="connsiteX12" fmla="*/ 0 w 914400"/>
                <a:gd name="connsiteY12" fmla="*/ 178121 h 1216152"/>
                <a:gd name="connsiteX13" fmla="*/ 0 w 914400"/>
                <a:gd name="connsiteY13" fmla="*/ 178121 h 1216152"/>
                <a:gd name="connsiteX14" fmla="*/ 457200 w 914400"/>
                <a:gd name="connsiteY14" fmla="*/ 0 h 1216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14400" h="1216152">
                  <a:moveTo>
                    <a:pt x="460324" y="48397"/>
                  </a:moveTo>
                  <a:cubicBezTo>
                    <a:pt x="248152" y="48397"/>
                    <a:pt x="76152" y="107104"/>
                    <a:pt x="76152" y="179523"/>
                  </a:cubicBezTo>
                  <a:cubicBezTo>
                    <a:pt x="76152" y="251942"/>
                    <a:pt x="248152" y="310649"/>
                    <a:pt x="460324" y="310649"/>
                  </a:cubicBezTo>
                  <a:cubicBezTo>
                    <a:pt x="672496" y="310649"/>
                    <a:pt x="844496" y="251942"/>
                    <a:pt x="844496" y="179523"/>
                  </a:cubicBezTo>
                  <a:cubicBezTo>
                    <a:pt x="844496" y="107104"/>
                    <a:pt x="672496" y="48397"/>
                    <a:pt x="460324" y="48397"/>
                  </a:cubicBezTo>
                  <a:close/>
                  <a:moveTo>
                    <a:pt x="457200" y="0"/>
                  </a:moveTo>
                  <a:cubicBezTo>
                    <a:pt x="709705" y="0"/>
                    <a:pt x="914400" y="79747"/>
                    <a:pt x="914400" y="178121"/>
                  </a:cubicBezTo>
                  <a:lnTo>
                    <a:pt x="914400" y="1038031"/>
                  </a:lnTo>
                  <a:cubicBezTo>
                    <a:pt x="914400" y="1136405"/>
                    <a:pt x="709705" y="1216152"/>
                    <a:pt x="457200" y="1216152"/>
                  </a:cubicBezTo>
                  <a:cubicBezTo>
                    <a:pt x="394074" y="1216152"/>
                    <a:pt x="333936" y="1211168"/>
                    <a:pt x="279237" y="1202155"/>
                  </a:cubicBezTo>
                  <a:cubicBezTo>
                    <a:pt x="251888" y="1197648"/>
                    <a:pt x="225898" y="1192134"/>
                    <a:pt x="201575" y="1185732"/>
                  </a:cubicBezTo>
                  <a:cubicBezTo>
                    <a:pt x="79959" y="1153723"/>
                    <a:pt x="0" y="1099515"/>
                    <a:pt x="0" y="1038031"/>
                  </a:cubicBezTo>
                  <a:lnTo>
                    <a:pt x="0" y="178121"/>
                  </a:lnTo>
                  <a:lnTo>
                    <a:pt x="0" y="178121"/>
                  </a:lnTo>
                  <a:cubicBezTo>
                    <a:pt x="0" y="79747"/>
                    <a:pt x="204695" y="0"/>
                    <a:pt x="457200" y="0"/>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dirty="0">
                <a:solidFill>
                  <a:srgbClr val="FFFFFF"/>
                </a:solidFill>
                <a:latin typeface="Segoe UI Light"/>
                <a:ea typeface="Segoe UI" pitchFamily="34" charset="0"/>
                <a:cs typeface="Segoe UI" pitchFamily="34" charset="0"/>
              </a:endParaRPr>
            </a:p>
          </p:txBody>
        </p:sp>
        <p:sp>
          <p:nvSpPr>
            <p:cNvPr id="45" name="Freeform 44"/>
            <p:cNvSpPr/>
            <p:nvPr/>
          </p:nvSpPr>
          <p:spPr bwMode="auto">
            <a:xfrm>
              <a:off x="7815860" y="4540103"/>
              <a:ext cx="334872" cy="445380"/>
            </a:xfrm>
            <a:custGeom>
              <a:avLst/>
              <a:gdLst>
                <a:gd name="connsiteX0" fmla="*/ 460324 w 914400"/>
                <a:gd name="connsiteY0" fmla="*/ 48397 h 1216152"/>
                <a:gd name="connsiteX1" fmla="*/ 76152 w 914400"/>
                <a:gd name="connsiteY1" fmla="*/ 179523 h 1216152"/>
                <a:gd name="connsiteX2" fmla="*/ 460324 w 914400"/>
                <a:gd name="connsiteY2" fmla="*/ 310649 h 1216152"/>
                <a:gd name="connsiteX3" fmla="*/ 844496 w 914400"/>
                <a:gd name="connsiteY3" fmla="*/ 179523 h 1216152"/>
                <a:gd name="connsiteX4" fmla="*/ 460324 w 914400"/>
                <a:gd name="connsiteY4" fmla="*/ 48397 h 1216152"/>
                <a:gd name="connsiteX5" fmla="*/ 457200 w 914400"/>
                <a:gd name="connsiteY5" fmla="*/ 0 h 1216152"/>
                <a:gd name="connsiteX6" fmla="*/ 914400 w 914400"/>
                <a:gd name="connsiteY6" fmla="*/ 178121 h 1216152"/>
                <a:gd name="connsiteX7" fmla="*/ 914400 w 914400"/>
                <a:gd name="connsiteY7" fmla="*/ 1038031 h 1216152"/>
                <a:gd name="connsiteX8" fmla="*/ 457200 w 914400"/>
                <a:gd name="connsiteY8" fmla="*/ 1216152 h 1216152"/>
                <a:gd name="connsiteX9" fmla="*/ 279237 w 914400"/>
                <a:gd name="connsiteY9" fmla="*/ 1202155 h 1216152"/>
                <a:gd name="connsiteX10" fmla="*/ 201575 w 914400"/>
                <a:gd name="connsiteY10" fmla="*/ 1185732 h 1216152"/>
                <a:gd name="connsiteX11" fmla="*/ 0 w 914400"/>
                <a:gd name="connsiteY11" fmla="*/ 1038031 h 1216152"/>
                <a:gd name="connsiteX12" fmla="*/ 0 w 914400"/>
                <a:gd name="connsiteY12" fmla="*/ 178121 h 1216152"/>
                <a:gd name="connsiteX13" fmla="*/ 0 w 914400"/>
                <a:gd name="connsiteY13" fmla="*/ 178121 h 1216152"/>
                <a:gd name="connsiteX14" fmla="*/ 457200 w 914400"/>
                <a:gd name="connsiteY14" fmla="*/ 0 h 1216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14400" h="1216152">
                  <a:moveTo>
                    <a:pt x="460324" y="48397"/>
                  </a:moveTo>
                  <a:cubicBezTo>
                    <a:pt x="248152" y="48397"/>
                    <a:pt x="76152" y="107104"/>
                    <a:pt x="76152" y="179523"/>
                  </a:cubicBezTo>
                  <a:cubicBezTo>
                    <a:pt x="76152" y="251942"/>
                    <a:pt x="248152" y="310649"/>
                    <a:pt x="460324" y="310649"/>
                  </a:cubicBezTo>
                  <a:cubicBezTo>
                    <a:pt x="672496" y="310649"/>
                    <a:pt x="844496" y="251942"/>
                    <a:pt x="844496" y="179523"/>
                  </a:cubicBezTo>
                  <a:cubicBezTo>
                    <a:pt x="844496" y="107104"/>
                    <a:pt x="672496" y="48397"/>
                    <a:pt x="460324" y="48397"/>
                  </a:cubicBezTo>
                  <a:close/>
                  <a:moveTo>
                    <a:pt x="457200" y="0"/>
                  </a:moveTo>
                  <a:cubicBezTo>
                    <a:pt x="709705" y="0"/>
                    <a:pt x="914400" y="79747"/>
                    <a:pt x="914400" y="178121"/>
                  </a:cubicBezTo>
                  <a:lnTo>
                    <a:pt x="914400" y="1038031"/>
                  </a:lnTo>
                  <a:cubicBezTo>
                    <a:pt x="914400" y="1136405"/>
                    <a:pt x="709705" y="1216152"/>
                    <a:pt x="457200" y="1216152"/>
                  </a:cubicBezTo>
                  <a:cubicBezTo>
                    <a:pt x="394074" y="1216152"/>
                    <a:pt x="333936" y="1211168"/>
                    <a:pt x="279237" y="1202155"/>
                  </a:cubicBezTo>
                  <a:cubicBezTo>
                    <a:pt x="251888" y="1197648"/>
                    <a:pt x="225898" y="1192134"/>
                    <a:pt x="201575" y="1185732"/>
                  </a:cubicBezTo>
                  <a:cubicBezTo>
                    <a:pt x="79959" y="1153723"/>
                    <a:pt x="0" y="1099515"/>
                    <a:pt x="0" y="1038031"/>
                  </a:cubicBezTo>
                  <a:lnTo>
                    <a:pt x="0" y="178121"/>
                  </a:lnTo>
                  <a:lnTo>
                    <a:pt x="0" y="178121"/>
                  </a:lnTo>
                  <a:cubicBezTo>
                    <a:pt x="0" y="79747"/>
                    <a:pt x="204695" y="0"/>
                    <a:pt x="457200"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dirty="0">
                <a:solidFill>
                  <a:srgbClr val="FFFFFF"/>
                </a:solidFill>
                <a:latin typeface="Segoe UI Light"/>
                <a:ea typeface="Segoe UI" pitchFamily="34" charset="0"/>
                <a:cs typeface="Segoe UI" pitchFamily="34" charset="0"/>
              </a:endParaRPr>
            </a:p>
          </p:txBody>
        </p:sp>
        <p:grpSp>
          <p:nvGrpSpPr>
            <p:cNvPr id="46" name="Group 45"/>
            <p:cNvGrpSpPr/>
            <p:nvPr/>
          </p:nvGrpSpPr>
          <p:grpSpPr>
            <a:xfrm>
              <a:off x="8349049" y="3807749"/>
              <a:ext cx="1670243" cy="2221423"/>
              <a:chOff x="8732614" y="3158668"/>
              <a:chExt cx="1703735" cy="2265967"/>
            </a:xfrm>
          </p:grpSpPr>
          <p:sp>
            <p:nvSpPr>
              <p:cNvPr id="47" name="Freeform 46"/>
              <p:cNvSpPr/>
              <p:nvPr/>
            </p:nvSpPr>
            <p:spPr bwMode="auto">
              <a:xfrm>
                <a:off x="8732614" y="3158668"/>
                <a:ext cx="1703735" cy="2265967"/>
              </a:xfrm>
              <a:custGeom>
                <a:avLst/>
                <a:gdLst>
                  <a:gd name="connsiteX0" fmla="*/ 460324 w 914400"/>
                  <a:gd name="connsiteY0" fmla="*/ 48397 h 1216152"/>
                  <a:gd name="connsiteX1" fmla="*/ 76152 w 914400"/>
                  <a:gd name="connsiteY1" fmla="*/ 179523 h 1216152"/>
                  <a:gd name="connsiteX2" fmla="*/ 460324 w 914400"/>
                  <a:gd name="connsiteY2" fmla="*/ 310649 h 1216152"/>
                  <a:gd name="connsiteX3" fmla="*/ 844496 w 914400"/>
                  <a:gd name="connsiteY3" fmla="*/ 179523 h 1216152"/>
                  <a:gd name="connsiteX4" fmla="*/ 460324 w 914400"/>
                  <a:gd name="connsiteY4" fmla="*/ 48397 h 1216152"/>
                  <a:gd name="connsiteX5" fmla="*/ 457200 w 914400"/>
                  <a:gd name="connsiteY5" fmla="*/ 0 h 1216152"/>
                  <a:gd name="connsiteX6" fmla="*/ 914400 w 914400"/>
                  <a:gd name="connsiteY6" fmla="*/ 178121 h 1216152"/>
                  <a:gd name="connsiteX7" fmla="*/ 914400 w 914400"/>
                  <a:gd name="connsiteY7" fmla="*/ 1038031 h 1216152"/>
                  <a:gd name="connsiteX8" fmla="*/ 457200 w 914400"/>
                  <a:gd name="connsiteY8" fmla="*/ 1216152 h 1216152"/>
                  <a:gd name="connsiteX9" fmla="*/ 279237 w 914400"/>
                  <a:gd name="connsiteY9" fmla="*/ 1202155 h 1216152"/>
                  <a:gd name="connsiteX10" fmla="*/ 201575 w 914400"/>
                  <a:gd name="connsiteY10" fmla="*/ 1185732 h 1216152"/>
                  <a:gd name="connsiteX11" fmla="*/ 0 w 914400"/>
                  <a:gd name="connsiteY11" fmla="*/ 1038031 h 1216152"/>
                  <a:gd name="connsiteX12" fmla="*/ 0 w 914400"/>
                  <a:gd name="connsiteY12" fmla="*/ 178121 h 1216152"/>
                  <a:gd name="connsiteX13" fmla="*/ 0 w 914400"/>
                  <a:gd name="connsiteY13" fmla="*/ 178121 h 1216152"/>
                  <a:gd name="connsiteX14" fmla="*/ 457200 w 914400"/>
                  <a:gd name="connsiteY14" fmla="*/ 0 h 1216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14400" h="1216152">
                    <a:moveTo>
                      <a:pt x="460324" y="48397"/>
                    </a:moveTo>
                    <a:cubicBezTo>
                      <a:pt x="248152" y="48397"/>
                      <a:pt x="76152" y="107104"/>
                      <a:pt x="76152" y="179523"/>
                    </a:cubicBezTo>
                    <a:cubicBezTo>
                      <a:pt x="76152" y="251942"/>
                      <a:pt x="248152" y="310649"/>
                      <a:pt x="460324" y="310649"/>
                    </a:cubicBezTo>
                    <a:cubicBezTo>
                      <a:pt x="672496" y="310649"/>
                      <a:pt x="844496" y="251942"/>
                      <a:pt x="844496" y="179523"/>
                    </a:cubicBezTo>
                    <a:cubicBezTo>
                      <a:pt x="844496" y="107104"/>
                      <a:pt x="672496" y="48397"/>
                      <a:pt x="460324" y="48397"/>
                    </a:cubicBezTo>
                    <a:close/>
                    <a:moveTo>
                      <a:pt x="457200" y="0"/>
                    </a:moveTo>
                    <a:cubicBezTo>
                      <a:pt x="709705" y="0"/>
                      <a:pt x="914400" y="79747"/>
                      <a:pt x="914400" y="178121"/>
                    </a:cubicBezTo>
                    <a:lnTo>
                      <a:pt x="914400" y="1038031"/>
                    </a:lnTo>
                    <a:cubicBezTo>
                      <a:pt x="914400" y="1136405"/>
                      <a:pt x="709705" y="1216152"/>
                      <a:pt x="457200" y="1216152"/>
                    </a:cubicBezTo>
                    <a:cubicBezTo>
                      <a:pt x="394074" y="1216152"/>
                      <a:pt x="333936" y="1211168"/>
                      <a:pt x="279237" y="1202155"/>
                    </a:cubicBezTo>
                    <a:cubicBezTo>
                      <a:pt x="251888" y="1197648"/>
                      <a:pt x="225898" y="1192134"/>
                      <a:pt x="201575" y="1185732"/>
                    </a:cubicBezTo>
                    <a:cubicBezTo>
                      <a:pt x="79959" y="1153723"/>
                      <a:pt x="0" y="1099515"/>
                      <a:pt x="0" y="1038031"/>
                    </a:cubicBezTo>
                    <a:lnTo>
                      <a:pt x="0" y="178121"/>
                    </a:lnTo>
                    <a:lnTo>
                      <a:pt x="0" y="178121"/>
                    </a:lnTo>
                    <a:cubicBezTo>
                      <a:pt x="0" y="79747"/>
                      <a:pt x="204695" y="0"/>
                      <a:pt x="457200"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IN" sz="3137"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pic>
            <p:nvPicPr>
              <p:cNvPr id="48" name="Picture 3"/>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839691" y="4287387"/>
                <a:ext cx="1489581" cy="2703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sp>
        <p:nvSpPr>
          <p:cNvPr id="50" name="Rectangle 49"/>
          <p:cNvSpPr/>
          <p:nvPr/>
        </p:nvSpPr>
        <p:spPr>
          <a:xfrm>
            <a:off x="2866696" y="7181363"/>
            <a:ext cx="5266225" cy="1075710"/>
          </a:xfrm>
          <a:prstGeom prst="rect">
            <a:avLst/>
          </a:prstGeom>
          <a:noFill/>
          <a:ln w="3175">
            <a:noFill/>
          </a:ln>
        </p:spPr>
        <p:txBody>
          <a:bodyPr wrap="square" lIns="0" tIns="0" rIns="0" bIns="0">
            <a:noAutofit/>
          </a:bodyPr>
          <a:lstStyle/>
          <a:p>
            <a:pPr marL="0" lvl="1" defTabSz="913770" fontAlgn="base">
              <a:spcBef>
                <a:spcPts val="588"/>
              </a:spcBef>
              <a:buClr>
                <a:srgbClr val="68217A">
                  <a:lumMod val="50000"/>
                </a:srgbClr>
              </a:buClr>
              <a:tabLst>
                <a:tab pos="645523" algn="l"/>
              </a:tabLst>
            </a:pPr>
            <a:r>
              <a:rPr lang="en-IN" sz="2353" dirty="0">
                <a:solidFill>
                  <a:srgbClr val="505050"/>
                </a:solidFill>
                <a:latin typeface="Segoe UI Semibold" panose="020B0702040204020203" pitchFamily="34" charset="0"/>
                <a:ea typeface="Segoe UI" pitchFamily="34" charset="0"/>
                <a:cs typeface="Segoe UI Semibold" panose="020B0702040204020203" pitchFamily="34" charset="0"/>
              </a:rPr>
              <a:t>Open source</a:t>
            </a:r>
          </a:p>
          <a:p>
            <a:pPr marL="0" lvl="1" defTabSz="913770" fontAlgn="base">
              <a:spcBef>
                <a:spcPts val="196"/>
              </a:spcBef>
              <a:spcAft>
                <a:spcPts val="196"/>
              </a:spcAft>
              <a:buClr>
                <a:srgbClr val="68217A">
                  <a:lumMod val="50000"/>
                </a:srgbClr>
              </a:buClr>
              <a:tabLst>
                <a:tab pos="645523" algn="l"/>
              </a:tabLst>
            </a:pPr>
            <a:r>
              <a:rPr lang="en-IN" sz="1765" dirty="0" err="1">
                <a:solidFill>
                  <a:srgbClr val="505050"/>
                </a:solidFill>
                <a:ea typeface="Segoe UI" pitchFamily="34" charset="0"/>
                <a:cs typeface="Segoe UI" pitchFamily="34" charset="0"/>
              </a:rPr>
              <a:t>Modeled</a:t>
            </a:r>
            <a:r>
              <a:rPr lang="en-IN" sz="1765" dirty="0">
                <a:solidFill>
                  <a:srgbClr val="505050"/>
                </a:solidFill>
                <a:ea typeface="Segoe UI" pitchFamily="34" charset="0"/>
                <a:cs typeface="Segoe UI" pitchFamily="34" charset="0"/>
              </a:rPr>
              <a:t> after Google’s </a:t>
            </a:r>
            <a:r>
              <a:rPr lang="en-IN" sz="1765" dirty="0" err="1">
                <a:solidFill>
                  <a:srgbClr val="505050"/>
                </a:solidFill>
                <a:ea typeface="Segoe UI" pitchFamily="34" charset="0"/>
                <a:cs typeface="Segoe UI" pitchFamily="34" charset="0"/>
              </a:rPr>
              <a:t>BigTable</a:t>
            </a:r>
            <a:endParaRPr lang="en-IN" sz="1765" dirty="0">
              <a:solidFill>
                <a:srgbClr val="505050"/>
              </a:solidFill>
              <a:ea typeface="Segoe UI" pitchFamily="34" charset="0"/>
              <a:cs typeface="Segoe UI" pitchFamily="34" charset="0"/>
            </a:endParaRPr>
          </a:p>
        </p:txBody>
      </p:sp>
    </p:spTree>
    <p:extLst>
      <p:ext uri="{BB962C8B-B14F-4D97-AF65-F5344CB8AC3E}">
        <p14:creationId xmlns:p14="http://schemas.microsoft.com/office/powerpoint/2010/main" val="2390671274"/>
      </p:ext>
    </p:extLst>
  </p:cSld>
  <p:clrMapOvr>
    <a:masterClrMapping/>
  </p:clrMapOvr>
  <p:transition spd="med">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Base: Data model</a:t>
            </a:r>
          </a:p>
        </p:txBody>
      </p:sp>
      <p:graphicFrame>
        <p:nvGraphicFramePr>
          <p:cNvPr id="71" name="Table 70"/>
          <p:cNvGraphicFramePr>
            <a:graphicFrameLocks noGrp="1"/>
          </p:cNvGraphicFramePr>
          <p:nvPr>
            <p:extLst>
              <p:ext uri="{D42A27DB-BD31-4B8C-83A1-F6EECF244321}">
                <p14:modId xmlns:p14="http://schemas.microsoft.com/office/powerpoint/2010/main" val="4113508194"/>
              </p:ext>
            </p:extLst>
          </p:nvPr>
        </p:nvGraphicFramePr>
        <p:xfrm>
          <a:off x="6068505" y="1779070"/>
          <a:ext cx="5842014" cy="1633356"/>
        </p:xfrm>
        <a:graphic>
          <a:graphicData uri="http://schemas.openxmlformats.org/drawingml/2006/table">
            <a:tbl>
              <a:tblPr firstRow="1" bandRow="1"/>
              <a:tblGrid>
                <a:gridCol w="1187324">
                  <a:extLst>
                    <a:ext uri="{9D8B030D-6E8A-4147-A177-3AD203B41FA5}">
                      <a16:colId xmlns:a16="http://schemas.microsoft.com/office/drawing/2014/main" val="20000"/>
                    </a:ext>
                  </a:extLst>
                </a:gridCol>
                <a:gridCol w="1249668">
                  <a:extLst>
                    <a:ext uri="{9D8B030D-6E8A-4147-A177-3AD203B41FA5}">
                      <a16:colId xmlns:a16="http://schemas.microsoft.com/office/drawing/2014/main" val="20001"/>
                    </a:ext>
                  </a:extLst>
                </a:gridCol>
                <a:gridCol w="1457684">
                  <a:extLst>
                    <a:ext uri="{9D8B030D-6E8A-4147-A177-3AD203B41FA5}">
                      <a16:colId xmlns:a16="http://schemas.microsoft.com/office/drawing/2014/main" val="20002"/>
                    </a:ext>
                  </a:extLst>
                </a:gridCol>
                <a:gridCol w="973669">
                  <a:extLst>
                    <a:ext uri="{9D8B030D-6E8A-4147-A177-3AD203B41FA5}">
                      <a16:colId xmlns:a16="http://schemas.microsoft.com/office/drawing/2014/main" val="20003"/>
                    </a:ext>
                  </a:extLst>
                </a:gridCol>
                <a:gridCol w="973669">
                  <a:extLst>
                    <a:ext uri="{9D8B030D-6E8A-4147-A177-3AD203B41FA5}">
                      <a16:colId xmlns:a16="http://schemas.microsoft.com/office/drawing/2014/main" val="20004"/>
                    </a:ext>
                  </a:extLst>
                </a:gridCol>
              </a:tblGrid>
              <a:tr h="292832">
                <a:tc>
                  <a:txBody>
                    <a:bodyPr/>
                    <a:lstStyle/>
                    <a:p>
                      <a:pPr algn="ctr"/>
                      <a:r>
                        <a:rPr lang="en-IN" sz="1600" dirty="0">
                          <a:solidFill>
                            <a:schemeClr val="bg1"/>
                          </a:solidFill>
                          <a:latin typeface="Segoe UI Semibold" panose="020B0702040204020203" pitchFamily="34" charset="0"/>
                          <a:cs typeface="Segoe UI Semibold" panose="020B0702040204020203" pitchFamily="34" charset="0"/>
                        </a:rPr>
                        <a:t>Row Key </a:t>
                      </a:r>
                    </a:p>
                  </a:txBody>
                  <a:tcPr marL="44821" marR="44821" marT="26893" marB="26893"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1"/>
                    </a:solidFill>
                  </a:tcPr>
                </a:tc>
                <a:tc gridSpan="2">
                  <a:txBody>
                    <a:bodyPr/>
                    <a:lstStyle/>
                    <a:p>
                      <a:pPr algn="ctr"/>
                      <a:r>
                        <a:rPr lang="en-IN" sz="1600" dirty="0">
                          <a:solidFill>
                            <a:schemeClr val="bg1"/>
                          </a:solidFill>
                          <a:latin typeface="Segoe UI Semibold" panose="020B0702040204020203" pitchFamily="34" charset="0"/>
                          <a:cs typeface="Segoe UI Semibold" panose="020B0702040204020203" pitchFamily="34" charset="0"/>
                        </a:rPr>
                        <a:t>Customer</a:t>
                      </a:r>
                    </a:p>
                  </a:txBody>
                  <a:tcPr marL="44821" marR="44821" marT="26893" marB="26893"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1"/>
                    </a:solidFill>
                  </a:tcPr>
                </a:tc>
                <a:tc hMerge="1">
                  <a:txBody>
                    <a:bodyPr/>
                    <a:lstStyle/>
                    <a:p>
                      <a:endParaRPr lang="en-IN"/>
                    </a:p>
                  </a:txBody>
                  <a:tcPr/>
                </a:tc>
                <a:tc gridSpan="2">
                  <a:txBody>
                    <a:bodyPr/>
                    <a:lstStyle/>
                    <a:p>
                      <a:pPr algn="ctr"/>
                      <a:r>
                        <a:rPr lang="en-IN" sz="1600" dirty="0">
                          <a:solidFill>
                            <a:schemeClr val="bg1"/>
                          </a:solidFill>
                          <a:latin typeface="Segoe UI Semibold" panose="020B0702040204020203" pitchFamily="34" charset="0"/>
                          <a:cs typeface="Segoe UI Semibold" panose="020B0702040204020203" pitchFamily="34" charset="0"/>
                        </a:rPr>
                        <a:t>Sales</a:t>
                      </a:r>
                    </a:p>
                  </a:txBody>
                  <a:tcPr marL="44821" marR="44821" marT="26893" marB="26893"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1"/>
                    </a:solidFill>
                  </a:tcPr>
                </a:tc>
                <a:tc hMerge="1">
                  <a:txBody>
                    <a:bodyPr/>
                    <a:lstStyle/>
                    <a:p>
                      <a:endParaRPr lang="en-IN"/>
                    </a:p>
                  </a:txBody>
                  <a:tcPr/>
                </a:tc>
                <a:extLst>
                  <a:ext uri="{0D108BD9-81ED-4DB2-BD59-A6C34878D82A}">
                    <a16:rowId xmlns:a16="http://schemas.microsoft.com/office/drawing/2014/main" val="10000"/>
                  </a:ext>
                </a:extLst>
              </a:tr>
              <a:tr h="262951">
                <a:tc>
                  <a:txBody>
                    <a:bodyPr/>
                    <a:lstStyle/>
                    <a:p>
                      <a:r>
                        <a:rPr lang="en-IN" sz="1400" dirty="0">
                          <a:solidFill>
                            <a:schemeClr val="tx2"/>
                          </a:solidFill>
                        </a:rPr>
                        <a:t>Customer Id</a:t>
                      </a:r>
                    </a:p>
                  </a:txBody>
                  <a:tcPr marL="44821" marR="44821" marT="26893" marB="26893" anchor="ctr">
                    <a:lnL w="12700" cmpd="sng">
                      <a:noFill/>
                      <a:prstDash val="solid"/>
                    </a:lnL>
                    <a:lnR w="9525" cap="flat" cmpd="sng" algn="ctr">
                      <a:solidFill>
                        <a:schemeClr val="bg1">
                          <a:lumMod val="75000"/>
                        </a:schemeClr>
                      </a:solidFill>
                      <a:prstDash val="solid"/>
                      <a:round/>
                      <a:headEnd type="none" w="med" len="med"/>
                      <a:tailEnd type="none" w="med" len="med"/>
                    </a:lnR>
                    <a:lnT w="12700" cmpd="sng">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IN" sz="1400" dirty="0">
                          <a:solidFill>
                            <a:schemeClr val="tx2"/>
                          </a:solidFill>
                        </a:rPr>
                        <a:t>Name</a:t>
                      </a:r>
                    </a:p>
                  </a:txBody>
                  <a:tcPr marL="44821" marR="44821" marT="26893" marB="26893"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mpd="sng">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IN" sz="1400" dirty="0">
                          <a:solidFill>
                            <a:schemeClr val="tx2"/>
                          </a:solidFill>
                        </a:rPr>
                        <a:t>City</a:t>
                      </a:r>
                    </a:p>
                  </a:txBody>
                  <a:tcPr marL="44821" marR="44821" marT="26893" marB="26893"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mpd="sng">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IN" sz="1400" dirty="0">
                          <a:solidFill>
                            <a:schemeClr val="tx2"/>
                          </a:solidFill>
                        </a:rPr>
                        <a:t>Product</a:t>
                      </a:r>
                    </a:p>
                  </a:txBody>
                  <a:tcPr marL="44821" marR="44821" marT="26893" marB="26893"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mpd="sng">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IN" sz="1400" dirty="0">
                          <a:solidFill>
                            <a:schemeClr val="tx2"/>
                          </a:solidFill>
                        </a:rPr>
                        <a:t>Amount</a:t>
                      </a:r>
                    </a:p>
                  </a:txBody>
                  <a:tcPr marL="44821" marR="44821" marT="26893" marB="26893" anchor="ctr">
                    <a:lnL w="9525" cap="flat" cmpd="sng" algn="ctr">
                      <a:solidFill>
                        <a:schemeClr val="bg1">
                          <a:lumMod val="75000"/>
                        </a:schemeClr>
                      </a:solidFill>
                      <a:prstDash val="solid"/>
                      <a:round/>
                      <a:headEnd type="none" w="med" len="med"/>
                      <a:tailEnd type="none" w="med" len="med"/>
                    </a:lnL>
                    <a:lnR w="12700" cmpd="sng">
                      <a:noFill/>
                      <a:prstDash val="solid"/>
                    </a:lnR>
                    <a:lnT w="12700" cmpd="sng">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262951">
                <a:tc>
                  <a:txBody>
                    <a:bodyPr/>
                    <a:lstStyle/>
                    <a:p>
                      <a:r>
                        <a:rPr lang="en-IN" sz="1400" dirty="0">
                          <a:solidFill>
                            <a:schemeClr val="tx2"/>
                          </a:solidFill>
                        </a:rPr>
                        <a:t>101</a:t>
                      </a:r>
                    </a:p>
                  </a:txBody>
                  <a:tcPr marL="44821" marR="44821" marT="26893" marB="26893" anchor="ctr">
                    <a:lnL w="12700" cmpd="sng">
                      <a:noFill/>
                      <a:prstDash val="soli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IN" sz="1400" dirty="0">
                          <a:solidFill>
                            <a:schemeClr val="tx2"/>
                          </a:solidFill>
                        </a:rPr>
                        <a:t>John White</a:t>
                      </a:r>
                    </a:p>
                  </a:txBody>
                  <a:tcPr marL="44821" marR="44821" marT="26893" marB="26893"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IN" sz="1400" dirty="0">
                          <a:solidFill>
                            <a:schemeClr val="tx2"/>
                          </a:solidFill>
                        </a:rPr>
                        <a:t>Los Angeles, CA</a:t>
                      </a:r>
                    </a:p>
                  </a:txBody>
                  <a:tcPr marL="44821" marR="44821" marT="26893" marB="26893"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IN" sz="1400" dirty="0">
                          <a:solidFill>
                            <a:schemeClr val="tx2"/>
                          </a:solidFill>
                        </a:rPr>
                        <a:t>Chairs</a:t>
                      </a:r>
                    </a:p>
                  </a:txBody>
                  <a:tcPr marL="44821" marR="44821" marT="26893" marB="26893"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IN" sz="1400" dirty="0">
                          <a:solidFill>
                            <a:schemeClr val="tx2"/>
                          </a:solidFill>
                        </a:rPr>
                        <a:t>$400.00</a:t>
                      </a:r>
                    </a:p>
                  </a:txBody>
                  <a:tcPr marL="44821" marR="44821" marT="26893" marB="26893" anchor="ctr">
                    <a:lnL w="9525" cap="flat" cmpd="sng" algn="ctr">
                      <a:solidFill>
                        <a:schemeClr val="bg1">
                          <a:lumMod val="75000"/>
                        </a:schemeClr>
                      </a:solidFill>
                      <a:prstDash val="solid"/>
                      <a:round/>
                      <a:headEnd type="none" w="med" len="med"/>
                      <a:tailEnd type="none" w="med" len="med"/>
                    </a:lnL>
                    <a:lnR w="12700" cmpd="sng">
                      <a:noFill/>
                      <a:prstDash val="soli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262951">
                <a:tc>
                  <a:txBody>
                    <a:bodyPr/>
                    <a:lstStyle/>
                    <a:p>
                      <a:r>
                        <a:rPr lang="en-IN" sz="1400" dirty="0">
                          <a:solidFill>
                            <a:schemeClr val="tx2"/>
                          </a:solidFill>
                        </a:rPr>
                        <a:t>102</a:t>
                      </a:r>
                    </a:p>
                  </a:txBody>
                  <a:tcPr marL="44821" marR="44821" marT="26893" marB="26893" anchor="ctr">
                    <a:lnL w="12700" cmpd="sng">
                      <a:noFill/>
                      <a:prstDash val="soli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r>
                        <a:rPr lang="en-IN" sz="1400" dirty="0">
                          <a:solidFill>
                            <a:schemeClr val="tx2"/>
                          </a:solidFill>
                        </a:rPr>
                        <a:t>Jane</a:t>
                      </a:r>
                      <a:r>
                        <a:rPr lang="en-IN" sz="1400" baseline="0" dirty="0">
                          <a:solidFill>
                            <a:schemeClr val="tx2"/>
                          </a:solidFill>
                        </a:rPr>
                        <a:t> Brown</a:t>
                      </a:r>
                      <a:endParaRPr lang="en-IN" sz="1400" dirty="0">
                        <a:solidFill>
                          <a:schemeClr val="tx2"/>
                        </a:solidFill>
                      </a:endParaRPr>
                    </a:p>
                  </a:txBody>
                  <a:tcPr marL="44821" marR="44821" marT="26893" marB="26893"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r>
                        <a:rPr lang="en-IN" sz="1400" dirty="0">
                          <a:solidFill>
                            <a:schemeClr val="tx2"/>
                          </a:solidFill>
                        </a:rPr>
                        <a:t>Atlanta, GA</a:t>
                      </a:r>
                    </a:p>
                  </a:txBody>
                  <a:tcPr marL="44821" marR="44821" marT="26893" marB="26893"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r>
                        <a:rPr lang="en-IN" sz="1400" dirty="0">
                          <a:solidFill>
                            <a:schemeClr val="tx2"/>
                          </a:solidFill>
                        </a:rPr>
                        <a:t>Lamps</a:t>
                      </a:r>
                    </a:p>
                  </a:txBody>
                  <a:tcPr marL="44821" marR="44821" marT="26893" marB="26893"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IN" sz="1400" dirty="0">
                          <a:solidFill>
                            <a:schemeClr val="tx2"/>
                          </a:solidFill>
                        </a:rPr>
                        <a:t>$200.00</a:t>
                      </a:r>
                    </a:p>
                  </a:txBody>
                  <a:tcPr marL="44821" marR="44821" marT="26893" marB="26893" anchor="ctr">
                    <a:lnL w="9525" cap="flat" cmpd="sng" algn="ctr">
                      <a:solidFill>
                        <a:schemeClr val="bg1">
                          <a:lumMod val="75000"/>
                        </a:schemeClr>
                      </a:solidFill>
                      <a:prstDash val="solid"/>
                      <a:round/>
                      <a:headEnd type="none" w="med" len="med"/>
                      <a:tailEnd type="none" w="med" len="med"/>
                    </a:lnL>
                    <a:lnR w="12700" cmpd="sng">
                      <a:noFill/>
                      <a:prstDash val="soli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10003"/>
                  </a:ext>
                </a:extLst>
              </a:tr>
              <a:tr h="262951">
                <a:tc>
                  <a:txBody>
                    <a:bodyPr/>
                    <a:lstStyle/>
                    <a:p>
                      <a:r>
                        <a:rPr lang="en-IN" sz="1400" dirty="0">
                          <a:solidFill>
                            <a:schemeClr val="tx2"/>
                          </a:solidFill>
                        </a:rPr>
                        <a:t>103</a:t>
                      </a:r>
                    </a:p>
                  </a:txBody>
                  <a:tcPr marL="44821" marR="44821" marT="26893" marB="26893" anchor="ctr">
                    <a:lnL w="12700" cmpd="sng">
                      <a:noFill/>
                      <a:prstDash val="soli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IN" sz="1400" dirty="0">
                          <a:solidFill>
                            <a:schemeClr val="tx2"/>
                          </a:solidFill>
                        </a:rPr>
                        <a:t>Bill Green</a:t>
                      </a:r>
                    </a:p>
                  </a:txBody>
                  <a:tcPr marL="44821" marR="44821" marT="26893" marB="26893"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IN" sz="1400" dirty="0">
                          <a:solidFill>
                            <a:schemeClr val="tx2"/>
                          </a:solidFill>
                        </a:rPr>
                        <a:t>Pittsburgh,</a:t>
                      </a:r>
                      <a:r>
                        <a:rPr lang="en-IN" sz="1400" baseline="0" dirty="0">
                          <a:solidFill>
                            <a:schemeClr val="tx2"/>
                          </a:solidFill>
                        </a:rPr>
                        <a:t> PA</a:t>
                      </a:r>
                      <a:endParaRPr lang="en-IN" sz="1400" dirty="0">
                        <a:solidFill>
                          <a:schemeClr val="tx2"/>
                        </a:solidFill>
                      </a:endParaRPr>
                    </a:p>
                  </a:txBody>
                  <a:tcPr marL="44821" marR="44821" marT="26893" marB="26893"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IN" sz="1400" dirty="0">
                          <a:solidFill>
                            <a:schemeClr val="tx2"/>
                          </a:solidFill>
                        </a:rPr>
                        <a:t>Desk</a:t>
                      </a:r>
                    </a:p>
                  </a:txBody>
                  <a:tcPr marL="44821" marR="44821" marT="26893" marB="26893"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IN" sz="1400" dirty="0">
                          <a:solidFill>
                            <a:schemeClr val="tx2"/>
                          </a:solidFill>
                        </a:rPr>
                        <a:t>$500.00</a:t>
                      </a:r>
                    </a:p>
                  </a:txBody>
                  <a:tcPr marL="44821" marR="44821" marT="26893" marB="26893" anchor="ctr">
                    <a:lnL w="9525" cap="flat" cmpd="sng" algn="ctr">
                      <a:solidFill>
                        <a:schemeClr val="bg1">
                          <a:lumMod val="75000"/>
                        </a:schemeClr>
                      </a:solidFill>
                      <a:prstDash val="solid"/>
                      <a:round/>
                      <a:headEnd type="none" w="med" len="med"/>
                      <a:tailEnd type="none" w="med" len="med"/>
                    </a:lnL>
                    <a:lnR w="12700" cmpd="sng">
                      <a:noFill/>
                      <a:prstDash val="soli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262951">
                <a:tc>
                  <a:txBody>
                    <a:bodyPr/>
                    <a:lstStyle/>
                    <a:p>
                      <a:r>
                        <a:rPr lang="en-IN" sz="1400" dirty="0">
                          <a:solidFill>
                            <a:schemeClr val="tx2"/>
                          </a:solidFill>
                        </a:rPr>
                        <a:t>104</a:t>
                      </a:r>
                    </a:p>
                  </a:txBody>
                  <a:tcPr marL="44821" marR="44821" marT="26893" marB="26893" anchor="ctr">
                    <a:lnL w="12700" cmpd="sng">
                      <a:noFill/>
                      <a:prstDash val="soli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accent1">
                        <a:lumMod val="20000"/>
                        <a:lumOff val="80000"/>
                      </a:schemeClr>
                    </a:solidFill>
                  </a:tcPr>
                </a:tc>
                <a:tc>
                  <a:txBody>
                    <a:bodyPr/>
                    <a:lstStyle/>
                    <a:p>
                      <a:r>
                        <a:rPr lang="en-IN" sz="1400" dirty="0">
                          <a:solidFill>
                            <a:schemeClr val="tx2"/>
                          </a:solidFill>
                        </a:rPr>
                        <a:t>Jack Black</a:t>
                      </a:r>
                    </a:p>
                  </a:txBody>
                  <a:tcPr marL="44821" marR="44821" marT="26893" marB="26893"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accent1">
                        <a:lumMod val="20000"/>
                        <a:lumOff val="80000"/>
                      </a:schemeClr>
                    </a:solidFill>
                  </a:tcPr>
                </a:tc>
                <a:tc>
                  <a:txBody>
                    <a:bodyPr/>
                    <a:lstStyle/>
                    <a:p>
                      <a:r>
                        <a:rPr lang="en-IN" sz="1400" dirty="0">
                          <a:solidFill>
                            <a:schemeClr val="tx2"/>
                          </a:solidFill>
                        </a:rPr>
                        <a:t>St. Louis, MO</a:t>
                      </a:r>
                    </a:p>
                  </a:txBody>
                  <a:tcPr marL="44821" marR="44821" marT="26893" marB="26893"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accent1">
                        <a:lumMod val="20000"/>
                        <a:lumOff val="80000"/>
                      </a:schemeClr>
                    </a:solidFill>
                  </a:tcPr>
                </a:tc>
                <a:tc>
                  <a:txBody>
                    <a:bodyPr/>
                    <a:lstStyle/>
                    <a:p>
                      <a:r>
                        <a:rPr lang="en-IN" sz="1400" dirty="0">
                          <a:solidFill>
                            <a:schemeClr val="tx2"/>
                          </a:solidFill>
                        </a:rPr>
                        <a:t>Bed</a:t>
                      </a:r>
                    </a:p>
                  </a:txBody>
                  <a:tcPr marL="44821" marR="44821" marT="26893" marB="26893"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IN" sz="1400" dirty="0">
                          <a:solidFill>
                            <a:schemeClr val="tx2"/>
                          </a:solidFill>
                        </a:rPr>
                        <a:t>$1600.00</a:t>
                      </a:r>
                    </a:p>
                  </a:txBody>
                  <a:tcPr marL="44821" marR="44821" marT="26893" marB="26893" anchor="ctr">
                    <a:lnL w="9525" cap="flat" cmpd="sng" algn="ctr">
                      <a:solidFill>
                        <a:schemeClr val="bg1">
                          <a:lumMod val="75000"/>
                        </a:schemeClr>
                      </a:solidFill>
                      <a:prstDash val="solid"/>
                      <a:round/>
                      <a:headEnd type="none" w="med" len="med"/>
                      <a:tailEnd type="none" w="med" len="med"/>
                    </a:lnL>
                    <a:lnR w="12700" cmpd="sng">
                      <a:noFill/>
                      <a:prstDash val="solid"/>
                    </a:lnR>
                    <a:lnT w="9525" cap="flat" cmpd="sng" algn="ctr">
                      <a:solidFill>
                        <a:schemeClr val="bg1">
                          <a:lumMod val="75000"/>
                        </a:schemeClr>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10005"/>
                  </a:ext>
                </a:extLst>
              </a:tr>
            </a:tbl>
          </a:graphicData>
        </a:graphic>
      </p:graphicFrame>
      <p:sp>
        <p:nvSpPr>
          <p:cNvPr id="72" name="Rectangle 71"/>
          <p:cNvSpPr/>
          <p:nvPr/>
        </p:nvSpPr>
        <p:spPr bwMode="auto">
          <a:xfrm>
            <a:off x="7246570" y="1758293"/>
            <a:ext cx="2657886" cy="1640566"/>
          </a:xfrm>
          <a:prstGeom prst="rect">
            <a:avLst/>
          </a:pr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IN" sz="1961" b="1" dirty="0">
              <a:solidFill>
                <a:srgbClr val="FFFFFF"/>
              </a:solidFill>
              <a:latin typeface="Segoe UI Light"/>
              <a:ea typeface="Segoe UI" pitchFamily="34" charset="0"/>
              <a:cs typeface="Segoe UI" pitchFamily="34" charset="0"/>
            </a:endParaRPr>
          </a:p>
        </p:txBody>
      </p:sp>
      <p:sp>
        <p:nvSpPr>
          <p:cNvPr id="75" name="Rectangle 74"/>
          <p:cNvSpPr/>
          <p:nvPr/>
        </p:nvSpPr>
        <p:spPr bwMode="auto">
          <a:xfrm>
            <a:off x="9963828" y="1758293"/>
            <a:ext cx="1870432" cy="1640566"/>
          </a:xfrm>
          <a:prstGeom prst="rect">
            <a:avLst/>
          </a:pr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IN" sz="1961" b="1" dirty="0">
              <a:solidFill>
                <a:srgbClr val="FFFFFF"/>
              </a:solidFill>
              <a:latin typeface="Segoe UI Light"/>
              <a:ea typeface="Segoe UI" pitchFamily="34" charset="0"/>
              <a:cs typeface="Segoe UI" pitchFamily="34" charset="0"/>
            </a:endParaRPr>
          </a:p>
        </p:txBody>
      </p:sp>
      <p:cxnSp>
        <p:nvCxnSpPr>
          <p:cNvPr id="77" name="Elbow Connector 76"/>
          <p:cNvCxnSpPr/>
          <p:nvPr/>
        </p:nvCxnSpPr>
        <p:spPr>
          <a:xfrm rot="16200000" flipH="1">
            <a:off x="9765290" y="2255771"/>
            <a:ext cx="12450" cy="2323531"/>
          </a:xfrm>
          <a:prstGeom prst="bentConnector3">
            <a:avLst>
              <a:gd name="adj1" fmla="val 1824984"/>
            </a:avLst>
          </a:prstGeom>
          <a:noFill/>
          <a:ln w="19050">
            <a:solidFill>
              <a:schemeClr val="accent2"/>
            </a:solidFill>
            <a:headEnd type="triangle" w="lg" len="med"/>
            <a:tailEnd type="triangle" w="lg" len="med"/>
          </a:ln>
          <a:effectLst/>
        </p:spPr>
        <p:style>
          <a:lnRef idx="1">
            <a:schemeClr val="accent2"/>
          </a:lnRef>
          <a:fillRef idx="3">
            <a:schemeClr val="accent2"/>
          </a:fillRef>
          <a:effectRef idx="2">
            <a:schemeClr val="accent2"/>
          </a:effectRef>
          <a:fontRef idx="minor">
            <a:schemeClr val="lt1"/>
          </a:fontRef>
        </p:style>
      </p:cxnSp>
      <p:sp>
        <p:nvSpPr>
          <p:cNvPr id="70" name="TextBox 69"/>
          <p:cNvSpPr txBox="1"/>
          <p:nvPr/>
        </p:nvSpPr>
        <p:spPr>
          <a:xfrm>
            <a:off x="8895949" y="3500384"/>
            <a:ext cx="1751130" cy="248387"/>
          </a:xfrm>
          <a:prstGeom prst="rect">
            <a:avLst/>
          </a:prstGeom>
          <a:solidFill>
            <a:schemeClr val="bg1"/>
          </a:solidFill>
        </p:spPr>
        <p:txBody>
          <a:bodyPr wrap="none" lIns="0" tIns="0" rIns="0" bIns="0" rtlCol="0" anchor="ctr">
            <a:noAutofit/>
          </a:bodyPr>
          <a:lstStyle>
            <a:defPPr>
              <a:defRPr lang="en-US"/>
            </a:defPPr>
            <a:lvl1pPr algn="ctr">
              <a:defRPr sz="2000">
                <a:solidFill>
                  <a:schemeClr val="tx2"/>
                </a:solidFill>
                <a:cs typeface="Segoe UI Semibold" panose="020B0702040204020203" pitchFamily="34" charset="0"/>
              </a:defRPr>
            </a:lvl1pPr>
          </a:lstStyle>
          <a:p>
            <a:pPr defTabSz="914367"/>
            <a:r>
              <a:rPr lang="en-US" sz="1372" dirty="0">
                <a:solidFill>
                  <a:srgbClr val="505050"/>
                </a:solidFill>
                <a:latin typeface="Segoe UI Semibold" panose="020B0702040204020203" pitchFamily="34" charset="0"/>
              </a:rPr>
              <a:t>Column Families</a:t>
            </a:r>
          </a:p>
        </p:txBody>
      </p:sp>
      <p:sp>
        <p:nvSpPr>
          <p:cNvPr id="3" name="Slide Number Placeholder 2"/>
          <p:cNvSpPr>
            <a:spLocks noGrp="1"/>
          </p:cNvSpPr>
          <p:nvPr>
            <p:ph type="sldNum" sz="quarter" idx="11"/>
          </p:nvPr>
        </p:nvSpPr>
        <p:spPr>
          <a:xfrm>
            <a:off x="11226526" y="6818465"/>
            <a:ext cx="555597" cy="133860"/>
          </a:xfrm>
        </p:spPr>
        <p:txBody>
          <a:bodyPr/>
          <a:lstStyle/>
          <a:p>
            <a:pPr>
              <a:defRPr/>
            </a:pPr>
            <a:fld id="{F8A0AC42-AA1D-4944-8D96-660DE70C7E1B}" type="slidenum">
              <a:rPr lang="en-IN"/>
              <a:pPr>
                <a:defRPr/>
              </a:pPr>
              <a:t>54</a:t>
            </a:fld>
            <a:endParaRPr lang="en-IN" dirty="0"/>
          </a:p>
        </p:txBody>
      </p:sp>
      <p:sp>
        <p:nvSpPr>
          <p:cNvPr id="4" name="TextBox 3"/>
          <p:cNvSpPr txBox="1"/>
          <p:nvPr/>
        </p:nvSpPr>
        <p:spPr>
          <a:xfrm>
            <a:off x="95283" y="1214321"/>
            <a:ext cx="5799578" cy="4939887"/>
          </a:xfrm>
          <a:prstGeom prst="rect">
            <a:avLst/>
          </a:prstGeom>
          <a:noFill/>
        </p:spPr>
        <p:txBody>
          <a:bodyPr wrap="square" lIns="182880" tIns="146304" rIns="182880" bIns="146304" rtlCol="0">
            <a:noAutofit/>
          </a:bodyPr>
          <a:lstStyle/>
          <a:p>
            <a:pPr marL="285750" indent="-285750">
              <a:lnSpc>
                <a:spcPts val="2300"/>
              </a:lnSpc>
              <a:spcAft>
                <a:spcPts val="600"/>
              </a:spcAft>
              <a:buClr>
                <a:schemeClr val="accent3"/>
              </a:buClr>
              <a:buFont typeface="Wingdings" panose="05000000000000000000" pitchFamily="2" charset="2"/>
              <a:buChar char="v"/>
            </a:pPr>
            <a:r>
              <a:rPr lang="en-US" sz="1600" dirty="0">
                <a:solidFill>
                  <a:schemeClr val="tx1">
                    <a:lumMod val="65000"/>
                    <a:lumOff val="35000"/>
                  </a:schemeClr>
                </a:solidFill>
              </a:rPr>
              <a:t>Tables are logical collections of rows stored in multiple Regions. </a:t>
            </a:r>
          </a:p>
          <a:p>
            <a:pPr marL="285750" indent="-285750">
              <a:lnSpc>
                <a:spcPts val="2300"/>
              </a:lnSpc>
              <a:spcAft>
                <a:spcPts val="600"/>
              </a:spcAft>
              <a:buClr>
                <a:schemeClr val="accent3"/>
              </a:buClr>
              <a:buFont typeface="Wingdings" panose="05000000000000000000" pitchFamily="2" charset="2"/>
              <a:buChar char="v"/>
            </a:pPr>
            <a:r>
              <a:rPr lang="en-US" sz="1600" dirty="0">
                <a:solidFill>
                  <a:schemeClr val="tx1">
                    <a:lumMod val="65000"/>
                    <a:lumOff val="35000"/>
                  </a:schemeClr>
                </a:solidFill>
              </a:rPr>
              <a:t>A row is identified by a </a:t>
            </a:r>
            <a:r>
              <a:rPr lang="en-US" sz="1600" i="1" dirty="0" err="1">
                <a:solidFill>
                  <a:schemeClr val="tx1">
                    <a:lumMod val="65000"/>
                    <a:lumOff val="35000"/>
                  </a:schemeClr>
                </a:solidFill>
              </a:rPr>
              <a:t>rowkey</a:t>
            </a:r>
            <a:r>
              <a:rPr lang="en-US" sz="1600" i="1" dirty="0">
                <a:solidFill>
                  <a:schemeClr val="tx1">
                    <a:lumMod val="65000"/>
                    <a:lumOff val="35000"/>
                  </a:schemeClr>
                </a:solidFill>
              </a:rPr>
              <a:t>. </a:t>
            </a:r>
            <a:r>
              <a:rPr lang="en-US" sz="1600" dirty="0" err="1">
                <a:solidFill>
                  <a:schemeClr val="tx1">
                    <a:lumMod val="65000"/>
                    <a:lumOff val="35000"/>
                  </a:schemeClr>
                </a:solidFill>
              </a:rPr>
              <a:t>Rowkeys</a:t>
            </a:r>
            <a:r>
              <a:rPr lang="en-US" sz="1600" dirty="0">
                <a:solidFill>
                  <a:schemeClr val="tx1">
                    <a:lumMod val="65000"/>
                    <a:lumOff val="35000"/>
                  </a:schemeClr>
                </a:solidFill>
              </a:rPr>
              <a:t> are unique in a table.</a:t>
            </a:r>
          </a:p>
          <a:p>
            <a:pPr marL="285750" indent="-285750">
              <a:lnSpc>
                <a:spcPts val="2300"/>
              </a:lnSpc>
              <a:spcAft>
                <a:spcPts val="600"/>
              </a:spcAft>
              <a:buClr>
                <a:schemeClr val="accent3"/>
              </a:buClr>
              <a:buFont typeface="Wingdings" panose="05000000000000000000" pitchFamily="2" charset="2"/>
              <a:buChar char="v"/>
            </a:pPr>
            <a:r>
              <a:rPr lang="en-US" sz="1600" i="1" dirty="0">
                <a:solidFill>
                  <a:schemeClr val="tx1">
                    <a:lumMod val="65000"/>
                    <a:lumOff val="35000"/>
                  </a:schemeClr>
                </a:solidFill>
              </a:rPr>
              <a:t>Column Families</a:t>
            </a:r>
            <a:r>
              <a:rPr lang="en-US" sz="1600" dirty="0">
                <a:solidFill>
                  <a:schemeClr val="tx1">
                    <a:lumMod val="65000"/>
                    <a:lumOff val="35000"/>
                  </a:schemeClr>
                </a:solidFill>
              </a:rPr>
              <a:t> – Data in a row are grouped together as Column Families. Each Column Family has one more Columns. </a:t>
            </a:r>
          </a:p>
          <a:p>
            <a:pPr marL="285750" indent="-285750">
              <a:lnSpc>
                <a:spcPts val="2300"/>
              </a:lnSpc>
              <a:spcAft>
                <a:spcPts val="600"/>
              </a:spcAft>
              <a:buClr>
                <a:schemeClr val="accent3"/>
              </a:buClr>
              <a:buFont typeface="Wingdings" panose="05000000000000000000" pitchFamily="2" charset="2"/>
              <a:buChar char="v"/>
            </a:pPr>
            <a:r>
              <a:rPr lang="en-US" sz="1600" i="1" dirty="0">
                <a:solidFill>
                  <a:schemeClr val="tx1">
                    <a:lumMod val="65000"/>
                    <a:lumOff val="35000"/>
                  </a:schemeClr>
                </a:solidFill>
              </a:rPr>
              <a:t>Columns</a:t>
            </a:r>
            <a:r>
              <a:rPr lang="en-US" sz="1600" dirty="0">
                <a:solidFill>
                  <a:schemeClr val="tx1">
                    <a:lumMod val="65000"/>
                    <a:lumOff val="35000"/>
                  </a:schemeClr>
                </a:solidFill>
              </a:rPr>
              <a:t> – A Column is identified by a Column Qualifier that consists of the Column Family name concatenated with the Column name using a colon – example: </a:t>
            </a:r>
            <a:r>
              <a:rPr lang="en-US" sz="1600" dirty="0" err="1">
                <a:solidFill>
                  <a:schemeClr val="tx1">
                    <a:lumMod val="65000"/>
                    <a:lumOff val="35000"/>
                  </a:schemeClr>
                </a:solidFill>
              </a:rPr>
              <a:t>columnfamily:columnname</a:t>
            </a:r>
            <a:r>
              <a:rPr lang="en-US" sz="1600" dirty="0">
                <a:solidFill>
                  <a:schemeClr val="tx1">
                    <a:lumMod val="65000"/>
                    <a:lumOff val="35000"/>
                  </a:schemeClr>
                </a:solidFill>
              </a:rPr>
              <a:t>. Rows within a table can have varied number of Columns or </a:t>
            </a:r>
            <a:r>
              <a:rPr lang="en-US" sz="1600" i="1" dirty="0">
                <a:solidFill>
                  <a:schemeClr val="tx1">
                    <a:lumMod val="65000"/>
                    <a:lumOff val="35000"/>
                  </a:schemeClr>
                </a:solidFill>
              </a:rPr>
              <a:t>missing columns </a:t>
            </a:r>
            <a:r>
              <a:rPr lang="en-US" sz="1600" dirty="0">
                <a:solidFill>
                  <a:schemeClr val="tx1">
                    <a:lumMod val="65000"/>
                    <a:lumOff val="35000"/>
                  </a:schemeClr>
                </a:solidFill>
              </a:rPr>
              <a:t>(sparse tables)</a:t>
            </a:r>
          </a:p>
          <a:p>
            <a:pPr marL="285750" indent="-285750">
              <a:lnSpc>
                <a:spcPts val="2300"/>
              </a:lnSpc>
              <a:spcAft>
                <a:spcPts val="600"/>
              </a:spcAft>
              <a:buClr>
                <a:schemeClr val="accent3"/>
              </a:buClr>
              <a:buFont typeface="Wingdings" panose="05000000000000000000" pitchFamily="2" charset="2"/>
              <a:buChar char="v"/>
            </a:pPr>
            <a:r>
              <a:rPr lang="en-US" sz="1600" i="1" dirty="0">
                <a:solidFill>
                  <a:schemeClr val="tx1">
                    <a:lumMod val="65000"/>
                    <a:lumOff val="35000"/>
                  </a:schemeClr>
                </a:solidFill>
              </a:rPr>
              <a:t>Cell</a:t>
            </a:r>
            <a:r>
              <a:rPr lang="en-US" sz="1600" dirty="0">
                <a:solidFill>
                  <a:schemeClr val="tx1">
                    <a:lumMod val="65000"/>
                    <a:lumOff val="35000"/>
                  </a:schemeClr>
                </a:solidFill>
              </a:rPr>
              <a:t> – A Cell stores data and is essentially a unique combination of </a:t>
            </a:r>
            <a:r>
              <a:rPr lang="en-US" sz="1600" i="1" dirty="0" err="1">
                <a:solidFill>
                  <a:schemeClr val="tx1">
                    <a:lumMod val="65000"/>
                    <a:lumOff val="35000"/>
                  </a:schemeClr>
                </a:solidFill>
              </a:rPr>
              <a:t>rowkey</a:t>
            </a:r>
            <a:r>
              <a:rPr lang="en-US" sz="1600" dirty="0">
                <a:solidFill>
                  <a:schemeClr val="tx1">
                    <a:lumMod val="65000"/>
                    <a:lumOff val="35000"/>
                  </a:schemeClr>
                </a:solidFill>
              </a:rPr>
              <a:t>, Column Family and the Column.</a:t>
            </a:r>
          </a:p>
        </p:txBody>
      </p:sp>
      <p:sp>
        <p:nvSpPr>
          <p:cNvPr id="41" name="TextBox 40"/>
          <p:cNvSpPr txBox="1"/>
          <p:nvPr/>
        </p:nvSpPr>
        <p:spPr>
          <a:xfrm>
            <a:off x="5974669" y="4321660"/>
            <a:ext cx="6116045" cy="1420772"/>
          </a:xfrm>
          <a:prstGeom prst="rect">
            <a:avLst/>
          </a:prstGeom>
          <a:noFill/>
          <a:ln>
            <a:solidFill>
              <a:schemeClr val="accent4"/>
            </a:solidFill>
          </a:ln>
        </p:spPr>
        <p:txBody>
          <a:bodyPr wrap="square" lIns="182880" tIns="146304" rIns="182880" bIns="146304" rtlCol="0">
            <a:noAutofit/>
          </a:bodyPr>
          <a:lstStyle/>
          <a:p>
            <a:pPr marL="285750" indent="-285750">
              <a:lnSpc>
                <a:spcPts val="2100"/>
              </a:lnSpc>
              <a:spcAft>
                <a:spcPts val="600"/>
              </a:spcAft>
              <a:buClr>
                <a:schemeClr val="accent3"/>
              </a:buClr>
              <a:buFont typeface="Arial" panose="020B0604020202020204" pitchFamily="34" charset="0"/>
              <a:buChar char="•"/>
            </a:pPr>
            <a:r>
              <a:rPr lang="en-US" sz="1600" dirty="0">
                <a:solidFill>
                  <a:schemeClr val="tx1">
                    <a:lumMod val="65000"/>
                    <a:lumOff val="35000"/>
                  </a:schemeClr>
                </a:solidFill>
              </a:rPr>
              <a:t>The Customer Column Family is made up 2 columns – Name and City</a:t>
            </a:r>
          </a:p>
          <a:p>
            <a:pPr marL="285750" indent="-285750">
              <a:lnSpc>
                <a:spcPts val="2100"/>
              </a:lnSpc>
              <a:spcAft>
                <a:spcPts val="600"/>
              </a:spcAft>
              <a:buClr>
                <a:schemeClr val="accent3"/>
              </a:buClr>
              <a:buFont typeface="Arial" panose="020B0604020202020204" pitchFamily="34" charset="0"/>
              <a:buChar char="•"/>
            </a:pPr>
            <a:r>
              <a:rPr lang="en-US" sz="1600" dirty="0">
                <a:solidFill>
                  <a:schemeClr val="tx1">
                    <a:lumMod val="65000"/>
                    <a:lumOff val="35000"/>
                  </a:schemeClr>
                </a:solidFill>
              </a:rPr>
              <a:t>Sales Column Families is made up to 2 columns – Product and Amount.</a:t>
            </a:r>
          </a:p>
        </p:txBody>
      </p:sp>
      <p:sp>
        <p:nvSpPr>
          <p:cNvPr id="5" name="Rectangle 4"/>
          <p:cNvSpPr/>
          <p:nvPr/>
        </p:nvSpPr>
        <p:spPr bwMode="auto">
          <a:xfrm>
            <a:off x="5954233" y="1504667"/>
            <a:ext cx="6156916" cy="2283519"/>
          </a:xfrm>
          <a:prstGeom prst="rect">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cxnSp>
        <p:nvCxnSpPr>
          <p:cNvPr id="7" name="Straight Arrow Connector 6"/>
          <p:cNvCxnSpPr>
            <a:stCxn id="41" idx="0"/>
            <a:endCxn id="5" idx="2"/>
          </p:cNvCxnSpPr>
          <p:nvPr/>
        </p:nvCxnSpPr>
        <p:spPr>
          <a:xfrm flipH="1" flipV="1">
            <a:off x="9032691" y="3788186"/>
            <a:ext cx="1" cy="533474"/>
          </a:xfrm>
          <a:prstGeom prst="straightConnector1">
            <a:avLst/>
          </a:prstGeom>
          <a:ln w="28575">
            <a:headEnd type="none"/>
            <a:tailEnd type="triangle"/>
          </a:ln>
        </p:spPr>
        <p:style>
          <a:lnRef idx="1">
            <a:schemeClr val="accent4"/>
          </a:lnRef>
          <a:fillRef idx="0">
            <a:schemeClr val="accent4"/>
          </a:fillRef>
          <a:effectRef idx="0">
            <a:schemeClr val="accent4"/>
          </a:effectRef>
          <a:fontRef idx="minor">
            <a:schemeClr val="tx1"/>
          </a:fontRef>
        </p:style>
      </p:cxnSp>
      <p:sp>
        <p:nvSpPr>
          <p:cNvPr id="13" name="Rectangle 12"/>
          <p:cNvSpPr/>
          <p:nvPr/>
        </p:nvSpPr>
        <p:spPr>
          <a:xfrm>
            <a:off x="6480325" y="1157819"/>
            <a:ext cx="5104731" cy="361637"/>
          </a:xfrm>
          <a:prstGeom prst="rect">
            <a:avLst/>
          </a:prstGeom>
        </p:spPr>
        <p:txBody>
          <a:bodyPr wrap="none">
            <a:spAutoFit/>
          </a:bodyPr>
          <a:lstStyle/>
          <a:p>
            <a:pPr>
              <a:lnSpc>
                <a:spcPts val="2100"/>
              </a:lnSpc>
              <a:spcAft>
                <a:spcPts val="600"/>
              </a:spcAft>
              <a:buClr>
                <a:schemeClr val="accent3"/>
              </a:buClr>
            </a:pPr>
            <a:r>
              <a:rPr lang="en-US" dirty="0">
                <a:solidFill>
                  <a:schemeClr val="tx1">
                    <a:lumMod val="65000"/>
                    <a:lumOff val="35000"/>
                  </a:schemeClr>
                </a:solidFill>
              </a:rPr>
              <a:t>Table with Customer and Sales Column Families. </a:t>
            </a:r>
          </a:p>
        </p:txBody>
      </p:sp>
    </p:spTree>
    <p:extLst>
      <p:ext uri="{BB962C8B-B14F-4D97-AF65-F5344CB8AC3E}">
        <p14:creationId xmlns:p14="http://schemas.microsoft.com/office/powerpoint/2010/main" val="2266425339"/>
      </p:ext>
    </p:extLst>
  </p:cSld>
  <p:clrMapOvr>
    <a:masterClrMapping/>
  </p:clrMapOvr>
  <p:transition spd="med">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HBase: Key Components</a:t>
            </a:r>
          </a:p>
        </p:txBody>
      </p:sp>
      <p:sp>
        <p:nvSpPr>
          <p:cNvPr id="130" name="Slide Number Placeholder 129"/>
          <p:cNvSpPr>
            <a:spLocks noGrp="1"/>
          </p:cNvSpPr>
          <p:nvPr>
            <p:ph type="sldNum" sz="quarter" idx="11"/>
          </p:nvPr>
        </p:nvSpPr>
        <p:spPr/>
        <p:txBody>
          <a:bodyPr/>
          <a:lstStyle/>
          <a:p>
            <a:fld id="{F8A0AC42-AA1D-4944-8D96-660DE70C7E1B}" type="slidenum">
              <a:rPr lang="en-IN"/>
              <a:pPr/>
              <a:t>55</a:t>
            </a:fld>
            <a:endParaRPr lang="en-IN" dirty="0"/>
          </a:p>
        </p:txBody>
      </p:sp>
      <p:sp>
        <p:nvSpPr>
          <p:cNvPr id="12" name="Rectangle 11"/>
          <p:cNvSpPr/>
          <p:nvPr/>
        </p:nvSpPr>
        <p:spPr>
          <a:xfrm>
            <a:off x="316186" y="1361378"/>
            <a:ext cx="2742509" cy="4066241"/>
          </a:xfrm>
          <a:prstGeom prst="rect">
            <a:avLst/>
          </a:prstGeom>
        </p:spPr>
        <p:txBody>
          <a:bodyPr wrap="square">
            <a:spAutoFit/>
          </a:bodyPr>
          <a:lstStyle/>
          <a:p>
            <a:pPr marL="395812" lvl="1" indent="-342900" defTabSz="913770" fontAlgn="base">
              <a:spcBef>
                <a:spcPts val="600"/>
              </a:spcBef>
              <a:spcAft>
                <a:spcPts val="600"/>
              </a:spcAft>
              <a:buClr>
                <a:srgbClr val="68217A">
                  <a:lumMod val="50000"/>
                </a:srgbClr>
              </a:buClr>
              <a:buFont typeface="Arial" panose="020B0604020202020204" pitchFamily="34" charset="0"/>
              <a:buChar char="•"/>
              <a:tabLst>
                <a:tab pos="645523" algn="l"/>
              </a:tabLst>
            </a:pPr>
            <a:r>
              <a:rPr lang="en-IN" sz="2353" dirty="0">
                <a:solidFill>
                  <a:schemeClr val="tx1">
                    <a:lumMod val="65000"/>
                    <a:lumOff val="35000"/>
                  </a:schemeClr>
                </a:solidFill>
                <a:ea typeface="Segoe UI" pitchFamily="34" charset="0"/>
                <a:cs typeface="Segoe UI" pitchFamily="34" charset="0"/>
              </a:rPr>
              <a:t>Clients</a:t>
            </a:r>
          </a:p>
          <a:p>
            <a:pPr marL="395812" lvl="1" indent="-342900" defTabSz="913770" fontAlgn="base">
              <a:spcBef>
                <a:spcPts val="600"/>
              </a:spcBef>
              <a:spcAft>
                <a:spcPts val="600"/>
              </a:spcAft>
              <a:buClr>
                <a:srgbClr val="68217A">
                  <a:lumMod val="50000"/>
                </a:srgbClr>
              </a:buClr>
              <a:buFont typeface="Arial" panose="020B0604020202020204" pitchFamily="34" charset="0"/>
              <a:buChar char="•"/>
              <a:tabLst>
                <a:tab pos="645523" algn="l"/>
              </a:tabLst>
            </a:pPr>
            <a:r>
              <a:rPr lang="en-IN" sz="2353" dirty="0" err="1">
                <a:solidFill>
                  <a:schemeClr val="tx1">
                    <a:lumMod val="65000"/>
                    <a:lumOff val="35000"/>
                  </a:schemeClr>
                </a:solidFill>
                <a:ea typeface="Segoe UI" pitchFamily="34" charset="0"/>
                <a:cs typeface="Segoe UI" pitchFamily="34" charset="0"/>
              </a:rPr>
              <a:t>HMaster</a:t>
            </a:r>
            <a:endParaRPr lang="en-IN" sz="2353" dirty="0">
              <a:solidFill>
                <a:schemeClr val="tx1">
                  <a:lumMod val="65000"/>
                  <a:lumOff val="35000"/>
                </a:schemeClr>
              </a:solidFill>
              <a:ea typeface="Segoe UI" pitchFamily="34" charset="0"/>
              <a:cs typeface="Segoe UI" pitchFamily="34" charset="0"/>
            </a:endParaRPr>
          </a:p>
          <a:p>
            <a:pPr marL="395812" lvl="1" indent="-342900" defTabSz="913770" fontAlgn="base">
              <a:spcBef>
                <a:spcPts val="600"/>
              </a:spcBef>
              <a:spcAft>
                <a:spcPts val="600"/>
              </a:spcAft>
              <a:buClr>
                <a:srgbClr val="68217A">
                  <a:lumMod val="50000"/>
                </a:srgbClr>
              </a:buClr>
              <a:buFont typeface="Arial" panose="020B0604020202020204" pitchFamily="34" charset="0"/>
              <a:buChar char="•"/>
              <a:tabLst>
                <a:tab pos="645523" algn="l"/>
              </a:tabLst>
            </a:pPr>
            <a:r>
              <a:rPr lang="en-IN" sz="2353" dirty="0">
                <a:solidFill>
                  <a:schemeClr val="tx1">
                    <a:lumMod val="65000"/>
                    <a:lumOff val="35000"/>
                  </a:schemeClr>
                </a:solidFill>
                <a:ea typeface="Segoe UI" pitchFamily="34" charset="0"/>
                <a:cs typeface="Segoe UI" pitchFamily="34" charset="0"/>
              </a:rPr>
              <a:t>Zookeeper</a:t>
            </a:r>
          </a:p>
          <a:p>
            <a:pPr marL="395812" lvl="1" indent="-342900" defTabSz="913770" fontAlgn="base">
              <a:spcBef>
                <a:spcPts val="600"/>
              </a:spcBef>
              <a:spcAft>
                <a:spcPts val="600"/>
              </a:spcAft>
              <a:buClr>
                <a:srgbClr val="68217A">
                  <a:lumMod val="50000"/>
                </a:srgbClr>
              </a:buClr>
              <a:buFont typeface="Arial" panose="020B0604020202020204" pitchFamily="34" charset="0"/>
              <a:buChar char="•"/>
              <a:tabLst>
                <a:tab pos="645523" algn="l"/>
              </a:tabLst>
            </a:pPr>
            <a:r>
              <a:rPr lang="en-IN" sz="2353" dirty="0" err="1">
                <a:solidFill>
                  <a:schemeClr val="tx1">
                    <a:lumMod val="65000"/>
                    <a:lumOff val="35000"/>
                  </a:schemeClr>
                </a:solidFill>
                <a:ea typeface="Segoe UI" pitchFamily="34" charset="0"/>
                <a:cs typeface="Segoe UI" pitchFamily="34" charset="0"/>
              </a:rPr>
              <a:t>HRegionServer</a:t>
            </a:r>
            <a:endParaRPr lang="en-IN" sz="2353" dirty="0">
              <a:solidFill>
                <a:schemeClr val="tx1">
                  <a:lumMod val="65000"/>
                  <a:lumOff val="35000"/>
                </a:schemeClr>
              </a:solidFill>
              <a:ea typeface="Segoe UI" pitchFamily="34" charset="0"/>
              <a:cs typeface="Segoe UI" pitchFamily="34" charset="0"/>
            </a:endParaRPr>
          </a:p>
          <a:p>
            <a:pPr marL="395812" lvl="1" indent="-342900" defTabSz="913770" fontAlgn="base">
              <a:spcBef>
                <a:spcPts val="600"/>
              </a:spcBef>
              <a:spcAft>
                <a:spcPts val="600"/>
              </a:spcAft>
              <a:buClr>
                <a:srgbClr val="68217A">
                  <a:lumMod val="50000"/>
                </a:srgbClr>
              </a:buClr>
              <a:buFont typeface="Arial" panose="020B0604020202020204" pitchFamily="34" charset="0"/>
              <a:buChar char="•"/>
              <a:tabLst>
                <a:tab pos="645523" algn="l"/>
              </a:tabLst>
            </a:pPr>
            <a:r>
              <a:rPr lang="en-IN" sz="2353" dirty="0" err="1">
                <a:solidFill>
                  <a:schemeClr val="tx1">
                    <a:lumMod val="65000"/>
                    <a:lumOff val="35000"/>
                  </a:schemeClr>
                </a:solidFill>
                <a:ea typeface="Segoe UI" pitchFamily="34" charset="0"/>
                <a:cs typeface="Segoe UI" pitchFamily="34" charset="0"/>
              </a:rPr>
              <a:t>HRegion</a:t>
            </a:r>
            <a:endParaRPr lang="en-IN" sz="2353" dirty="0">
              <a:solidFill>
                <a:schemeClr val="tx1">
                  <a:lumMod val="65000"/>
                  <a:lumOff val="35000"/>
                </a:schemeClr>
              </a:solidFill>
              <a:ea typeface="Segoe UI" pitchFamily="34" charset="0"/>
              <a:cs typeface="Segoe UI" pitchFamily="34" charset="0"/>
            </a:endParaRPr>
          </a:p>
          <a:p>
            <a:pPr marL="395812" lvl="1" indent="-342900" defTabSz="913770" fontAlgn="base">
              <a:spcBef>
                <a:spcPts val="600"/>
              </a:spcBef>
              <a:spcAft>
                <a:spcPts val="600"/>
              </a:spcAft>
              <a:buClr>
                <a:srgbClr val="68217A">
                  <a:lumMod val="50000"/>
                </a:srgbClr>
              </a:buClr>
              <a:buFont typeface="Arial" panose="020B0604020202020204" pitchFamily="34" charset="0"/>
              <a:buChar char="•"/>
              <a:tabLst>
                <a:tab pos="645523" algn="l"/>
              </a:tabLst>
            </a:pPr>
            <a:r>
              <a:rPr lang="en-IN" sz="2353" dirty="0" err="1">
                <a:solidFill>
                  <a:schemeClr val="tx1">
                    <a:lumMod val="65000"/>
                    <a:lumOff val="35000"/>
                  </a:schemeClr>
                </a:solidFill>
                <a:ea typeface="Segoe UI" pitchFamily="34" charset="0"/>
                <a:cs typeface="Segoe UI" pitchFamily="34" charset="0"/>
              </a:rPr>
              <a:t>HLog</a:t>
            </a:r>
            <a:endParaRPr lang="en-IN" sz="2353" dirty="0">
              <a:solidFill>
                <a:schemeClr val="tx1">
                  <a:lumMod val="65000"/>
                  <a:lumOff val="35000"/>
                </a:schemeClr>
              </a:solidFill>
              <a:ea typeface="Segoe UI" pitchFamily="34" charset="0"/>
              <a:cs typeface="Segoe UI" pitchFamily="34" charset="0"/>
            </a:endParaRPr>
          </a:p>
          <a:p>
            <a:pPr marL="395812" lvl="1" indent="-342900" defTabSz="913770" fontAlgn="base">
              <a:spcBef>
                <a:spcPts val="600"/>
              </a:spcBef>
              <a:spcAft>
                <a:spcPts val="600"/>
              </a:spcAft>
              <a:buClr>
                <a:srgbClr val="68217A">
                  <a:lumMod val="50000"/>
                </a:srgbClr>
              </a:buClr>
              <a:buFont typeface="Arial" panose="020B0604020202020204" pitchFamily="34" charset="0"/>
              <a:buChar char="•"/>
              <a:tabLst>
                <a:tab pos="645523" algn="l"/>
              </a:tabLst>
            </a:pPr>
            <a:r>
              <a:rPr lang="en-IN" sz="2353" dirty="0" err="1">
                <a:solidFill>
                  <a:schemeClr val="tx1">
                    <a:lumMod val="65000"/>
                    <a:lumOff val="35000"/>
                  </a:schemeClr>
                </a:solidFill>
                <a:ea typeface="Segoe UI" pitchFamily="34" charset="0"/>
                <a:cs typeface="Segoe UI" pitchFamily="34" charset="0"/>
              </a:rPr>
              <a:t>MemStore</a:t>
            </a:r>
            <a:endParaRPr lang="en-IN" sz="2353" dirty="0">
              <a:solidFill>
                <a:schemeClr val="tx1">
                  <a:lumMod val="65000"/>
                  <a:lumOff val="35000"/>
                </a:schemeClr>
              </a:solidFill>
              <a:ea typeface="Segoe UI" pitchFamily="34" charset="0"/>
              <a:cs typeface="Segoe UI" pitchFamily="34" charset="0"/>
            </a:endParaRPr>
          </a:p>
          <a:p>
            <a:pPr marL="395812" lvl="1" indent="-342900" defTabSz="913770" fontAlgn="base">
              <a:spcBef>
                <a:spcPts val="600"/>
              </a:spcBef>
              <a:spcAft>
                <a:spcPts val="600"/>
              </a:spcAft>
              <a:buClr>
                <a:srgbClr val="68217A">
                  <a:lumMod val="50000"/>
                </a:srgbClr>
              </a:buClr>
              <a:buFont typeface="Arial" panose="020B0604020202020204" pitchFamily="34" charset="0"/>
              <a:buChar char="•"/>
              <a:tabLst>
                <a:tab pos="645523" algn="l"/>
              </a:tabLst>
            </a:pPr>
            <a:r>
              <a:rPr lang="en-IN" sz="2353" dirty="0" err="1">
                <a:solidFill>
                  <a:schemeClr val="tx1">
                    <a:lumMod val="65000"/>
                    <a:lumOff val="35000"/>
                  </a:schemeClr>
                </a:solidFill>
                <a:ea typeface="Segoe UI" pitchFamily="34" charset="0"/>
                <a:cs typeface="Segoe UI" pitchFamily="34" charset="0"/>
              </a:rPr>
              <a:t>StoreFile</a:t>
            </a:r>
            <a:endParaRPr lang="en-IN" sz="2353" dirty="0">
              <a:solidFill>
                <a:schemeClr val="tx1">
                  <a:lumMod val="65000"/>
                  <a:lumOff val="35000"/>
                </a:schemeClr>
              </a:solidFill>
              <a:ea typeface="Segoe UI" pitchFamily="34" charset="0"/>
              <a:cs typeface="Segoe UI" pitchFamily="34" charset="0"/>
            </a:endParaRPr>
          </a:p>
        </p:txBody>
      </p:sp>
      <p:sp>
        <p:nvSpPr>
          <p:cNvPr id="2" name="TextBox 1"/>
          <p:cNvSpPr txBox="1"/>
          <p:nvPr/>
        </p:nvSpPr>
        <p:spPr>
          <a:xfrm>
            <a:off x="6626501" y="6017484"/>
            <a:ext cx="2998382" cy="420258"/>
          </a:xfrm>
          <a:prstGeom prst="rect">
            <a:avLst/>
          </a:prstGeom>
          <a:noFill/>
        </p:spPr>
        <p:txBody>
          <a:bodyPr wrap="none" lIns="182880" tIns="146304" rIns="182880" bIns="146304" rtlCol="0">
            <a:noAutofit/>
          </a:bodyPr>
          <a:lstStyle/>
          <a:p>
            <a:pPr>
              <a:lnSpc>
                <a:spcPct val="90000"/>
              </a:lnSpc>
              <a:spcAft>
                <a:spcPts val="600"/>
              </a:spcAft>
            </a:pPr>
            <a:r>
              <a:rPr lang="en-US" sz="1400" dirty="0" err="1">
                <a:solidFill>
                  <a:schemeClr val="bg2">
                    <a:lumMod val="25000"/>
                  </a:schemeClr>
                </a:solidFill>
              </a:rPr>
              <a:t>HFiles</a:t>
            </a:r>
            <a:r>
              <a:rPr lang="en-US" sz="1400" dirty="0">
                <a:solidFill>
                  <a:schemeClr val="bg2">
                    <a:lumMod val="25000"/>
                  </a:schemeClr>
                </a:solidFill>
              </a:rPr>
              <a:t> and </a:t>
            </a:r>
            <a:r>
              <a:rPr lang="en-US" sz="1400" dirty="0" err="1">
                <a:solidFill>
                  <a:schemeClr val="bg2">
                    <a:lumMod val="25000"/>
                  </a:schemeClr>
                </a:solidFill>
              </a:rPr>
              <a:t>HLogs</a:t>
            </a:r>
            <a:r>
              <a:rPr lang="en-US" sz="1400" dirty="0">
                <a:solidFill>
                  <a:schemeClr val="bg2">
                    <a:lumMod val="25000"/>
                  </a:schemeClr>
                </a:solidFill>
              </a:rPr>
              <a:t> are stored in HDFS</a:t>
            </a:r>
          </a:p>
        </p:txBody>
      </p:sp>
      <p:grpSp>
        <p:nvGrpSpPr>
          <p:cNvPr id="9" name="Group 8"/>
          <p:cNvGrpSpPr/>
          <p:nvPr/>
        </p:nvGrpSpPr>
        <p:grpSpPr>
          <a:xfrm>
            <a:off x="3613980" y="1269344"/>
            <a:ext cx="8308470" cy="4787755"/>
            <a:chOff x="4057607" y="1201239"/>
            <a:chExt cx="8308470" cy="4787755"/>
          </a:xfrm>
        </p:grpSpPr>
        <p:sp>
          <p:nvSpPr>
            <p:cNvPr id="10" name="Rectangle 9"/>
            <p:cNvSpPr/>
            <p:nvPr/>
          </p:nvSpPr>
          <p:spPr bwMode="auto">
            <a:xfrm>
              <a:off x="4057607" y="1201239"/>
              <a:ext cx="8308470" cy="4787755"/>
            </a:xfrm>
            <a:prstGeom prst="rect">
              <a:avLst/>
            </a:prstGeom>
            <a:solidFill>
              <a:schemeClr val="accent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1" name="Rounded Rectangle 10"/>
            <p:cNvSpPr/>
            <p:nvPr/>
          </p:nvSpPr>
          <p:spPr bwMode="auto">
            <a:xfrm>
              <a:off x="4135435" y="2816533"/>
              <a:ext cx="877078" cy="1418253"/>
            </a:xfrm>
            <a:prstGeom prst="round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3" name="Rounded Rectangle 12"/>
            <p:cNvSpPr/>
            <p:nvPr/>
          </p:nvSpPr>
          <p:spPr bwMode="auto">
            <a:xfrm>
              <a:off x="5766516" y="1369271"/>
              <a:ext cx="867747" cy="4459584"/>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4" name="Rounded Rectangle 13"/>
            <p:cNvSpPr/>
            <p:nvPr/>
          </p:nvSpPr>
          <p:spPr bwMode="auto">
            <a:xfrm>
              <a:off x="7503869" y="1436893"/>
              <a:ext cx="905325" cy="877077"/>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5" name="Rounded Rectangle 14"/>
            <p:cNvSpPr/>
            <p:nvPr/>
          </p:nvSpPr>
          <p:spPr bwMode="auto">
            <a:xfrm>
              <a:off x="7503869" y="2538966"/>
              <a:ext cx="905325" cy="862930"/>
            </a:xfrm>
            <a:prstGeom prst="round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6" name="Rounded Rectangle 15"/>
            <p:cNvSpPr/>
            <p:nvPr/>
          </p:nvSpPr>
          <p:spPr bwMode="auto">
            <a:xfrm>
              <a:off x="7503869" y="3722230"/>
              <a:ext cx="905325" cy="843278"/>
            </a:xfrm>
            <a:prstGeom prst="roundRect">
              <a:avLst/>
            </a:prstGeom>
            <a:solidFill>
              <a:srgbClr val="FFBA6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7" name="Rounded Rectangle 16"/>
            <p:cNvSpPr/>
            <p:nvPr/>
          </p:nvSpPr>
          <p:spPr bwMode="auto">
            <a:xfrm>
              <a:off x="7503869" y="4784660"/>
              <a:ext cx="3688006" cy="965187"/>
            </a:xfrm>
            <a:prstGeom prst="round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8" name="Rounded Rectangle 17"/>
            <p:cNvSpPr/>
            <p:nvPr/>
          </p:nvSpPr>
          <p:spPr bwMode="auto">
            <a:xfrm>
              <a:off x="9469474" y="2542781"/>
              <a:ext cx="2592068" cy="855300"/>
            </a:xfrm>
            <a:prstGeom prst="round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9" name="Rounded Rectangle 18"/>
            <p:cNvSpPr/>
            <p:nvPr/>
          </p:nvSpPr>
          <p:spPr bwMode="auto">
            <a:xfrm>
              <a:off x="5858550" y="4579903"/>
              <a:ext cx="664557" cy="457200"/>
            </a:xfrm>
            <a:prstGeom prst="round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200" b="1" dirty="0">
                <a:solidFill>
                  <a:schemeClr val="bg1"/>
                </a:solidFill>
                <a:latin typeface="+mj-lt"/>
                <a:ea typeface="Segoe UI" pitchFamily="34" charset="0"/>
                <a:cs typeface="Segoe UI" pitchFamily="34" charset="0"/>
              </a:endParaRPr>
            </a:p>
          </p:txBody>
        </p:sp>
        <p:sp>
          <p:nvSpPr>
            <p:cNvPr id="20" name="Rounded Rectangle 19"/>
            <p:cNvSpPr/>
            <p:nvPr/>
          </p:nvSpPr>
          <p:spPr bwMode="auto">
            <a:xfrm>
              <a:off x="5868110" y="5156412"/>
              <a:ext cx="664557" cy="457200"/>
            </a:xfrm>
            <a:prstGeom prst="round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21" name="TextBox 20"/>
            <p:cNvSpPr txBox="1"/>
            <p:nvPr/>
          </p:nvSpPr>
          <p:spPr>
            <a:xfrm>
              <a:off x="5926569" y="4574255"/>
              <a:ext cx="404647" cy="487000"/>
            </a:xfrm>
            <a:prstGeom prst="rect">
              <a:avLst/>
            </a:prstGeom>
            <a:noFill/>
          </p:spPr>
          <p:txBody>
            <a:bodyPr wrap="none" lIns="91440" tIns="0" rIns="0" bIns="0" rtlCol="0" anchor="ctr">
              <a:noAutofit/>
            </a:bodyPr>
            <a:lstStyle/>
            <a:p>
              <a:pPr>
                <a:lnSpc>
                  <a:spcPct val="50000"/>
                </a:lnSpc>
                <a:spcAft>
                  <a:spcPts val="600"/>
                </a:spcAft>
              </a:pPr>
              <a:r>
                <a:rPr lang="en-US" sz="1100" dirty="0">
                  <a:solidFill>
                    <a:schemeClr val="bg1"/>
                  </a:solidFill>
                </a:rPr>
                <a:t>Log</a:t>
              </a:r>
            </a:p>
            <a:p>
              <a:pPr>
                <a:lnSpc>
                  <a:spcPct val="50000"/>
                </a:lnSpc>
                <a:spcAft>
                  <a:spcPts val="600"/>
                </a:spcAft>
              </a:pPr>
              <a:r>
                <a:rPr lang="en-US" sz="1100" dirty="0">
                  <a:solidFill>
                    <a:schemeClr val="bg1"/>
                  </a:solidFill>
                </a:rPr>
                <a:t>Flusher</a:t>
              </a:r>
            </a:p>
          </p:txBody>
        </p:sp>
        <p:sp>
          <p:nvSpPr>
            <p:cNvPr id="22" name="TextBox 21"/>
            <p:cNvSpPr txBox="1"/>
            <p:nvPr/>
          </p:nvSpPr>
          <p:spPr>
            <a:xfrm>
              <a:off x="5897621" y="5141512"/>
              <a:ext cx="605534" cy="487000"/>
            </a:xfrm>
            <a:prstGeom prst="rect">
              <a:avLst/>
            </a:prstGeom>
            <a:noFill/>
          </p:spPr>
          <p:txBody>
            <a:bodyPr wrap="none" lIns="182880" tIns="146304" rIns="182880" bIns="146304" rtlCol="0">
              <a:noAutofit/>
            </a:bodyPr>
            <a:lstStyle/>
            <a:p>
              <a:pPr algn="ctr">
                <a:lnSpc>
                  <a:spcPct val="50000"/>
                </a:lnSpc>
                <a:spcAft>
                  <a:spcPts val="600"/>
                </a:spcAft>
              </a:pPr>
              <a:r>
                <a:rPr lang="en-US" sz="1100" dirty="0">
                  <a:solidFill>
                    <a:schemeClr val="bg1"/>
                  </a:solidFill>
                </a:rPr>
                <a:t>Log</a:t>
              </a:r>
            </a:p>
            <a:p>
              <a:pPr algn="ctr">
                <a:lnSpc>
                  <a:spcPct val="50000"/>
                </a:lnSpc>
                <a:spcAft>
                  <a:spcPts val="600"/>
                </a:spcAft>
              </a:pPr>
              <a:r>
                <a:rPr lang="en-US" sz="1100" dirty="0">
                  <a:solidFill>
                    <a:schemeClr val="bg1"/>
                  </a:solidFill>
                </a:rPr>
                <a:t>Roller</a:t>
              </a:r>
            </a:p>
          </p:txBody>
        </p:sp>
        <p:sp>
          <p:nvSpPr>
            <p:cNvPr id="23" name="TextBox 22"/>
            <p:cNvSpPr txBox="1"/>
            <p:nvPr/>
          </p:nvSpPr>
          <p:spPr>
            <a:xfrm>
              <a:off x="4057607" y="2816533"/>
              <a:ext cx="914400" cy="875523"/>
            </a:xfrm>
            <a:prstGeom prst="rect">
              <a:avLst/>
            </a:prstGeom>
            <a:noFill/>
          </p:spPr>
          <p:txBody>
            <a:bodyPr wrap="none" lIns="182880" tIns="146304" rIns="182880" bIns="146304" rtlCol="0">
              <a:noAutofit/>
            </a:bodyPr>
            <a:lstStyle/>
            <a:p>
              <a:pPr>
                <a:lnSpc>
                  <a:spcPct val="50000"/>
                </a:lnSpc>
                <a:spcAft>
                  <a:spcPts val="600"/>
                </a:spcAft>
              </a:pPr>
              <a:r>
                <a:rPr lang="en-US" sz="1100" dirty="0">
                  <a:solidFill>
                    <a:schemeClr val="tx1">
                      <a:lumMod val="85000"/>
                      <a:lumOff val="15000"/>
                    </a:schemeClr>
                  </a:solidFill>
                </a:rPr>
                <a:t>Client </a:t>
              </a:r>
            </a:p>
            <a:p>
              <a:pPr>
                <a:lnSpc>
                  <a:spcPct val="50000"/>
                </a:lnSpc>
                <a:spcAft>
                  <a:spcPts val="600"/>
                </a:spcAft>
              </a:pPr>
              <a:endParaRPr lang="en-US" sz="1100" dirty="0">
                <a:solidFill>
                  <a:schemeClr val="tx1">
                    <a:lumMod val="85000"/>
                    <a:lumOff val="15000"/>
                  </a:schemeClr>
                </a:solidFill>
              </a:endParaRPr>
            </a:p>
            <a:p>
              <a:pPr>
                <a:lnSpc>
                  <a:spcPct val="50000"/>
                </a:lnSpc>
                <a:spcAft>
                  <a:spcPts val="600"/>
                </a:spcAft>
              </a:pPr>
              <a:endParaRPr lang="en-US" sz="1100" dirty="0">
                <a:solidFill>
                  <a:schemeClr val="tx1">
                    <a:lumMod val="85000"/>
                    <a:lumOff val="15000"/>
                  </a:schemeClr>
                </a:solidFill>
              </a:endParaRPr>
            </a:p>
            <a:p>
              <a:pPr>
                <a:lnSpc>
                  <a:spcPct val="50000"/>
                </a:lnSpc>
                <a:spcAft>
                  <a:spcPts val="600"/>
                </a:spcAft>
              </a:pPr>
              <a:endParaRPr lang="en-US" sz="1100" dirty="0">
                <a:solidFill>
                  <a:schemeClr val="tx1">
                    <a:lumMod val="85000"/>
                    <a:lumOff val="15000"/>
                  </a:schemeClr>
                </a:solidFill>
              </a:endParaRPr>
            </a:p>
            <a:p>
              <a:pPr>
                <a:lnSpc>
                  <a:spcPct val="50000"/>
                </a:lnSpc>
                <a:spcAft>
                  <a:spcPts val="600"/>
                </a:spcAft>
              </a:pPr>
              <a:endParaRPr lang="en-US" sz="1100" dirty="0">
                <a:solidFill>
                  <a:schemeClr val="tx1">
                    <a:lumMod val="85000"/>
                    <a:lumOff val="15000"/>
                  </a:schemeClr>
                </a:solidFill>
              </a:endParaRPr>
            </a:p>
            <a:p>
              <a:pPr marL="182880" indent="-182880">
                <a:lnSpc>
                  <a:spcPct val="50000"/>
                </a:lnSpc>
                <a:spcAft>
                  <a:spcPts val="600"/>
                </a:spcAft>
                <a:buFontTx/>
                <a:buChar char="-"/>
              </a:pPr>
              <a:r>
                <a:rPr lang="en-US" sz="1100" dirty="0">
                  <a:solidFill>
                    <a:schemeClr val="tx1">
                      <a:lumMod val="85000"/>
                      <a:lumOff val="15000"/>
                    </a:schemeClr>
                  </a:solidFill>
                </a:rPr>
                <a:t>put()</a:t>
              </a:r>
            </a:p>
            <a:p>
              <a:pPr marL="91440" indent="-182880">
                <a:lnSpc>
                  <a:spcPct val="50000"/>
                </a:lnSpc>
                <a:spcAft>
                  <a:spcPts val="600"/>
                </a:spcAft>
                <a:buFontTx/>
                <a:buChar char="-"/>
              </a:pPr>
              <a:r>
                <a:rPr lang="en-US" sz="1100" dirty="0">
                  <a:solidFill>
                    <a:schemeClr val="tx1">
                      <a:lumMod val="85000"/>
                      <a:lumOff val="15000"/>
                    </a:schemeClr>
                  </a:solidFill>
                </a:rPr>
                <a:t>delete()</a:t>
              </a:r>
            </a:p>
            <a:p>
              <a:pPr marL="91440" indent="-182880">
                <a:lnSpc>
                  <a:spcPct val="50000"/>
                </a:lnSpc>
                <a:spcAft>
                  <a:spcPts val="600"/>
                </a:spcAft>
                <a:buFontTx/>
                <a:buChar char="-"/>
              </a:pPr>
              <a:r>
                <a:rPr lang="en-US" sz="1100" dirty="0" err="1">
                  <a:solidFill>
                    <a:schemeClr val="tx1">
                      <a:lumMod val="85000"/>
                      <a:lumOff val="15000"/>
                    </a:schemeClr>
                  </a:solidFill>
                </a:rPr>
                <a:t>incr</a:t>
              </a:r>
              <a:r>
                <a:rPr lang="en-US" sz="1100" dirty="0">
                  <a:solidFill>
                    <a:schemeClr val="tx1">
                      <a:lumMod val="85000"/>
                      <a:lumOff val="15000"/>
                    </a:schemeClr>
                  </a:solidFill>
                </a:rPr>
                <a:t>()</a:t>
              </a:r>
            </a:p>
          </p:txBody>
        </p:sp>
        <p:pic>
          <p:nvPicPr>
            <p:cNvPr id="24" name="Picture 2" descr="http://1.bp.blogspot.com/_Cib_A77V54U/S2M98DazIVI/AAAAAAAAAFw/cmp0W38kWGY/s1600/wal-flow.png"/>
            <p:cNvPicPr>
              <a:picLocks noChangeAspect="1" noChangeArrowheads="1"/>
            </p:cNvPicPr>
            <p:nvPr/>
          </p:nvPicPr>
          <p:blipFill rotWithShape="1">
            <a:blip r:embed="rId3">
              <a:extLst>
                <a:ext uri="{BEBA8EAE-BF5A-486C-A8C5-ECC9F3942E4B}">
                  <a14:imgProps xmlns:a14="http://schemas.microsoft.com/office/drawing/2010/main">
                    <a14:imgLayer r:embed="rId4">
                      <a14:imgEffect>
                        <a14:colorTemperature colorTemp="8800"/>
                      </a14:imgEffect>
                    </a14:imgLayer>
                  </a14:imgProps>
                </a:ext>
                <a:ext uri="{28A0092B-C50C-407E-A947-70E740481C1C}">
                  <a14:useLocalDpi xmlns:a14="http://schemas.microsoft.com/office/drawing/2010/main" val="0"/>
                </a:ext>
              </a:extLst>
            </a:blip>
            <a:srcRect l="4184" t="43995" r="89884" b="54061"/>
            <a:stretch/>
          </p:blipFill>
          <p:spPr bwMode="auto">
            <a:xfrm>
              <a:off x="4241647" y="3326841"/>
              <a:ext cx="622590" cy="117470"/>
            </a:xfrm>
            <a:prstGeom prst="rect">
              <a:avLst/>
            </a:prstGeom>
            <a:solidFill>
              <a:schemeClr val="accent2">
                <a:lumMod val="75000"/>
              </a:schemeClr>
            </a:solidFill>
            <a:ln>
              <a:solidFill>
                <a:schemeClr val="tx2"/>
              </a:solidFill>
            </a:ln>
          </p:spPr>
        </p:pic>
        <p:sp>
          <p:nvSpPr>
            <p:cNvPr id="25" name="TextBox 24"/>
            <p:cNvSpPr txBox="1"/>
            <p:nvPr/>
          </p:nvSpPr>
          <p:spPr>
            <a:xfrm rot="16200000">
              <a:off x="5921673" y="3372717"/>
              <a:ext cx="914400" cy="914400"/>
            </a:xfrm>
            <a:prstGeom prst="rect">
              <a:avLst/>
            </a:prstGeom>
            <a:noFill/>
          </p:spPr>
          <p:txBody>
            <a:bodyPr wrap="none" lIns="182880" tIns="146304" rIns="182880" bIns="146304" rtlCol="0">
              <a:noAutofit/>
            </a:bodyPr>
            <a:lstStyle/>
            <a:p>
              <a:pPr>
                <a:lnSpc>
                  <a:spcPct val="90000"/>
                </a:lnSpc>
                <a:spcAft>
                  <a:spcPts val="600"/>
                </a:spcAft>
              </a:pPr>
              <a:r>
                <a:rPr lang="en-US" sz="1400" dirty="0" err="1">
                  <a:solidFill>
                    <a:schemeClr val="bg1"/>
                  </a:solidFill>
                </a:rPr>
                <a:t>HRegionServer</a:t>
              </a:r>
              <a:r>
                <a:rPr lang="en-US" sz="1400" dirty="0">
                  <a:solidFill>
                    <a:schemeClr val="bg1"/>
                  </a:solidFill>
                </a:rPr>
                <a:t> </a:t>
              </a:r>
            </a:p>
          </p:txBody>
        </p:sp>
        <p:cxnSp>
          <p:nvCxnSpPr>
            <p:cNvPr id="26" name="Straight Connector 25"/>
            <p:cNvCxnSpPr/>
            <p:nvPr/>
          </p:nvCxnSpPr>
          <p:spPr>
            <a:xfrm>
              <a:off x="5354612" y="1280322"/>
              <a:ext cx="49236" cy="4708672"/>
            </a:xfrm>
            <a:prstGeom prst="line">
              <a:avLst/>
            </a:prstGeom>
            <a:ln w="19050">
              <a:solidFill>
                <a:srgbClr val="82CAFF"/>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27" name="Group 26"/>
            <p:cNvGrpSpPr/>
            <p:nvPr/>
          </p:nvGrpSpPr>
          <p:grpSpPr>
            <a:xfrm>
              <a:off x="5049522" y="3223982"/>
              <a:ext cx="684321" cy="549066"/>
              <a:chOff x="5049522" y="3223982"/>
              <a:chExt cx="684321" cy="549066"/>
            </a:xfrm>
          </p:grpSpPr>
          <p:sp>
            <p:nvSpPr>
              <p:cNvPr id="132" name="Right Arrow 131"/>
              <p:cNvSpPr/>
              <p:nvPr/>
            </p:nvSpPr>
            <p:spPr bwMode="auto">
              <a:xfrm>
                <a:off x="5049522" y="3223982"/>
                <a:ext cx="684321" cy="549066"/>
              </a:xfrm>
              <a:prstGeom prst="rightArrow">
                <a:avLst/>
              </a:prstGeom>
              <a:solidFill>
                <a:schemeClr val="accent5">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33" name="Rectangle 132"/>
              <p:cNvSpPr/>
              <p:nvPr/>
            </p:nvSpPr>
            <p:spPr bwMode="auto">
              <a:xfrm>
                <a:off x="5486351" y="3442782"/>
                <a:ext cx="98472" cy="113835"/>
              </a:xfrm>
              <a:prstGeom prst="rect">
                <a:avLst/>
              </a:prstGeom>
              <a:solidFill>
                <a:schemeClr val="accent4"/>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34" name="Rectangle 133"/>
              <p:cNvSpPr/>
              <p:nvPr/>
            </p:nvSpPr>
            <p:spPr bwMode="auto">
              <a:xfrm>
                <a:off x="5114876" y="3442782"/>
                <a:ext cx="98472" cy="113835"/>
              </a:xfrm>
              <a:prstGeom prst="rect">
                <a:avLst/>
              </a:prstGeom>
              <a:solidFill>
                <a:srgbClr val="FFFF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35" name="Rectangle 134"/>
              <p:cNvSpPr/>
              <p:nvPr/>
            </p:nvSpPr>
            <p:spPr bwMode="auto">
              <a:xfrm>
                <a:off x="5305376" y="3442782"/>
                <a:ext cx="98472" cy="113835"/>
              </a:xfrm>
              <a:prstGeom prst="rect">
                <a:avLst/>
              </a:prstGeom>
              <a:solidFill>
                <a:srgbClr val="4D828E"/>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grpSp>
        <p:grpSp>
          <p:nvGrpSpPr>
            <p:cNvPr id="28" name="Group 27"/>
            <p:cNvGrpSpPr/>
            <p:nvPr/>
          </p:nvGrpSpPr>
          <p:grpSpPr>
            <a:xfrm>
              <a:off x="6720277" y="1600898"/>
              <a:ext cx="734651" cy="2817504"/>
              <a:chOff x="6720277" y="1600898"/>
              <a:chExt cx="734651" cy="2817504"/>
            </a:xfrm>
          </p:grpSpPr>
          <p:grpSp>
            <p:nvGrpSpPr>
              <p:cNvPr id="116" name="Group 115"/>
              <p:cNvGrpSpPr/>
              <p:nvPr/>
            </p:nvGrpSpPr>
            <p:grpSpPr>
              <a:xfrm>
                <a:off x="6720277" y="1600898"/>
                <a:ext cx="734651" cy="549066"/>
                <a:chOff x="4999192" y="3171818"/>
                <a:chExt cx="734651" cy="549066"/>
              </a:xfrm>
            </p:grpSpPr>
            <p:sp>
              <p:nvSpPr>
                <p:cNvPr id="127" name="Right Arrow 126"/>
                <p:cNvSpPr/>
                <p:nvPr/>
              </p:nvSpPr>
              <p:spPr bwMode="auto">
                <a:xfrm>
                  <a:off x="4999192" y="3171818"/>
                  <a:ext cx="734651" cy="549066"/>
                </a:xfrm>
                <a:prstGeom prst="rightArrow">
                  <a:avLst/>
                </a:prstGeom>
                <a:solidFill>
                  <a:schemeClr val="accent5">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28" name="Rectangle 127"/>
                <p:cNvSpPr/>
                <p:nvPr/>
              </p:nvSpPr>
              <p:spPr bwMode="auto">
                <a:xfrm>
                  <a:off x="5486351" y="3389434"/>
                  <a:ext cx="98472" cy="11383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29" name="Rectangle 128"/>
                <p:cNvSpPr/>
                <p:nvPr/>
              </p:nvSpPr>
              <p:spPr bwMode="auto">
                <a:xfrm>
                  <a:off x="5114876" y="3389434"/>
                  <a:ext cx="98472" cy="113835"/>
                </a:xfrm>
                <a:prstGeom prst="rect">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31" name="Rectangle 130"/>
                <p:cNvSpPr/>
                <p:nvPr/>
              </p:nvSpPr>
              <p:spPr bwMode="auto">
                <a:xfrm>
                  <a:off x="5305376" y="3389434"/>
                  <a:ext cx="98472" cy="113835"/>
                </a:xfrm>
                <a:prstGeom prst="rect">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grpSp>
          <p:grpSp>
            <p:nvGrpSpPr>
              <p:cNvPr id="117" name="Group 116"/>
              <p:cNvGrpSpPr/>
              <p:nvPr/>
            </p:nvGrpSpPr>
            <p:grpSpPr>
              <a:xfrm>
                <a:off x="6733536" y="2695898"/>
                <a:ext cx="684321" cy="549066"/>
                <a:chOff x="5049522" y="3184460"/>
                <a:chExt cx="684321" cy="549066"/>
              </a:xfrm>
            </p:grpSpPr>
            <p:sp>
              <p:nvSpPr>
                <p:cNvPr id="123" name="Right Arrow 122"/>
                <p:cNvSpPr/>
                <p:nvPr/>
              </p:nvSpPr>
              <p:spPr bwMode="auto">
                <a:xfrm>
                  <a:off x="5049522" y="3184460"/>
                  <a:ext cx="684321" cy="549066"/>
                </a:xfrm>
                <a:prstGeom prst="rightArrow">
                  <a:avLst/>
                </a:prstGeom>
                <a:solidFill>
                  <a:schemeClr val="accent5">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24" name="Rectangle 123"/>
                <p:cNvSpPr/>
                <p:nvPr/>
              </p:nvSpPr>
              <p:spPr bwMode="auto">
                <a:xfrm>
                  <a:off x="5486351" y="3402076"/>
                  <a:ext cx="98472" cy="113835"/>
                </a:xfrm>
                <a:prstGeom prst="rect">
                  <a:avLst/>
                </a:prstGeom>
                <a:solidFill>
                  <a:srgbClr val="008D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25" name="Rectangle 124"/>
                <p:cNvSpPr/>
                <p:nvPr/>
              </p:nvSpPr>
              <p:spPr bwMode="auto">
                <a:xfrm>
                  <a:off x="5114876" y="3402076"/>
                  <a:ext cx="98472" cy="113835"/>
                </a:xfrm>
                <a:prstGeom prst="rect">
                  <a:avLst/>
                </a:prstGeom>
                <a:solidFill>
                  <a:srgbClr val="008D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26" name="Rectangle 125"/>
                <p:cNvSpPr/>
                <p:nvPr/>
              </p:nvSpPr>
              <p:spPr bwMode="auto">
                <a:xfrm>
                  <a:off x="5305376" y="3402076"/>
                  <a:ext cx="98472" cy="113835"/>
                </a:xfrm>
                <a:prstGeom prst="rect">
                  <a:avLst/>
                </a:prstGeom>
                <a:solidFill>
                  <a:srgbClr val="008D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grpSp>
          <p:grpSp>
            <p:nvGrpSpPr>
              <p:cNvPr id="118" name="Group 117"/>
              <p:cNvGrpSpPr/>
              <p:nvPr/>
            </p:nvGrpSpPr>
            <p:grpSpPr>
              <a:xfrm>
                <a:off x="6730099" y="3869336"/>
                <a:ext cx="705256" cy="549066"/>
                <a:chOff x="5028588" y="3196792"/>
                <a:chExt cx="705256" cy="549066"/>
              </a:xfrm>
            </p:grpSpPr>
            <p:sp>
              <p:nvSpPr>
                <p:cNvPr id="119" name="Right Arrow 118"/>
                <p:cNvSpPr/>
                <p:nvPr/>
              </p:nvSpPr>
              <p:spPr bwMode="auto">
                <a:xfrm>
                  <a:off x="5028588" y="3196792"/>
                  <a:ext cx="705256" cy="549066"/>
                </a:xfrm>
                <a:prstGeom prst="rightArrow">
                  <a:avLst/>
                </a:prstGeom>
                <a:solidFill>
                  <a:schemeClr val="accent5">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20" name="Rectangle 119"/>
                <p:cNvSpPr/>
                <p:nvPr/>
              </p:nvSpPr>
              <p:spPr bwMode="auto">
                <a:xfrm>
                  <a:off x="5486351" y="3414408"/>
                  <a:ext cx="98472" cy="113835"/>
                </a:xfrm>
                <a:prstGeom prst="rect">
                  <a:avLst/>
                </a:prstGeom>
                <a:solidFill>
                  <a:srgbClr val="B957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21" name="Rectangle 120"/>
                <p:cNvSpPr/>
                <p:nvPr/>
              </p:nvSpPr>
              <p:spPr bwMode="auto">
                <a:xfrm>
                  <a:off x="5114876" y="3414408"/>
                  <a:ext cx="98472" cy="113835"/>
                </a:xfrm>
                <a:prstGeom prst="rect">
                  <a:avLst/>
                </a:prstGeom>
                <a:solidFill>
                  <a:srgbClr val="B957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22" name="Rectangle 121"/>
                <p:cNvSpPr/>
                <p:nvPr/>
              </p:nvSpPr>
              <p:spPr bwMode="auto">
                <a:xfrm>
                  <a:off x="5305376" y="3414408"/>
                  <a:ext cx="98472" cy="113835"/>
                </a:xfrm>
                <a:prstGeom prst="rect">
                  <a:avLst/>
                </a:prstGeom>
                <a:solidFill>
                  <a:srgbClr val="B957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grpSp>
        </p:grpSp>
        <p:sp>
          <p:nvSpPr>
            <p:cNvPr id="29" name="Down Arrow 28"/>
            <p:cNvSpPr/>
            <p:nvPr/>
          </p:nvSpPr>
          <p:spPr bwMode="auto">
            <a:xfrm>
              <a:off x="8635783" y="1987372"/>
              <a:ext cx="390198" cy="2833750"/>
            </a:xfrm>
            <a:prstGeom prst="downArrow">
              <a:avLst/>
            </a:prstGeom>
            <a:solidFill>
              <a:srgbClr val="FFBA6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grpSp>
          <p:nvGrpSpPr>
            <p:cNvPr id="30" name="Group 29"/>
            <p:cNvGrpSpPr/>
            <p:nvPr/>
          </p:nvGrpSpPr>
          <p:grpSpPr>
            <a:xfrm>
              <a:off x="8495206" y="1600898"/>
              <a:ext cx="880582" cy="2817504"/>
              <a:chOff x="6630247" y="1594880"/>
              <a:chExt cx="880582" cy="2817504"/>
            </a:xfrm>
          </p:grpSpPr>
          <p:grpSp>
            <p:nvGrpSpPr>
              <p:cNvPr id="101" name="Group 100"/>
              <p:cNvGrpSpPr/>
              <p:nvPr/>
            </p:nvGrpSpPr>
            <p:grpSpPr>
              <a:xfrm>
                <a:off x="6630249" y="1594880"/>
                <a:ext cx="880580" cy="549066"/>
                <a:chOff x="4909164" y="3165800"/>
                <a:chExt cx="880580" cy="549066"/>
              </a:xfrm>
            </p:grpSpPr>
            <p:sp>
              <p:nvSpPr>
                <p:cNvPr id="112" name="Right Arrow 111"/>
                <p:cNvSpPr/>
                <p:nvPr/>
              </p:nvSpPr>
              <p:spPr bwMode="auto">
                <a:xfrm>
                  <a:off x="4909164" y="3165800"/>
                  <a:ext cx="880580" cy="549066"/>
                </a:xfrm>
                <a:prstGeom prst="rightArrow">
                  <a:avLst/>
                </a:prstGeom>
                <a:solidFill>
                  <a:schemeClr val="accent5">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13" name="Rectangle 112"/>
                <p:cNvSpPr/>
                <p:nvPr/>
              </p:nvSpPr>
              <p:spPr bwMode="auto">
                <a:xfrm>
                  <a:off x="5375182" y="3383416"/>
                  <a:ext cx="98472" cy="11383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14" name="Rectangle 113"/>
                <p:cNvSpPr/>
                <p:nvPr/>
              </p:nvSpPr>
              <p:spPr bwMode="auto">
                <a:xfrm>
                  <a:off x="5003707" y="3383416"/>
                  <a:ext cx="98472" cy="113835"/>
                </a:xfrm>
                <a:prstGeom prst="rect">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15" name="Rectangle 114"/>
                <p:cNvSpPr/>
                <p:nvPr/>
              </p:nvSpPr>
              <p:spPr bwMode="auto">
                <a:xfrm>
                  <a:off x="5194207" y="3383416"/>
                  <a:ext cx="98472" cy="113835"/>
                </a:xfrm>
                <a:prstGeom prst="rect">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grpSp>
          <p:grpSp>
            <p:nvGrpSpPr>
              <p:cNvPr id="102" name="Group 101"/>
              <p:cNvGrpSpPr/>
              <p:nvPr/>
            </p:nvGrpSpPr>
            <p:grpSpPr>
              <a:xfrm>
                <a:off x="6630247" y="2689880"/>
                <a:ext cx="840997" cy="549066"/>
                <a:chOff x="4946233" y="3178442"/>
                <a:chExt cx="840997" cy="549066"/>
              </a:xfrm>
            </p:grpSpPr>
            <p:sp>
              <p:nvSpPr>
                <p:cNvPr id="108" name="Right Arrow 107"/>
                <p:cNvSpPr/>
                <p:nvPr/>
              </p:nvSpPr>
              <p:spPr bwMode="auto">
                <a:xfrm>
                  <a:off x="4946233" y="3178442"/>
                  <a:ext cx="840997" cy="549066"/>
                </a:xfrm>
                <a:prstGeom prst="rightArrow">
                  <a:avLst/>
                </a:prstGeom>
                <a:solidFill>
                  <a:schemeClr val="accent5">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09" name="Rectangle 108"/>
                <p:cNvSpPr/>
                <p:nvPr/>
              </p:nvSpPr>
              <p:spPr bwMode="auto">
                <a:xfrm>
                  <a:off x="5419955" y="3396058"/>
                  <a:ext cx="98472" cy="113835"/>
                </a:xfrm>
                <a:prstGeom prst="rect">
                  <a:avLst/>
                </a:prstGeom>
                <a:solidFill>
                  <a:srgbClr val="008D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10" name="Rectangle 109"/>
                <p:cNvSpPr/>
                <p:nvPr/>
              </p:nvSpPr>
              <p:spPr bwMode="auto">
                <a:xfrm>
                  <a:off x="5048480" y="3396058"/>
                  <a:ext cx="98472" cy="113835"/>
                </a:xfrm>
                <a:prstGeom prst="rect">
                  <a:avLst/>
                </a:prstGeom>
                <a:solidFill>
                  <a:srgbClr val="008D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11" name="Rectangle 110"/>
                <p:cNvSpPr/>
                <p:nvPr/>
              </p:nvSpPr>
              <p:spPr bwMode="auto">
                <a:xfrm>
                  <a:off x="5238980" y="3396058"/>
                  <a:ext cx="98472" cy="113835"/>
                </a:xfrm>
                <a:prstGeom prst="rect">
                  <a:avLst/>
                </a:prstGeom>
                <a:solidFill>
                  <a:srgbClr val="008D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grpSp>
          <p:grpSp>
            <p:nvGrpSpPr>
              <p:cNvPr id="103" name="Group 102"/>
              <p:cNvGrpSpPr/>
              <p:nvPr/>
            </p:nvGrpSpPr>
            <p:grpSpPr>
              <a:xfrm>
                <a:off x="6630248" y="3863318"/>
                <a:ext cx="859679" cy="549066"/>
                <a:chOff x="4928737" y="3190774"/>
                <a:chExt cx="859679" cy="549066"/>
              </a:xfrm>
            </p:grpSpPr>
            <p:sp>
              <p:nvSpPr>
                <p:cNvPr id="104" name="Right Arrow 103"/>
                <p:cNvSpPr/>
                <p:nvPr/>
              </p:nvSpPr>
              <p:spPr bwMode="auto">
                <a:xfrm>
                  <a:off x="4928737" y="3190774"/>
                  <a:ext cx="859679" cy="549066"/>
                </a:xfrm>
                <a:prstGeom prst="rightArrow">
                  <a:avLst/>
                </a:prstGeom>
                <a:solidFill>
                  <a:schemeClr val="accent5">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05" name="Rectangle 104"/>
                <p:cNvSpPr/>
                <p:nvPr/>
              </p:nvSpPr>
              <p:spPr bwMode="auto">
                <a:xfrm>
                  <a:off x="5396805" y="3408390"/>
                  <a:ext cx="98472" cy="113835"/>
                </a:xfrm>
                <a:prstGeom prst="rect">
                  <a:avLst/>
                </a:prstGeom>
                <a:solidFill>
                  <a:srgbClr val="B957D2"/>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06" name="Rectangle 105"/>
                <p:cNvSpPr/>
                <p:nvPr/>
              </p:nvSpPr>
              <p:spPr bwMode="auto">
                <a:xfrm>
                  <a:off x="5025330" y="3408390"/>
                  <a:ext cx="98472" cy="113835"/>
                </a:xfrm>
                <a:prstGeom prst="rect">
                  <a:avLst/>
                </a:prstGeom>
                <a:solidFill>
                  <a:srgbClr val="B957D2"/>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07" name="Rectangle 106"/>
                <p:cNvSpPr/>
                <p:nvPr/>
              </p:nvSpPr>
              <p:spPr bwMode="auto">
                <a:xfrm>
                  <a:off x="5215830" y="3408390"/>
                  <a:ext cx="98472" cy="113835"/>
                </a:xfrm>
                <a:prstGeom prst="rect">
                  <a:avLst/>
                </a:prstGeom>
                <a:solidFill>
                  <a:srgbClr val="B957D2"/>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grpSp>
        </p:grpSp>
        <p:grpSp>
          <p:nvGrpSpPr>
            <p:cNvPr id="31" name="Group 30"/>
            <p:cNvGrpSpPr/>
            <p:nvPr/>
          </p:nvGrpSpPr>
          <p:grpSpPr>
            <a:xfrm rot="16200000">
              <a:off x="8595691" y="2391801"/>
              <a:ext cx="469947" cy="113835"/>
              <a:chOff x="8853320" y="2030280"/>
              <a:chExt cx="469947" cy="113835"/>
            </a:xfrm>
          </p:grpSpPr>
          <p:sp>
            <p:nvSpPr>
              <p:cNvPr id="98" name="Rectangle 97"/>
              <p:cNvSpPr/>
              <p:nvPr/>
            </p:nvSpPr>
            <p:spPr bwMode="auto">
              <a:xfrm>
                <a:off x="9224795" y="2030280"/>
                <a:ext cx="98472" cy="113835"/>
              </a:xfrm>
              <a:prstGeom prst="rect">
                <a:avLst/>
              </a:prstGeom>
              <a:solidFill>
                <a:schemeClr val="accent4"/>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99" name="Rectangle 98"/>
              <p:cNvSpPr/>
              <p:nvPr/>
            </p:nvSpPr>
            <p:spPr bwMode="auto">
              <a:xfrm>
                <a:off x="8853320" y="2030280"/>
                <a:ext cx="98472" cy="113835"/>
              </a:xfrm>
              <a:prstGeom prst="rect">
                <a:avLst/>
              </a:prstGeom>
              <a:solidFill>
                <a:srgbClr val="DC3C00"/>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00" name="Rectangle 99"/>
              <p:cNvSpPr/>
              <p:nvPr/>
            </p:nvSpPr>
            <p:spPr bwMode="auto">
              <a:xfrm>
                <a:off x="9043820" y="2030280"/>
                <a:ext cx="98472" cy="113835"/>
              </a:xfrm>
              <a:prstGeom prst="rect">
                <a:avLst/>
              </a:prstGeom>
              <a:solidFill>
                <a:srgbClr val="DC3C00"/>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grpSp>
        <p:grpSp>
          <p:nvGrpSpPr>
            <p:cNvPr id="32" name="Group 31"/>
            <p:cNvGrpSpPr/>
            <p:nvPr/>
          </p:nvGrpSpPr>
          <p:grpSpPr>
            <a:xfrm rot="16200000">
              <a:off x="8597248" y="3502111"/>
              <a:ext cx="469947" cy="113835"/>
              <a:chOff x="8816249" y="3112638"/>
              <a:chExt cx="469947" cy="113835"/>
            </a:xfrm>
          </p:grpSpPr>
          <p:sp>
            <p:nvSpPr>
              <p:cNvPr id="95" name="Rectangle 94"/>
              <p:cNvSpPr/>
              <p:nvPr/>
            </p:nvSpPr>
            <p:spPr bwMode="auto">
              <a:xfrm>
                <a:off x="9187724" y="3112638"/>
                <a:ext cx="98472" cy="113835"/>
              </a:xfrm>
              <a:prstGeom prst="rect">
                <a:avLst/>
              </a:prstGeom>
              <a:solidFill>
                <a:srgbClr val="008DB5"/>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96" name="Rectangle 95"/>
              <p:cNvSpPr/>
              <p:nvPr/>
            </p:nvSpPr>
            <p:spPr bwMode="auto">
              <a:xfrm>
                <a:off x="8816249" y="3112638"/>
                <a:ext cx="98472" cy="113835"/>
              </a:xfrm>
              <a:prstGeom prst="rect">
                <a:avLst/>
              </a:prstGeom>
              <a:solidFill>
                <a:srgbClr val="008DB5"/>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97" name="Rectangle 96"/>
              <p:cNvSpPr/>
              <p:nvPr/>
            </p:nvSpPr>
            <p:spPr bwMode="auto">
              <a:xfrm>
                <a:off x="9006749" y="3112638"/>
                <a:ext cx="98472" cy="113835"/>
              </a:xfrm>
              <a:prstGeom prst="rect">
                <a:avLst/>
              </a:prstGeom>
              <a:solidFill>
                <a:srgbClr val="DC3C00"/>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grpSp>
        <p:grpSp>
          <p:nvGrpSpPr>
            <p:cNvPr id="33" name="Group 32"/>
            <p:cNvGrpSpPr/>
            <p:nvPr/>
          </p:nvGrpSpPr>
          <p:grpSpPr>
            <a:xfrm rot="16200000">
              <a:off x="8690941" y="4445442"/>
              <a:ext cx="279447" cy="113835"/>
              <a:chOff x="9024246" y="4273744"/>
              <a:chExt cx="279447" cy="113835"/>
            </a:xfrm>
          </p:grpSpPr>
          <p:sp>
            <p:nvSpPr>
              <p:cNvPr id="93" name="Rectangle 92"/>
              <p:cNvSpPr/>
              <p:nvPr/>
            </p:nvSpPr>
            <p:spPr bwMode="auto">
              <a:xfrm>
                <a:off x="9205221" y="4273744"/>
                <a:ext cx="98472" cy="113835"/>
              </a:xfrm>
              <a:prstGeom prst="rect">
                <a:avLst/>
              </a:prstGeom>
              <a:solidFill>
                <a:srgbClr val="008DB5"/>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94" name="Rectangle 93"/>
              <p:cNvSpPr/>
              <p:nvPr/>
            </p:nvSpPr>
            <p:spPr bwMode="auto">
              <a:xfrm>
                <a:off x="9024246" y="4273744"/>
                <a:ext cx="98472" cy="113835"/>
              </a:xfrm>
              <a:prstGeom prst="rect">
                <a:avLst/>
              </a:prstGeom>
              <a:solidFill>
                <a:srgbClr val="B957D2"/>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grpSp>
        <p:grpSp>
          <p:nvGrpSpPr>
            <p:cNvPr id="34" name="Group 33"/>
            <p:cNvGrpSpPr/>
            <p:nvPr/>
          </p:nvGrpSpPr>
          <p:grpSpPr>
            <a:xfrm>
              <a:off x="9469474" y="1411557"/>
              <a:ext cx="2592068" cy="905875"/>
              <a:chOff x="9469474" y="1411557"/>
              <a:chExt cx="2592068" cy="905875"/>
            </a:xfrm>
          </p:grpSpPr>
          <p:sp>
            <p:nvSpPr>
              <p:cNvPr id="79" name="Rounded Rectangle 78"/>
              <p:cNvSpPr/>
              <p:nvPr/>
            </p:nvSpPr>
            <p:spPr bwMode="auto">
              <a:xfrm>
                <a:off x="9469474" y="1433431"/>
                <a:ext cx="2592068" cy="884001"/>
              </a:xfrm>
              <a:prstGeom prst="round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grpSp>
            <p:nvGrpSpPr>
              <p:cNvPr id="80" name="Group 79"/>
              <p:cNvGrpSpPr/>
              <p:nvPr/>
            </p:nvGrpSpPr>
            <p:grpSpPr>
              <a:xfrm>
                <a:off x="9546259" y="1411557"/>
                <a:ext cx="995546" cy="312955"/>
                <a:chOff x="9546259" y="1411557"/>
                <a:chExt cx="995546" cy="312955"/>
              </a:xfrm>
            </p:grpSpPr>
            <p:sp>
              <p:nvSpPr>
                <p:cNvPr id="91" name="Flowchart: Alternate Process 90"/>
                <p:cNvSpPr/>
                <p:nvPr/>
              </p:nvSpPr>
              <p:spPr bwMode="auto">
                <a:xfrm>
                  <a:off x="9546259" y="1527479"/>
                  <a:ext cx="995546" cy="197033"/>
                </a:xfrm>
                <a:prstGeom prst="flowChartAlternateProcess">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92" name="TextBox 91"/>
                <p:cNvSpPr txBox="1"/>
                <p:nvPr/>
              </p:nvSpPr>
              <p:spPr>
                <a:xfrm>
                  <a:off x="9608398" y="1411557"/>
                  <a:ext cx="914400" cy="249259"/>
                </a:xfrm>
                <a:prstGeom prst="rect">
                  <a:avLst/>
                </a:prstGeom>
                <a:noFill/>
              </p:spPr>
              <p:txBody>
                <a:bodyPr wrap="none" lIns="182880" tIns="146304" rIns="182880" bIns="146304" rtlCol="0">
                  <a:noAutofit/>
                </a:bodyPr>
                <a:lstStyle/>
                <a:p>
                  <a:pPr algn="ctr">
                    <a:lnSpc>
                      <a:spcPct val="90000"/>
                    </a:lnSpc>
                    <a:spcAft>
                      <a:spcPts val="600"/>
                    </a:spcAft>
                  </a:pPr>
                  <a:r>
                    <a:rPr lang="en-US" sz="1100" dirty="0" err="1">
                      <a:solidFill>
                        <a:schemeClr val="tx1">
                          <a:lumMod val="85000"/>
                          <a:lumOff val="15000"/>
                        </a:schemeClr>
                      </a:solidFill>
                    </a:rPr>
                    <a:t>MemStore</a:t>
                  </a:r>
                  <a:endParaRPr lang="en-US" sz="1100" dirty="0">
                    <a:solidFill>
                      <a:schemeClr val="tx1">
                        <a:lumMod val="85000"/>
                        <a:lumOff val="15000"/>
                      </a:schemeClr>
                    </a:solidFill>
                  </a:endParaRPr>
                </a:p>
              </p:txBody>
            </p:sp>
          </p:grpSp>
          <p:grpSp>
            <p:nvGrpSpPr>
              <p:cNvPr id="81" name="Group 80"/>
              <p:cNvGrpSpPr/>
              <p:nvPr/>
            </p:nvGrpSpPr>
            <p:grpSpPr>
              <a:xfrm>
                <a:off x="9565309" y="1679377"/>
                <a:ext cx="1072331" cy="609256"/>
                <a:chOff x="9565309" y="1679377"/>
                <a:chExt cx="1072331" cy="609256"/>
              </a:xfrm>
            </p:grpSpPr>
            <p:sp>
              <p:nvSpPr>
                <p:cNvPr id="87" name="Flowchart: Alternate Process 86"/>
                <p:cNvSpPr/>
                <p:nvPr/>
              </p:nvSpPr>
              <p:spPr bwMode="auto">
                <a:xfrm>
                  <a:off x="9565309" y="1808662"/>
                  <a:ext cx="976496" cy="479971"/>
                </a:xfrm>
                <a:prstGeom prst="flowChartAlternateProcess">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88" name="TextBox 87"/>
                <p:cNvSpPr txBox="1"/>
                <p:nvPr/>
              </p:nvSpPr>
              <p:spPr>
                <a:xfrm>
                  <a:off x="9591689" y="1679377"/>
                  <a:ext cx="914400" cy="332930"/>
                </a:xfrm>
                <a:prstGeom prst="rect">
                  <a:avLst/>
                </a:prstGeom>
                <a:noFill/>
              </p:spPr>
              <p:txBody>
                <a:bodyPr wrap="none" lIns="182880" tIns="146304" rIns="182880" bIns="146304" rtlCol="0">
                  <a:noAutofit/>
                </a:bodyPr>
                <a:lstStyle/>
                <a:p>
                  <a:pPr algn="ctr">
                    <a:lnSpc>
                      <a:spcPct val="90000"/>
                    </a:lnSpc>
                    <a:spcAft>
                      <a:spcPts val="600"/>
                    </a:spcAft>
                  </a:pPr>
                  <a:r>
                    <a:rPr lang="en-US" sz="1100" dirty="0" err="1">
                      <a:solidFill>
                        <a:schemeClr val="tx1">
                          <a:lumMod val="85000"/>
                          <a:lumOff val="15000"/>
                        </a:schemeClr>
                      </a:solidFill>
                    </a:rPr>
                    <a:t>StoreFile</a:t>
                  </a:r>
                  <a:endParaRPr lang="en-US" sz="1100" dirty="0">
                    <a:solidFill>
                      <a:schemeClr val="tx1">
                        <a:lumMod val="85000"/>
                        <a:lumOff val="15000"/>
                      </a:schemeClr>
                    </a:solidFill>
                  </a:endParaRPr>
                </a:p>
              </p:txBody>
            </p:sp>
            <p:sp>
              <p:nvSpPr>
                <p:cNvPr id="89" name="Rectangle 88"/>
                <p:cNvSpPr/>
                <p:nvPr/>
              </p:nvSpPr>
              <p:spPr bwMode="auto">
                <a:xfrm>
                  <a:off x="9726753" y="2082702"/>
                  <a:ext cx="666750" cy="201360"/>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90" name="TextBox 89"/>
                <p:cNvSpPr txBox="1"/>
                <p:nvPr/>
              </p:nvSpPr>
              <p:spPr>
                <a:xfrm>
                  <a:off x="9723240" y="1997732"/>
                  <a:ext cx="914400" cy="210825"/>
                </a:xfrm>
                <a:prstGeom prst="rect">
                  <a:avLst/>
                </a:prstGeom>
                <a:noFill/>
              </p:spPr>
              <p:txBody>
                <a:bodyPr wrap="none" lIns="182880" tIns="146304" rIns="182880" bIns="146304" rtlCol="0">
                  <a:noAutofit/>
                </a:bodyPr>
                <a:lstStyle/>
                <a:p>
                  <a:pPr>
                    <a:lnSpc>
                      <a:spcPct val="90000"/>
                    </a:lnSpc>
                    <a:spcAft>
                      <a:spcPts val="600"/>
                    </a:spcAft>
                  </a:pPr>
                  <a:r>
                    <a:rPr lang="en-US" sz="1100" dirty="0" err="1">
                      <a:solidFill>
                        <a:schemeClr val="tx1">
                          <a:lumMod val="85000"/>
                          <a:lumOff val="15000"/>
                        </a:schemeClr>
                      </a:solidFill>
                    </a:rPr>
                    <a:t>HFile</a:t>
                  </a:r>
                  <a:endParaRPr lang="en-US" sz="1100" dirty="0">
                    <a:solidFill>
                      <a:schemeClr val="tx1">
                        <a:lumMod val="85000"/>
                        <a:lumOff val="15000"/>
                      </a:schemeClr>
                    </a:solidFill>
                  </a:endParaRPr>
                </a:p>
              </p:txBody>
            </p:sp>
          </p:grpSp>
          <p:grpSp>
            <p:nvGrpSpPr>
              <p:cNvPr id="82" name="Group 81"/>
              <p:cNvGrpSpPr/>
              <p:nvPr/>
            </p:nvGrpSpPr>
            <p:grpSpPr>
              <a:xfrm>
                <a:off x="10623447" y="1679377"/>
                <a:ext cx="1072331" cy="609256"/>
                <a:chOff x="9565309" y="1679377"/>
                <a:chExt cx="1072331" cy="609256"/>
              </a:xfrm>
            </p:grpSpPr>
            <p:sp>
              <p:nvSpPr>
                <p:cNvPr id="83" name="Flowchart: Alternate Process 82"/>
                <p:cNvSpPr/>
                <p:nvPr/>
              </p:nvSpPr>
              <p:spPr bwMode="auto">
                <a:xfrm>
                  <a:off x="9565309" y="1808662"/>
                  <a:ext cx="976496" cy="479971"/>
                </a:xfrm>
                <a:prstGeom prst="flowChartAlternateProcess">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84" name="TextBox 83"/>
                <p:cNvSpPr txBox="1"/>
                <p:nvPr/>
              </p:nvSpPr>
              <p:spPr>
                <a:xfrm>
                  <a:off x="9591689" y="1679377"/>
                  <a:ext cx="914400" cy="332930"/>
                </a:xfrm>
                <a:prstGeom prst="rect">
                  <a:avLst/>
                </a:prstGeom>
                <a:noFill/>
              </p:spPr>
              <p:txBody>
                <a:bodyPr wrap="none" lIns="182880" tIns="146304" rIns="182880" bIns="146304" rtlCol="0">
                  <a:noAutofit/>
                </a:bodyPr>
                <a:lstStyle/>
                <a:p>
                  <a:pPr algn="ctr">
                    <a:lnSpc>
                      <a:spcPct val="90000"/>
                    </a:lnSpc>
                    <a:spcAft>
                      <a:spcPts val="600"/>
                    </a:spcAft>
                  </a:pPr>
                  <a:r>
                    <a:rPr lang="en-US" sz="1100" dirty="0" err="1">
                      <a:solidFill>
                        <a:schemeClr val="tx1">
                          <a:lumMod val="85000"/>
                          <a:lumOff val="15000"/>
                        </a:schemeClr>
                      </a:solidFill>
                    </a:rPr>
                    <a:t>StoreFile</a:t>
                  </a:r>
                  <a:endParaRPr lang="en-US" sz="1100" dirty="0">
                    <a:solidFill>
                      <a:schemeClr val="tx1">
                        <a:lumMod val="85000"/>
                        <a:lumOff val="15000"/>
                      </a:schemeClr>
                    </a:solidFill>
                  </a:endParaRPr>
                </a:p>
              </p:txBody>
            </p:sp>
            <p:sp>
              <p:nvSpPr>
                <p:cNvPr id="85" name="Rectangle 84"/>
                <p:cNvSpPr/>
                <p:nvPr/>
              </p:nvSpPr>
              <p:spPr bwMode="auto">
                <a:xfrm>
                  <a:off x="9726753" y="2082702"/>
                  <a:ext cx="666750" cy="201360"/>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86" name="TextBox 85"/>
                <p:cNvSpPr txBox="1"/>
                <p:nvPr/>
              </p:nvSpPr>
              <p:spPr>
                <a:xfrm>
                  <a:off x="9723240" y="1997732"/>
                  <a:ext cx="914400" cy="210825"/>
                </a:xfrm>
                <a:prstGeom prst="rect">
                  <a:avLst/>
                </a:prstGeom>
                <a:noFill/>
              </p:spPr>
              <p:txBody>
                <a:bodyPr wrap="none" lIns="182880" tIns="146304" rIns="182880" bIns="146304" rtlCol="0">
                  <a:noAutofit/>
                </a:bodyPr>
                <a:lstStyle/>
                <a:p>
                  <a:pPr>
                    <a:lnSpc>
                      <a:spcPct val="90000"/>
                    </a:lnSpc>
                    <a:spcAft>
                      <a:spcPts val="600"/>
                    </a:spcAft>
                  </a:pPr>
                  <a:r>
                    <a:rPr lang="en-US" sz="1100" dirty="0" err="1">
                      <a:solidFill>
                        <a:schemeClr val="tx1">
                          <a:lumMod val="85000"/>
                          <a:lumOff val="15000"/>
                        </a:schemeClr>
                      </a:solidFill>
                    </a:rPr>
                    <a:t>HFile</a:t>
                  </a:r>
                  <a:endParaRPr lang="en-US" sz="1100" dirty="0">
                    <a:solidFill>
                      <a:schemeClr val="tx1">
                        <a:lumMod val="85000"/>
                        <a:lumOff val="15000"/>
                      </a:schemeClr>
                    </a:solidFill>
                  </a:endParaRPr>
                </a:p>
              </p:txBody>
            </p:sp>
          </p:grpSp>
        </p:grpSp>
        <p:grpSp>
          <p:nvGrpSpPr>
            <p:cNvPr id="35" name="Group 34"/>
            <p:cNvGrpSpPr/>
            <p:nvPr/>
          </p:nvGrpSpPr>
          <p:grpSpPr>
            <a:xfrm>
              <a:off x="9644274" y="2688063"/>
              <a:ext cx="1072331" cy="609256"/>
              <a:chOff x="9565309" y="1679377"/>
              <a:chExt cx="1072331" cy="609256"/>
            </a:xfrm>
          </p:grpSpPr>
          <p:sp>
            <p:nvSpPr>
              <p:cNvPr id="75" name="Flowchart: Alternate Process 74"/>
              <p:cNvSpPr/>
              <p:nvPr/>
            </p:nvSpPr>
            <p:spPr bwMode="auto">
              <a:xfrm>
                <a:off x="9565309" y="1808662"/>
                <a:ext cx="976496" cy="479971"/>
              </a:xfrm>
              <a:prstGeom prst="flowChartAlternateProcess">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76" name="TextBox 75"/>
              <p:cNvSpPr txBox="1"/>
              <p:nvPr/>
            </p:nvSpPr>
            <p:spPr>
              <a:xfrm>
                <a:off x="9591689" y="1679377"/>
                <a:ext cx="914400" cy="332930"/>
              </a:xfrm>
              <a:prstGeom prst="rect">
                <a:avLst/>
              </a:prstGeom>
              <a:noFill/>
            </p:spPr>
            <p:txBody>
              <a:bodyPr wrap="none" lIns="182880" tIns="146304" rIns="182880" bIns="146304" rtlCol="0">
                <a:noAutofit/>
              </a:bodyPr>
              <a:lstStyle/>
              <a:p>
                <a:pPr algn="ctr">
                  <a:lnSpc>
                    <a:spcPct val="90000"/>
                  </a:lnSpc>
                  <a:spcAft>
                    <a:spcPts val="600"/>
                  </a:spcAft>
                </a:pPr>
                <a:r>
                  <a:rPr lang="en-US" sz="1100" dirty="0" err="1">
                    <a:solidFill>
                      <a:schemeClr val="tx1">
                        <a:lumMod val="85000"/>
                        <a:lumOff val="15000"/>
                      </a:schemeClr>
                    </a:solidFill>
                  </a:rPr>
                  <a:t>StoreFile</a:t>
                </a:r>
                <a:endParaRPr lang="en-US" sz="1100" dirty="0">
                  <a:solidFill>
                    <a:schemeClr val="tx1">
                      <a:lumMod val="85000"/>
                      <a:lumOff val="15000"/>
                    </a:schemeClr>
                  </a:solidFill>
                </a:endParaRPr>
              </a:p>
            </p:txBody>
          </p:sp>
          <p:sp>
            <p:nvSpPr>
              <p:cNvPr id="77" name="Rectangle 76"/>
              <p:cNvSpPr/>
              <p:nvPr/>
            </p:nvSpPr>
            <p:spPr bwMode="auto">
              <a:xfrm>
                <a:off x="9726753" y="2082702"/>
                <a:ext cx="666750" cy="201360"/>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78" name="TextBox 77"/>
              <p:cNvSpPr txBox="1"/>
              <p:nvPr/>
            </p:nvSpPr>
            <p:spPr>
              <a:xfrm>
                <a:off x="9723240" y="1997732"/>
                <a:ext cx="914400" cy="210825"/>
              </a:xfrm>
              <a:prstGeom prst="rect">
                <a:avLst/>
              </a:prstGeom>
              <a:noFill/>
            </p:spPr>
            <p:txBody>
              <a:bodyPr wrap="none" lIns="182880" tIns="146304" rIns="182880" bIns="146304" rtlCol="0">
                <a:noAutofit/>
              </a:bodyPr>
              <a:lstStyle/>
              <a:p>
                <a:pPr>
                  <a:lnSpc>
                    <a:spcPct val="90000"/>
                  </a:lnSpc>
                  <a:spcAft>
                    <a:spcPts val="600"/>
                  </a:spcAft>
                </a:pPr>
                <a:r>
                  <a:rPr lang="en-US" sz="1100" dirty="0" err="1">
                    <a:solidFill>
                      <a:schemeClr val="tx1">
                        <a:lumMod val="85000"/>
                        <a:lumOff val="15000"/>
                      </a:schemeClr>
                    </a:solidFill>
                  </a:rPr>
                  <a:t>HFile</a:t>
                </a:r>
                <a:endParaRPr lang="en-US" sz="1100" dirty="0">
                  <a:solidFill>
                    <a:schemeClr val="tx1">
                      <a:lumMod val="85000"/>
                      <a:lumOff val="15000"/>
                    </a:schemeClr>
                  </a:solidFill>
                </a:endParaRPr>
              </a:p>
            </p:txBody>
          </p:sp>
        </p:grpSp>
        <p:grpSp>
          <p:nvGrpSpPr>
            <p:cNvPr id="36" name="Group 35"/>
            <p:cNvGrpSpPr/>
            <p:nvPr/>
          </p:nvGrpSpPr>
          <p:grpSpPr>
            <a:xfrm>
              <a:off x="9450467" y="3668590"/>
              <a:ext cx="2592068" cy="917280"/>
              <a:chOff x="9469474" y="1411557"/>
              <a:chExt cx="2592068" cy="917280"/>
            </a:xfrm>
          </p:grpSpPr>
          <p:sp>
            <p:nvSpPr>
              <p:cNvPr id="61" name="Rounded Rectangle 60"/>
              <p:cNvSpPr/>
              <p:nvPr/>
            </p:nvSpPr>
            <p:spPr bwMode="auto">
              <a:xfrm>
                <a:off x="9469474" y="1444836"/>
                <a:ext cx="2592068" cy="884001"/>
              </a:xfrm>
              <a:prstGeom prst="round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grpSp>
            <p:nvGrpSpPr>
              <p:cNvPr id="62" name="Group 61"/>
              <p:cNvGrpSpPr/>
              <p:nvPr/>
            </p:nvGrpSpPr>
            <p:grpSpPr>
              <a:xfrm>
                <a:off x="9546259" y="1411557"/>
                <a:ext cx="995546" cy="312955"/>
                <a:chOff x="9546259" y="1411557"/>
                <a:chExt cx="995546" cy="312955"/>
              </a:xfrm>
            </p:grpSpPr>
            <p:sp>
              <p:nvSpPr>
                <p:cNvPr id="73" name="Flowchart: Alternate Process 72"/>
                <p:cNvSpPr/>
                <p:nvPr/>
              </p:nvSpPr>
              <p:spPr bwMode="auto">
                <a:xfrm>
                  <a:off x="9546259" y="1527479"/>
                  <a:ext cx="995546" cy="197033"/>
                </a:xfrm>
                <a:prstGeom prst="flowChartAlternateProcess">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74" name="TextBox 73"/>
                <p:cNvSpPr txBox="1"/>
                <p:nvPr/>
              </p:nvSpPr>
              <p:spPr>
                <a:xfrm>
                  <a:off x="9627405" y="1411557"/>
                  <a:ext cx="914400" cy="249259"/>
                </a:xfrm>
                <a:prstGeom prst="rect">
                  <a:avLst/>
                </a:prstGeom>
                <a:noFill/>
              </p:spPr>
              <p:txBody>
                <a:bodyPr wrap="none" lIns="182880" tIns="146304" rIns="182880" bIns="146304" rtlCol="0">
                  <a:noAutofit/>
                </a:bodyPr>
                <a:lstStyle/>
                <a:p>
                  <a:pPr algn="ctr">
                    <a:lnSpc>
                      <a:spcPct val="90000"/>
                    </a:lnSpc>
                    <a:spcAft>
                      <a:spcPts val="600"/>
                    </a:spcAft>
                  </a:pPr>
                  <a:r>
                    <a:rPr lang="en-US" sz="1100" dirty="0" err="1">
                      <a:solidFill>
                        <a:schemeClr val="tx1">
                          <a:lumMod val="85000"/>
                          <a:lumOff val="15000"/>
                        </a:schemeClr>
                      </a:solidFill>
                    </a:rPr>
                    <a:t>MemStore</a:t>
                  </a:r>
                  <a:endParaRPr lang="en-US" sz="1100" dirty="0">
                    <a:solidFill>
                      <a:schemeClr val="tx1">
                        <a:lumMod val="85000"/>
                        <a:lumOff val="15000"/>
                      </a:schemeClr>
                    </a:solidFill>
                  </a:endParaRPr>
                </a:p>
              </p:txBody>
            </p:sp>
          </p:grpSp>
          <p:grpSp>
            <p:nvGrpSpPr>
              <p:cNvPr id="63" name="Group 62"/>
              <p:cNvGrpSpPr/>
              <p:nvPr/>
            </p:nvGrpSpPr>
            <p:grpSpPr>
              <a:xfrm>
                <a:off x="9565309" y="1679377"/>
                <a:ext cx="1072331" cy="609256"/>
                <a:chOff x="9565309" y="1679377"/>
                <a:chExt cx="1072331" cy="609256"/>
              </a:xfrm>
            </p:grpSpPr>
            <p:sp>
              <p:nvSpPr>
                <p:cNvPr id="69" name="Flowchart: Alternate Process 68"/>
                <p:cNvSpPr/>
                <p:nvPr/>
              </p:nvSpPr>
              <p:spPr bwMode="auto">
                <a:xfrm>
                  <a:off x="9565309" y="1808662"/>
                  <a:ext cx="976496" cy="479971"/>
                </a:xfrm>
                <a:prstGeom prst="flowChartAlternateProcess">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70" name="TextBox 69"/>
                <p:cNvSpPr txBox="1"/>
                <p:nvPr/>
              </p:nvSpPr>
              <p:spPr>
                <a:xfrm>
                  <a:off x="9591689" y="1679377"/>
                  <a:ext cx="914400" cy="332930"/>
                </a:xfrm>
                <a:prstGeom prst="rect">
                  <a:avLst/>
                </a:prstGeom>
                <a:noFill/>
              </p:spPr>
              <p:txBody>
                <a:bodyPr wrap="none" lIns="182880" tIns="146304" rIns="182880" bIns="146304" rtlCol="0">
                  <a:noAutofit/>
                </a:bodyPr>
                <a:lstStyle/>
                <a:p>
                  <a:pPr algn="ctr">
                    <a:lnSpc>
                      <a:spcPct val="90000"/>
                    </a:lnSpc>
                    <a:spcAft>
                      <a:spcPts val="600"/>
                    </a:spcAft>
                  </a:pPr>
                  <a:r>
                    <a:rPr lang="en-US" sz="1100" dirty="0" err="1">
                      <a:solidFill>
                        <a:schemeClr val="tx1">
                          <a:lumMod val="85000"/>
                          <a:lumOff val="15000"/>
                        </a:schemeClr>
                      </a:solidFill>
                    </a:rPr>
                    <a:t>StoreFile</a:t>
                  </a:r>
                  <a:endParaRPr lang="en-US" sz="1100" dirty="0">
                    <a:solidFill>
                      <a:schemeClr val="tx1">
                        <a:lumMod val="85000"/>
                        <a:lumOff val="15000"/>
                      </a:schemeClr>
                    </a:solidFill>
                  </a:endParaRPr>
                </a:p>
              </p:txBody>
            </p:sp>
            <p:sp>
              <p:nvSpPr>
                <p:cNvPr id="71" name="Rectangle 70"/>
                <p:cNvSpPr/>
                <p:nvPr/>
              </p:nvSpPr>
              <p:spPr bwMode="auto">
                <a:xfrm>
                  <a:off x="9726753" y="2082702"/>
                  <a:ext cx="666750" cy="201360"/>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72" name="TextBox 71"/>
                <p:cNvSpPr txBox="1"/>
                <p:nvPr/>
              </p:nvSpPr>
              <p:spPr>
                <a:xfrm>
                  <a:off x="9723240" y="1997732"/>
                  <a:ext cx="914400" cy="210825"/>
                </a:xfrm>
                <a:prstGeom prst="rect">
                  <a:avLst/>
                </a:prstGeom>
                <a:noFill/>
              </p:spPr>
              <p:txBody>
                <a:bodyPr wrap="none" lIns="182880" tIns="146304" rIns="182880" bIns="146304" rtlCol="0">
                  <a:noAutofit/>
                </a:bodyPr>
                <a:lstStyle/>
                <a:p>
                  <a:pPr>
                    <a:lnSpc>
                      <a:spcPct val="90000"/>
                    </a:lnSpc>
                    <a:spcAft>
                      <a:spcPts val="600"/>
                    </a:spcAft>
                  </a:pPr>
                  <a:r>
                    <a:rPr lang="en-US" sz="1100" dirty="0" err="1">
                      <a:solidFill>
                        <a:schemeClr val="tx1">
                          <a:lumMod val="85000"/>
                          <a:lumOff val="15000"/>
                        </a:schemeClr>
                      </a:solidFill>
                    </a:rPr>
                    <a:t>HFile</a:t>
                  </a:r>
                  <a:endParaRPr lang="en-US" sz="1100" dirty="0">
                    <a:solidFill>
                      <a:schemeClr val="tx1">
                        <a:lumMod val="85000"/>
                        <a:lumOff val="15000"/>
                      </a:schemeClr>
                    </a:solidFill>
                  </a:endParaRPr>
                </a:p>
              </p:txBody>
            </p:sp>
          </p:grpSp>
          <p:grpSp>
            <p:nvGrpSpPr>
              <p:cNvPr id="64" name="Group 63"/>
              <p:cNvGrpSpPr/>
              <p:nvPr/>
            </p:nvGrpSpPr>
            <p:grpSpPr>
              <a:xfrm>
                <a:off x="10623447" y="1679377"/>
                <a:ext cx="1072331" cy="609256"/>
                <a:chOff x="9565309" y="1679377"/>
                <a:chExt cx="1072331" cy="609256"/>
              </a:xfrm>
            </p:grpSpPr>
            <p:sp>
              <p:nvSpPr>
                <p:cNvPr id="65" name="Flowchart: Alternate Process 64"/>
                <p:cNvSpPr/>
                <p:nvPr/>
              </p:nvSpPr>
              <p:spPr bwMode="auto">
                <a:xfrm>
                  <a:off x="9565309" y="1808662"/>
                  <a:ext cx="976496" cy="479971"/>
                </a:xfrm>
                <a:prstGeom prst="flowChartAlternateProcess">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66" name="TextBox 65"/>
                <p:cNvSpPr txBox="1"/>
                <p:nvPr/>
              </p:nvSpPr>
              <p:spPr>
                <a:xfrm>
                  <a:off x="9591689" y="1679377"/>
                  <a:ext cx="914400" cy="332930"/>
                </a:xfrm>
                <a:prstGeom prst="rect">
                  <a:avLst/>
                </a:prstGeom>
                <a:noFill/>
              </p:spPr>
              <p:txBody>
                <a:bodyPr wrap="none" lIns="182880" tIns="146304" rIns="182880" bIns="146304" rtlCol="0">
                  <a:noAutofit/>
                </a:bodyPr>
                <a:lstStyle/>
                <a:p>
                  <a:pPr algn="ctr">
                    <a:lnSpc>
                      <a:spcPct val="90000"/>
                    </a:lnSpc>
                    <a:spcAft>
                      <a:spcPts val="600"/>
                    </a:spcAft>
                  </a:pPr>
                  <a:r>
                    <a:rPr lang="en-US" sz="1100" dirty="0" err="1">
                      <a:solidFill>
                        <a:schemeClr val="tx1">
                          <a:lumMod val="85000"/>
                          <a:lumOff val="15000"/>
                        </a:schemeClr>
                      </a:solidFill>
                    </a:rPr>
                    <a:t>StoreFile</a:t>
                  </a:r>
                  <a:endParaRPr lang="en-US" sz="1100" dirty="0">
                    <a:solidFill>
                      <a:schemeClr val="tx1">
                        <a:lumMod val="85000"/>
                        <a:lumOff val="15000"/>
                      </a:schemeClr>
                    </a:solidFill>
                  </a:endParaRPr>
                </a:p>
              </p:txBody>
            </p:sp>
            <p:sp>
              <p:nvSpPr>
                <p:cNvPr id="67" name="Rectangle 66"/>
                <p:cNvSpPr/>
                <p:nvPr/>
              </p:nvSpPr>
              <p:spPr bwMode="auto">
                <a:xfrm>
                  <a:off x="9726753" y="2082702"/>
                  <a:ext cx="666750" cy="201360"/>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68" name="TextBox 67"/>
                <p:cNvSpPr txBox="1"/>
                <p:nvPr/>
              </p:nvSpPr>
              <p:spPr>
                <a:xfrm>
                  <a:off x="9723240" y="1997732"/>
                  <a:ext cx="914400" cy="210825"/>
                </a:xfrm>
                <a:prstGeom prst="rect">
                  <a:avLst/>
                </a:prstGeom>
                <a:noFill/>
              </p:spPr>
              <p:txBody>
                <a:bodyPr wrap="none" lIns="182880" tIns="146304" rIns="182880" bIns="146304" rtlCol="0">
                  <a:noAutofit/>
                </a:bodyPr>
                <a:lstStyle/>
                <a:p>
                  <a:pPr>
                    <a:lnSpc>
                      <a:spcPct val="90000"/>
                    </a:lnSpc>
                    <a:spcAft>
                      <a:spcPts val="600"/>
                    </a:spcAft>
                  </a:pPr>
                  <a:r>
                    <a:rPr lang="en-US" sz="1100" dirty="0" err="1">
                      <a:solidFill>
                        <a:schemeClr val="tx1">
                          <a:lumMod val="85000"/>
                          <a:lumOff val="15000"/>
                        </a:schemeClr>
                      </a:solidFill>
                    </a:rPr>
                    <a:t>HFile</a:t>
                  </a:r>
                  <a:endParaRPr lang="en-US" sz="1100" dirty="0">
                    <a:solidFill>
                      <a:schemeClr val="tx1">
                        <a:lumMod val="85000"/>
                        <a:lumOff val="15000"/>
                      </a:schemeClr>
                    </a:solidFill>
                  </a:endParaRPr>
                </a:p>
              </p:txBody>
            </p:sp>
          </p:grpSp>
        </p:grpSp>
        <p:sp>
          <p:nvSpPr>
            <p:cNvPr id="37" name="Flowchart: Alternate Process 36"/>
            <p:cNvSpPr/>
            <p:nvPr/>
          </p:nvSpPr>
          <p:spPr bwMode="auto">
            <a:xfrm>
              <a:off x="9623052" y="2555474"/>
              <a:ext cx="995546" cy="197033"/>
            </a:xfrm>
            <a:prstGeom prst="flowChartAlternateProcess">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38" name="TextBox 37"/>
            <p:cNvSpPr txBox="1"/>
            <p:nvPr/>
          </p:nvSpPr>
          <p:spPr>
            <a:xfrm>
              <a:off x="9608398" y="2474277"/>
              <a:ext cx="914400" cy="249259"/>
            </a:xfrm>
            <a:prstGeom prst="rect">
              <a:avLst/>
            </a:prstGeom>
            <a:noFill/>
          </p:spPr>
          <p:txBody>
            <a:bodyPr wrap="none" lIns="182880" tIns="146304" rIns="182880" bIns="146304" rtlCol="0">
              <a:noAutofit/>
            </a:bodyPr>
            <a:lstStyle/>
            <a:p>
              <a:pPr algn="ctr">
                <a:lnSpc>
                  <a:spcPct val="90000"/>
                </a:lnSpc>
                <a:spcAft>
                  <a:spcPts val="600"/>
                </a:spcAft>
              </a:pPr>
              <a:r>
                <a:rPr lang="en-US" sz="1100" dirty="0" err="1">
                  <a:solidFill>
                    <a:schemeClr val="tx1">
                      <a:lumMod val="85000"/>
                      <a:lumOff val="15000"/>
                    </a:schemeClr>
                  </a:solidFill>
                </a:rPr>
                <a:t>MemStore</a:t>
              </a:r>
              <a:endParaRPr lang="en-US" sz="1100" dirty="0">
                <a:solidFill>
                  <a:schemeClr val="tx1">
                    <a:lumMod val="85000"/>
                    <a:lumOff val="15000"/>
                  </a:schemeClr>
                </a:solidFill>
              </a:endParaRPr>
            </a:p>
          </p:txBody>
        </p:sp>
        <p:sp>
          <p:nvSpPr>
            <p:cNvPr id="39" name="TextBox 38"/>
            <p:cNvSpPr txBox="1"/>
            <p:nvPr/>
          </p:nvSpPr>
          <p:spPr>
            <a:xfrm>
              <a:off x="11580936" y="1343606"/>
              <a:ext cx="423001" cy="302818"/>
            </a:xfrm>
            <a:prstGeom prst="rect">
              <a:avLst/>
            </a:prstGeom>
            <a:noFill/>
          </p:spPr>
          <p:txBody>
            <a:bodyPr wrap="none" lIns="182880" tIns="146304" rIns="182880" bIns="146304" rtlCol="0">
              <a:noAutofit/>
            </a:bodyPr>
            <a:lstStyle/>
            <a:p>
              <a:pPr algn="ctr">
                <a:lnSpc>
                  <a:spcPct val="90000"/>
                </a:lnSpc>
                <a:spcAft>
                  <a:spcPts val="600"/>
                </a:spcAft>
              </a:pPr>
              <a:r>
                <a:rPr lang="en-US" sz="1100" dirty="0">
                  <a:solidFill>
                    <a:schemeClr val="tx1">
                      <a:lumMod val="85000"/>
                      <a:lumOff val="15000"/>
                    </a:schemeClr>
                  </a:solidFill>
                </a:rPr>
                <a:t>Store</a:t>
              </a:r>
            </a:p>
          </p:txBody>
        </p:sp>
        <p:sp>
          <p:nvSpPr>
            <p:cNvPr id="40" name="TextBox 39"/>
            <p:cNvSpPr txBox="1"/>
            <p:nvPr/>
          </p:nvSpPr>
          <p:spPr>
            <a:xfrm>
              <a:off x="11580936" y="2449689"/>
              <a:ext cx="423001" cy="302818"/>
            </a:xfrm>
            <a:prstGeom prst="rect">
              <a:avLst/>
            </a:prstGeom>
            <a:noFill/>
          </p:spPr>
          <p:txBody>
            <a:bodyPr wrap="none" lIns="182880" tIns="146304" rIns="182880" bIns="146304" rtlCol="0">
              <a:noAutofit/>
            </a:bodyPr>
            <a:lstStyle/>
            <a:p>
              <a:pPr algn="ctr">
                <a:lnSpc>
                  <a:spcPct val="90000"/>
                </a:lnSpc>
                <a:spcAft>
                  <a:spcPts val="600"/>
                </a:spcAft>
              </a:pPr>
              <a:r>
                <a:rPr lang="en-US" sz="1100" dirty="0">
                  <a:solidFill>
                    <a:schemeClr val="tx1">
                      <a:lumMod val="85000"/>
                      <a:lumOff val="15000"/>
                    </a:schemeClr>
                  </a:solidFill>
                </a:rPr>
                <a:t>Store</a:t>
              </a:r>
            </a:p>
          </p:txBody>
        </p:sp>
        <p:sp>
          <p:nvSpPr>
            <p:cNvPr id="41" name="TextBox 40"/>
            <p:cNvSpPr txBox="1"/>
            <p:nvPr/>
          </p:nvSpPr>
          <p:spPr>
            <a:xfrm>
              <a:off x="11580936" y="3641810"/>
              <a:ext cx="423001" cy="302818"/>
            </a:xfrm>
            <a:prstGeom prst="rect">
              <a:avLst/>
            </a:prstGeom>
            <a:noFill/>
          </p:spPr>
          <p:txBody>
            <a:bodyPr wrap="none" lIns="182880" tIns="146304" rIns="182880" bIns="146304" rtlCol="0">
              <a:noAutofit/>
            </a:bodyPr>
            <a:lstStyle/>
            <a:p>
              <a:pPr algn="ctr">
                <a:lnSpc>
                  <a:spcPct val="90000"/>
                </a:lnSpc>
                <a:spcAft>
                  <a:spcPts val="600"/>
                </a:spcAft>
              </a:pPr>
              <a:r>
                <a:rPr lang="en-US" sz="1100" dirty="0">
                  <a:solidFill>
                    <a:schemeClr val="tx1">
                      <a:lumMod val="85000"/>
                      <a:lumOff val="15000"/>
                    </a:schemeClr>
                  </a:solidFill>
                </a:rPr>
                <a:t>Store</a:t>
              </a:r>
            </a:p>
          </p:txBody>
        </p:sp>
        <p:grpSp>
          <p:nvGrpSpPr>
            <p:cNvPr id="42" name="Group 41"/>
            <p:cNvGrpSpPr/>
            <p:nvPr/>
          </p:nvGrpSpPr>
          <p:grpSpPr>
            <a:xfrm>
              <a:off x="11661290" y="1954955"/>
              <a:ext cx="299827" cy="75818"/>
              <a:chOff x="8251705" y="429863"/>
              <a:chExt cx="299827" cy="75818"/>
            </a:xfrm>
          </p:grpSpPr>
          <p:sp>
            <p:nvSpPr>
              <p:cNvPr id="58" name="Oval 57"/>
              <p:cNvSpPr/>
              <p:nvPr/>
            </p:nvSpPr>
            <p:spPr bwMode="auto">
              <a:xfrm flipV="1">
                <a:off x="8251705" y="429863"/>
                <a:ext cx="75818" cy="75818"/>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59" name="Oval 58"/>
              <p:cNvSpPr/>
              <p:nvPr/>
            </p:nvSpPr>
            <p:spPr bwMode="auto">
              <a:xfrm flipV="1">
                <a:off x="8362328" y="429863"/>
                <a:ext cx="75818" cy="75818"/>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60" name="Oval 59"/>
              <p:cNvSpPr/>
              <p:nvPr/>
            </p:nvSpPr>
            <p:spPr bwMode="auto">
              <a:xfrm flipV="1">
                <a:off x="8475714" y="429863"/>
                <a:ext cx="75818" cy="75818"/>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grpSp>
        <p:grpSp>
          <p:nvGrpSpPr>
            <p:cNvPr id="43" name="Group 42"/>
            <p:cNvGrpSpPr/>
            <p:nvPr/>
          </p:nvGrpSpPr>
          <p:grpSpPr>
            <a:xfrm>
              <a:off x="11640712" y="4249208"/>
              <a:ext cx="299827" cy="75818"/>
              <a:chOff x="8251705" y="429863"/>
              <a:chExt cx="299827" cy="75818"/>
            </a:xfrm>
          </p:grpSpPr>
          <p:sp>
            <p:nvSpPr>
              <p:cNvPr id="55" name="Oval 54"/>
              <p:cNvSpPr/>
              <p:nvPr/>
            </p:nvSpPr>
            <p:spPr bwMode="auto">
              <a:xfrm flipV="1">
                <a:off x="8251705" y="429863"/>
                <a:ext cx="75818" cy="75818"/>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56" name="Oval 55"/>
              <p:cNvSpPr/>
              <p:nvPr/>
            </p:nvSpPr>
            <p:spPr bwMode="auto">
              <a:xfrm flipV="1">
                <a:off x="8362328" y="429863"/>
                <a:ext cx="75818" cy="75818"/>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57" name="Oval 56"/>
              <p:cNvSpPr/>
              <p:nvPr/>
            </p:nvSpPr>
            <p:spPr bwMode="auto">
              <a:xfrm flipV="1">
                <a:off x="8475714" y="429863"/>
                <a:ext cx="75818" cy="75818"/>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grpSp>
        <p:sp>
          <p:nvSpPr>
            <p:cNvPr id="44" name="TextBox 43"/>
            <p:cNvSpPr txBox="1"/>
            <p:nvPr/>
          </p:nvSpPr>
          <p:spPr>
            <a:xfrm>
              <a:off x="7489048" y="2799144"/>
              <a:ext cx="914400" cy="498175"/>
            </a:xfrm>
            <a:prstGeom prst="rect">
              <a:avLst/>
            </a:prstGeom>
            <a:noFill/>
          </p:spPr>
          <p:txBody>
            <a:bodyPr wrap="none" lIns="182880" tIns="146304" rIns="182880" bIns="146304" rtlCol="0">
              <a:noAutofit/>
            </a:bodyPr>
            <a:lstStyle/>
            <a:p>
              <a:pPr algn="ctr">
                <a:lnSpc>
                  <a:spcPct val="90000"/>
                </a:lnSpc>
                <a:spcAft>
                  <a:spcPts val="600"/>
                </a:spcAft>
              </a:pPr>
              <a:r>
                <a:rPr lang="en-US" sz="1200" dirty="0" err="1">
                  <a:solidFill>
                    <a:schemeClr val="tx1">
                      <a:lumMod val="85000"/>
                      <a:lumOff val="15000"/>
                    </a:schemeClr>
                  </a:solidFill>
                </a:rPr>
                <a:t>HRegion</a:t>
              </a:r>
              <a:endParaRPr lang="en-US" sz="1200" dirty="0">
                <a:solidFill>
                  <a:schemeClr val="tx1">
                    <a:lumMod val="85000"/>
                    <a:lumOff val="15000"/>
                  </a:schemeClr>
                </a:solidFill>
              </a:endParaRPr>
            </a:p>
          </p:txBody>
        </p:sp>
        <p:sp>
          <p:nvSpPr>
            <p:cNvPr id="45" name="TextBox 44"/>
            <p:cNvSpPr txBox="1"/>
            <p:nvPr/>
          </p:nvSpPr>
          <p:spPr>
            <a:xfrm>
              <a:off x="7527868" y="1647466"/>
              <a:ext cx="914400" cy="498175"/>
            </a:xfrm>
            <a:prstGeom prst="rect">
              <a:avLst/>
            </a:prstGeom>
            <a:noFill/>
          </p:spPr>
          <p:txBody>
            <a:bodyPr wrap="none" lIns="182880" tIns="146304" rIns="182880" bIns="146304" rtlCol="0">
              <a:noAutofit/>
            </a:bodyPr>
            <a:lstStyle/>
            <a:p>
              <a:pPr algn="ctr">
                <a:lnSpc>
                  <a:spcPct val="90000"/>
                </a:lnSpc>
                <a:spcAft>
                  <a:spcPts val="600"/>
                </a:spcAft>
              </a:pPr>
              <a:r>
                <a:rPr lang="en-US" sz="1200" dirty="0" err="1">
                  <a:solidFill>
                    <a:schemeClr val="bg1"/>
                  </a:solidFill>
                </a:rPr>
                <a:t>HRegion</a:t>
              </a:r>
              <a:endParaRPr lang="en-US" sz="1200" dirty="0">
                <a:solidFill>
                  <a:schemeClr val="bg1"/>
                </a:solidFill>
              </a:endParaRPr>
            </a:p>
          </p:txBody>
        </p:sp>
        <p:sp>
          <p:nvSpPr>
            <p:cNvPr id="46" name="TextBox 45"/>
            <p:cNvSpPr txBox="1"/>
            <p:nvPr/>
          </p:nvSpPr>
          <p:spPr>
            <a:xfrm>
              <a:off x="7508323" y="3896526"/>
              <a:ext cx="914400" cy="498175"/>
            </a:xfrm>
            <a:prstGeom prst="rect">
              <a:avLst/>
            </a:prstGeom>
            <a:noFill/>
          </p:spPr>
          <p:txBody>
            <a:bodyPr wrap="none" lIns="182880" tIns="146304" rIns="182880" bIns="146304" rtlCol="0">
              <a:noAutofit/>
            </a:bodyPr>
            <a:lstStyle/>
            <a:p>
              <a:pPr algn="ctr">
                <a:lnSpc>
                  <a:spcPct val="90000"/>
                </a:lnSpc>
                <a:spcAft>
                  <a:spcPts val="600"/>
                </a:spcAft>
              </a:pPr>
              <a:r>
                <a:rPr lang="en-US" sz="1200" dirty="0" err="1"/>
                <a:t>HRegion</a:t>
              </a:r>
              <a:endParaRPr lang="en-US" sz="1200" dirty="0"/>
            </a:p>
          </p:txBody>
        </p:sp>
        <p:sp>
          <p:nvSpPr>
            <p:cNvPr id="47" name="TextBox 46"/>
            <p:cNvSpPr txBox="1"/>
            <p:nvPr/>
          </p:nvSpPr>
          <p:spPr>
            <a:xfrm>
              <a:off x="5027728" y="3754065"/>
              <a:ext cx="707036" cy="237783"/>
            </a:xfrm>
            <a:prstGeom prst="rect">
              <a:avLst/>
            </a:prstGeom>
            <a:solidFill>
              <a:srgbClr val="92D050"/>
            </a:solidFill>
          </p:spPr>
          <p:txBody>
            <a:bodyPr wrap="none" lIns="182880" tIns="146304" rIns="182880" bIns="146304" rtlCol="0">
              <a:noAutofit/>
            </a:bodyPr>
            <a:lstStyle/>
            <a:p>
              <a:pPr algn="ctr">
                <a:lnSpc>
                  <a:spcPct val="50000"/>
                </a:lnSpc>
                <a:spcAft>
                  <a:spcPts val="600"/>
                </a:spcAft>
              </a:pPr>
              <a:r>
                <a:rPr lang="en-US" sz="1100" dirty="0" err="1">
                  <a:solidFill>
                    <a:schemeClr val="tx1">
                      <a:lumMod val="85000"/>
                      <a:lumOff val="15000"/>
                    </a:schemeClr>
                  </a:solidFill>
                </a:rPr>
                <a:t>KeyValue’s</a:t>
              </a:r>
              <a:endParaRPr lang="en-US" sz="1100" dirty="0">
                <a:solidFill>
                  <a:schemeClr val="tx1">
                    <a:lumMod val="85000"/>
                    <a:lumOff val="15000"/>
                  </a:schemeClr>
                </a:solidFill>
              </a:endParaRPr>
            </a:p>
          </p:txBody>
        </p:sp>
        <p:cxnSp>
          <p:nvCxnSpPr>
            <p:cNvPr id="48" name="Elbow Connector 47"/>
            <p:cNvCxnSpPr>
              <a:stCxn id="19" idx="3"/>
            </p:cNvCxnSpPr>
            <p:nvPr/>
          </p:nvCxnSpPr>
          <p:spPr>
            <a:xfrm>
              <a:off x="6523107" y="4808503"/>
              <a:ext cx="965941" cy="186132"/>
            </a:xfrm>
            <a:prstGeom prst="bentConnector3">
              <a:avLst>
                <a:gd name="adj1" fmla="val 1943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a:stCxn id="20" idx="3"/>
            </p:cNvCxnSpPr>
            <p:nvPr/>
          </p:nvCxnSpPr>
          <p:spPr>
            <a:xfrm>
              <a:off x="6532667" y="5385012"/>
              <a:ext cx="956381"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0" name="TextBox 49"/>
            <p:cNvSpPr txBox="1"/>
            <p:nvPr/>
          </p:nvSpPr>
          <p:spPr>
            <a:xfrm>
              <a:off x="6783549" y="4742153"/>
              <a:ext cx="552450" cy="227249"/>
            </a:xfrm>
            <a:prstGeom prst="rect">
              <a:avLst/>
            </a:prstGeom>
            <a:noFill/>
          </p:spPr>
          <p:txBody>
            <a:bodyPr wrap="none" lIns="182880" tIns="146304" rIns="182880" bIns="146304" rtlCol="0">
              <a:noAutofit/>
            </a:bodyPr>
            <a:lstStyle/>
            <a:p>
              <a:pPr algn="ctr">
                <a:lnSpc>
                  <a:spcPct val="50000"/>
                </a:lnSpc>
                <a:spcAft>
                  <a:spcPts val="600"/>
                </a:spcAft>
              </a:pPr>
              <a:r>
                <a:rPr lang="en-US" sz="1100" dirty="0">
                  <a:solidFill>
                    <a:schemeClr val="bg1"/>
                  </a:solidFill>
                </a:rPr>
                <a:t>sync()</a:t>
              </a:r>
            </a:p>
          </p:txBody>
        </p:sp>
        <p:sp>
          <p:nvSpPr>
            <p:cNvPr id="51" name="TextBox 50"/>
            <p:cNvSpPr txBox="1"/>
            <p:nvPr/>
          </p:nvSpPr>
          <p:spPr>
            <a:xfrm>
              <a:off x="6792841" y="5433850"/>
              <a:ext cx="552450" cy="227249"/>
            </a:xfrm>
            <a:prstGeom prst="rect">
              <a:avLst/>
            </a:prstGeom>
            <a:noFill/>
          </p:spPr>
          <p:txBody>
            <a:bodyPr wrap="none" lIns="182880" tIns="146304" rIns="182880" bIns="146304" rtlCol="0">
              <a:noAutofit/>
            </a:bodyPr>
            <a:lstStyle/>
            <a:p>
              <a:pPr algn="ctr">
                <a:lnSpc>
                  <a:spcPct val="50000"/>
                </a:lnSpc>
                <a:spcAft>
                  <a:spcPts val="600"/>
                </a:spcAft>
              </a:pPr>
              <a:r>
                <a:rPr lang="en-US" sz="1100" dirty="0" err="1">
                  <a:solidFill>
                    <a:schemeClr val="bg1"/>
                  </a:solidFill>
                </a:rPr>
                <a:t>rollWriter</a:t>
              </a:r>
              <a:r>
                <a:rPr lang="en-US" sz="1100" dirty="0">
                  <a:solidFill>
                    <a:schemeClr val="bg1"/>
                  </a:solidFill>
                </a:rPr>
                <a:t>()</a:t>
              </a:r>
            </a:p>
          </p:txBody>
        </p:sp>
        <p:sp>
          <p:nvSpPr>
            <p:cNvPr id="52" name="TextBox 51"/>
            <p:cNvSpPr txBox="1"/>
            <p:nvPr/>
          </p:nvSpPr>
          <p:spPr>
            <a:xfrm>
              <a:off x="9055948" y="4827578"/>
              <a:ext cx="552450" cy="227249"/>
            </a:xfrm>
            <a:prstGeom prst="rect">
              <a:avLst/>
            </a:prstGeom>
            <a:noFill/>
          </p:spPr>
          <p:txBody>
            <a:bodyPr wrap="none" lIns="182880" tIns="146304" rIns="182880" bIns="146304" rtlCol="0">
              <a:noAutofit/>
            </a:bodyPr>
            <a:lstStyle/>
            <a:p>
              <a:pPr algn="ctr">
                <a:lnSpc>
                  <a:spcPct val="50000"/>
                </a:lnSpc>
                <a:spcAft>
                  <a:spcPts val="600"/>
                </a:spcAft>
              </a:pPr>
              <a:r>
                <a:rPr lang="en-US" sz="1100" dirty="0" err="1">
                  <a:solidFill>
                    <a:schemeClr val="bg1"/>
                  </a:solidFill>
                </a:rPr>
                <a:t>HLog</a:t>
              </a:r>
              <a:endParaRPr lang="en-US" sz="1100" dirty="0">
                <a:solidFill>
                  <a:schemeClr val="bg1"/>
                </a:solidFill>
              </a:endParaRPr>
            </a:p>
          </p:txBody>
        </p:sp>
        <p:pic>
          <p:nvPicPr>
            <p:cNvPr id="53" name="Picture 52"/>
            <p:cNvPicPr>
              <a:picLocks noChangeAspect="1"/>
            </p:cNvPicPr>
            <p:nvPr/>
          </p:nvPicPr>
          <p:blipFill rotWithShape="1">
            <a:blip r:embed="rId5"/>
            <a:srcRect l="67769" t="87314" r="15707" b="9233"/>
            <a:stretch/>
          </p:blipFill>
          <p:spPr>
            <a:xfrm>
              <a:off x="9411701" y="5186620"/>
              <a:ext cx="1704389" cy="205863"/>
            </a:xfrm>
            <a:prstGeom prst="rect">
              <a:avLst/>
            </a:prstGeom>
            <a:ln>
              <a:solidFill>
                <a:schemeClr val="tx2">
                  <a:lumMod val="40000"/>
                  <a:lumOff val="60000"/>
                </a:schemeClr>
              </a:solidFill>
            </a:ln>
          </p:spPr>
        </p:pic>
        <p:pic>
          <p:nvPicPr>
            <p:cNvPr id="54" name="Picture 2" descr="http://1.bp.blogspot.com/_Cib_A77V54U/S2M98DazIVI/AAAAAAAAAFw/cmp0W38kWGY/s1600/wal-flow.png"/>
            <p:cNvPicPr>
              <a:picLocks noChangeAspect="1" noChangeArrowheads="1"/>
            </p:cNvPicPr>
            <p:nvPr/>
          </p:nvPicPr>
          <p:blipFill rotWithShape="1">
            <a:blip r:embed="rId3">
              <a:extLst>
                <a:ext uri="{BEBA8EAE-BF5A-486C-A8C5-ECC9F3942E4B}">
                  <a14:imgProps xmlns:a14="http://schemas.microsoft.com/office/drawing/2010/main">
                    <a14:imgLayer r:embed="rId4">
                      <a14:imgEffect>
                        <a14:colorTemperature colorTemp="8800"/>
                      </a14:imgEffect>
                    </a14:imgLayer>
                  </a14:imgProps>
                </a:ext>
                <a:ext uri="{28A0092B-C50C-407E-A947-70E740481C1C}">
                  <a14:useLocalDpi xmlns:a14="http://schemas.microsoft.com/office/drawing/2010/main" val="0"/>
                </a:ext>
              </a:extLst>
            </a:blip>
            <a:srcRect l="49272" t="87414" r="33974" b="9032"/>
            <a:stretch/>
          </p:blipFill>
          <p:spPr bwMode="auto">
            <a:xfrm>
              <a:off x="7573939" y="5180709"/>
              <a:ext cx="1714501" cy="209550"/>
            </a:xfrm>
            <a:prstGeom prst="rect">
              <a:avLst/>
            </a:prstGeom>
            <a:solidFill>
              <a:schemeClr val="accent2">
                <a:lumMod val="75000"/>
              </a:schemeClr>
            </a:solidFill>
            <a:ln>
              <a:solidFill>
                <a:schemeClr val="tx2"/>
              </a:solidFill>
            </a:ln>
          </p:spPr>
        </p:pic>
      </p:grpSp>
    </p:spTree>
    <p:extLst>
      <p:ext uri="{BB962C8B-B14F-4D97-AF65-F5344CB8AC3E}">
        <p14:creationId xmlns:p14="http://schemas.microsoft.com/office/powerpoint/2010/main" val="3423384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Base Key Components: Overview</a:t>
            </a:r>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56</a:t>
            </a:fld>
            <a:endParaRPr lang="en-US" dirty="0"/>
          </a:p>
        </p:txBody>
      </p:sp>
      <p:grpSp>
        <p:nvGrpSpPr>
          <p:cNvPr id="41" name="Group 40"/>
          <p:cNvGrpSpPr/>
          <p:nvPr/>
        </p:nvGrpSpPr>
        <p:grpSpPr>
          <a:xfrm>
            <a:off x="268673" y="1355204"/>
            <a:ext cx="11762536" cy="5096758"/>
            <a:chOff x="268673" y="1355204"/>
            <a:chExt cx="11762536" cy="5096758"/>
          </a:xfrm>
        </p:grpSpPr>
        <p:sp>
          <p:nvSpPr>
            <p:cNvPr id="5" name="Trapezoid 4"/>
            <p:cNvSpPr/>
            <p:nvPr/>
          </p:nvSpPr>
          <p:spPr bwMode="auto">
            <a:xfrm rot="16200000">
              <a:off x="-179586" y="3031263"/>
              <a:ext cx="5092807" cy="1748590"/>
            </a:xfrm>
            <a:prstGeom prst="trapezoid">
              <a:avLst>
                <a:gd name="adj" fmla="val 128943"/>
              </a:avLst>
            </a:prstGeom>
            <a:no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6" name="TextBox 5"/>
            <p:cNvSpPr txBox="1"/>
            <p:nvPr/>
          </p:nvSpPr>
          <p:spPr>
            <a:xfrm>
              <a:off x="268673" y="3577406"/>
              <a:ext cx="1238159" cy="627864"/>
            </a:xfrm>
            <a:prstGeom prst="rect">
              <a:avLst/>
            </a:prstGeom>
            <a:solidFill>
              <a:schemeClr val="accent3"/>
            </a:solidFill>
          </p:spPr>
          <p:txBody>
            <a:bodyPr wrap="none" lIns="182880" tIns="146304" rIns="182880" bIns="146304" rtlCol="0">
              <a:spAutoFit/>
            </a:bodyPr>
            <a:lstStyle/>
            <a:p>
              <a:pPr>
                <a:lnSpc>
                  <a:spcPct val="90000"/>
                </a:lnSpc>
                <a:spcAft>
                  <a:spcPts val="600"/>
                </a:spcAft>
              </a:pPr>
              <a:r>
                <a:rPr lang="en-US" sz="2400" dirty="0">
                  <a:solidFill>
                    <a:schemeClr val="bg1"/>
                  </a:solidFill>
                  <a:latin typeface="Segoe UI Semibold" panose="020B0702040204020203" pitchFamily="34" charset="0"/>
                  <a:cs typeface="Segoe UI Semibold" panose="020B0702040204020203" pitchFamily="34" charset="0"/>
                </a:rPr>
                <a:t>HBase</a:t>
              </a:r>
            </a:p>
          </p:txBody>
        </p:sp>
        <p:sp>
          <p:nvSpPr>
            <p:cNvPr id="11" name="Rectangle 10"/>
            <p:cNvSpPr/>
            <p:nvPr/>
          </p:nvSpPr>
          <p:spPr bwMode="auto">
            <a:xfrm>
              <a:off x="5190038" y="2256129"/>
              <a:ext cx="6819835" cy="580639"/>
            </a:xfrm>
            <a:prstGeom prst="rect">
              <a:avLst/>
            </a:prstGeom>
            <a:solidFill>
              <a:srgbClr val="F4E4F8">
                <a:alpha val="7843"/>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6" name="Rectangle 15"/>
            <p:cNvSpPr/>
            <p:nvPr/>
          </p:nvSpPr>
          <p:spPr>
            <a:xfrm>
              <a:off x="5228787" y="1515372"/>
              <a:ext cx="3264122" cy="557076"/>
            </a:xfrm>
            <a:prstGeom prst="rect">
              <a:avLst/>
            </a:prstGeom>
          </p:spPr>
          <p:txBody>
            <a:bodyPr wrap="square">
              <a:spAutoFit/>
            </a:bodyPr>
            <a:lstStyle/>
            <a:p>
              <a:pPr indent="-91440">
                <a:lnSpc>
                  <a:spcPct val="90000"/>
                </a:lnSpc>
                <a:spcAft>
                  <a:spcPts val="600"/>
                </a:spcAft>
                <a:buFont typeface="Arial" panose="020B0604020202020204" pitchFamily="34" charset="0"/>
                <a:buChar char="•"/>
              </a:pPr>
              <a:r>
                <a:rPr lang="en-US" sz="1400" dirty="0">
                  <a:solidFill>
                    <a:schemeClr val="tx1">
                      <a:lumMod val="65000"/>
                      <a:lumOff val="35000"/>
                    </a:schemeClr>
                  </a:solidFill>
                </a:rPr>
                <a:t>Responsible for Admin Operations</a:t>
              </a:r>
            </a:p>
            <a:p>
              <a:pPr indent="-91440">
                <a:lnSpc>
                  <a:spcPct val="90000"/>
                </a:lnSpc>
                <a:spcAft>
                  <a:spcPts val="600"/>
                </a:spcAft>
                <a:buFont typeface="Arial" panose="020B0604020202020204" pitchFamily="34" charset="0"/>
                <a:buChar char="•"/>
              </a:pPr>
              <a:r>
                <a:rPr lang="en-US" sz="1400" dirty="0">
                  <a:solidFill>
                    <a:schemeClr val="tx1">
                      <a:lumMod val="65000"/>
                      <a:lumOff val="35000"/>
                    </a:schemeClr>
                  </a:solidFill>
                </a:rPr>
                <a:t>Managers and Monitors the cluster</a:t>
              </a:r>
            </a:p>
          </p:txBody>
        </p:sp>
        <p:sp>
          <p:nvSpPr>
            <p:cNvPr id="17" name="Rounded Rectangle 16"/>
            <p:cNvSpPr/>
            <p:nvPr/>
          </p:nvSpPr>
          <p:spPr bwMode="auto">
            <a:xfrm>
              <a:off x="3334273" y="1476627"/>
              <a:ext cx="1873847" cy="634566"/>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b="1"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20" name="Rounded Rectangle 19"/>
            <p:cNvSpPr/>
            <p:nvPr/>
          </p:nvSpPr>
          <p:spPr bwMode="auto">
            <a:xfrm>
              <a:off x="3334273" y="2217384"/>
              <a:ext cx="1873847" cy="634566"/>
            </a:xfrm>
            <a:prstGeom prst="roundRect">
              <a:avLst/>
            </a:prstGeom>
            <a:solidFill>
              <a:schemeClr val="tx1">
                <a:lumMod val="85000"/>
                <a:lumOff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b="1"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21" name="Rounded Rectangle 20"/>
            <p:cNvSpPr/>
            <p:nvPr/>
          </p:nvSpPr>
          <p:spPr bwMode="auto">
            <a:xfrm>
              <a:off x="3334273" y="3074988"/>
              <a:ext cx="1873847" cy="634566"/>
            </a:xfrm>
            <a:prstGeom prst="round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22" name="Rounded Rectangle 21"/>
            <p:cNvSpPr/>
            <p:nvPr/>
          </p:nvSpPr>
          <p:spPr bwMode="auto">
            <a:xfrm>
              <a:off x="3334273" y="3924950"/>
              <a:ext cx="1873847" cy="634566"/>
            </a:xfrm>
            <a:prstGeom prst="roundRect">
              <a:avLst/>
            </a:prstGeom>
            <a:solidFill>
              <a:schemeClr val="accent4">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23" name="Rounded Rectangle 22"/>
            <p:cNvSpPr/>
            <p:nvPr/>
          </p:nvSpPr>
          <p:spPr bwMode="auto">
            <a:xfrm>
              <a:off x="3334273" y="4763475"/>
              <a:ext cx="1873847" cy="634566"/>
            </a:xfrm>
            <a:prstGeom prst="round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24" name="Rounded Rectangle 23"/>
            <p:cNvSpPr/>
            <p:nvPr/>
          </p:nvSpPr>
          <p:spPr bwMode="auto">
            <a:xfrm>
              <a:off x="3334273" y="5610743"/>
              <a:ext cx="1873847" cy="634566"/>
            </a:xfrm>
            <a:prstGeom prst="round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25" name="TextBox 24"/>
            <p:cNvSpPr txBox="1"/>
            <p:nvPr/>
          </p:nvSpPr>
          <p:spPr>
            <a:xfrm>
              <a:off x="3369654" y="1589166"/>
              <a:ext cx="1216057" cy="409489"/>
            </a:xfrm>
            <a:prstGeom prst="rect">
              <a:avLst/>
            </a:prstGeom>
            <a:noFill/>
          </p:spPr>
          <p:txBody>
            <a:bodyPr wrap="none" lIns="182880" tIns="146304" rIns="182880" bIns="146304" rtlCol="0" anchor="ctr">
              <a:noAutofit/>
            </a:bodyPr>
            <a:lstStyle/>
            <a:p>
              <a:pPr>
                <a:lnSpc>
                  <a:spcPct val="90000"/>
                </a:lnSpc>
                <a:spcAft>
                  <a:spcPts val="600"/>
                </a:spcAft>
              </a:pPr>
              <a:r>
                <a:rPr lang="en-US" dirty="0" err="1">
                  <a:solidFill>
                    <a:schemeClr val="bg1"/>
                  </a:solidFill>
                  <a:latin typeface="Segoe UI Semibold" panose="020B0702040204020203" pitchFamily="34" charset="0"/>
                  <a:cs typeface="Segoe UI Semibold" panose="020B0702040204020203" pitchFamily="34" charset="0"/>
                </a:rPr>
                <a:t>HMaster</a:t>
              </a:r>
              <a:endParaRPr lang="en-US" dirty="0">
                <a:solidFill>
                  <a:schemeClr val="bg1"/>
                </a:solidFill>
                <a:latin typeface="Segoe UI Semibold" panose="020B0702040204020203" pitchFamily="34" charset="0"/>
                <a:cs typeface="Segoe UI Semibold" panose="020B0702040204020203" pitchFamily="34" charset="0"/>
              </a:endParaRPr>
            </a:p>
          </p:txBody>
        </p:sp>
        <p:sp>
          <p:nvSpPr>
            <p:cNvPr id="26" name="TextBox 25"/>
            <p:cNvSpPr txBox="1"/>
            <p:nvPr/>
          </p:nvSpPr>
          <p:spPr>
            <a:xfrm>
              <a:off x="3371226" y="2329923"/>
              <a:ext cx="1216057" cy="409489"/>
            </a:xfrm>
            <a:prstGeom prst="rect">
              <a:avLst/>
            </a:prstGeom>
            <a:noFill/>
          </p:spPr>
          <p:txBody>
            <a:bodyPr wrap="none" lIns="182880" tIns="146304" rIns="182880" bIns="146304" rtlCol="0" anchor="ctr">
              <a:noAutofit/>
            </a:bodyPr>
            <a:lstStyle/>
            <a:p>
              <a:pPr>
                <a:lnSpc>
                  <a:spcPct val="90000"/>
                </a:lnSpc>
                <a:spcAft>
                  <a:spcPts val="600"/>
                </a:spcAft>
              </a:pPr>
              <a:r>
                <a:rPr lang="en-US" dirty="0" err="1">
                  <a:solidFill>
                    <a:schemeClr val="bg1"/>
                  </a:solidFill>
                  <a:latin typeface="Segoe UI Semibold" panose="020B0702040204020203" pitchFamily="34" charset="0"/>
                  <a:cs typeface="Segoe UI Semibold" panose="020B0702040204020203" pitchFamily="34" charset="0"/>
                </a:rPr>
                <a:t>HRegionServer</a:t>
              </a:r>
              <a:endParaRPr lang="en-US" dirty="0">
                <a:solidFill>
                  <a:schemeClr val="bg1"/>
                </a:solidFill>
                <a:latin typeface="Segoe UI Semibold" panose="020B0702040204020203" pitchFamily="34" charset="0"/>
                <a:cs typeface="Segoe UI Semibold" panose="020B0702040204020203" pitchFamily="34" charset="0"/>
              </a:endParaRPr>
            </a:p>
          </p:txBody>
        </p:sp>
        <p:sp>
          <p:nvSpPr>
            <p:cNvPr id="27" name="TextBox 26"/>
            <p:cNvSpPr txBox="1"/>
            <p:nvPr/>
          </p:nvSpPr>
          <p:spPr>
            <a:xfrm>
              <a:off x="3372795" y="3147008"/>
              <a:ext cx="1216057" cy="409489"/>
            </a:xfrm>
            <a:prstGeom prst="rect">
              <a:avLst/>
            </a:prstGeom>
            <a:noFill/>
          </p:spPr>
          <p:txBody>
            <a:bodyPr wrap="none" lIns="182880" tIns="146304" rIns="182880" bIns="146304" rtlCol="0" anchor="ctr">
              <a:noAutofit/>
            </a:bodyPr>
            <a:lstStyle/>
            <a:p>
              <a:pPr>
                <a:lnSpc>
                  <a:spcPct val="90000"/>
                </a:lnSpc>
                <a:spcAft>
                  <a:spcPts val="600"/>
                </a:spcAft>
              </a:pPr>
              <a:r>
                <a:rPr lang="en-US" dirty="0" err="1">
                  <a:solidFill>
                    <a:schemeClr val="bg1"/>
                  </a:solidFill>
                  <a:latin typeface="Segoe UI Semibold" panose="020B0702040204020203" pitchFamily="34" charset="0"/>
                  <a:cs typeface="Segoe UI Semibold" panose="020B0702040204020203" pitchFamily="34" charset="0"/>
                </a:rPr>
                <a:t>HRegions</a:t>
              </a:r>
              <a:endParaRPr lang="en-US" dirty="0">
                <a:solidFill>
                  <a:schemeClr val="bg1"/>
                </a:solidFill>
                <a:latin typeface="Segoe UI Semibold" panose="020B0702040204020203" pitchFamily="34" charset="0"/>
                <a:cs typeface="Segoe UI Semibold" panose="020B0702040204020203" pitchFamily="34" charset="0"/>
              </a:endParaRPr>
            </a:p>
          </p:txBody>
        </p:sp>
        <p:sp>
          <p:nvSpPr>
            <p:cNvPr id="28" name="TextBox 27"/>
            <p:cNvSpPr txBox="1"/>
            <p:nvPr/>
          </p:nvSpPr>
          <p:spPr>
            <a:xfrm>
              <a:off x="3421499" y="4044127"/>
              <a:ext cx="1216057" cy="409489"/>
            </a:xfrm>
            <a:prstGeom prst="rect">
              <a:avLst/>
            </a:prstGeom>
            <a:noFill/>
          </p:spPr>
          <p:txBody>
            <a:bodyPr wrap="none" lIns="182880" tIns="146304" rIns="182880" bIns="146304" rtlCol="0" anchor="ctr">
              <a:noAutofit/>
            </a:bodyPr>
            <a:lstStyle/>
            <a:p>
              <a:pPr>
                <a:lnSpc>
                  <a:spcPct val="90000"/>
                </a:lnSpc>
                <a:spcAft>
                  <a:spcPts val="600"/>
                </a:spcAft>
              </a:pPr>
              <a:r>
                <a:rPr lang="en-US" dirty="0" err="1">
                  <a:solidFill>
                    <a:schemeClr val="bg1"/>
                  </a:solidFill>
                  <a:latin typeface="Segoe UI Semibold" panose="020B0702040204020203" pitchFamily="34" charset="0"/>
                  <a:cs typeface="Segoe UI Semibold" panose="020B0702040204020203" pitchFamily="34" charset="0"/>
                </a:rPr>
                <a:t>HLog</a:t>
              </a:r>
              <a:endParaRPr lang="en-US" dirty="0">
                <a:solidFill>
                  <a:schemeClr val="bg1"/>
                </a:solidFill>
                <a:latin typeface="Segoe UI Semibold" panose="020B0702040204020203" pitchFamily="34" charset="0"/>
                <a:cs typeface="Segoe UI Semibold" panose="020B0702040204020203" pitchFamily="34" charset="0"/>
              </a:endParaRPr>
            </a:p>
          </p:txBody>
        </p:sp>
        <p:sp>
          <p:nvSpPr>
            <p:cNvPr id="29" name="TextBox 28"/>
            <p:cNvSpPr txBox="1"/>
            <p:nvPr/>
          </p:nvSpPr>
          <p:spPr>
            <a:xfrm>
              <a:off x="3460776" y="4875257"/>
              <a:ext cx="1216057" cy="409489"/>
            </a:xfrm>
            <a:prstGeom prst="rect">
              <a:avLst/>
            </a:prstGeom>
            <a:noFill/>
          </p:spPr>
          <p:txBody>
            <a:bodyPr wrap="none" lIns="182880" tIns="146304" rIns="182880" bIns="146304" rtlCol="0" anchor="ctr">
              <a:noAutofit/>
            </a:bodyPr>
            <a:lstStyle/>
            <a:p>
              <a:pPr>
                <a:lnSpc>
                  <a:spcPct val="90000"/>
                </a:lnSpc>
                <a:spcAft>
                  <a:spcPts val="600"/>
                </a:spcAft>
              </a:pPr>
              <a:r>
                <a:rPr lang="en-US" dirty="0" err="1">
                  <a:solidFill>
                    <a:schemeClr val="bg1"/>
                  </a:solidFill>
                  <a:latin typeface="Segoe UI Semibold" panose="020B0702040204020203" pitchFamily="34" charset="0"/>
                  <a:cs typeface="Segoe UI Semibold" panose="020B0702040204020203" pitchFamily="34" charset="0"/>
                </a:rPr>
                <a:t>StoreFile</a:t>
              </a:r>
              <a:endParaRPr lang="en-US" dirty="0">
                <a:solidFill>
                  <a:schemeClr val="bg1"/>
                </a:solidFill>
                <a:latin typeface="Segoe UI Semibold" panose="020B0702040204020203" pitchFamily="34" charset="0"/>
                <a:cs typeface="Segoe UI Semibold" panose="020B0702040204020203" pitchFamily="34" charset="0"/>
              </a:endParaRPr>
            </a:p>
          </p:txBody>
        </p:sp>
        <p:sp>
          <p:nvSpPr>
            <p:cNvPr id="30" name="TextBox 29"/>
            <p:cNvSpPr txBox="1"/>
            <p:nvPr/>
          </p:nvSpPr>
          <p:spPr>
            <a:xfrm>
              <a:off x="3462345" y="5715816"/>
              <a:ext cx="1216057" cy="409489"/>
            </a:xfrm>
            <a:prstGeom prst="rect">
              <a:avLst/>
            </a:prstGeom>
            <a:noFill/>
          </p:spPr>
          <p:txBody>
            <a:bodyPr wrap="none" lIns="182880" tIns="146304" rIns="182880" bIns="146304" rtlCol="0" anchor="ctr">
              <a:noAutofit/>
            </a:bodyPr>
            <a:lstStyle/>
            <a:p>
              <a:pPr>
                <a:lnSpc>
                  <a:spcPct val="90000"/>
                </a:lnSpc>
                <a:spcAft>
                  <a:spcPts val="600"/>
                </a:spcAft>
              </a:pPr>
              <a:r>
                <a:rPr lang="en-US" dirty="0" err="1">
                  <a:solidFill>
                    <a:schemeClr val="bg1"/>
                  </a:solidFill>
                  <a:latin typeface="Segoe UI Semibold" panose="020B0702040204020203" pitchFamily="34" charset="0"/>
                  <a:cs typeface="Segoe UI Semibold" panose="020B0702040204020203" pitchFamily="34" charset="0"/>
                </a:rPr>
                <a:t>Memstore</a:t>
              </a:r>
              <a:endParaRPr lang="en-US" dirty="0">
                <a:solidFill>
                  <a:schemeClr val="bg1"/>
                </a:solidFill>
                <a:latin typeface="Segoe UI Semibold" panose="020B0702040204020203" pitchFamily="34" charset="0"/>
                <a:cs typeface="Segoe UI Semibold" panose="020B0702040204020203" pitchFamily="34" charset="0"/>
              </a:endParaRPr>
            </a:p>
          </p:txBody>
        </p:sp>
        <p:sp>
          <p:nvSpPr>
            <p:cNvPr id="31" name="Rectangle 30"/>
            <p:cNvSpPr/>
            <p:nvPr/>
          </p:nvSpPr>
          <p:spPr>
            <a:xfrm>
              <a:off x="8316666" y="1515372"/>
              <a:ext cx="3340608" cy="557076"/>
            </a:xfrm>
            <a:prstGeom prst="rect">
              <a:avLst/>
            </a:prstGeom>
          </p:spPr>
          <p:txBody>
            <a:bodyPr wrap="square">
              <a:spAutoFit/>
            </a:bodyPr>
            <a:lstStyle/>
            <a:p>
              <a:pPr indent="-91440">
                <a:lnSpc>
                  <a:spcPct val="90000"/>
                </a:lnSpc>
                <a:spcAft>
                  <a:spcPts val="600"/>
                </a:spcAft>
                <a:buFont typeface="Arial" panose="020B0604020202020204" pitchFamily="34" charset="0"/>
                <a:buChar char="•"/>
              </a:pPr>
              <a:r>
                <a:rPr lang="en-US" sz="1400" dirty="0">
                  <a:solidFill>
                    <a:schemeClr val="tx1">
                      <a:lumMod val="65000"/>
                      <a:lumOff val="35000"/>
                    </a:schemeClr>
                  </a:solidFill>
                </a:rPr>
                <a:t>Assigns Regions to Region Servers</a:t>
              </a:r>
            </a:p>
            <a:p>
              <a:pPr indent="-91440">
                <a:lnSpc>
                  <a:spcPct val="90000"/>
                </a:lnSpc>
                <a:spcAft>
                  <a:spcPts val="600"/>
                </a:spcAft>
                <a:buFont typeface="Arial" panose="020B0604020202020204" pitchFamily="34" charset="0"/>
                <a:buChar char="•"/>
              </a:pPr>
              <a:r>
                <a:rPr lang="en-US" sz="1400" dirty="0">
                  <a:solidFill>
                    <a:schemeClr val="tx1">
                      <a:lumMod val="65000"/>
                      <a:lumOff val="35000"/>
                    </a:schemeClr>
                  </a:solidFill>
                </a:rPr>
                <a:t>Controls Load balancing and failover</a:t>
              </a:r>
            </a:p>
          </p:txBody>
        </p:sp>
        <p:sp>
          <p:nvSpPr>
            <p:cNvPr id="32" name="Rectangle 31"/>
            <p:cNvSpPr/>
            <p:nvPr/>
          </p:nvSpPr>
          <p:spPr>
            <a:xfrm>
              <a:off x="5228787" y="2256129"/>
              <a:ext cx="3122588" cy="557076"/>
            </a:xfrm>
            <a:prstGeom prst="rect">
              <a:avLst/>
            </a:prstGeom>
            <a:solidFill>
              <a:srgbClr val="F4E4F8"/>
            </a:solidFill>
          </p:spPr>
          <p:txBody>
            <a:bodyPr wrap="square">
              <a:spAutoFit/>
            </a:bodyPr>
            <a:lstStyle/>
            <a:p>
              <a:pPr indent="-91440">
                <a:lnSpc>
                  <a:spcPct val="90000"/>
                </a:lnSpc>
                <a:spcAft>
                  <a:spcPts val="600"/>
                </a:spcAft>
                <a:buFont typeface="Arial" panose="020B0604020202020204" pitchFamily="34" charset="0"/>
                <a:buChar char="•"/>
              </a:pPr>
              <a:r>
                <a:rPr lang="en-US" sz="1400" dirty="0">
                  <a:solidFill>
                    <a:schemeClr val="tx1">
                      <a:lumMod val="65000"/>
                      <a:lumOff val="35000"/>
                    </a:schemeClr>
                  </a:solidFill>
                </a:rPr>
                <a:t>Hosts and manages regions.</a:t>
              </a:r>
            </a:p>
            <a:p>
              <a:pPr indent="-91440">
                <a:lnSpc>
                  <a:spcPct val="90000"/>
                </a:lnSpc>
                <a:spcAft>
                  <a:spcPts val="600"/>
                </a:spcAft>
                <a:buFont typeface="Arial" panose="020B0604020202020204" pitchFamily="34" charset="0"/>
                <a:buChar char="•"/>
              </a:pPr>
              <a:r>
                <a:rPr lang="en-US" sz="1400" dirty="0">
                  <a:solidFill>
                    <a:schemeClr val="tx1">
                      <a:lumMod val="65000"/>
                      <a:lumOff val="35000"/>
                    </a:schemeClr>
                  </a:solidFill>
                </a:rPr>
                <a:t>Splits the regions automatically</a:t>
              </a:r>
            </a:p>
          </p:txBody>
        </p:sp>
        <p:sp>
          <p:nvSpPr>
            <p:cNvPr id="33" name="Rectangle 32"/>
            <p:cNvSpPr/>
            <p:nvPr/>
          </p:nvSpPr>
          <p:spPr>
            <a:xfrm>
              <a:off x="8351375" y="2256129"/>
              <a:ext cx="3177656" cy="557076"/>
            </a:xfrm>
            <a:prstGeom prst="rect">
              <a:avLst/>
            </a:prstGeom>
            <a:solidFill>
              <a:srgbClr val="F4E4F8"/>
            </a:solidFill>
          </p:spPr>
          <p:txBody>
            <a:bodyPr wrap="square">
              <a:spAutoFit/>
            </a:bodyPr>
            <a:lstStyle/>
            <a:p>
              <a:pPr indent="-91440">
                <a:lnSpc>
                  <a:spcPct val="90000"/>
                </a:lnSpc>
                <a:spcAft>
                  <a:spcPts val="600"/>
                </a:spcAft>
                <a:buFont typeface="Arial" panose="020B0604020202020204" pitchFamily="34" charset="0"/>
                <a:buChar char="•"/>
              </a:pPr>
              <a:r>
                <a:rPr lang="en-US" sz="1400" dirty="0">
                  <a:solidFill>
                    <a:schemeClr val="tx1">
                      <a:lumMod val="65000"/>
                      <a:lumOff val="35000"/>
                    </a:schemeClr>
                  </a:solidFill>
                </a:rPr>
                <a:t>Handles read/write requests</a:t>
              </a:r>
            </a:p>
            <a:p>
              <a:pPr indent="-91440">
                <a:lnSpc>
                  <a:spcPct val="90000"/>
                </a:lnSpc>
                <a:spcAft>
                  <a:spcPts val="600"/>
                </a:spcAft>
                <a:buFont typeface="Arial" panose="020B0604020202020204" pitchFamily="34" charset="0"/>
                <a:buChar char="•"/>
              </a:pPr>
              <a:r>
                <a:rPr lang="en-US" sz="1400" dirty="0">
                  <a:solidFill>
                    <a:schemeClr val="tx1">
                      <a:lumMod val="65000"/>
                      <a:lumOff val="35000"/>
                    </a:schemeClr>
                  </a:solidFill>
                </a:rPr>
                <a:t>Communicates with clients directly</a:t>
              </a:r>
            </a:p>
          </p:txBody>
        </p:sp>
        <p:sp>
          <p:nvSpPr>
            <p:cNvPr id="34" name="Rectangle 33"/>
            <p:cNvSpPr/>
            <p:nvPr/>
          </p:nvSpPr>
          <p:spPr>
            <a:xfrm>
              <a:off x="5228787" y="3106767"/>
              <a:ext cx="6096000" cy="557076"/>
            </a:xfrm>
            <a:prstGeom prst="rect">
              <a:avLst/>
            </a:prstGeom>
          </p:spPr>
          <p:txBody>
            <a:bodyPr wrap="square">
              <a:spAutoFit/>
            </a:bodyPr>
            <a:lstStyle/>
            <a:p>
              <a:pPr indent="-91440">
                <a:lnSpc>
                  <a:spcPct val="90000"/>
                </a:lnSpc>
                <a:spcAft>
                  <a:spcPts val="600"/>
                </a:spcAft>
                <a:buFont typeface="Arial" panose="020B0604020202020204" pitchFamily="34" charset="0"/>
                <a:buChar char="•"/>
              </a:pPr>
              <a:r>
                <a:rPr lang="en-US" sz="1400" dirty="0">
                  <a:solidFill>
                    <a:schemeClr val="tx1">
                      <a:lumMod val="65000"/>
                      <a:lumOff val="35000"/>
                    </a:schemeClr>
                  </a:solidFill>
                </a:rPr>
                <a:t>Consists of a </a:t>
              </a:r>
              <a:r>
                <a:rPr lang="en-US" sz="1400" dirty="0" err="1">
                  <a:solidFill>
                    <a:schemeClr val="tx1">
                      <a:lumMod val="65000"/>
                      <a:lumOff val="35000"/>
                    </a:schemeClr>
                  </a:solidFill>
                </a:rPr>
                <a:t>Memstore</a:t>
              </a:r>
              <a:r>
                <a:rPr lang="en-US" sz="1400" dirty="0">
                  <a:solidFill>
                    <a:schemeClr val="tx1">
                      <a:lumMod val="65000"/>
                      <a:lumOff val="35000"/>
                    </a:schemeClr>
                  </a:solidFill>
                </a:rPr>
                <a:t> and one Store per </a:t>
              </a:r>
              <a:r>
                <a:rPr lang="en-US" sz="1400" dirty="0" err="1">
                  <a:solidFill>
                    <a:schemeClr val="tx1">
                      <a:lumMod val="65000"/>
                      <a:lumOff val="35000"/>
                    </a:schemeClr>
                  </a:solidFill>
                </a:rPr>
                <a:t>ColumnFamily</a:t>
              </a:r>
              <a:r>
                <a:rPr lang="en-US" sz="1400" dirty="0">
                  <a:solidFill>
                    <a:schemeClr val="tx1">
                      <a:lumMod val="65000"/>
                      <a:lumOff val="35000"/>
                    </a:schemeClr>
                  </a:solidFill>
                </a:rPr>
                <a:t>. </a:t>
              </a:r>
            </a:p>
            <a:p>
              <a:pPr indent="-91440">
                <a:lnSpc>
                  <a:spcPct val="90000"/>
                </a:lnSpc>
                <a:spcAft>
                  <a:spcPts val="600"/>
                </a:spcAft>
                <a:buFont typeface="Arial" panose="020B0604020202020204" pitchFamily="34" charset="0"/>
                <a:buChar char="•"/>
              </a:pPr>
              <a:r>
                <a:rPr lang="en-US" sz="1400" dirty="0">
                  <a:solidFill>
                    <a:schemeClr val="tx1">
                      <a:lumMod val="65000"/>
                      <a:lumOff val="35000"/>
                    </a:schemeClr>
                  </a:solidFill>
                </a:rPr>
                <a:t>Each store may have multiple </a:t>
              </a:r>
              <a:r>
                <a:rPr lang="en-US" sz="1400" dirty="0" err="1">
                  <a:solidFill>
                    <a:schemeClr val="tx1">
                      <a:lumMod val="65000"/>
                      <a:lumOff val="35000"/>
                    </a:schemeClr>
                  </a:solidFill>
                </a:rPr>
                <a:t>StoreFiles</a:t>
              </a:r>
              <a:endParaRPr lang="en-US" sz="1400" dirty="0">
                <a:solidFill>
                  <a:schemeClr val="tx1">
                    <a:lumMod val="65000"/>
                    <a:lumOff val="35000"/>
                  </a:schemeClr>
                </a:solidFill>
              </a:endParaRPr>
            </a:p>
          </p:txBody>
        </p:sp>
        <p:sp>
          <p:nvSpPr>
            <p:cNvPr id="35" name="Rectangle 34"/>
            <p:cNvSpPr/>
            <p:nvPr/>
          </p:nvSpPr>
          <p:spPr>
            <a:xfrm>
              <a:off x="5228787" y="3899370"/>
              <a:ext cx="6603548" cy="674031"/>
            </a:xfrm>
            <a:prstGeom prst="rect">
              <a:avLst/>
            </a:prstGeom>
          </p:spPr>
          <p:txBody>
            <a:bodyPr wrap="square">
              <a:spAutoFit/>
            </a:bodyPr>
            <a:lstStyle/>
            <a:p>
              <a:pPr>
                <a:lnSpc>
                  <a:spcPct val="90000"/>
                </a:lnSpc>
                <a:spcAft>
                  <a:spcPts val="600"/>
                </a:spcAft>
              </a:pPr>
              <a:r>
                <a:rPr lang="en-US" sz="1400" dirty="0">
                  <a:solidFill>
                    <a:schemeClr val="tx1">
                      <a:lumMod val="85000"/>
                      <a:lumOff val="15000"/>
                    </a:schemeClr>
                  </a:solidFill>
                </a:rPr>
                <a:t>A write-ahead Log, one per </a:t>
              </a:r>
              <a:r>
                <a:rPr lang="en-US" sz="1400" dirty="0" err="1">
                  <a:solidFill>
                    <a:schemeClr val="tx1">
                      <a:lumMod val="85000"/>
                      <a:lumOff val="15000"/>
                    </a:schemeClr>
                  </a:solidFill>
                </a:rPr>
                <a:t>HRegionServer</a:t>
              </a:r>
              <a:r>
                <a:rPr lang="en-US" sz="1400" dirty="0">
                  <a:solidFill>
                    <a:schemeClr val="tx1">
                      <a:lumMod val="85000"/>
                      <a:lumOff val="15000"/>
                    </a:schemeClr>
                  </a:solidFill>
                </a:rPr>
                <a:t>. All changes are recorded in this log.  Implemented as a Hadoop </a:t>
              </a:r>
              <a:r>
                <a:rPr lang="en-US" sz="1400" b="1" i="1" dirty="0">
                  <a:solidFill>
                    <a:schemeClr val="tx1">
                      <a:lumMod val="85000"/>
                      <a:lumOff val="15000"/>
                    </a:schemeClr>
                  </a:solidFill>
                </a:rPr>
                <a:t>sequence file </a:t>
              </a:r>
              <a:r>
                <a:rPr lang="en-US" sz="1400" dirty="0">
                  <a:solidFill>
                    <a:schemeClr val="tx1">
                      <a:lumMod val="85000"/>
                      <a:lumOff val="15000"/>
                    </a:schemeClr>
                  </a:solidFill>
                </a:rPr>
                <a:t>that stores records as sets of key/value pairs</a:t>
              </a:r>
            </a:p>
          </p:txBody>
        </p:sp>
        <p:sp>
          <p:nvSpPr>
            <p:cNvPr id="36" name="Rectangle 35"/>
            <p:cNvSpPr/>
            <p:nvPr/>
          </p:nvSpPr>
          <p:spPr>
            <a:xfrm>
              <a:off x="5190038" y="4792485"/>
              <a:ext cx="6642297" cy="557076"/>
            </a:xfrm>
            <a:prstGeom prst="rect">
              <a:avLst/>
            </a:prstGeom>
          </p:spPr>
          <p:txBody>
            <a:bodyPr wrap="square">
              <a:spAutoFit/>
            </a:bodyPr>
            <a:lstStyle/>
            <a:p>
              <a:pPr indent="-91440">
                <a:lnSpc>
                  <a:spcPct val="90000"/>
                </a:lnSpc>
                <a:spcAft>
                  <a:spcPts val="600"/>
                </a:spcAft>
                <a:buFont typeface="Arial" panose="020B0604020202020204" pitchFamily="34" charset="0"/>
                <a:buChar char="•"/>
              </a:pPr>
              <a:r>
                <a:rPr lang="en-US" sz="1400" dirty="0">
                  <a:solidFill>
                    <a:schemeClr val="tx1">
                      <a:lumMod val="65000"/>
                      <a:lumOff val="35000"/>
                    </a:schemeClr>
                  </a:solidFill>
                </a:rPr>
                <a:t>The data lives in </a:t>
              </a:r>
              <a:r>
                <a:rPr lang="en-US" sz="1400" dirty="0" err="1">
                  <a:solidFill>
                    <a:schemeClr val="tx1">
                      <a:lumMod val="65000"/>
                      <a:lumOff val="35000"/>
                    </a:schemeClr>
                  </a:solidFill>
                </a:rPr>
                <a:t>StoreFiles</a:t>
              </a:r>
              <a:r>
                <a:rPr lang="en-US" sz="1400" dirty="0">
                  <a:solidFill>
                    <a:schemeClr val="tx1">
                      <a:lumMod val="65000"/>
                      <a:lumOff val="35000"/>
                    </a:schemeClr>
                  </a:solidFill>
                </a:rPr>
                <a:t>.  There are multiple </a:t>
              </a:r>
              <a:r>
                <a:rPr lang="en-US" sz="1400" dirty="0" err="1">
                  <a:solidFill>
                    <a:schemeClr val="tx1">
                      <a:lumMod val="65000"/>
                      <a:lumOff val="35000"/>
                    </a:schemeClr>
                  </a:solidFill>
                </a:rPr>
                <a:t>StoreFiles</a:t>
              </a:r>
              <a:r>
                <a:rPr lang="en-US" sz="1400" dirty="0">
                  <a:solidFill>
                    <a:schemeClr val="tx1">
                      <a:lumMod val="65000"/>
                      <a:lumOff val="35000"/>
                    </a:schemeClr>
                  </a:solidFill>
                </a:rPr>
                <a:t> per store.</a:t>
              </a:r>
            </a:p>
            <a:p>
              <a:pPr indent="-91440">
                <a:lnSpc>
                  <a:spcPct val="90000"/>
                </a:lnSpc>
                <a:spcAft>
                  <a:spcPts val="600"/>
                </a:spcAft>
                <a:buFont typeface="Arial" panose="020B0604020202020204" pitchFamily="34" charset="0"/>
                <a:buChar char="•"/>
              </a:pPr>
              <a:r>
                <a:rPr lang="en-US" sz="1400" dirty="0" err="1">
                  <a:solidFill>
                    <a:schemeClr val="tx1">
                      <a:lumMod val="65000"/>
                      <a:lumOff val="35000"/>
                    </a:schemeClr>
                  </a:solidFill>
                </a:rPr>
                <a:t>StoreFiles</a:t>
              </a:r>
              <a:r>
                <a:rPr lang="en-US" sz="1400" dirty="0">
                  <a:solidFill>
                    <a:schemeClr val="tx1">
                      <a:lumMod val="65000"/>
                      <a:lumOff val="35000"/>
                    </a:schemeClr>
                  </a:solidFill>
                </a:rPr>
                <a:t> are implemented as </a:t>
              </a:r>
              <a:r>
                <a:rPr lang="en-US" sz="1400" b="1" i="1" dirty="0" err="1">
                  <a:solidFill>
                    <a:schemeClr val="tx1">
                      <a:lumMod val="65000"/>
                      <a:lumOff val="35000"/>
                    </a:schemeClr>
                  </a:solidFill>
                </a:rPr>
                <a:t>HFiles</a:t>
              </a:r>
              <a:r>
                <a:rPr lang="en-US" sz="1400" dirty="0">
                  <a:solidFill>
                    <a:schemeClr val="tx1">
                      <a:lumMod val="65000"/>
                      <a:lumOff val="35000"/>
                    </a:schemeClr>
                  </a:solidFill>
                </a:rPr>
                <a:t> (permit random read-write access)</a:t>
              </a:r>
            </a:p>
          </p:txBody>
        </p:sp>
        <p:sp>
          <p:nvSpPr>
            <p:cNvPr id="37" name="Rectangle 36"/>
            <p:cNvSpPr/>
            <p:nvPr/>
          </p:nvSpPr>
          <p:spPr>
            <a:xfrm>
              <a:off x="5228787" y="5641330"/>
              <a:ext cx="6096000" cy="480131"/>
            </a:xfrm>
            <a:prstGeom prst="rect">
              <a:avLst/>
            </a:prstGeom>
          </p:spPr>
          <p:txBody>
            <a:bodyPr wrap="square">
              <a:spAutoFit/>
            </a:bodyPr>
            <a:lstStyle/>
            <a:p>
              <a:pPr>
                <a:lnSpc>
                  <a:spcPct val="90000"/>
                </a:lnSpc>
                <a:spcAft>
                  <a:spcPts val="600"/>
                </a:spcAft>
              </a:pPr>
              <a:r>
                <a:rPr lang="en-US" sz="1400" dirty="0">
                  <a:solidFill>
                    <a:schemeClr val="tx1">
                      <a:lumMod val="85000"/>
                      <a:lumOff val="15000"/>
                    </a:schemeClr>
                  </a:solidFill>
                </a:rPr>
                <a:t>A in-memory cache, one per Store. All changes are first stored in the cache and then written to persistently to the  </a:t>
              </a:r>
              <a:r>
                <a:rPr lang="en-US" sz="1400" dirty="0" err="1">
                  <a:solidFill>
                    <a:schemeClr val="tx1">
                      <a:lumMod val="85000"/>
                      <a:lumOff val="15000"/>
                    </a:schemeClr>
                  </a:solidFill>
                </a:rPr>
                <a:t>StoreFile</a:t>
              </a:r>
              <a:r>
                <a:rPr lang="en-US" sz="1400" dirty="0">
                  <a:solidFill>
                    <a:schemeClr val="tx1">
                      <a:lumMod val="85000"/>
                      <a:lumOff val="15000"/>
                    </a:schemeClr>
                  </a:solidFill>
                </a:rPr>
                <a:t> asynchronously</a:t>
              </a:r>
            </a:p>
          </p:txBody>
        </p:sp>
        <p:sp>
          <p:nvSpPr>
            <p:cNvPr id="38" name="Rectangle 37"/>
            <p:cNvSpPr/>
            <p:nvPr/>
          </p:nvSpPr>
          <p:spPr bwMode="auto">
            <a:xfrm>
              <a:off x="3222826" y="1355204"/>
              <a:ext cx="45719" cy="508253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cxnSp>
          <p:nvCxnSpPr>
            <p:cNvPr id="8" name="Straight Connector 7"/>
            <p:cNvCxnSpPr/>
            <p:nvPr/>
          </p:nvCxnSpPr>
          <p:spPr>
            <a:xfrm>
              <a:off x="3225070" y="1363578"/>
              <a:ext cx="8138160" cy="0"/>
            </a:xfrm>
            <a:prstGeom prst="line">
              <a:avLst/>
            </a:prstGeom>
            <a:ln w="38100">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3225070" y="6451962"/>
              <a:ext cx="7955280" cy="0"/>
            </a:xfrm>
            <a:prstGeom prst="line">
              <a:avLst/>
            </a:prstGeom>
            <a:ln w="28575">
              <a:headEnd type="none"/>
              <a:tailEnd type="none"/>
            </a:ln>
          </p:spPr>
          <p:style>
            <a:lnRef idx="1">
              <a:schemeClr val="accent1"/>
            </a:lnRef>
            <a:fillRef idx="0">
              <a:schemeClr val="accent1"/>
            </a:fillRef>
            <a:effectRef idx="0">
              <a:schemeClr val="accent1"/>
            </a:effectRef>
            <a:fontRef idx="minor">
              <a:schemeClr val="tx1"/>
            </a:fontRef>
          </p:style>
        </p:cxnSp>
        <p:sp>
          <p:nvSpPr>
            <p:cNvPr id="39" name="Rectangle 38"/>
            <p:cNvSpPr/>
            <p:nvPr/>
          </p:nvSpPr>
          <p:spPr bwMode="auto">
            <a:xfrm>
              <a:off x="5163453" y="3927226"/>
              <a:ext cx="6819835" cy="580639"/>
            </a:xfrm>
            <a:prstGeom prst="rect">
              <a:avLst/>
            </a:prstGeom>
            <a:solidFill>
              <a:srgbClr val="B957D2">
                <a:alpha val="16863"/>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400" b="1" dirty="0">
                <a:solidFill>
                  <a:schemeClr val="tx1">
                    <a:lumMod val="65000"/>
                    <a:lumOff val="35000"/>
                  </a:schemeClr>
                </a:solidFill>
                <a:ea typeface="Segoe UI" pitchFamily="34" charset="0"/>
                <a:cs typeface="Segoe UI" pitchFamily="34" charset="0"/>
              </a:endParaRPr>
            </a:p>
          </p:txBody>
        </p:sp>
        <p:sp>
          <p:nvSpPr>
            <p:cNvPr id="40" name="Rectangle 39"/>
            <p:cNvSpPr/>
            <p:nvPr/>
          </p:nvSpPr>
          <p:spPr bwMode="auto">
            <a:xfrm>
              <a:off x="5211374" y="5642457"/>
              <a:ext cx="6819835" cy="580639"/>
            </a:xfrm>
            <a:prstGeom prst="rect">
              <a:avLst/>
            </a:prstGeom>
            <a:solidFill>
              <a:srgbClr val="F4E4F8">
                <a:alpha val="7843"/>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400" b="1" dirty="0">
                <a:solidFill>
                  <a:schemeClr val="tx1">
                    <a:lumMod val="65000"/>
                    <a:lumOff val="35000"/>
                  </a:schemeClr>
                </a:solidFill>
                <a:ea typeface="Segoe UI" pitchFamily="34" charset="0"/>
                <a:cs typeface="Segoe UI" pitchFamily="34" charset="0"/>
              </a:endParaRPr>
            </a:p>
          </p:txBody>
        </p:sp>
      </p:grpSp>
      <p:sp>
        <p:nvSpPr>
          <p:cNvPr id="42" name="Rectangle 41"/>
          <p:cNvSpPr/>
          <p:nvPr/>
        </p:nvSpPr>
        <p:spPr bwMode="auto">
          <a:xfrm>
            <a:off x="5211504" y="5595385"/>
            <a:ext cx="6819835" cy="580639"/>
          </a:xfrm>
          <a:prstGeom prst="rect">
            <a:avLst/>
          </a:prstGeom>
          <a:solidFill>
            <a:srgbClr val="B957D2">
              <a:alpha val="16863"/>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400" b="1" dirty="0">
              <a:solidFill>
                <a:schemeClr val="tx1">
                  <a:lumMod val="65000"/>
                  <a:lumOff val="35000"/>
                </a:schemeClr>
              </a:solidFill>
              <a:ea typeface="Segoe UI" pitchFamily="34" charset="0"/>
              <a:cs typeface="Segoe UI" pitchFamily="34" charset="0"/>
            </a:endParaRPr>
          </a:p>
        </p:txBody>
      </p:sp>
    </p:spTree>
    <p:extLst>
      <p:ext uri="{BB962C8B-B14F-4D97-AF65-F5344CB8AC3E}">
        <p14:creationId xmlns:p14="http://schemas.microsoft.com/office/powerpoint/2010/main" val="3964244850"/>
      </p:ext>
    </p:extLst>
  </p:cSld>
  <p:clrMapOvr>
    <a:masterClrMapping/>
  </p:clrMapOvr>
  <p:transition spd="med">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Base: Object Hierarchy</a:t>
            </a:r>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57</a:t>
            </a:fld>
            <a:endParaRPr lang="en-US" dirty="0"/>
          </a:p>
        </p:txBody>
      </p:sp>
      <p:sp>
        <p:nvSpPr>
          <p:cNvPr id="4" name="Rectangle 3"/>
          <p:cNvSpPr/>
          <p:nvPr/>
        </p:nvSpPr>
        <p:spPr bwMode="auto">
          <a:xfrm>
            <a:off x="479310" y="1332260"/>
            <a:ext cx="1626781" cy="68048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b="1" dirty="0">
                <a:solidFill>
                  <a:schemeClr val="bg1"/>
                </a:solidFill>
                <a:latin typeface="+mj-lt"/>
                <a:ea typeface="Segoe UI" pitchFamily="34" charset="0"/>
                <a:cs typeface="Segoe UI" pitchFamily="34" charset="0"/>
              </a:rPr>
              <a:t>Table</a:t>
            </a:r>
          </a:p>
        </p:txBody>
      </p:sp>
      <p:sp>
        <p:nvSpPr>
          <p:cNvPr id="6" name="Rectangle 5"/>
          <p:cNvSpPr/>
          <p:nvPr/>
        </p:nvSpPr>
        <p:spPr bwMode="auto">
          <a:xfrm>
            <a:off x="3313950" y="5391899"/>
            <a:ext cx="1626781" cy="680483"/>
          </a:xfrm>
          <a:prstGeom prst="rect">
            <a:avLst/>
          </a:prstGeom>
          <a:solidFill>
            <a:schemeClr val="tx1">
              <a:lumMod val="85000"/>
              <a:lumOff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b="1" dirty="0">
                <a:solidFill>
                  <a:schemeClr val="bg1"/>
                </a:solidFill>
                <a:latin typeface="+mj-lt"/>
                <a:ea typeface="Segoe UI" pitchFamily="34" charset="0"/>
                <a:cs typeface="Segoe UI" pitchFamily="34" charset="0"/>
              </a:rPr>
              <a:t>Block</a:t>
            </a:r>
          </a:p>
        </p:txBody>
      </p:sp>
      <p:sp>
        <p:nvSpPr>
          <p:cNvPr id="8" name="Rectangle 7"/>
          <p:cNvSpPr/>
          <p:nvPr/>
        </p:nvSpPr>
        <p:spPr bwMode="auto">
          <a:xfrm>
            <a:off x="1175742" y="2120515"/>
            <a:ext cx="1626781" cy="680483"/>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b="1" dirty="0">
                <a:solidFill>
                  <a:schemeClr val="bg1"/>
                </a:solidFill>
                <a:latin typeface="+mj-lt"/>
                <a:ea typeface="Segoe UI" pitchFamily="34" charset="0"/>
                <a:cs typeface="Segoe UI" pitchFamily="34" charset="0"/>
              </a:rPr>
              <a:t>Region</a:t>
            </a:r>
          </a:p>
        </p:txBody>
      </p:sp>
      <p:sp>
        <p:nvSpPr>
          <p:cNvPr id="9" name="Rectangle 8"/>
          <p:cNvSpPr/>
          <p:nvPr/>
        </p:nvSpPr>
        <p:spPr bwMode="auto">
          <a:xfrm>
            <a:off x="1879404" y="2906502"/>
            <a:ext cx="1626781" cy="680483"/>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b="1" dirty="0">
                <a:solidFill>
                  <a:schemeClr val="bg1"/>
                </a:solidFill>
                <a:latin typeface="+mj-lt"/>
                <a:ea typeface="Segoe UI" pitchFamily="34" charset="0"/>
                <a:cs typeface="Segoe UI" pitchFamily="34" charset="0"/>
              </a:rPr>
              <a:t>Store</a:t>
            </a:r>
          </a:p>
        </p:txBody>
      </p:sp>
      <p:sp>
        <p:nvSpPr>
          <p:cNvPr id="10" name="Rectangle 9"/>
          <p:cNvSpPr/>
          <p:nvPr/>
        </p:nvSpPr>
        <p:spPr bwMode="auto">
          <a:xfrm>
            <a:off x="2592205" y="3735884"/>
            <a:ext cx="1626781" cy="680483"/>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b="1" dirty="0" err="1">
                <a:solidFill>
                  <a:schemeClr val="bg1"/>
                </a:solidFill>
                <a:latin typeface="+mj-lt"/>
                <a:ea typeface="Segoe UI" pitchFamily="34" charset="0"/>
                <a:cs typeface="Segoe UI" pitchFamily="34" charset="0"/>
              </a:rPr>
              <a:t>MemStore</a:t>
            </a:r>
            <a:endParaRPr lang="en-US" sz="2000" b="1" dirty="0">
              <a:solidFill>
                <a:schemeClr val="bg1"/>
              </a:solidFill>
              <a:latin typeface="+mj-lt"/>
              <a:ea typeface="Segoe UI" pitchFamily="34" charset="0"/>
              <a:cs typeface="Segoe UI" pitchFamily="34" charset="0"/>
            </a:endParaRPr>
          </a:p>
        </p:txBody>
      </p:sp>
      <p:sp>
        <p:nvSpPr>
          <p:cNvPr id="11" name="Rectangle 10"/>
          <p:cNvSpPr/>
          <p:nvPr/>
        </p:nvSpPr>
        <p:spPr bwMode="auto">
          <a:xfrm>
            <a:off x="2619637" y="4565048"/>
            <a:ext cx="1626781" cy="68048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b="1" dirty="0" err="1">
                <a:solidFill>
                  <a:schemeClr val="bg1"/>
                </a:solidFill>
                <a:latin typeface="+mj-lt"/>
                <a:ea typeface="Segoe UI" pitchFamily="34" charset="0"/>
                <a:cs typeface="Segoe UI" pitchFamily="34" charset="0"/>
              </a:rPr>
              <a:t>StoreFile</a:t>
            </a:r>
            <a:endParaRPr lang="en-US" sz="2000" b="1" dirty="0">
              <a:solidFill>
                <a:schemeClr val="bg1"/>
              </a:solidFill>
              <a:latin typeface="+mj-lt"/>
              <a:ea typeface="Segoe UI" pitchFamily="34" charset="0"/>
              <a:cs typeface="Segoe UI" pitchFamily="34" charset="0"/>
            </a:endParaRPr>
          </a:p>
        </p:txBody>
      </p:sp>
      <p:sp>
        <p:nvSpPr>
          <p:cNvPr id="12" name="TextBox 11"/>
          <p:cNvSpPr txBox="1"/>
          <p:nvPr/>
        </p:nvSpPr>
        <p:spPr>
          <a:xfrm>
            <a:off x="2180519" y="1454859"/>
            <a:ext cx="2094614" cy="435284"/>
          </a:xfrm>
          <a:prstGeom prst="rect">
            <a:avLst/>
          </a:prstGeom>
          <a:noFill/>
        </p:spPr>
        <p:txBody>
          <a:bodyPr wrap="none" lIns="182880" tIns="146304" rIns="182880" bIns="146304" rtlCol="0" anchor="ctr">
            <a:noAutofit/>
          </a:bodyPr>
          <a:lstStyle/>
          <a:p>
            <a:pPr>
              <a:lnSpc>
                <a:spcPct val="90000"/>
              </a:lnSpc>
              <a:spcAft>
                <a:spcPts val="600"/>
              </a:spcAft>
            </a:pPr>
            <a:r>
              <a:rPr lang="en-US" dirty="0">
                <a:solidFill>
                  <a:schemeClr val="tx1">
                    <a:lumMod val="65000"/>
                    <a:lumOff val="35000"/>
                  </a:schemeClr>
                </a:solidFill>
              </a:rPr>
              <a:t>HBase Table</a:t>
            </a:r>
          </a:p>
        </p:txBody>
      </p:sp>
      <p:sp>
        <p:nvSpPr>
          <p:cNvPr id="13" name="TextBox 12"/>
          <p:cNvSpPr txBox="1"/>
          <p:nvPr/>
        </p:nvSpPr>
        <p:spPr>
          <a:xfrm>
            <a:off x="2802516" y="2243114"/>
            <a:ext cx="7689435" cy="435284"/>
          </a:xfrm>
          <a:prstGeom prst="rect">
            <a:avLst/>
          </a:prstGeom>
          <a:noFill/>
        </p:spPr>
        <p:txBody>
          <a:bodyPr wrap="none" lIns="182880" tIns="146304" rIns="182880" bIns="146304" rtlCol="0" anchor="ctr">
            <a:noAutofit/>
          </a:bodyPr>
          <a:lstStyle/>
          <a:p>
            <a:pPr>
              <a:lnSpc>
                <a:spcPct val="90000"/>
              </a:lnSpc>
              <a:spcAft>
                <a:spcPts val="600"/>
              </a:spcAft>
            </a:pPr>
            <a:r>
              <a:rPr lang="en-US" dirty="0">
                <a:solidFill>
                  <a:schemeClr val="tx1">
                    <a:lumMod val="65000"/>
                    <a:lumOff val="35000"/>
                  </a:schemeClr>
                </a:solidFill>
              </a:rPr>
              <a:t>Regions for the table. HBase scales by having regions across many servers. </a:t>
            </a:r>
          </a:p>
        </p:txBody>
      </p:sp>
      <p:sp>
        <p:nvSpPr>
          <p:cNvPr id="14" name="TextBox 13"/>
          <p:cNvSpPr txBox="1"/>
          <p:nvPr/>
        </p:nvSpPr>
        <p:spPr>
          <a:xfrm>
            <a:off x="3506178" y="3029101"/>
            <a:ext cx="4305635" cy="435284"/>
          </a:xfrm>
          <a:prstGeom prst="rect">
            <a:avLst/>
          </a:prstGeom>
          <a:noFill/>
        </p:spPr>
        <p:txBody>
          <a:bodyPr wrap="none" lIns="182880" tIns="146304" rIns="182880" bIns="146304" rtlCol="0" anchor="ctr">
            <a:noAutofit/>
          </a:bodyPr>
          <a:lstStyle/>
          <a:p>
            <a:pPr>
              <a:lnSpc>
                <a:spcPct val="90000"/>
              </a:lnSpc>
              <a:spcAft>
                <a:spcPts val="600"/>
              </a:spcAft>
            </a:pPr>
            <a:r>
              <a:rPr lang="en-US" dirty="0">
                <a:solidFill>
                  <a:schemeClr val="tx1">
                    <a:lumMod val="65000"/>
                    <a:lumOff val="35000"/>
                  </a:schemeClr>
                </a:solidFill>
              </a:rPr>
              <a:t>Store per </a:t>
            </a:r>
            <a:r>
              <a:rPr lang="en-US" dirty="0" err="1">
                <a:solidFill>
                  <a:schemeClr val="tx1">
                    <a:lumMod val="65000"/>
                    <a:lumOff val="35000"/>
                  </a:schemeClr>
                </a:solidFill>
              </a:rPr>
              <a:t>ColumnFamily</a:t>
            </a:r>
            <a:r>
              <a:rPr lang="en-US" dirty="0">
                <a:solidFill>
                  <a:schemeClr val="tx1">
                    <a:lumMod val="65000"/>
                    <a:lumOff val="35000"/>
                  </a:schemeClr>
                </a:solidFill>
              </a:rPr>
              <a:t> for each region </a:t>
            </a:r>
          </a:p>
        </p:txBody>
      </p:sp>
      <p:sp>
        <p:nvSpPr>
          <p:cNvPr id="15" name="TextBox 14"/>
          <p:cNvSpPr txBox="1"/>
          <p:nvPr/>
        </p:nvSpPr>
        <p:spPr>
          <a:xfrm>
            <a:off x="4218985" y="3858483"/>
            <a:ext cx="5470464" cy="435284"/>
          </a:xfrm>
          <a:prstGeom prst="rect">
            <a:avLst/>
          </a:prstGeom>
          <a:noFill/>
        </p:spPr>
        <p:txBody>
          <a:bodyPr wrap="none" lIns="182880" tIns="146304" rIns="182880" bIns="146304" rtlCol="0" anchor="ctr">
            <a:noAutofit/>
          </a:bodyPr>
          <a:lstStyle/>
          <a:p>
            <a:pPr>
              <a:lnSpc>
                <a:spcPct val="90000"/>
              </a:lnSpc>
              <a:spcAft>
                <a:spcPts val="600"/>
              </a:spcAft>
            </a:pPr>
            <a:r>
              <a:rPr lang="en-US" dirty="0" err="1">
                <a:solidFill>
                  <a:schemeClr val="tx1">
                    <a:lumMod val="65000"/>
                    <a:lumOff val="35000"/>
                  </a:schemeClr>
                </a:solidFill>
              </a:rPr>
              <a:t>Memstore</a:t>
            </a:r>
            <a:r>
              <a:rPr lang="en-US" dirty="0">
                <a:solidFill>
                  <a:schemeClr val="tx1">
                    <a:lumMod val="65000"/>
                    <a:lumOff val="35000"/>
                  </a:schemeClr>
                </a:solidFill>
              </a:rPr>
              <a:t> for each store for each region per table</a:t>
            </a:r>
          </a:p>
        </p:txBody>
      </p:sp>
      <p:sp>
        <p:nvSpPr>
          <p:cNvPr id="16" name="TextBox 15"/>
          <p:cNvSpPr txBox="1"/>
          <p:nvPr/>
        </p:nvSpPr>
        <p:spPr>
          <a:xfrm>
            <a:off x="4246418" y="4632745"/>
            <a:ext cx="6498274" cy="435284"/>
          </a:xfrm>
          <a:prstGeom prst="rect">
            <a:avLst/>
          </a:prstGeom>
          <a:noFill/>
        </p:spPr>
        <p:txBody>
          <a:bodyPr wrap="none" lIns="182880" tIns="146304" rIns="182880" bIns="146304" rtlCol="0" anchor="ctr">
            <a:noAutofit/>
          </a:bodyPr>
          <a:lstStyle/>
          <a:p>
            <a:pPr>
              <a:lnSpc>
                <a:spcPct val="90000"/>
              </a:lnSpc>
              <a:spcAft>
                <a:spcPts val="600"/>
              </a:spcAft>
            </a:pPr>
            <a:r>
              <a:rPr lang="en-US" dirty="0" err="1">
                <a:solidFill>
                  <a:schemeClr val="tx1">
                    <a:lumMod val="65000"/>
                    <a:lumOff val="35000"/>
                  </a:schemeClr>
                </a:solidFill>
              </a:rPr>
              <a:t>StoreFiles</a:t>
            </a:r>
            <a:r>
              <a:rPr lang="en-US" dirty="0">
                <a:solidFill>
                  <a:schemeClr val="tx1">
                    <a:lumMod val="65000"/>
                    <a:lumOff val="35000"/>
                  </a:schemeClr>
                </a:solidFill>
              </a:rPr>
              <a:t> for each store for each region for the table</a:t>
            </a:r>
          </a:p>
        </p:txBody>
      </p:sp>
      <p:sp>
        <p:nvSpPr>
          <p:cNvPr id="17" name="Rectangle 1"/>
          <p:cNvSpPr>
            <a:spLocks noChangeArrowheads="1"/>
          </p:cNvSpPr>
          <p:nvPr/>
        </p:nvSpPr>
        <p:spPr bwMode="auto">
          <a:xfrm>
            <a:off x="4794870" y="5453822"/>
            <a:ext cx="7055753" cy="473646"/>
          </a:xfrm>
          <a:prstGeom prst="rect">
            <a:avLst/>
          </a:prstGeom>
          <a:noFill/>
        </p:spPr>
        <p:txBody>
          <a:bodyPr wrap="none" lIns="182880" tIns="146304" rIns="182880" bIns="146304" rtlCol="0">
            <a:noAutofit/>
          </a:bodyPr>
          <a:lstStyle/>
          <a:p>
            <a:pPr>
              <a:lnSpc>
                <a:spcPct val="90000"/>
              </a:lnSpc>
              <a:spcAft>
                <a:spcPts val="600"/>
              </a:spcAft>
            </a:pPr>
            <a:r>
              <a:rPr lang="en-US" altLang="en-US" dirty="0">
                <a:solidFill>
                  <a:schemeClr val="tx1">
                    <a:lumMod val="65000"/>
                    <a:lumOff val="35000"/>
                  </a:schemeClr>
                </a:solidFill>
              </a:rPr>
              <a:t>Blocks within a </a:t>
            </a:r>
            <a:r>
              <a:rPr lang="en-US" altLang="en-US" dirty="0" err="1">
                <a:solidFill>
                  <a:schemeClr val="tx1">
                    <a:lumMod val="65000"/>
                    <a:lumOff val="35000"/>
                  </a:schemeClr>
                </a:solidFill>
              </a:rPr>
              <a:t>StoreFile</a:t>
            </a:r>
            <a:r>
              <a:rPr lang="en-US" altLang="en-US" dirty="0">
                <a:solidFill>
                  <a:schemeClr val="tx1">
                    <a:lumMod val="65000"/>
                    <a:lumOff val="35000"/>
                  </a:schemeClr>
                </a:solidFill>
              </a:rPr>
              <a:t> within a Store for each Region for the table </a:t>
            </a:r>
          </a:p>
        </p:txBody>
      </p:sp>
      <p:cxnSp>
        <p:nvCxnSpPr>
          <p:cNvPr id="19" name="Elbow Connector 18"/>
          <p:cNvCxnSpPr/>
          <p:nvPr/>
        </p:nvCxnSpPr>
        <p:spPr>
          <a:xfrm>
            <a:off x="479310" y="2023176"/>
            <a:ext cx="685800" cy="457200"/>
          </a:xfrm>
          <a:prstGeom prst="bentConnector3">
            <a:avLst>
              <a:gd name="adj1" fmla="val 833"/>
            </a:avLst>
          </a:prstGeom>
          <a:ln w="28575">
            <a:headEnd type="none"/>
            <a:tailEnd type="triangle"/>
          </a:ln>
        </p:spPr>
        <p:style>
          <a:lnRef idx="1">
            <a:schemeClr val="accent6"/>
          </a:lnRef>
          <a:fillRef idx="0">
            <a:schemeClr val="accent6"/>
          </a:fillRef>
          <a:effectRef idx="0">
            <a:schemeClr val="accent6"/>
          </a:effectRef>
          <a:fontRef idx="minor">
            <a:schemeClr val="tx1"/>
          </a:fontRef>
        </p:style>
      </p:cxnSp>
      <p:cxnSp>
        <p:nvCxnSpPr>
          <p:cNvPr id="21" name="Elbow Connector 20"/>
          <p:cNvCxnSpPr/>
          <p:nvPr/>
        </p:nvCxnSpPr>
        <p:spPr>
          <a:xfrm>
            <a:off x="1180350" y="2797368"/>
            <a:ext cx="685800" cy="457200"/>
          </a:xfrm>
          <a:prstGeom prst="bentConnector3">
            <a:avLst>
              <a:gd name="adj1" fmla="val 833"/>
            </a:avLst>
          </a:prstGeom>
          <a:ln w="28575">
            <a:headEnd type="none"/>
            <a:tailEnd type="triangle"/>
          </a:ln>
        </p:spPr>
        <p:style>
          <a:lnRef idx="1">
            <a:schemeClr val="accent6"/>
          </a:lnRef>
          <a:fillRef idx="0">
            <a:schemeClr val="accent6"/>
          </a:fillRef>
          <a:effectRef idx="0">
            <a:schemeClr val="accent6"/>
          </a:effectRef>
          <a:fontRef idx="minor">
            <a:schemeClr val="tx1"/>
          </a:fontRef>
        </p:style>
      </p:cxnSp>
      <p:cxnSp>
        <p:nvCxnSpPr>
          <p:cNvPr id="22" name="Elbow Connector 21"/>
          <p:cNvCxnSpPr/>
          <p:nvPr/>
        </p:nvCxnSpPr>
        <p:spPr>
          <a:xfrm>
            <a:off x="1890534" y="3598992"/>
            <a:ext cx="685800" cy="457200"/>
          </a:xfrm>
          <a:prstGeom prst="bentConnector3">
            <a:avLst>
              <a:gd name="adj1" fmla="val 833"/>
            </a:avLst>
          </a:prstGeom>
          <a:ln w="28575">
            <a:headEnd type="none"/>
            <a:tailEnd type="triangle"/>
          </a:ln>
        </p:spPr>
        <p:style>
          <a:lnRef idx="1">
            <a:schemeClr val="accent6"/>
          </a:lnRef>
          <a:fillRef idx="0">
            <a:schemeClr val="accent6"/>
          </a:fillRef>
          <a:effectRef idx="0">
            <a:schemeClr val="accent6"/>
          </a:effectRef>
          <a:fontRef idx="minor">
            <a:schemeClr val="tx1"/>
          </a:fontRef>
        </p:style>
      </p:cxnSp>
      <p:cxnSp>
        <p:nvCxnSpPr>
          <p:cNvPr id="23" name="Elbow Connector 22"/>
          <p:cNvCxnSpPr/>
          <p:nvPr/>
        </p:nvCxnSpPr>
        <p:spPr>
          <a:xfrm>
            <a:off x="2628150" y="5278440"/>
            <a:ext cx="685800" cy="457200"/>
          </a:xfrm>
          <a:prstGeom prst="bentConnector3">
            <a:avLst>
              <a:gd name="adj1" fmla="val 833"/>
            </a:avLst>
          </a:prstGeom>
          <a:ln w="28575">
            <a:headEnd type="none"/>
            <a:tailEnd type="triangle"/>
          </a:ln>
        </p:spPr>
        <p:style>
          <a:lnRef idx="1">
            <a:schemeClr val="accent6"/>
          </a:lnRef>
          <a:fillRef idx="0">
            <a:schemeClr val="accent6"/>
          </a:fillRef>
          <a:effectRef idx="0">
            <a:schemeClr val="accent6"/>
          </a:effectRef>
          <a:fontRef idx="minor">
            <a:schemeClr val="tx1"/>
          </a:fontRef>
        </p:style>
      </p:cxnSp>
      <p:cxnSp>
        <p:nvCxnSpPr>
          <p:cNvPr id="24" name="Elbow Connector 23"/>
          <p:cNvCxnSpPr/>
          <p:nvPr/>
        </p:nvCxnSpPr>
        <p:spPr>
          <a:xfrm>
            <a:off x="1896630" y="4080576"/>
            <a:ext cx="685800" cy="822960"/>
          </a:xfrm>
          <a:prstGeom prst="bentConnector3">
            <a:avLst>
              <a:gd name="adj1" fmla="val 833"/>
            </a:avLst>
          </a:prstGeom>
          <a:ln w="28575">
            <a:headEnd type="none"/>
            <a:tailEnd type="triangle"/>
          </a:ln>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907824444"/>
      </p:ext>
    </p:extLst>
  </p:cSld>
  <p:clrMapOvr>
    <a:masterClrMapping/>
  </p:clrMapOvr>
  <p:transition spd="med">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5667153" y="1214321"/>
            <a:ext cx="6124354" cy="5223421"/>
          </a:xfrm>
          <a:prstGeom prst="rect">
            <a:avLst/>
          </a:prstGeom>
          <a:solidFill>
            <a:schemeClr val="bg2"/>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5" name="Rectangle 4"/>
          <p:cNvSpPr/>
          <p:nvPr/>
        </p:nvSpPr>
        <p:spPr bwMode="auto">
          <a:xfrm>
            <a:off x="5758547" y="1392430"/>
            <a:ext cx="5940368" cy="3106229"/>
          </a:xfrm>
          <a:prstGeom prst="rect">
            <a:avLst/>
          </a:prstGeom>
          <a:solidFill>
            <a:schemeClr val="bg1"/>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Calibri Light" panose="020F0302020204030204" pitchFamily="34" charset="0"/>
              <a:ea typeface="Segoe UI" pitchFamily="34" charset="0"/>
              <a:cs typeface="Segoe UI" pitchFamily="34" charset="0"/>
            </a:endParaRPr>
          </a:p>
        </p:txBody>
      </p:sp>
      <p:sp>
        <p:nvSpPr>
          <p:cNvPr id="34" name="Rectangle 33"/>
          <p:cNvSpPr/>
          <p:nvPr/>
        </p:nvSpPr>
        <p:spPr bwMode="auto">
          <a:xfrm>
            <a:off x="6790168" y="2382734"/>
            <a:ext cx="1598623" cy="557079"/>
          </a:xfrm>
          <a:prstGeom prst="rect">
            <a:avLst/>
          </a:prstGeom>
          <a:solidFill>
            <a:schemeClr val="bg1"/>
          </a:solidFill>
          <a:ln w="127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dirty="0">
              <a:solidFill>
                <a:srgbClr val="FFFFFF"/>
              </a:solidFill>
              <a:latin typeface="Calibri Light" panose="020F0302020204030204" pitchFamily="34" charset="0"/>
              <a:ea typeface="Segoe UI" pitchFamily="34" charset="0"/>
              <a:cs typeface="Segoe UI" pitchFamily="34" charset="0"/>
            </a:endParaRPr>
          </a:p>
        </p:txBody>
      </p:sp>
      <p:sp>
        <p:nvSpPr>
          <p:cNvPr id="35" name="Rectangle 34"/>
          <p:cNvSpPr/>
          <p:nvPr/>
        </p:nvSpPr>
        <p:spPr bwMode="auto">
          <a:xfrm>
            <a:off x="6790168" y="3008164"/>
            <a:ext cx="1598623" cy="557079"/>
          </a:xfrm>
          <a:prstGeom prst="rect">
            <a:avLst/>
          </a:prstGeom>
          <a:solidFill>
            <a:schemeClr val="bg1"/>
          </a:solidFill>
          <a:ln w="127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dirty="0">
              <a:solidFill>
                <a:srgbClr val="FFFFFF"/>
              </a:solidFill>
              <a:latin typeface="Calibri Light" panose="020F0302020204030204" pitchFamily="34" charset="0"/>
              <a:ea typeface="Segoe UI" pitchFamily="34" charset="0"/>
              <a:cs typeface="Segoe UI" pitchFamily="34" charset="0"/>
            </a:endParaRPr>
          </a:p>
        </p:txBody>
      </p:sp>
      <p:cxnSp>
        <p:nvCxnSpPr>
          <p:cNvPr id="46" name="Straight Connector 45"/>
          <p:cNvCxnSpPr/>
          <p:nvPr/>
        </p:nvCxnSpPr>
        <p:spPr>
          <a:xfrm>
            <a:off x="6697712" y="2348558"/>
            <a:ext cx="1783535" cy="0"/>
          </a:xfrm>
          <a:prstGeom prst="line">
            <a:avLst/>
          </a:prstGeom>
          <a:ln w="12700">
            <a:solidFill>
              <a:schemeClr val="accent3"/>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6697712" y="2973988"/>
            <a:ext cx="1783535" cy="0"/>
          </a:xfrm>
          <a:prstGeom prst="line">
            <a:avLst/>
          </a:prstGeom>
          <a:ln w="12700">
            <a:solidFill>
              <a:schemeClr val="accent3"/>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6697712" y="3599419"/>
            <a:ext cx="1783535" cy="0"/>
          </a:xfrm>
          <a:prstGeom prst="line">
            <a:avLst/>
          </a:prstGeom>
          <a:ln w="12700">
            <a:solidFill>
              <a:schemeClr val="accent3"/>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dirty="0"/>
              <a:t>Concept: Regions, Rows and Partitioning</a:t>
            </a:r>
          </a:p>
        </p:txBody>
      </p:sp>
      <p:sp>
        <p:nvSpPr>
          <p:cNvPr id="27" name="TextBox 26"/>
          <p:cNvSpPr txBox="1"/>
          <p:nvPr/>
        </p:nvSpPr>
        <p:spPr>
          <a:xfrm>
            <a:off x="6790168" y="1392431"/>
            <a:ext cx="624899" cy="248387"/>
          </a:xfrm>
          <a:prstGeom prst="rect">
            <a:avLst/>
          </a:prstGeom>
          <a:noFill/>
        </p:spPr>
        <p:txBody>
          <a:bodyPr wrap="none" lIns="0" tIns="0" rIns="0" bIns="0" rtlCol="0" anchor="ctr">
            <a:noAutofit/>
          </a:bodyPr>
          <a:lstStyle>
            <a:defPPr>
              <a:defRPr lang="en-US"/>
            </a:defPPr>
            <a:lvl1pPr algn="ctr">
              <a:defRPr sz="2000">
                <a:solidFill>
                  <a:schemeClr val="tx2"/>
                </a:solidFill>
                <a:cs typeface="Segoe UI Semibold" panose="020B0702040204020203" pitchFamily="34" charset="0"/>
              </a:defRPr>
            </a:lvl1pPr>
          </a:lstStyle>
          <a:p>
            <a:pPr defTabSz="914367"/>
            <a:r>
              <a:rPr lang="en-US" sz="1372" dirty="0">
                <a:solidFill>
                  <a:srgbClr val="505050"/>
                </a:solidFill>
                <a:latin typeface="Calibri Light" panose="020F0302020204030204" pitchFamily="34" charset="0"/>
              </a:rPr>
              <a:t>Table A</a:t>
            </a:r>
          </a:p>
        </p:txBody>
      </p:sp>
      <p:sp>
        <p:nvSpPr>
          <p:cNvPr id="29" name="TextBox 28"/>
          <p:cNvSpPr txBox="1"/>
          <p:nvPr/>
        </p:nvSpPr>
        <p:spPr>
          <a:xfrm>
            <a:off x="5963685" y="1888934"/>
            <a:ext cx="747021" cy="293820"/>
          </a:xfrm>
          <a:prstGeom prst="rect">
            <a:avLst/>
          </a:prstGeom>
          <a:noFill/>
        </p:spPr>
        <p:txBody>
          <a:bodyPr wrap="none" lIns="0" tIns="0" rIns="0" bIns="0" rtlCol="0" anchor="ctr">
            <a:noAutofit/>
          </a:bodyPr>
          <a:lstStyle>
            <a:defPPr>
              <a:defRPr lang="en-US"/>
            </a:defPPr>
            <a:lvl1pPr algn="ctr">
              <a:defRPr sz="2000">
                <a:solidFill>
                  <a:schemeClr val="tx2"/>
                </a:solidFill>
                <a:cs typeface="Segoe UI Semibold" panose="020B0702040204020203" pitchFamily="34" charset="0"/>
              </a:defRPr>
            </a:lvl1pPr>
          </a:lstStyle>
          <a:p>
            <a:pPr defTabSz="914367"/>
            <a:r>
              <a:rPr lang="en-US" sz="1568" dirty="0">
                <a:solidFill>
                  <a:srgbClr val="505050"/>
                </a:solidFill>
                <a:latin typeface="Calibri Light" panose="020F0302020204030204" pitchFamily="34" charset="0"/>
              </a:rPr>
              <a:t>Region 1</a:t>
            </a:r>
          </a:p>
        </p:txBody>
      </p:sp>
      <p:sp>
        <p:nvSpPr>
          <p:cNvPr id="30" name="TextBox 29"/>
          <p:cNvSpPr txBox="1"/>
          <p:nvPr/>
        </p:nvSpPr>
        <p:spPr>
          <a:xfrm>
            <a:off x="5963685" y="2518513"/>
            <a:ext cx="747021" cy="293820"/>
          </a:xfrm>
          <a:prstGeom prst="rect">
            <a:avLst/>
          </a:prstGeom>
          <a:noFill/>
        </p:spPr>
        <p:txBody>
          <a:bodyPr wrap="none" lIns="0" tIns="0" rIns="0" bIns="0" rtlCol="0" anchor="ctr">
            <a:noAutofit/>
          </a:bodyPr>
          <a:lstStyle>
            <a:defPPr>
              <a:defRPr lang="en-US"/>
            </a:defPPr>
            <a:lvl1pPr algn="ctr">
              <a:defRPr sz="2000">
                <a:solidFill>
                  <a:schemeClr val="tx2"/>
                </a:solidFill>
                <a:cs typeface="Segoe UI Semibold" panose="020B0702040204020203" pitchFamily="34" charset="0"/>
              </a:defRPr>
            </a:lvl1pPr>
          </a:lstStyle>
          <a:p>
            <a:pPr defTabSz="914367"/>
            <a:r>
              <a:rPr lang="en-US" sz="1568" dirty="0">
                <a:solidFill>
                  <a:srgbClr val="505050"/>
                </a:solidFill>
                <a:latin typeface="Calibri Light" panose="020F0302020204030204" pitchFamily="34" charset="0"/>
              </a:rPr>
              <a:t>Region 2</a:t>
            </a:r>
          </a:p>
        </p:txBody>
      </p:sp>
      <p:sp>
        <p:nvSpPr>
          <p:cNvPr id="31" name="TextBox 30"/>
          <p:cNvSpPr txBox="1"/>
          <p:nvPr/>
        </p:nvSpPr>
        <p:spPr>
          <a:xfrm>
            <a:off x="5963685" y="3148093"/>
            <a:ext cx="747021" cy="293820"/>
          </a:xfrm>
          <a:prstGeom prst="rect">
            <a:avLst/>
          </a:prstGeom>
          <a:noFill/>
        </p:spPr>
        <p:txBody>
          <a:bodyPr wrap="none" lIns="0" tIns="0" rIns="0" bIns="0" rtlCol="0" anchor="ctr">
            <a:noAutofit/>
          </a:bodyPr>
          <a:lstStyle>
            <a:defPPr>
              <a:defRPr lang="en-US"/>
            </a:defPPr>
            <a:lvl1pPr algn="ctr">
              <a:defRPr sz="2000">
                <a:solidFill>
                  <a:schemeClr val="tx2"/>
                </a:solidFill>
                <a:cs typeface="Segoe UI Semibold" panose="020B0702040204020203" pitchFamily="34" charset="0"/>
              </a:defRPr>
            </a:lvl1pPr>
          </a:lstStyle>
          <a:p>
            <a:pPr defTabSz="914367"/>
            <a:r>
              <a:rPr lang="en-US" sz="1568" dirty="0">
                <a:solidFill>
                  <a:srgbClr val="505050"/>
                </a:solidFill>
                <a:latin typeface="Calibri Light" panose="020F0302020204030204" pitchFamily="34" charset="0"/>
              </a:rPr>
              <a:t>Region 3</a:t>
            </a:r>
          </a:p>
        </p:txBody>
      </p:sp>
      <p:sp>
        <p:nvSpPr>
          <p:cNvPr id="32" name="TextBox 31"/>
          <p:cNvSpPr txBox="1"/>
          <p:nvPr/>
        </p:nvSpPr>
        <p:spPr>
          <a:xfrm>
            <a:off x="5963685" y="3777673"/>
            <a:ext cx="747021" cy="293820"/>
          </a:xfrm>
          <a:prstGeom prst="rect">
            <a:avLst/>
          </a:prstGeom>
          <a:noFill/>
        </p:spPr>
        <p:txBody>
          <a:bodyPr wrap="none" lIns="0" tIns="0" rIns="0" bIns="0" rtlCol="0" anchor="ctr">
            <a:noAutofit/>
          </a:bodyPr>
          <a:lstStyle>
            <a:defPPr>
              <a:defRPr lang="en-US"/>
            </a:defPPr>
            <a:lvl1pPr algn="ctr">
              <a:defRPr sz="2000">
                <a:solidFill>
                  <a:schemeClr val="tx2"/>
                </a:solidFill>
                <a:cs typeface="Segoe UI Semibold" panose="020B0702040204020203" pitchFamily="34" charset="0"/>
              </a:defRPr>
            </a:lvl1pPr>
          </a:lstStyle>
          <a:p>
            <a:pPr defTabSz="914367"/>
            <a:r>
              <a:rPr lang="en-US" sz="1568" dirty="0">
                <a:solidFill>
                  <a:srgbClr val="505050"/>
                </a:solidFill>
                <a:latin typeface="Calibri Light" panose="020F0302020204030204" pitchFamily="34" charset="0"/>
              </a:rPr>
              <a:t>Region 4</a:t>
            </a:r>
          </a:p>
        </p:txBody>
      </p:sp>
      <p:sp>
        <p:nvSpPr>
          <p:cNvPr id="33" name="Rectangle 32"/>
          <p:cNvSpPr/>
          <p:nvPr/>
        </p:nvSpPr>
        <p:spPr bwMode="auto">
          <a:xfrm>
            <a:off x="6790168" y="1703058"/>
            <a:ext cx="1598623" cy="585906"/>
          </a:xfrm>
          <a:prstGeom prst="rect">
            <a:avLst/>
          </a:prstGeom>
          <a:solidFill>
            <a:schemeClr val="bg1"/>
          </a:solidFill>
          <a:ln w="127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dirty="0">
              <a:solidFill>
                <a:srgbClr val="FFFFFF"/>
              </a:solidFill>
              <a:latin typeface="Calibri Light" panose="020F0302020204030204" pitchFamily="34" charset="0"/>
              <a:ea typeface="Segoe UI" pitchFamily="34" charset="0"/>
              <a:cs typeface="Segoe UI" pitchFamily="34" charset="0"/>
            </a:endParaRPr>
          </a:p>
        </p:txBody>
      </p:sp>
      <p:sp>
        <p:nvSpPr>
          <p:cNvPr id="36" name="Rectangle 35"/>
          <p:cNvSpPr/>
          <p:nvPr/>
        </p:nvSpPr>
        <p:spPr bwMode="auto">
          <a:xfrm>
            <a:off x="6790168" y="3633593"/>
            <a:ext cx="1598623" cy="641240"/>
          </a:xfrm>
          <a:prstGeom prst="rect">
            <a:avLst/>
          </a:prstGeom>
          <a:solidFill>
            <a:schemeClr val="bg1"/>
          </a:solidFill>
          <a:ln w="127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dirty="0">
              <a:solidFill>
                <a:srgbClr val="FFFFFF"/>
              </a:solidFill>
              <a:latin typeface="Calibri Light" panose="020F0302020204030204" pitchFamily="34" charset="0"/>
              <a:ea typeface="Segoe UI" pitchFamily="34" charset="0"/>
              <a:cs typeface="Segoe UI" pitchFamily="34" charset="0"/>
            </a:endParaRPr>
          </a:p>
        </p:txBody>
      </p:sp>
      <p:graphicFrame>
        <p:nvGraphicFramePr>
          <p:cNvPr id="28" name="Table 27"/>
          <p:cNvGraphicFramePr>
            <a:graphicFrameLocks noGrp="1"/>
          </p:cNvGraphicFramePr>
          <p:nvPr>
            <p:extLst>
              <p:ext uri="{D42A27DB-BD31-4B8C-83A1-F6EECF244321}">
                <p14:modId xmlns:p14="http://schemas.microsoft.com/office/powerpoint/2010/main" val="2724613783"/>
              </p:ext>
            </p:extLst>
          </p:nvPr>
        </p:nvGraphicFramePr>
        <p:xfrm>
          <a:off x="6885774" y="1698073"/>
          <a:ext cx="1407408" cy="2592975"/>
        </p:xfrm>
        <a:graphic>
          <a:graphicData uri="http://schemas.openxmlformats.org/drawingml/2006/table">
            <a:tbl>
              <a:tblPr firstRow="1" bandRow="1"/>
              <a:tblGrid>
                <a:gridCol w="267682">
                  <a:extLst>
                    <a:ext uri="{9D8B030D-6E8A-4147-A177-3AD203B41FA5}">
                      <a16:colId xmlns:a16="http://schemas.microsoft.com/office/drawing/2014/main" val="20000"/>
                    </a:ext>
                  </a:extLst>
                </a:gridCol>
                <a:gridCol w="1139726">
                  <a:extLst>
                    <a:ext uri="{9D8B030D-6E8A-4147-A177-3AD203B41FA5}">
                      <a16:colId xmlns:a16="http://schemas.microsoft.com/office/drawing/2014/main" val="20001"/>
                    </a:ext>
                  </a:extLst>
                </a:gridCol>
              </a:tblGrid>
              <a:tr h="172313">
                <a:tc>
                  <a:txBody>
                    <a:bodyPr/>
                    <a:lstStyle/>
                    <a:p>
                      <a:r>
                        <a:rPr lang="en-IN" sz="1000" b="1" dirty="0">
                          <a:solidFill>
                            <a:schemeClr val="bg1"/>
                          </a:solidFill>
                        </a:rPr>
                        <a:t>a</a:t>
                      </a:r>
                    </a:p>
                  </a:txBody>
                  <a:tcPr marL="44821" marR="44821" marT="8964" marB="8964">
                    <a:lnL w="12700" cmpd="sng">
                      <a:noFill/>
                      <a:prstDash val="solid"/>
                    </a:lnL>
                    <a:lnR w="12700" cmpd="sng">
                      <a:noFill/>
                      <a:prstDash val="solid"/>
                    </a:lnR>
                    <a:lnT w="12700" cmpd="sng">
                      <a:noFill/>
                      <a:prstDash val="soli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lang="en-IN" sz="900" b="1" dirty="0">
                        <a:solidFill>
                          <a:schemeClr val="bg1"/>
                        </a:solidFill>
                      </a:endParaRPr>
                    </a:p>
                  </a:txBody>
                  <a:tcPr marL="44821" marR="44821" marT="8964" marB="8964" anchor="ctr">
                    <a:lnL w="12700" cmpd="sng">
                      <a:noFill/>
                      <a:prstDash val="solid"/>
                    </a:lnL>
                    <a:lnR w="12700" cmpd="sng">
                      <a:noFill/>
                      <a:prstDash val="solid"/>
                    </a:lnR>
                    <a:lnT w="12700" cmpd="sng">
                      <a:noFill/>
                      <a:prstDash val="soli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extLst>
                  <a:ext uri="{0D108BD9-81ED-4DB2-BD59-A6C34878D82A}">
                    <a16:rowId xmlns:a16="http://schemas.microsoft.com/office/drawing/2014/main" val="10000"/>
                  </a:ext>
                </a:extLst>
              </a:tr>
              <a:tr h="172313">
                <a:tc>
                  <a:txBody>
                    <a:bodyPr/>
                    <a:lstStyle/>
                    <a:p>
                      <a:r>
                        <a:rPr lang="en-IN" sz="1000" b="1" dirty="0">
                          <a:solidFill>
                            <a:schemeClr val="bg1"/>
                          </a:solidFill>
                        </a:rPr>
                        <a:t>b</a:t>
                      </a:r>
                    </a:p>
                  </a:txBody>
                  <a:tcPr marL="44821" marR="44821" marT="8964" marB="8964">
                    <a:lnL w="12700" cmpd="sng">
                      <a:noFill/>
                      <a:prstDash val="solid"/>
                    </a:lnL>
                    <a:lnR w="12700" cmpd="sng">
                      <a:noFill/>
                      <a:prstDash val="soli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lang="en-IN" sz="900" b="1" dirty="0">
                        <a:solidFill>
                          <a:schemeClr val="bg1"/>
                        </a:solidFill>
                      </a:endParaRPr>
                    </a:p>
                  </a:txBody>
                  <a:tcPr marL="44821" marR="44821" marT="8964" marB="8964" anchor="ctr">
                    <a:lnL w="12700" cmpd="sng">
                      <a:noFill/>
                      <a:prstDash val="solid"/>
                    </a:lnL>
                    <a:lnR w="12700" cmpd="sng">
                      <a:noFill/>
                      <a:prstDash val="soli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extLst>
                  <a:ext uri="{0D108BD9-81ED-4DB2-BD59-A6C34878D82A}">
                    <a16:rowId xmlns:a16="http://schemas.microsoft.com/office/drawing/2014/main" val="10001"/>
                  </a:ext>
                </a:extLst>
              </a:tr>
              <a:tr h="180593">
                <a:tc>
                  <a:txBody>
                    <a:bodyPr/>
                    <a:lstStyle/>
                    <a:p>
                      <a:r>
                        <a:rPr lang="en-IN" sz="1000" b="1" dirty="0">
                          <a:solidFill>
                            <a:schemeClr val="bg1"/>
                          </a:solidFill>
                        </a:rPr>
                        <a:t>c</a:t>
                      </a:r>
                    </a:p>
                  </a:txBody>
                  <a:tcPr marL="44821" marR="44821" marT="8964" marB="8964">
                    <a:lnL w="12700" cmpd="sng">
                      <a:noFill/>
                      <a:prstDash val="solid"/>
                    </a:lnL>
                    <a:lnR w="12700" cmpd="sng">
                      <a:noFill/>
                      <a:prstDash val="soli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lang="en-IN" sz="900" b="1" dirty="0">
                        <a:solidFill>
                          <a:schemeClr val="bg1"/>
                        </a:solidFill>
                      </a:endParaRPr>
                    </a:p>
                  </a:txBody>
                  <a:tcPr marL="44821" marR="44821" marT="8964" marB="8964" anchor="ctr">
                    <a:lnL w="12700" cmpd="sng">
                      <a:noFill/>
                      <a:prstDash val="solid"/>
                    </a:lnL>
                    <a:lnR w="12700" cmpd="sng">
                      <a:noFill/>
                      <a:prstDash val="soli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extLst>
                  <a:ext uri="{0D108BD9-81ED-4DB2-BD59-A6C34878D82A}">
                    <a16:rowId xmlns:a16="http://schemas.microsoft.com/office/drawing/2014/main" val="10002"/>
                  </a:ext>
                </a:extLst>
              </a:tr>
              <a:tr h="172313">
                <a:tc>
                  <a:txBody>
                    <a:bodyPr/>
                    <a:lstStyle/>
                    <a:p>
                      <a:r>
                        <a:rPr lang="en-IN" sz="1000" b="1" dirty="0">
                          <a:solidFill>
                            <a:schemeClr val="bg1"/>
                          </a:solidFill>
                        </a:rPr>
                        <a:t>d</a:t>
                      </a:r>
                    </a:p>
                  </a:txBody>
                  <a:tcPr marL="44821" marR="44821" marT="8964" marB="8964">
                    <a:lnL w="12700" cmpd="sng">
                      <a:noFill/>
                      <a:prstDash val="solid"/>
                    </a:lnL>
                    <a:lnR w="12700" cmpd="sng">
                      <a:noFill/>
                      <a:prstDash val="soli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lang="en-IN" sz="900" b="1" dirty="0">
                        <a:solidFill>
                          <a:schemeClr val="bg1"/>
                        </a:solidFill>
                      </a:endParaRPr>
                    </a:p>
                  </a:txBody>
                  <a:tcPr marL="44821" marR="44821" marT="8964" marB="8964" anchor="ctr">
                    <a:lnL w="12700" cmpd="sng">
                      <a:noFill/>
                      <a:prstDash val="solid"/>
                    </a:lnL>
                    <a:lnR w="12700" cmpd="sng">
                      <a:noFill/>
                      <a:prstDash val="soli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extLst>
                  <a:ext uri="{0D108BD9-81ED-4DB2-BD59-A6C34878D82A}">
                    <a16:rowId xmlns:a16="http://schemas.microsoft.com/office/drawing/2014/main" val="10003"/>
                  </a:ext>
                </a:extLst>
              </a:tr>
              <a:tr h="172313">
                <a:tc>
                  <a:txBody>
                    <a:bodyPr/>
                    <a:lstStyle/>
                    <a:p>
                      <a:r>
                        <a:rPr lang="en-IN" sz="1000" b="1" dirty="0">
                          <a:solidFill>
                            <a:schemeClr val="bg1"/>
                          </a:solidFill>
                        </a:rPr>
                        <a:t>e</a:t>
                      </a:r>
                    </a:p>
                  </a:txBody>
                  <a:tcPr marL="44821" marR="44821" marT="8964" marB="8964">
                    <a:lnL w="12700" cmpd="sng">
                      <a:noFill/>
                      <a:prstDash val="solid"/>
                    </a:lnL>
                    <a:lnR w="12700" cmpd="sng">
                      <a:noFill/>
                      <a:prstDash val="soli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lang="en-IN" sz="900" b="1" dirty="0">
                        <a:solidFill>
                          <a:schemeClr val="bg1"/>
                        </a:solidFill>
                      </a:endParaRPr>
                    </a:p>
                  </a:txBody>
                  <a:tcPr marL="44821" marR="44821" marT="8964" marB="8964" anchor="ctr">
                    <a:lnL w="12700" cmpd="sng">
                      <a:noFill/>
                      <a:prstDash val="solid"/>
                    </a:lnL>
                    <a:lnR w="12700" cmpd="sng">
                      <a:noFill/>
                      <a:prstDash val="soli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extLst>
                  <a:ext uri="{0D108BD9-81ED-4DB2-BD59-A6C34878D82A}">
                    <a16:rowId xmlns:a16="http://schemas.microsoft.com/office/drawing/2014/main" val="10004"/>
                  </a:ext>
                </a:extLst>
              </a:tr>
              <a:tr h="172313">
                <a:tc>
                  <a:txBody>
                    <a:bodyPr/>
                    <a:lstStyle/>
                    <a:p>
                      <a:r>
                        <a:rPr lang="en-IN" sz="1000" b="1" dirty="0">
                          <a:solidFill>
                            <a:schemeClr val="bg1"/>
                          </a:solidFill>
                        </a:rPr>
                        <a:t>f</a:t>
                      </a:r>
                    </a:p>
                  </a:txBody>
                  <a:tcPr marL="44821" marR="44821" marT="8964" marB="8964">
                    <a:lnL w="12700" cmpd="sng">
                      <a:noFill/>
                      <a:prstDash val="solid"/>
                    </a:lnL>
                    <a:lnR w="12700" cmpd="sng">
                      <a:noFill/>
                      <a:prstDash val="soli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lang="en-IN" sz="900" b="1" dirty="0">
                        <a:solidFill>
                          <a:schemeClr val="bg1"/>
                        </a:solidFill>
                      </a:endParaRPr>
                    </a:p>
                  </a:txBody>
                  <a:tcPr marL="44821" marR="44821" marT="8964" marB="8964" anchor="ctr">
                    <a:lnL w="12700" cmpd="sng">
                      <a:noFill/>
                      <a:prstDash val="solid"/>
                    </a:lnL>
                    <a:lnR w="12700" cmpd="sng">
                      <a:noFill/>
                      <a:prstDash val="soli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extLst>
                  <a:ext uri="{0D108BD9-81ED-4DB2-BD59-A6C34878D82A}">
                    <a16:rowId xmlns:a16="http://schemas.microsoft.com/office/drawing/2014/main" val="10005"/>
                  </a:ext>
                </a:extLst>
              </a:tr>
              <a:tr h="172313">
                <a:tc>
                  <a:txBody>
                    <a:bodyPr/>
                    <a:lstStyle/>
                    <a:p>
                      <a:r>
                        <a:rPr lang="en-IN" sz="1000" b="1" dirty="0">
                          <a:solidFill>
                            <a:schemeClr val="bg1"/>
                          </a:solidFill>
                        </a:rPr>
                        <a:t>g</a:t>
                      </a:r>
                    </a:p>
                  </a:txBody>
                  <a:tcPr marL="44821" marR="44821" marT="8964" marB="8964">
                    <a:lnL w="12700" cmpd="sng">
                      <a:noFill/>
                      <a:prstDash val="solid"/>
                    </a:lnL>
                    <a:lnR w="12700" cmpd="sng">
                      <a:noFill/>
                      <a:prstDash val="soli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lang="en-IN" sz="900" b="1" dirty="0">
                        <a:solidFill>
                          <a:schemeClr val="bg1"/>
                        </a:solidFill>
                      </a:endParaRPr>
                    </a:p>
                  </a:txBody>
                  <a:tcPr marL="44821" marR="44821" marT="8964" marB="8964" anchor="ctr">
                    <a:lnL w="12700" cmpd="sng">
                      <a:noFill/>
                      <a:prstDash val="solid"/>
                    </a:lnL>
                    <a:lnR w="12700" cmpd="sng">
                      <a:noFill/>
                      <a:prstDash val="soli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extLst>
                  <a:ext uri="{0D108BD9-81ED-4DB2-BD59-A6C34878D82A}">
                    <a16:rowId xmlns:a16="http://schemas.microsoft.com/office/drawing/2014/main" val="10006"/>
                  </a:ext>
                </a:extLst>
              </a:tr>
              <a:tr h="172313">
                <a:tc>
                  <a:txBody>
                    <a:bodyPr/>
                    <a:lstStyle/>
                    <a:p>
                      <a:r>
                        <a:rPr lang="en-IN" sz="1000" b="1" dirty="0">
                          <a:solidFill>
                            <a:schemeClr val="bg1"/>
                          </a:solidFill>
                        </a:rPr>
                        <a:t>h</a:t>
                      </a:r>
                    </a:p>
                  </a:txBody>
                  <a:tcPr marL="44821" marR="44821" marT="8964" marB="8964">
                    <a:lnL w="12700" cmpd="sng">
                      <a:noFill/>
                      <a:prstDash val="solid"/>
                    </a:lnL>
                    <a:lnR w="12700" cmpd="sng">
                      <a:noFill/>
                      <a:prstDash val="soli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lang="en-IN" sz="900" b="1" dirty="0">
                        <a:solidFill>
                          <a:schemeClr val="bg1"/>
                        </a:solidFill>
                      </a:endParaRPr>
                    </a:p>
                  </a:txBody>
                  <a:tcPr marL="44821" marR="44821" marT="8964" marB="8964" anchor="ctr">
                    <a:lnL w="12700" cmpd="sng">
                      <a:noFill/>
                      <a:prstDash val="solid"/>
                    </a:lnL>
                    <a:lnR w="12700" cmpd="sng">
                      <a:noFill/>
                      <a:prstDash val="soli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extLst>
                  <a:ext uri="{0D108BD9-81ED-4DB2-BD59-A6C34878D82A}">
                    <a16:rowId xmlns:a16="http://schemas.microsoft.com/office/drawing/2014/main" val="10007"/>
                  </a:ext>
                </a:extLst>
              </a:tr>
              <a:tr h="172313">
                <a:tc>
                  <a:txBody>
                    <a:bodyPr/>
                    <a:lstStyle/>
                    <a:p>
                      <a:r>
                        <a:rPr lang="en-IN" sz="1000" b="1" dirty="0">
                          <a:solidFill>
                            <a:schemeClr val="bg1"/>
                          </a:solidFill>
                        </a:rPr>
                        <a:t>j</a:t>
                      </a:r>
                    </a:p>
                  </a:txBody>
                  <a:tcPr marL="44821" marR="44821" marT="8964" marB="8964">
                    <a:lnL w="12700" cmpd="sng">
                      <a:noFill/>
                      <a:prstDash val="solid"/>
                    </a:lnL>
                    <a:lnR w="12700" cmpd="sng">
                      <a:noFill/>
                      <a:prstDash val="soli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lang="en-IN" sz="900" b="1" dirty="0">
                        <a:solidFill>
                          <a:schemeClr val="bg1"/>
                        </a:solidFill>
                      </a:endParaRPr>
                    </a:p>
                  </a:txBody>
                  <a:tcPr marL="44821" marR="44821" marT="8964" marB="8964" anchor="ctr">
                    <a:lnL w="12700" cmpd="sng">
                      <a:noFill/>
                      <a:prstDash val="solid"/>
                    </a:lnL>
                    <a:lnR w="12700" cmpd="sng">
                      <a:noFill/>
                      <a:prstDash val="soli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extLst>
                  <a:ext uri="{0D108BD9-81ED-4DB2-BD59-A6C34878D82A}">
                    <a16:rowId xmlns:a16="http://schemas.microsoft.com/office/drawing/2014/main" val="10008"/>
                  </a:ext>
                </a:extLst>
              </a:tr>
              <a:tr h="172313">
                <a:tc>
                  <a:txBody>
                    <a:bodyPr/>
                    <a:lstStyle/>
                    <a:p>
                      <a:r>
                        <a:rPr lang="en-IN" sz="1000" b="1" dirty="0">
                          <a:solidFill>
                            <a:schemeClr val="bg1"/>
                          </a:solidFill>
                        </a:rPr>
                        <a:t>k</a:t>
                      </a:r>
                    </a:p>
                  </a:txBody>
                  <a:tcPr marL="44821" marR="44821" marT="8964" marB="8964">
                    <a:lnL w="12700" cmpd="sng">
                      <a:noFill/>
                      <a:prstDash val="solid"/>
                    </a:lnL>
                    <a:lnR w="12700" cmpd="sng">
                      <a:noFill/>
                      <a:prstDash val="soli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lang="en-IN" sz="900" b="1" dirty="0">
                        <a:solidFill>
                          <a:schemeClr val="bg1"/>
                        </a:solidFill>
                      </a:endParaRPr>
                    </a:p>
                  </a:txBody>
                  <a:tcPr marL="44821" marR="44821" marT="8964" marB="8964" anchor="ctr">
                    <a:lnL w="12700" cmpd="sng">
                      <a:noFill/>
                      <a:prstDash val="solid"/>
                    </a:lnL>
                    <a:lnR w="12700" cmpd="sng">
                      <a:noFill/>
                      <a:prstDash val="soli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extLst>
                  <a:ext uri="{0D108BD9-81ED-4DB2-BD59-A6C34878D82A}">
                    <a16:rowId xmlns:a16="http://schemas.microsoft.com/office/drawing/2014/main" val="10009"/>
                  </a:ext>
                </a:extLst>
              </a:tr>
              <a:tr h="172313">
                <a:tc>
                  <a:txBody>
                    <a:bodyPr/>
                    <a:lstStyle/>
                    <a:p>
                      <a:r>
                        <a:rPr lang="en-IN" sz="1000" b="1" dirty="0">
                          <a:solidFill>
                            <a:schemeClr val="bg1"/>
                          </a:solidFill>
                        </a:rPr>
                        <a:t>l</a:t>
                      </a:r>
                    </a:p>
                  </a:txBody>
                  <a:tcPr marL="44821" marR="44821" marT="8964" marB="8964">
                    <a:lnL w="12700" cmpd="sng">
                      <a:noFill/>
                      <a:prstDash val="solid"/>
                    </a:lnL>
                    <a:lnR w="12700" cmpd="sng">
                      <a:noFill/>
                      <a:prstDash val="soli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lang="en-IN" sz="900" b="1" dirty="0">
                        <a:solidFill>
                          <a:schemeClr val="bg1"/>
                        </a:solidFill>
                      </a:endParaRPr>
                    </a:p>
                  </a:txBody>
                  <a:tcPr marL="44821" marR="44821" marT="8964" marB="8964" anchor="ctr">
                    <a:lnL w="12700" cmpd="sng">
                      <a:noFill/>
                      <a:prstDash val="solid"/>
                    </a:lnL>
                    <a:lnR w="12700" cmpd="sng">
                      <a:noFill/>
                      <a:prstDash val="soli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extLst>
                  <a:ext uri="{0D108BD9-81ED-4DB2-BD59-A6C34878D82A}">
                    <a16:rowId xmlns:a16="http://schemas.microsoft.com/office/drawing/2014/main" val="10010"/>
                  </a:ext>
                </a:extLst>
              </a:tr>
              <a:tr h="172313">
                <a:tc>
                  <a:txBody>
                    <a:bodyPr/>
                    <a:lstStyle/>
                    <a:p>
                      <a:r>
                        <a:rPr lang="en-IN" sz="1000" b="1" dirty="0">
                          <a:solidFill>
                            <a:schemeClr val="bg1"/>
                          </a:solidFill>
                        </a:rPr>
                        <a:t>m</a:t>
                      </a:r>
                    </a:p>
                  </a:txBody>
                  <a:tcPr marL="44821" marR="44821" marT="8964" marB="8964">
                    <a:lnL w="12700" cmpd="sng">
                      <a:noFill/>
                      <a:prstDash val="solid"/>
                    </a:lnL>
                    <a:lnR w="12700" cmpd="sng">
                      <a:noFill/>
                      <a:prstDash val="soli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lang="en-IN" sz="900" b="1" dirty="0">
                        <a:solidFill>
                          <a:schemeClr val="bg1"/>
                        </a:solidFill>
                      </a:endParaRPr>
                    </a:p>
                  </a:txBody>
                  <a:tcPr marL="44821" marR="44821" marT="8964" marB="8964" anchor="ctr">
                    <a:lnL w="12700" cmpd="sng">
                      <a:noFill/>
                      <a:prstDash val="solid"/>
                    </a:lnL>
                    <a:lnR w="12700" cmpd="sng">
                      <a:noFill/>
                      <a:prstDash val="soli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extLst>
                  <a:ext uri="{0D108BD9-81ED-4DB2-BD59-A6C34878D82A}">
                    <a16:rowId xmlns:a16="http://schemas.microsoft.com/office/drawing/2014/main" val="10011"/>
                  </a:ext>
                </a:extLst>
              </a:tr>
              <a:tr h="172313">
                <a:tc>
                  <a:txBody>
                    <a:bodyPr/>
                    <a:lstStyle/>
                    <a:p>
                      <a:r>
                        <a:rPr lang="en-IN" sz="1000" b="1" dirty="0">
                          <a:solidFill>
                            <a:schemeClr val="bg1"/>
                          </a:solidFill>
                        </a:rPr>
                        <a:t>n</a:t>
                      </a:r>
                    </a:p>
                  </a:txBody>
                  <a:tcPr marL="44821" marR="44821" marT="8964" marB="8964">
                    <a:lnL w="12700" cmpd="sng">
                      <a:noFill/>
                      <a:prstDash val="solid"/>
                    </a:lnL>
                    <a:lnR w="12700" cmpd="sng">
                      <a:noFill/>
                      <a:prstDash val="soli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lang="en-IN" sz="900" b="1" dirty="0">
                        <a:solidFill>
                          <a:schemeClr val="bg1"/>
                        </a:solidFill>
                      </a:endParaRPr>
                    </a:p>
                  </a:txBody>
                  <a:tcPr marL="44821" marR="44821" marT="8964" marB="8964" anchor="ctr">
                    <a:lnL w="12700" cmpd="sng">
                      <a:noFill/>
                      <a:prstDash val="solid"/>
                    </a:lnL>
                    <a:lnR w="12700" cmpd="sng">
                      <a:noFill/>
                      <a:prstDash val="soli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extLst>
                  <a:ext uri="{0D108BD9-81ED-4DB2-BD59-A6C34878D82A}">
                    <a16:rowId xmlns:a16="http://schemas.microsoft.com/office/drawing/2014/main" val="10012"/>
                  </a:ext>
                </a:extLst>
              </a:tr>
              <a:tr h="172313">
                <a:tc>
                  <a:txBody>
                    <a:bodyPr/>
                    <a:lstStyle/>
                    <a:p>
                      <a:r>
                        <a:rPr lang="en-IN" sz="1000" b="1" dirty="0">
                          <a:solidFill>
                            <a:schemeClr val="bg1"/>
                          </a:solidFill>
                        </a:rPr>
                        <a:t>o</a:t>
                      </a:r>
                    </a:p>
                  </a:txBody>
                  <a:tcPr marL="44821" marR="44821" marT="8964" marB="8964">
                    <a:lnL w="12700" cmpd="sng">
                      <a:noFill/>
                      <a:prstDash val="solid"/>
                    </a:lnL>
                    <a:lnR w="12700" cmpd="sng">
                      <a:noFill/>
                      <a:prstDash val="soli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lang="en-IN" sz="900" b="1" dirty="0">
                        <a:solidFill>
                          <a:schemeClr val="bg1"/>
                        </a:solidFill>
                      </a:endParaRPr>
                    </a:p>
                  </a:txBody>
                  <a:tcPr marL="44821" marR="44821" marT="8964" marB="8964" anchor="ctr">
                    <a:lnL w="12700" cmpd="sng">
                      <a:noFill/>
                      <a:prstDash val="solid"/>
                    </a:lnL>
                    <a:lnR w="12700" cmpd="sng">
                      <a:noFill/>
                      <a:prstDash val="soli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extLst>
                  <a:ext uri="{0D108BD9-81ED-4DB2-BD59-A6C34878D82A}">
                    <a16:rowId xmlns:a16="http://schemas.microsoft.com/office/drawing/2014/main" val="10013"/>
                  </a:ext>
                </a:extLst>
              </a:tr>
              <a:tr h="172313">
                <a:tc>
                  <a:txBody>
                    <a:bodyPr/>
                    <a:lstStyle/>
                    <a:p>
                      <a:r>
                        <a:rPr lang="en-IN" sz="1000" b="1" dirty="0">
                          <a:solidFill>
                            <a:schemeClr val="bg1"/>
                          </a:solidFill>
                        </a:rPr>
                        <a:t>p</a:t>
                      </a:r>
                    </a:p>
                  </a:txBody>
                  <a:tcPr marL="44821" marR="44821" marT="8964" marB="8964">
                    <a:lnL w="12700" cmpd="sng">
                      <a:noFill/>
                      <a:prstDash val="solid"/>
                    </a:lnL>
                    <a:lnR w="12700" cmpd="sng">
                      <a:noFill/>
                      <a:prstDash val="soli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lang="en-IN" sz="900" b="1" dirty="0">
                        <a:solidFill>
                          <a:schemeClr val="bg1"/>
                        </a:solidFill>
                      </a:endParaRPr>
                    </a:p>
                  </a:txBody>
                  <a:tcPr marL="44821" marR="44821" marT="8964" marB="8964" anchor="ctr">
                    <a:lnL w="12700" cmpd="sng">
                      <a:noFill/>
                      <a:prstDash val="solid"/>
                    </a:lnL>
                    <a:lnR w="12700" cmpd="sng">
                      <a:noFill/>
                      <a:prstDash val="soli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extLst>
                  <a:ext uri="{0D108BD9-81ED-4DB2-BD59-A6C34878D82A}">
                    <a16:rowId xmlns:a16="http://schemas.microsoft.com/office/drawing/2014/main" val="10014"/>
                  </a:ext>
                </a:extLst>
              </a:tr>
            </a:tbl>
          </a:graphicData>
        </a:graphic>
      </p:graphicFrame>
      <p:sp>
        <p:nvSpPr>
          <p:cNvPr id="38" name="TextBox 37"/>
          <p:cNvSpPr txBox="1"/>
          <p:nvPr/>
        </p:nvSpPr>
        <p:spPr>
          <a:xfrm>
            <a:off x="9515911" y="1392431"/>
            <a:ext cx="1851254" cy="248387"/>
          </a:xfrm>
          <a:prstGeom prst="rect">
            <a:avLst/>
          </a:prstGeom>
          <a:noFill/>
        </p:spPr>
        <p:txBody>
          <a:bodyPr wrap="none" lIns="0" tIns="0" rIns="0" bIns="0" rtlCol="0" anchor="ctr">
            <a:noAutofit/>
          </a:bodyPr>
          <a:lstStyle>
            <a:defPPr>
              <a:defRPr lang="en-US"/>
            </a:defPPr>
            <a:lvl1pPr algn="ctr">
              <a:defRPr sz="2000">
                <a:solidFill>
                  <a:schemeClr val="tx2"/>
                </a:solidFill>
                <a:cs typeface="Segoe UI Semibold" panose="020B0702040204020203" pitchFamily="34" charset="0"/>
              </a:defRPr>
            </a:lvl1pPr>
          </a:lstStyle>
          <a:p>
            <a:pPr defTabSz="914367"/>
            <a:r>
              <a:rPr lang="en-US" sz="1372" dirty="0">
                <a:solidFill>
                  <a:srgbClr val="505050"/>
                </a:solidFill>
                <a:latin typeface="Calibri Light" panose="020F0302020204030204" pitchFamily="34" charset="0"/>
              </a:rPr>
              <a:t>Region Server 7</a:t>
            </a:r>
          </a:p>
        </p:txBody>
      </p:sp>
      <p:graphicFrame>
        <p:nvGraphicFramePr>
          <p:cNvPr id="40" name="Table 39"/>
          <p:cNvGraphicFramePr>
            <a:graphicFrameLocks noGrp="1"/>
          </p:cNvGraphicFramePr>
          <p:nvPr>
            <p:extLst>
              <p:ext uri="{D42A27DB-BD31-4B8C-83A1-F6EECF244321}">
                <p14:modId xmlns:p14="http://schemas.microsoft.com/office/powerpoint/2010/main" val="797525936"/>
              </p:ext>
            </p:extLst>
          </p:nvPr>
        </p:nvGraphicFramePr>
        <p:xfrm>
          <a:off x="9890733" y="1698073"/>
          <a:ext cx="1407409" cy="753024"/>
        </p:xfrm>
        <a:graphic>
          <a:graphicData uri="http://schemas.openxmlformats.org/drawingml/2006/table">
            <a:tbl>
              <a:tblPr firstRow="1" bandRow="1"/>
              <a:tblGrid>
                <a:gridCol w="1407409">
                  <a:extLst>
                    <a:ext uri="{9D8B030D-6E8A-4147-A177-3AD203B41FA5}">
                      <a16:colId xmlns:a16="http://schemas.microsoft.com/office/drawing/2014/main" val="20000"/>
                    </a:ext>
                  </a:extLst>
                </a:gridCol>
              </a:tblGrid>
              <a:tr h="185261">
                <a:tc>
                  <a:txBody>
                    <a:bodyPr/>
                    <a:lstStyle/>
                    <a:p>
                      <a:r>
                        <a:rPr lang="en-IN" sz="1000" b="1" dirty="0">
                          <a:solidFill>
                            <a:schemeClr val="bg1"/>
                          </a:solidFill>
                        </a:rPr>
                        <a:t>Table A,</a:t>
                      </a:r>
                      <a:r>
                        <a:rPr lang="en-IN" sz="1000" b="1" baseline="0" dirty="0">
                          <a:solidFill>
                            <a:schemeClr val="bg1"/>
                          </a:solidFill>
                        </a:rPr>
                        <a:t> Region 1</a:t>
                      </a:r>
                      <a:endParaRPr lang="en-IN" sz="1000" b="1" dirty="0">
                        <a:solidFill>
                          <a:schemeClr val="bg1"/>
                        </a:solidFill>
                      </a:endParaRPr>
                    </a:p>
                  </a:txBody>
                  <a:tcPr marL="44821" marR="44821" marT="17928" marB="17928" anchor="ctr">
                    <a:lnL w="12700" cmpd="sng">
                      <a:noFill/>
                      <a:prstDash val="solid"/>
                    </a:lnL>
                    <a:lnR w="12700" cmpd="sng">
                      <a:noFill/>
                      <a:prstDash val="solid"/>
                    </a:lnR>
                    <a:lnT w="12700" cmpd="sng">
                      <a:noFill/>
                      <a:prstDash val="soli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0"/>
                  </a:ext>
                </a:extLst>
              </a:tr>
              <a:tr h="185261">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IN" sz="1000" b="1" dirty="0">
                          <a:solidFill>
                            <a:schemeClr val="bg1"/>
                          </a:solidFill>
                        </a:rPr>
                        <a:t>Table A,</a:t>
                      </a:r>
                      <a:r>
                        <a:rPr lang="en-IN" sz="1000" b="1" baseline="0" dirty="0">
                          <a:solidFill>
                            <a:schemeClr val="bg1"/>
                          </a:solidFill>
                        </a:rPr>
                        <a:t> Region 2</a:t>
                      </a:r>
                      <a:endParaRPr lang="en-IN" sz="1000" b="1" dirty="0">
                        <a:solidFill>
                          <a:schemeClr val="bg1"/>
                        </a:solidFill>
                      </a:endParaRPr>
                    </a:p>
                  </a:txBody>
                  <a:tcPr marL="44821" marR="44821" marT="17928" marB="17928" anchor="ctr">
                    <a:lnL w="12700" cmpd="sng">
                      <a:noFill/>
                      <a:prstDash val="solid"/>
                    </a:lnL>
                    <a:lnR w="12700" cmpd="sng">
                      <a:noFill/>
                      <a:prstDash val="soli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1"/>
                  </a:ext>
                </a:extLst>
              </a:tr>
              <a:tr h="185261">
                <a:tc>
                  <a:txBody>
                    <a:bodyPr/>
                    <a:lstStyle/>
                    <a:p>
                      <a:r>
                        <a:rPr lang="en-IN" sz="1000" b="1" dirty="0">
                          <a:solidFill>
                            <a:schemeClr val="bg1"/>
                          </a:solidFill>
                        </a:rPr>
                        <a:t>Table G, Region</a:t>
                      </a:r>
                      <a:r>
                        <a:rPr lang="en-IN" sz="1000" b="1" baseline="0" dirty="0">
                          <a:solidFill>
                            <a:schemeClr val="bg1"/>
                          </a:solidFill>
                        </a:rPr>
                        <a:t> 1070</a:t>
                      </a:r>
                      <a:endParaRPr lang="en-IN" sz="1000" b="1" dirty="0">
                        <a:solidFill>
                          <a:schemeClr val="bg1"/>
                        </a:solidFill>
                      </a:endParaRPr>
                    </a:p>
                  </a:txBody>
                  <a:tcPr marL="44821" marR="44821" marT="17928" marB="17928" anchor="ctr">
                    <a:lnL w="12700" cmpd="sng">
                      <a:noFill/>
                      <a:prstDash val="solid"/>
                    </a:lnL>
                    <a:lnR w="12700" cmpd="sng">
                      <a:noFill/>
                      <a:prstDash val="soli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2"/>
                  </a:ext>
                </a:extLst>
              </a:tr>
              <a:tr h="185261">
                <a:tc>
                  <a:txBody>
                    <a:bodyPr/>
                    <a:lstStyle/>
                    <a:p>
                      <a:r>
                        <a:rPr lang="en-IN" sz="1000" b="1" dirty="0">
                          <a:solidFill>
                            <a:schemeClr val="bg1"/>
                          </a:solidFill>
                        </a:rPr>
                        <a:t>Table L,</a:t>
                      </a:r>
                      <a:r>
                        <a:rPr lang="en-IN" sz="1000" b="1" baseline="0" dirty="0">
                          <a:solidFill>
                            <a:schemeClr val="bg1"/>
                          </a:solidFill>
                        </a:rPr>
                        <a:t> Region 25</a:t>
                      </a:r>
                      <a:endParaRPr lang="en-IN" sz="1000" b="1" dirty="0">
                        <a:solidFill>
                          <a:schemeClr val="bg1"/>
                        </a:solidFill>
                      </a:endParaRPr>
                    </a:p>
                  </a:txBody>
                  <a:tcPr marL="44821" marR="44821" marT="17928" marB="17928" anchor="ctr">
                    <a:lnL w="12700" cmpd="sng">
                      <a:noFill/>
                      <a:prstDash val="solid"/>
                    </a:lnL>
                    <a:lnR w="12700" cmpd="sng">
                      <a:noFill/>
                      <a:prstDash val="soli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3"/>
                  </a:ext>
                </a:extLst>
              </a:tr>
            </a:tbl>
          </a:graphicData>
        </a:graphic>
      </p:graphicFrame>
      <p:graphicFrame>
        <p:nvGraphicFramePr>
          <p:cNvPr id="43" name="Table 42"/>
          <p:cNvGraphicFramePr>
            <a:graphicFrameLocks noGrp="1"/>
          </p:cNvGraphicFramePr>
          <p:nvPr>
            <p:extLst>
              <p:ext uri="{D42A27DB-BD31-4B8C-83A1-F6EECF244321}">
                <p14:modId xmlns:p14="http://schemas.microsoft.com/office/powerpoint/2010/main" val="766447910"/>
              </p:ext>
            </p:extLst>
          </p:nvPr>
        </p:nvGraphicFramePr>
        <p:xfrm>
          <a:off x="9890733" y="2619897"/>
          <a:ext cx="1407409" cy="753024"/>
        </p:xfrm>
        <a:graphic>
          <a:graphicData uri="http://schemas.openxmlformats.org/drawingml/2006/table">
            <a:tbl>
              <a:tblPr firstRow="1" bandRow="1"/>
              <a:tblGrid>
                <a:gridCol w="1407409">
                  <a:extLst>
                    <a:ext uri="{9D8B030D-6E8A-4147-A177-3AD203B41FA5}">
                      <a16:colId xmlns:a16="http://schemas.microsoft.com/office/drawing/2014/main" val="20000"/>
                    </a:ext>
                  </a:extLst>
                </a:gridCol>
              </a:tblGrid>
              <a:tr h="185261">
                <a:tc>
                  <a:txBody>
                    <a:bodyPr/>
                    <a:lstStyle/>
                    <a:p>
                      <a:r>
                        <a:rPr lang="en-IN" sz="1000" b="1" dirty="0">
                          <a:solidFill>
                            <a:schemeClr val="bg1"/>
                          </a:solidFill>
                        </a:rPr>
                        <a:t>Table A,</a:t>
                      </a:r>
                      <a:r>
                        <a:rPr lang="en-IN" sz="1000" b="1" baseline="0" dirty="0">
                          <a:solidFill>
                            <a:schemeClr val="bg1"/>
                          </a:solidFill>
                        </a:rPr>
                        <a:t> Region 3</a:t>
                      </a:r>
                      <a:endParaRPr lang="en-IN" sz="1000" b="1" dirty="0">
                        <a:solidFill>
                          <a:schemeClr val="bg1"/>
                        </a:solidFill>
                      </a:endParaRPr>
                    </a:p>
                  </a:txBody>
                  <a:tcPr marL="44821" marR="44821" marT="17928" marB="17928" anchor="ctr">
                    <a:lnL w="12700" cmpd="sng">
                      <a:noFill/>
                      <a:prstDash val="solid"/>
                    </a:lnL>
                    <a:lnR w="12700" cmpd="sng">
                      <a:noFill/>
                      <a:prstDash val="solid"/>
                    </a:lnR>
                    <a:lnT w="12700" cmpd="sng">
                      <a:noFill/>
                      <a:prstDash val="soli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0"/>
                  </a:ext>
                </a:extLst>
              </a:tr>
              <a:tr h="185261">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IN" sz="1000" b="1" dirty="0">
                          <a:solidFill>
                            <a:schemeClr val="bg1"/>
                          </a:solidFill>
                        </a:rPr>
                        <a:t>Table C,</a:t>
                      </a:r>
                      <a:r>
                        <a:rPr lang="en-IN" sz="1000" b="1" baseline="0" dirty="0">
                          <a:solidFill>
                            <a:schemeClr val="bg1"/>
                          </a:solidFill>
                        </a:rPr>
                        <a:t> Region 30</a:t>
                      </a:r>
                      <a:endParaRPr lang="en-IN" sz="1000" b="1" dirty="0">
                        <a:solidFill>
                          <a:schemeClr val="bg1"/>
                        </a:solidFill>
                      </a:endParaRPr>
                    </a:p>
                  </a:txBody>
                  <a:tcPr marL="44821" marR="44821" marT="17928" marB="17928" anchor="ctr">
                    <a:lnL w="12700" cmpd="sng">
                      <a:noFill/>
                      <a:prstDash val="solid"/>
                    </a:lnL>
                    <a:lnR w="12700" cmpd="sng">
                      <a:noFill/>
                      <a:prstDash val="soli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1"/>
                  </a:ext>
                </a:extLst>
              </a:tr>
              <a:tr h="185261">
                <a:tc>
                  <a:txBody>
                    <a:bodyPr/>
                    <a:lstStyle/>
                    <a:p>
                      <a:r>
                        <a:rPr lang="en-IN" sz="1000" b="1" dirty="0">
                          <a:solidFill>
                            <a:schemeClr val="bg1"/>
                          </a:solidFill>
                        </a:rPr>
                        <a:t>Table F, Region</a:t>
                      </a:r>
                      <a:r>
                        <a:rPr lang="en-IN" sz="1000" b="1" baseline="0" dirty="0">
                          <a:solidFill>
                            <a:schemeClr val="bg1"/>
                          </a:solidFill>
                        </a:rPr>
                        <a:t> 160</a:t>
                      </a:r>
                      <a:endParaRPr lang="en-IN" sz="1000" b="1" dirty="0">
                        <a:solidFill>
                          <a:schemeClr val="bg1"/>
                        </a:solidFill>
                      </a:endParaRPr>
                    </a:p>
                  </a:txBody>
                  <a:tcPr marL="44821" marR="44821" marT="17928" marB="17928" anchor="ctr">
                    <a:lnL w="12700" cmpd="sng">
                      <a:noFill/>
                      <a:prstDash val="solid"/>
                    </a:lnL>
                    <a:lnR w="12700" cmpd="sng">
                      <a:noFill/>
                      <a:prstDash val="soli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2"/>
                  </a:ext>
                </a:extLst>
              </a:tr>
              <a:tr h="185261">
                <a:tc>
                  <a:txBody>
                    <a:bodyPr/>
                    <a:lstStyle/>
                    <a:p>
                      <a:r>
                        <a:rPr lang="en-IN" sz="1000" b="1" dirty="0">
                          <a:solidFill>
                            <a:schemeClr val="bg1"/>
                          </a:solidFill>
                        </a:rPr>
                        <a:t>Table F,</a:t>
                      </a:r>
                      <a:r>
                        <a:rPr lang="en-IN" sz="1000" b="1" baseline="0" dirty="0">
                          <a:solidFill>
                            <a:schemeClr val="bg1"/>
                          </a:solidFill>
                        </a:rPr>
                        <a:t> Region 776</a:t>
                      </a:r>
                      <a:endParaRPr lang="en-IN" sz="1000" b="1" dirty="0">
                        <a:solidFill>
                          <a:schemeClr val="bg1"/>
                        </a:solidFill>
                      </a:endParaRPr>
                    </a:p>
                  </a:txBody>
                  <a:tcPr marL="44821" marR="44821" marT="17928" marB="17928" anchor="ctr">
                    <a:lnL w="12700" cmpd="sng">
                      <a:noFill/>
                      <a:prstDash val="solid"/>
                    </a:lnL>
                    <a:lnR w="12700" cmpd="sng">
                      <a:noFill/>
                      <a:prstDash val="soli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3"/>
                  </a:ext>
                </a:extLst>
              </a:tr>
            </a:tbl>
          </a:graphicData>
        </a:graphic>
      </p:graphicFrame>
      <p:graphicFrame>
        <p:nvGraphicFramePr>
          <p:cNvPr id="44" name="Table 43"/>
          <p:cNvGraphicFramePr>
            <a:graphicFrameLocks noGrp="1"/>
          </p:cNvGraphicFramePr>
          <p:nvPr>
            <p:extLst>
              <p:ext uri="{D42A27DB-BD31-4B8C-83A1-F6EECF244321}">
                <p14:modId xmlns:p14="http://schemas.microsoft.com/office/powerpoint/2010/main" val="1053224842"/>
              </p:ext>
            </p:extLst>
          </p:nvPr>
        </p:nvGraphicFramePr>
        <p:xfrm>
          <a:off x="9890733" y="3541720"/>
          <a:ext cx="1407409" cy="753024"/>
        </p:xfrm>
        <a:graphic>
          <a:graphicData uri="http://schemas.openxmlformats.org/drawingml/2006/table">
            <a:tbl>
              <a:tblPr firstRow="1" bandRow="1"/>
              <a:tblGrid>
                <a:gridCol w="1407409">
                  <a:extLst>
                    <a:ext uri="{9D8B030D-6E8A-4147-A177-3AD203B41FA5}">
                      <a16:colId xmlns:a16="http://schemas.microsoft.com/office/drawing/2014/main" val="20000"/>
                    </a:ext>
                  </a:extLst>
                </a:gridCol>
              </a:tblGrid>
              <a:tr h="185261">
                <a:tc>
                  <a:txBody>
                    <a:bodyPr/>
                    <a:lstStyle/>
                    <a:p>
                      <a:r>
                        <a:rPr lang="en-IN" sz="1000" b="1" dirty="0">
                          <a:solidFill>
                            <a:schemeClr val="bg1"/>
                          </a:solidFill>
                        </a:rPr>
                        <a:t>Table A,</a:t>
                      </a:r>
                      <a:r>
                        <a:rPr lang="en-IN" sz="1000" b="1" baseline="0" dirty="0">
                          <a:solidFill>
                            <a:schemeClr val="bg1"/>
                          </a:solidFill>
                        </a:rPr>
                        <a:t> Region 4</a:t>
                      </a:r>
                      <a:endParaRPr lang="en-IN" sz="1000" b="1" dirty="0">
                        <a:solidFill>
                          <a:schemeClr val="bg1"/>
                        </a:solidFill>
                      </a:endParaRPr>
                    </a:p>
                  </a:txBody>
                  <a:tcPr marL="44821" marR="44821" marT="17928" marB="17928" anchor="ctr">
                    <a:lnL w="12700" cmpd="sng">
                      <a:noFill/>
                      <a:prstDash val="solid"/>
                    </a:lnL>
                    <a:lnR w="12700" cmpd="sng">
                      <a:noFill/>
                      <a:prstDash val="solid"/>
                    </a:lnR>
                    <a:lnT w="12700" cmpd="sng">
                      <a:noFill/>
                      <a:prstDash val="soli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0"/>
                  </a:ext>
                </a:extLst>
              </a:tr>
              <a:tr h="185261">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IN" sz="1000" b="1" dirty="0">
                          <a:solidFill>
                            <a:schemeClr val="bg1"/>
                          </a:solidFill>
                        </a:rPr>
                        <a:t>Table C,</a:t>
                      </a:r>
                      <a:r>
                        <a:rPr lang="en-IN" sz="1000" b="1" baseline="0" dirty="0">
                          <a:solidFill>
                            <a:schemeClr val="bg1"/>
                          </a:solidFill>
                        </a:rPr>
                        <a:t> Region 17</a:t>
                      </a:r>
                      <a:endParaRPr lang="en-IN" sz="1000" b="1" dirty="0">
                        <a:solidFill>
                          <a:schemeClr val="bg1"/>
                        </a:solidFill>
                      </a:endParaRPr>
                    </a:p>
                  </a:txBody>
                  <a:tcPr marL="44821" marR="44821" marT="17928" marB="17928" anchor="ctr">
                    <a:lnL w="12700" cmpd="sng">
                      <a:noFill/>
                      <a:prstDash val="solid"/>
                    </a:lnL>
                    <a:lnR w="12700" cmpd="sng">
                      <a:noFill/>
                      <a:prstDash val="soli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1"/>
                  </a:ext>
                </a:extLst>
              </a:tr>
              <a:tr h="185261">
                <a:tc>
                  <a:txBody>
                    <a:bodyPr/>
                    <a:lstStyle/>
                    <a:p>
                      <a:r>
                        <a:rPr lang="en-IN" sz="1000" b="1" dirty="0">
                          <a:solidFill>
                            <a:schemeClr val="bg1"/>
                          </a:solidFill>
                        </a:rPr>
                        <a:t>Table E, Region</a:t>
                      </a:r>
                      <a:r>
                        <a:rPr lang="en-IN" sz="1000" b="1" baseline="0" dirty="0">
                          <a:solidFill>
                            <a:schemeClr val="bg1"/>
                          </a:solidFill>
                        </a:rPr>
                        <a:t> 52</a:t>
                      </a:r>
                      <a:endParaRPr lang="en-IN" sz="1000" b="1" dirty="0">
                        <a:solidFill>
                          <a:schemeClr val="bg1"/>
                        </a:solidFill>
                      </a:endParaRPr>
                    </a:p>
                  </a:txBody>
                  <a:tcPr marL="44821" marR="44821" marT="17928" marB="17928" anchor="ctr">
                    <a:lnL w="12700" cmpd="sng">
                      <a:noFill/>
                      <a:prstDash val="solid"/>
                    </a:lnL>
                    <a:lnR w="12700" cmpd="sng">
                      <a:noFill/>
                      <a:prstDash val="soli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2"/>
                  </a:ext>
                </a:extLst>
              </a:tr>
              <a:tr h="185261">
                <a:tc>
                  <a:txBody>
                    <a:bodyPr/>
                    <a:lstStyle/>
                    <a:p>
                      <a:r>
                        <a:rPr lang="en-IN" sz="1000" b="1" dirty="0">
                          <a:solidFill>
                            <a:schemeClr val="bg1"/>
                          </a:solidFill>
                        </a:rPr>
                        <a:t>Table P,</a:t>
                      </a:r>
                      <a:r>
                        <a:rPr lang="en-IN" sz="1000" b="1" baseline="0" dirty="0">
                          <a:solidFill>
                            <a:schemeClr val="bg1"/>
                          </a:solidFill>
                        </a:rPr>
                        <a:t> Region 1116</a:t>
                      </a:r>
                      <a:endParaRPr lang="en-IN" sz="1000" b="1" dirty="0">
                        <a:solidFill>
                          <a:schemeClr val="bg1"/>
                        </a:solidFill>
                      </a:endParaRPr>
                    </a:p>
                  </a:txBody>
                  <a:tcPr marL="44821" marR="44821" marT="17928" marB="17928" anchor="ctr">
                    <a:lnL w="12700" cmpd="sng">
                      <a:noFill/>
                      <a:prstDash val="solid"/>
                    </a:lnL>
                    <a:lnR w="12700" cmpd="sng">
                      <a:noFill/>
                      <a:prstDash val="soli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3"/>
                  </a:ext>
                </a:extLst>
              </a:tr>
            </a:tbl>
          </a:graphicData>
        </a:graphic>
      </p:graphicFrame>
      <p:sp>
        <p:nvSpPr>
          <p:cNvPr id="53" name="TextBox 52"/>
          <p:cNvSpPr txBox="1"/>
          <p:nvPr/>
        </p:nvSpPr>
        <p:spPr>
          <a:xfrm>
            <a:off x="9372421" y="2433010"/>
            <a:ext cx="1225445" cy="192996"/>
          </a:xfrm>
          <a:prstGeom prst="rect">
            <a:avLst/>
          </a:prstGeom>
          <a:noFill/>
        </p:spPr>
        <p:txBody>
          <a:bodyPr wrap="none" lIns="0" tIns="0" rIns="0" bIns="0" rtlCol="0" anchor="ctr">
            <a:noAutofit/>
          </a:bodyPr>
          <a:lstStyle>
            <a:defPPr>
              <a:defRPr lang="en-US"/>
            </a:defPPr>
            <a:lvl1pPr algn="ctr">
              <a:defRPr sz="2000">
                <a:solidFill>
                  <a:schemeClr val="tx2"/>
                </a:solidFill>
                <a:cs typeface="Segoe UI Semibold" panose="020B0702040204020203" pitchFamily="34" charset="0"/>
              </a:defRPr>
            </a:lvl1pPr>
          </a:lstStyle>
          <a:p>
            <a:pPr algn="l" defTabSz="914367"/>
            <a:r>
              <a:rPr lang="en-US" sz="1176" dirty="0">
                <a:solidFill>
                  <a:srgbClr val="505050"/>
                </a:solidFill>
                <a:latin typeface="Calibri Light" panose="020F0302020204030204" pitchFamily="34" charset="0"/>
              </a:rPr>
              <a:t>Region Server 86</a:t>
            </a:r>
          </a:p>
        </p:txBody>
      </p:sp>
      <p:sp>
        <p:nvSpPr>
          <p:cNvPr id="54" name="TextBox 53"/>
          <p:cNvSpPr txBox="1"/>
          <p:nvPr/>
        </p:nvSpPr>
        <p:spPr>
          <a:xfrm>
            <a:off x="9372421" y="3327138"/>
            <a:ext cx="1225445" cy="248387"/>
          </a:xfrm>
          <a:prstGeom prst="rect">
            <a:avLst/>
          </a:prstGeom>
          <a:noFill/>
        </p:spPr>
        <p:txBody>
          <a:bodyPr wrap="none" lIns="0" tIns="0" rIns="0" bIns="0" rtlCol="0" anchor="ctr">
            <a:noAutofit/>
          </a:bodyPr>
          <a:lstStyle>
            <a:defPPr>
              <a:defRPr lang="en-US"/>
            </a:defPPr>
            <a:lvl1pPr algn="ctr">
              <a:defRPr sz="2000">
                <a:solidFill>
                  <a:schemeClr val="tx2"/>
                </a:solidFill>
                <a:cs typeface="Segoe UI Semibold" panose="020B0702040204020203" pitchFamily="34" charset="0"/>
              </a:defRPr>
            </a:lvl1pPr>
          </a:lstStyle>
          <a:p>
            <a:pPr algn="l" defTabSz="914367"/>
            <a:r>
              <a:rPr lang="en-US" sz="1176" dirty="0">
                <a:solidFill>
                  <a:srgbClr val="505050"/>
                </a:solidFill>
                <a:latin typeface="Calibri Light" panose="020F0302020204030204" pitchFamily="34" charset="0"/>
              </a:rPr>
              <a:t>Region Server 367</a:t>
            </a:r>
          </a:p>
        </p:txBody>
      </p:sp>
      <p:cxnSp>
        <p:nvCxnSpPr>
          <p:cNvPr id="56" name="Elbow Connector 55"/>
          <p:cNvCxnSpPr>
            <a:stCxn id="33" idx="3"/>
          </p:cNvCxnSpPr>
          <p:nvPr/>
        </p:nvCxnSpPr>
        <p:spPr>
          <a:xfrm flipV="1">
            <a:off x="8388791" y="1853695"/>
            <a:ext cx="1489826" cy="142316"/>
          </a:xfrm>
          <a:prstGeom prst="bentConnector3">
            <a:avLst/>
          </a:prstGeom>
          <a:ln>
            <a:solidFill>
              <a:schemeClr val="bg1">
                <a:lumMod val="50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58" name="Elbow Connector 57"/>
          <p:cNvCxnSpPr>
            <a:stCxn id="34" idx="3"/>
          </p:cNvCxnSpPr>
          <p:nvPr/>
        </p:nvCxnSpPr>
        <p:spPr>
          <a:xfrm flipV="1">
            <a:off x="8388791" y="2005246"/>
            <a:ext cx="1474769" cy="656027"/>
          </a:xfrm>
          <a:prstGeom prst="bentConnector3">
            <a:avLst>
              <a:gd name="adj1" fmla="val 56490"/>
            </a:avLst>
          </a:prstGeom>
          <a:ln>
            <a:solidFill>
              <a:schemeClr val="bg1">
                <a:lumMod val="50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65" name="Elbow Connector 64"/>
          <p:cNvCxnSpPr>
            <a:stCxn id="35" idx="3"/>
          </p:cNvCxnSpPr>
          <p:nvPr/>
        </p:nvCxnSpPr>
        <p:spPr>
          <a:xfrm flipV="1">
            <a:off x="8388791" y="2755042"/>
            <a:ext cx="1489826" cy="531661"/>
          </a:xfrm>
          <a:prstGeom prst="bentConnector3">
            <a:avLst/>
          </a:prstGeom>
          <a:ln>
            <a:solidFill>
              <a:schemeClr val="bg1">
                <a:lumMod val="50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68" name="Elbow Connector 67"/>
          <p:cNvCxnSpPr>
            <a:stCxn id="36" idx="3"/>
          </p:cNvCxnSpPr>
          <p:nvPr/>
        </p:nvCxnSpPr>
        <p:spPr>
          <a:xfrm flipV="1">
            <a:off x="8388791" y="3631275"/>
            <a:ext cx="1489826" cy="322938"/>
          </a:xfrm>
          <a:prstGeom prst="bentConnector3">
            <a:avLst/>
          </a:prstGeom>
          <a:ln>
            <a:solidFill>
              <a:schemeClr val="bg1">
                <a:lumMod val="50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3" name="Slide Number Placeholder 2"/>
          <p:cNvSpPr>
            <a:spLocks noGrp="1"/>
          </p:cNvSpPr>
          <p:nvPr>
            <p:ph type="sldNum" sz="quarter" idx="11"/>
          </p:nvPr>
        </p:nvSpPr>
        <p:spPr/>
        <p:txBody>
          <a:bodyPr/>
          <a:lstStyle/>
          <a:p>
            <a:pPr>
              <a:defRPr/>
            </a:pPr>
            <a:fld id="{F8A0AC42-AA1D-4944-8D96-660DE70C7E1B}" type="slidenum">
              <a:rPr lang="en-IN"/>
              <a:pPr>
                <a:defRPr/>
              </a:pPr>
              <a:t>58</a:t>
            </a:fld>
            <a:endParaRPr lang="en-IN" dirty="0"/>
          </a:p>
        </p:txBody>
      </p:sp>
      <p:sp>
        <p:nvSpPr>
          <p:cNvPr id="4" name="TextBox 3"/>
          <p:cNvSpPr txBox="1"/>
          <p:nvPr/>
        </p:nvSpPr>
        <p:spPr>
          <a:xfrm>
            <a:off x="302385" y="1214321"/>
            <a:ext cx="5176703" cy="5002432"/>
          </a:xfrm>
          <a:prstGeom prst="rect">
            <a:avLst/>
          </a:prstGeom>
          <a:noFill/>
        </p:spPr>
        <p:txBody>
          <a:bodyPr wrap="square" lIns="182880" tIns="146304" rIns="182880" bIns="146304" rtlCol="0">
            <a:noAutofit/>
          </a:bodyPr>
          <a:lstStyle/>
          <a:p>
            <a:pPr marL="285750" indent="-285750">
              <a:lnSpc>
                <a:spcPts val="2200"/>
              </a:lnSpc>
              <a:spcAft>
                <a:spcPts val="600"/>
              </a:spcAft>
              <a:buClr>
                <a:schemeClr val="accent3">
                  <a:lumMod val="50000"/>
                </a:schemeClr>
              </a:buClr>
              <a:buFont typeface="Wingdings" panose="05000000000000000000" pitchFamily="2" charset="2"/>
              <a:buChar char="v"/>
            </a:pPr>
            <a:r>
              <a:rPr lang="en-US" dirty="0">
                <a:solidFill>
                  <a:schemeClr val="tx1">
                    <a:lumMod val="65000"/>
                    <a:lumOff val="35000"/>
                  </a:schemeClr>
                </a:solidFill>
              </a:rPr>
              <a:t>Rows are distributed/partitioned among multiple region</a:t>
            </a:r>
          </a:p>
          <a:p>
            <a:pPr marL="285750" indent="-285750">
              <a:lnSpc>
                <a:spcPts val="2200"/>
              </a:lnSpc>
              <a:spcAft>
                <a:spcPts val="600"/>
              </a:spcAft>
              <a:buClr>
                <a:schemeClr val="accent3">
                  <a:lumMod val="50000"/>
                </a:schemeClr>
              </a:buClr>
              <a:buFont typeface="Wingdings" panose="05000000000000000000" pitchFamily="2" charset="2"/>
              <a:buChar char="v"/>
            </a:pPr>
            <a:r>
              <a:rPr lang="en-US" dirty="0">
                <a:solidFill>
                  <a:schemeClr val="tx1">
                    <a:lumMod val="65000"/>
                    <a:lumOff val="35000"/>
                  </a:schemeClr>
                </a:solidFill>
              </a:rPr>
              <a:t>Each region holds a range of keys</a:t>
            </a:r>
          </a:p>
          <a:p>
            <a:pPr marL="285750" indent="-285750">
              <a:lnSpc>
                <a:spcPts val="2200"/>
              </a:lnSpc>
              <a:spcAft>
                <a:spcPts val="600"/>
              </a:spcAft>
              <a:buClr>
                <a:schemeClr val="accent3">
                  <a:lumMod val="50000"/>
                </a:schemeClr>
              </a:buClr>
              <a:buFont typeface="Wingdings" panose="05000000000000000000" pitchFamily="2" charset="2"/>
              <a:buChar char="v"/>
            </a:pPr>
            <a:r>
              <a:rPr lang="en-US" dirty="0">
                <a:solidFill>
                  <a:schemeClr val="tx1">
                    <a:lumMod val="65000"/>
                    <a:lumOff val="35000"/>
                  </a:schemeClr>
                </a:solidFill>
              </a:rPr>
              <a:t>At first there is only one Range. When full </a:t>
            </a:r>
            <a:r>
              <a:rPr lang="en-US" dirty="0" err="1">
                <a:solidFill>
                  <a:schemeClr val="tx1">
                    <a:lumMod val="65000"/>
                    <a:lumOff val="35000"/>
                  </a:schemeClr>
                </a:solidFill>
              </a:rPr>
              <a:t>HRegionServer</a:t>
            </a:r>
            <a:r>
              <a:rPr lang="en-US" dirty="0">
                <a:solidFill>
                  <a:schemeClr val="tx1">
                    <a:lumMod val="65000"/>
                    <a:lumOff val="35000"/>
                  </a:schemeClr>
                </a:solidFill>
              </a:rPr>
              <a:t> splits the Range and redistributes the Rows.</a:t>
            </a:r>
          </a:p>
          <a:p>
            <a:pPr marL="285750" indent="-285750">
              <a:lnSpc>
                <a:spcPts val="2200"/>
              </a:lnSpc>
              <a:spcAft>
                <a:spcPts val="600"/>
              </a:spcAft>
              <a:buClr>
                <a:schemeClr val="accent3">
                  <a:lumMod val="50000"/>
                </a:schemeClr>
              </a:buClr>
              <a:buFont typeface="Wingdings" panose="05000000000000000000" pitchFamily="2" charset="2"/>
              <a:buChar char="v"/>
            </a:pPr>
            <a:r>
              <a:rPr lang="en-US" dirty="0">
                <a:solidFill>
                  <a:schemeClr val="tx1">
                    <a:lumMod val="65000"/>
                    <a:lumOff val="35000"/>
                  </a:schemeClr>
                </a:solidFill>
              </a:rPr>
              <a:t>Servers can have 10 to 1000 regions with 1 to 2 GB per region.</a:t>
            </a:r>
          </a:p>
          <a:p>
            <a:pPr marL="285750" indent="-285750">
              <a:lnSpc>
                <a:spcPts val="2200"/>
              </a:lnSpc>
              <a:spcAft>
                <a:spcPts val="600"/>
              </a:spcAft>
              <a:buClr>
                <a:schemeClr val="accent3">
                  <a:lumMod val="50000"/>
                </a:schemeClr>
              </a:buClr>
              <a:buFont typeface="Wingdings" panose="05000000000000000000" pitchFamily="2" charset="2"/>
              <a:buChar char="v"/>
            </a:pPr>
            <a:r>
              <a:rPr lang="en-US" dirty="0" err="1">
                <a:solidFill>
                  <a:schemeClr val="tx1">
                    <a:lumMod val="65000"/>
                    <a:lumOff val="35000"/>
                  </a:schemeClr>
                </a:solidFill>
              </a:rPr>
              <a:t>Benfits</a:t>
            </a:r>
            <a:r>
              <a:rPr lang="en-US" dirty="0">
                <a:solidFill>
                  <a:schemeClr val="tx1">
                    <a:lumMod val="65000"/>
                    <a:lumOff val="35000"/>
                  </a:schemeClr>
                </a:solidFill>
              </a:rPr>
              <a:t> of splitting data into regions:</a:t>
            </a:r>
          </a:p>
          <a:p>
            <a:pPr marL="548640" lvl="1" indent="-285750">
              <a:lnSpc>
                <a:spcPts val="2200"/>
              </a:lnSpc>
              <a:spcAft>
                <a:spcPts val="600"/>
              </a:spcAft>
              <a:buClr>
                <a:schemeClr val="accent3">
                  <a:lumMod val="50000"/>
                </a:schemeClr>
              </a:buClr>
              <a:buFont typeface="Wingdings" panose="05000000000000000000" pitchFamily="2" charset="2"/>
              <a:buChar char="v"/>
            </a:pPr>
            <a:r>
              <a:rPr lang="en-US" sz="1600" dirty="0">
                <a:solidFill>
                  <a:schemeClr val="tx1">
                    <a:lumMod val="65000"/>
                    <a:lumOff val="35000"/>
                  </a:schemeClr>
                </a:solidFill>
              </a:rPr>
              <a:t>Fast recovery when a region fails.</a:t>
            </a:r>
          </a:p>
          <a:p>
            <a:pPr marL="548640" lvl="1" indent="-285750">
              <a:lnSpc>
                <a:spcPts val="2200"/>
              </a:lnSpc>
              <a:spcAft>
                <a:spcPts val="600"/>
              </a:spcAft>
              <a:buClr>
                <a:schemeClr val="accent3">
                  <a:lumMod val="50000"/>
                </a:schemeClr>
              </a:buClr>
              <a:buFont typeface="Wingdings" panose="05000000000000000000" pitchFamily="2" charset="2"/>
              <a:buChar char="v"/>
            </a:pPr>
            <a:r>
              <a:rPr lang="en-US" sz="1600" dirty="0">
                <a:solidFill>
                  <a:schemeClr val="tx1">
                    <a:lumMod val="65000"/>
                    <a:lumOff val="35000"/>
                  </a:schemeClr>
                </a:solidFill>
              </a:rPr>
              <a:t>Load balancing when a server is overloaded as regions may be moved between server.</a:t>
            </a:r>
          </a:p>
          <a:p>
            <a:pPr marL="548640" lvl="1" indent="-285750">
              <a:lnSpc>
                <a:spcPts val="2200"/>
              </a:lnSpc>
              <a:spcAft>
                <a:spcPts val="600"/>
              </a:spcAft>
              <a:buClr>
                <a:schemeClr val="accent3">
                  <a:lumMod val="50000"/>
                </a:schemeClr>
              </a:buClr>
              <a:buFont typeface="Wingdings" panose="05000000000000000000" pitchFamily="2" charset="2"/>
              <a:buChar char="v"/>
            </a:pPr>
            <a:r>
              <a:rPr lang="en-US" sz="1600" dirty="0">
                <a:solidFill>
                  <a:schemeClr val="tx1">
                    <a:lumMod val="65000"/>
                    <a:lumOff val="35000"/>
                  </a:schemeClr>
                </a:solidFill>
              </a:rPr>
              <a:t>Splitting is done asynchronously while data is being read.</a:t>
            </a:r>
          </a:p>
          <a:p>
            <a:pPr marL="548640" lvl="1" indent="-285750">
              <a:lnSpc>
                <a:spcPts val="2200"/>
              </a:lnSpc>
              <a:spcAft>
                <a:spcPts val="600"/>
              </a:spcAft>
              <a:buClr>
                <a:schemeClr val="accent3">
                  <a:lumMod val="50000"/>
                </a:schemeClr>
              </a:buClr>
              <a:buFont typeface="Wingdings" panose="05000000000000000000" pitchFamily="2" charset="2"/>
              <a:buChar char="v"/>
            </a:pPr>
            <a:r>
              <a:rPr lang="en-US" sz="1600" dirty="0">
                <a:solidFill>
                  <a:schemeClr val="tx1">
                    <a:lumMod val="65000"/>
                    <a:lumOff val="35000"/>
                  </a:schemeClr>
                </a:solidFill>
              </a:rPr>
              <a:t>Splitting is automated; no manual intervention.</a:t>
            </a:r>
          </a:p>
          <a:p>
            <a:pPr marL="742950" lvl="1" indent="-285750">
              <a:lnSpc>
                <a:spcPts val="2200"/>
              </a:lnSpc>
              <a:spcAft>
                <a:spcPts val="600"/>
              </a:spcAft>
              <a:buClr>
                <a:schemeClr val="accent3">
                  <a:lumMod val="50000"/>
                </a:schemeClr>
              </a:buClr>
              <a:buFont typeface="Wingdings" panose="05000000000000000000" pitchFamily="2" charset="2"/>
              <a:buChar char="v"/>
            </a:pPr>
            <a:endParaRPr lang="en-US" dirty="0">
              <a:solidFill>
                <a:schemeClr val="tx1">
                  <a:lumMod val="65000"/>
                  <a:lumOff val="35000"/>
                </a:schemeClr>
              </a:solidFill>
            </a:endParaRPr>
          </a:p>
          <a:p>
            <a:pPr marL="742950" lvl="1" indent="-285750">
              <a:lnSpc>
                <a:spcPts val="2200"/>
              </a:lnSpc>
              <a:spcAft>
                <a:spcPts val="600"/>
              </a:spcAft>
              <a:buClr>
                <a:schemeClr val="accent3">
                  <a:lumMod val="50000"/>
                </a:schemeClr>
              </a:buClr>
              <a:buFont typeface="Wingdings" panose="05000000000000000000" pitchFamily="2" charset="2"/>
              <a:buChar char="v"/>
            </a:pPr>
            <a:endParaRPr lang="en-US" dirty="0">
              <a:solidFill>
                <a:schemeClr val="tx1">
                  <a:lumMod val="65000"/>
                  <a:lumOff val="35000"/>
                </a:schemeClr>
              </a:solidFill>
            </a:endParaRPr>
          </a:p>
          <a:p>
            <a:pPr marL="285750" indent="-285750">
              <a:lnSpc>
                <a:spcPts val="2200"/>
              </a:lnSpc>
              <a:spcAft>
                <a:spcPts val="600"/>
              </a:spcAft>
              <a:buClr>
                <a:schemeClr val="accent3">
                  <a:lumMod val="50000"/>
                </a:schemeClr>
              </a:buClr>
              <a:buFont typeface="Wingdings" panose="05000000000000000000" pitchFamily="2" charset="2"/>
              <a:buChar char="v"/>
            </a:pPr>
            <a:endParaRPr lang="en-US" dirty="0">
              <a:solidFill>
                <a:schemeClr val="tx1">
                  <a:lumMod val="65000"/>
                  <a:lumOff val="35000"/>
                </a:schemeClr>
              </a:solidFill>
            </a:endParaRPr>
          </a:p>
          <a:p>
            <a:pPr marL="285750" indent="-285750">
              <a:lnSpc>
                <a:spcPts val="2200"/>
              </a:lnSpc>
              <a:spcAft>
                <a:spcPts val="600"/>
              </a:spcAft>
              <a:buClr>
                <a:schemeClr val="accent3">
                  <a:lumMod val="50000"/>
                </a:schemeClr>
              </a:buClr>
              <a:buFont typeface="Wingdings" panose="05000000000000000000" pitchFamily="2" charset="2"/>
              <a:buChar char="v"/>
            </a:pPr>
            <a:endParaRPr lang="en-US" dirty="0">
              <a:solidFill>
                <a:schemeClr val="tx1">
                  <a:lumMod val="65000"/>
                  <a:lumOff val="35000"/>
                </a:schemeClr>
              </a:solidFill>
            </a:endParaRPr>
          </a:p>
          <a:p>
            <a:pPr marL="285750" indent="-285750">
              <a:lnSpc>
                <a:spcPts val="2200"/>
              </a:lnSpc>
              <a:spcAft>
                <a:spcPts val="600"/>
              </a:spcAft>
              <a:buClr>
                <a:schemeClr val="accent3">
                  <a:lumMod val="50000"/>
                </a:schemeClr>
              </a:buClr>
              <a:buFont typeface="Wingdings" panose="05000000000000000000" pitchFamily="2" charset="2"/>
              <a:buChar char="v"/>
            </a:pPr>
            <a:endParaRPr lang="en-US" dirty="0">
              <a:solidFill>
                <a:schemeClr val="tx1">
                  <a:lumMod val="65000"/>
                  <a:lumOff val="35000"/>
                </a:schemeClr>
              </a:solidFill>
            </a:endParaRPr>
          </a:p>
          <a:p>
            <a:pPr>
              <a:lnSpc>
                <a:spcPts val="2200"/>
              </a:lnSpc>
              <a:spcAft>
                <a:spcPts val="600"/>
              </a:spcAft>
            </a:pPr>
            <a:r>
              <a:rPr lang="en-US" dirty="0">
                <a:solidFill>
                  <a:schemeClr val="tx1">
                    <a:lumMod val="65000"/>
                    <a:lumOff val="35000"/>
                  </a:schemeClr>
                </a:solidFill>
              </a:rPr>
              <a:t> </a:t>
            </a:r>
          </a:p>
        </p:txBody>
      </p:sp>
      <p:sp>
        <p:nvSpPr>
          <p:cNvPr id="6" name="TextBox 5"/>
          <p:cNvSpPr txBox="1"/>
          <p:nvPr/>
        </p:nvSpPr>
        <p:spPr>
          <a:xfrm>
            <a:off x="5758547" y="4518068"/>
            <a:ext cx="5940368" cy="1760971"/>
          </a:xfrm>
          <a:prstGeom prst="rect">
            <a:avLst/>
          </a:prstGeom>
          <a:solidFill>
            <a:schemeClr val="bg1"/>
          </a:solidFill>
          <a:ln>
            <a:solidFill>
              <a:schemeClr val="tx2"/>
            </a:solidFill>
          </a:ln>
        </p:spPr>
        <p:txBody>
          <a:bodyPr wrap="square" lIns="91440" tIns="146304" rIns="91440" bIns="146304" rtlCol="0">
            <a:noAutofit/>
          </a:bodyPr>
          <a:lstStyle/>
          <a:p>
            <a:pPr marL="182880" indent="-274320">
              <a:lnSpc>
                <a:spcPct val="90000"/>
              </a:lnSpc>
              <a:spcAft>
                <a:spcPts val="600"/>
              </a:spcAft>
              <a:buFont typeface="+mj-lt"/>
              <a:buAutoNum type="arabicPeriod"/>
            </a:pPr>
            <a:r>
              <a:rPr lang="en-US" sz="1400" dirty="0">
                <a:solidFill>
                  <a:schemeClr val="tx1">
                    <a:lumMod val="65000"/>
                    <a:lumOff val="35000"/>
                  </a:schemeClr>
                </a:solidFill>
              </a:rPr>
              <a:t>Rows of table A is horizontally split into 4 regions.</a:t>
            </a:r>
          </a:p>
          <a:p>
            <a:pPr marL="182880" indent="-274320">
              <a:lnSpc>
                <a:spcPct val="90000"/>
              </a:lnSpc>
              <a:spcAft>
                <a:spcPts val="600"/>
              </a:spcAft>
              <a:buFont typeface="+mj-lt"/>
              <a:buAutoNum type="arabicPeriod"/>
            </a:pPr>
            <a:r>
              <a:rPr lang="en-US" sz="1400" dirty="0">
                <a:solidFill>
                  <a:schemeClr val="tx1">
                    <a:lumMod val="65000"/>
                    <a:lumOff val="35000"/>
                  </a:schemeClr>
                </a:solidFill>
              </a:rPr>
              <a:t>Region 1 spans, </a:t>
            </a:r>
            <a:r>
              <a:rPr lang="en-US" sz="1400" dirty="0" err="1">
                <a:solidFill>
                  <a:schemeClr val="tx1">
                    <a:lumMod val="65000"/>
                    <a:lumOff val="35000"/>
                  </a:schemeClr>
                </a:solidFill>
              </a:rPr>
              <a:t>RowKeys</a:t>
            </a:r>
            <a:r>
              <a:rPr lang="en-US" sz="1400" dirty="0">
                <a:solidFill>
                  <a:schemeClr val="tx1">
                    <a:lumMod val="65000"/>
                    <a:lumOff val="35000"/>
                  </a:schemeClr>
                </a:solidFill>
              </a:rPr>
              <a:t> ‘a’ thru ‘d’</a:t>
            </a:r>
          </a:p>
          <a:p>
            <a:pPr marL="182880" indent="-274320">
              <a:lnSpc>
                <a:spcPct val="90000"/>
              </a:lnSpc>
              <a:spcAft>
                <a:spcPts val="600"/>
              </a:spcAft>
              <a:buFont typeface="+mj-lt"/>
              <a:buAutoNum type="arabicPeriod"/>
            </a:pPr>
            <a:r>
              <a:rPr lang="en-US" sz="1400" dirty="0">
                <a:solidFill>
                  <a:schemeClr val="tx1">
                    <a:lumMod val="65000"/>
                    <a:lumOff val="35000"/>
                  </a:schemeClr>
                </a:solidFill>
              </a:rPr>
              <a:t>Regions are hosted on different Region Servers.</a:t>
            </a:r>
          </a:p>
          <a:p>
            <a:pPr marL="182880" indent="-274320">
              <a:lnSpc>
                <a:spcPct val="90000"/>
              </a:lnSpc>
              <a:spcAft>
                <a:spcPts val="600"/>
              </a:spcAft>
              <a:buFont typeface="+mj-lt"/>
              <a:buAutoNum type="arabicPeriod"/>
            </a:pPr>
            <a:r>
              <a:rPr lang="en-US" sz="1400" dirty="0">
                <a:solidFill>
                  <a:schemeClr val="tx1">
                    <a:lumMod val="65000"/>
                    <a:lumOff val="35000"/>
                  </a:schemeClr>
                </a:solidFill>
              </a:rPr>
              <a:t>Region Server 86 host Region 3 of Table A, Region 30 of Table C etc.</a:t>
            </a:r>
          </a:p>
          <a:p>
            <a:pPr marL="274320" indent="-274320">
              <a:lnSpc>
                <a:spcPct val="90000"/>
              </a:lnSpc>
              <a:spcAft>
                <a:spcPts val="600"/>
              </a:spcAft>
              <a:buFont typeface="+mj-lt"/>
              <a:buAutoNum type="arabicPeriod"/>
            </a:pPr>
            <a:r>
              <a:rPr lang="en-US" sz="1400" dirty="0">
                <a:solidFill>
                  <a:schemeClr val="tx1">
                    <a:lumMod val="65000"/>
                    <a:lumOff val="35000"/>
                  </a:schemeClr>
                </a:solidFill>
              </a:rPr>
              <a:t>The placement of regions may change as servers are add/removed, servers fail,  data is added/removed etc.</a:t>
            </a:r>
          </a:p>
        </p:txBody>
      </p:sp>
    </p:spTree>
    <p:extLst>
      <p:ext uri="{BB962C8B-B14F-4D97-AF65-F5344CB8AC3E}">
        <p14:creationId xmlns:p14="http://schemas.microsoft.com/office/powerpoint/2010/main" val="1041094628"/>
      </p:ext>
    </p:extLst>
  </p:cSld>
  <p:clrMapOvr>
    <a:masterClrMapping/>
  </p:clrMapOvr>
  <p:transition spd="med">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Base Access API: Insert, Read, Delete Data</a:t>
            </a:r>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59</a:t>
            </a:fld>
            <a:endParaRPr lang="en-US" dirty="0"/>
          </a:p>
        </p:txBody>
      </p:sp>
      <p:pic>
        <p:nvPicPr>
          <p:cNvPr id="29698" name="Picture 2" descr="http://www.vectorsland.com/imgd/l12866-java-eps-logo-99090.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815715" y="1133192"/>
            <a:ext cx="1068905" cy="1057215"/>
          </a:xfrm>
          <a:prstGeom prst="rect">
            <a:avLst/>
          </a:prstGeom>
          <a:noFill/>
          <a:extLst>
            <a:ext uri="{909E8E84-426E-40DD-AFC4-6F175D3DCCD1}">
              <a14:hiddenFill xmlns:a14="http://schemas.microsoft.com/office/drawing/2010/main">
                <a:solidFill>
                  <a:srgbClr val="FFFFFF"/>
                </a:solidFill>
              </a14:hiddenFill>
            </a:ext>
          </a:extLst>
        </p:spPr>
      </p:pic>
      <p:pic>
        <p:nvPicPr>
          <p:cNvPr id="29700" name="Picture 4" descr="https://raw.githubusercontent.com/ServiceStack/Assets/master/img/livedemos/techstacks/apache-thrift-logo.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48594" y="1496687"/>
            <a:ext cx="2390267" cy="513941"/>
          </a:xfrm>
          <a:prstGeom prst="rect">
            <a:avLst/>
          </a:prstGeom>
          <a:solidFill>
            <a:schemeClr val="bg2"/>
          </a:solidFill>
          <a:extLst/>
        </p:spPr>
      </p:pic>
      <p:sp>
        <p:nvSpPr>
          <p:cNvPr id="5" name="TextBox 4"/>
          <p:cNvSpPr txBox="1"/>
          <p:nvPr/>
        </p:nvSpPr>
        <p:spPr>
          <a:xfrm flipH="1">
            <a:off x="8037103" y="2130812"/>
            <a:ext cx="3123804" cy="428777"/>
          </a:xfrm>
          <a:prstGeom prst="rect">
            <a:avLst/>
          </a:prstGeom>
          <a:solidFill>
            <a:schemeClr val="bg2"/>
          </a:solidFill>
        </p:spPr>
        <p:txBody>
          <a:bodyPr wrap="none" lIns="182880" tIns="146304" rIns="182880" bIns="146304" rtlCol="0" anchor="ctr">
            <a:noAutofit/>
          </a:bodyPr>
          <a:lstStyle/>
          <a:p>
            <a:pPr algn="ctr" defTabSz="914367">
              <a:lnSpc>
                <a:spcPct val="90000"/>
              </a:lnSpc>
              <a:spcAft>
                <a:spcPts val="600"/>
              </a:spcAft>
            </a:pPr>
            <a:r>
              <a:rPr lang="en-US" dirty="0">
                <a:ln>
                  <a:solidFill>
                    <a:srgbClr val="FFFFFF">
                      <a:alpha val="0"/>
                    </a:srgbClr>
                  </a:solidFill>
                </a:ln>
                <a:gradFill>
                  <a:gsLst>
                    <a:gs pos="85321">
                      <a:srgbClr val="505050"/>
                    </a:gs>
                    <a:gs pos="57000">
                      <a:srgbClr val="505050"/>
                    </a:gs>
                  </a:gsLst>
                </a:gradFill>
                <a:ea typeface="Segoe UI" pitchFamily="34" charset="0"/>
                <a:cs typeface="Segoe UI" pitchFamily="34" charset="0"/>
              </a:rPr>
              <a:t>HBase Rest Interface</a:t>
            </a:r>
          </a:p>
        </p:txBody>
      </p:sp>
      <p:grpSp>
        <p:nvGrpSpPr>
          <p:cNvPr id="32" name="Group 31"/>
          <p:cNvGrpSpPr/>
          <p:nvPr/>
        </p:nvGrpSpPr>
        <p:grpSpPr>
          <a:xfrm>
            <a:off x="8037103" y="2564560"/>
            <a:ext cx="3123805" cy="3958917"/>
            <a:chOff x="7798635" y="2822552"/>
            <a:chExt cx="3123805" cy="3958917"/>
          </a:xfrm>
        </p:grpSpPr>
        <p:sp>
          <p:nvSpPr>
            <p:cNvPr id="22" name="Rectangle 21"/>
            <p:cNvSpPr/>
            <p:nvPr/>
          </p:nvSpPr>
          <p:spPr bwMode="auto">
            <a:xfrm>
              <a:off x="7798635" y="2822552"/>
              <a:ext cx="3123805" cy="3958917"/>
            </a:xfrm>
            <a:prstGeom prst="rect">
              <a:avLst/>
            </a:prstGeom>
            <a:solidFill>
              <a:schemeClr val="bg1">
                <a:lumMod val="95000"/>
              </a:schemeClr>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6" name="Rectangle 5"/>
            <p:cNvSpPr/>
            <p:nvPr/>
          </p:nvSpPr>
          <p:spPr bwMode="auto">
            <a:xfrm>
              <a:off x="8138585" y="2865923"/>
              <a:ext cx="2464807" cy="52757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ln>
                    <a:solidFill>
                      <a:srgbClr val="FFFFFF">
                        <a:alpha val="0"/>
                      </a:srgbClr>
                    </a:solidFill>
                  </a:ln>
                  <a:solidFill>
                    <a:schemeClr val="bg1"/>
                  </a:solidFill>
                  <a:ea typeface="Segoe UI" pitchFamily="34" charset="0"/>
                  <a:cs typeface="Segoe UI" pitchFamily="34" charset="0"/>
                </a:rPr>
                <a:t>Web Application</a:t>
              </a:r>
            </a:p>
          </p:txBody>
        </p:sp>
        <p:sp>
          <p:nvSpPr>
            <p:cNvPr id="10" name="Rectangle 9"/>
            <p:cNvSpPr/>
            <p:nvPr/>
          </p:nvSpPr>
          <p:spPr bwMode="auto">
            <a:xfrm>
              <a:off x="8139559" y="4096291"/>
              <a:ext cx="2462859" cy="52757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ln>
                    <a:solidFill>
                      <a:srgbClr val="FFFFFF">
                        <a:alpha val="0"/>
                      </a:srgbClr>
                    </a:solidFill>
                  </a:ln>
                  <a:solidFill>
                    <a:schemeClr val="bg1"/>
                  </a:solidFill>
                  <a:ea typeface="Segoe UI" pitchFamily="34" charset="0"/>
                  <a:cs typeface="Segoe UI" pitchFamily="34" charset="0"/>
                </a:rPr>
                <a:t>Thrift/REST Gateway</a:t>
              </a:r>
            </a:p>
          </p:txBody>
        </p:sp>
        <p:sp>
          <p:nvSpPr>
            <p:cNvPr id="12" name="Rectangle 11"/>
            <p:cNvSpPr/>
            <p:nvPr/>
          </p:nvSpPr>
          <p:spPr bwMode="auto">
            <a:xfrm>
              <a:off x="8139558" y="4632158"/>
              <a:ext cx="2462860" cy="527574"/>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ln>
                    <a:solidFill>
                      <a:srgbClr val="FFFFFF">
                        <a:alpha val="0"/>
                      </a:srgbClr>
                    </a:solidFill>
                  </a:ln>
                  <a:solidFill>
                    <a:schemeClr val="bg1"/>
                  </a:solidFill>
                  <a:ea typeface="Segoe UI" pitchFamily="34" charset="0"/>
                  <a:cs typeface="Segoe UI" pitchFamily="34" charset="0"/>
                </a:rPr>
                <a:t>HBase Client</a:t>
              </a:r>
            </a:p>
          </p:txBody>
        </p:sp>
        <p:grpSp>
          <p:nvGrpSpPr>
            <p:cNvPr id="14" name="Group 13"/>
            <p:cNvGrpSpPr/>
            <p:nvPr/>
          </p:nvGrpSpPr>
          <p:grpSpPr>
            <a:xfrm>
              <a:off x="8899009" y="5533183"/>
              <a:ext cx="943959" cy="1139810"/>
              <a:chOff x="8761949" y="3158668"/>
              <a:chExt cx="1703735" cy="2265967"/>
            </a:xfrm>
          </p:grpSpPr>
          <p:sp>
            <p:nvSpPr>
              <p:cNvPr id="15" name="Freeform 14"/>
              <p:cNvSpPr/>
              <p:nvPr/>
            </p:nvSpPr>
            <p:spPr bwMode="auto">
              <a:xfrm>
                <a:off x="8761949" y="3158668"/>
                <a:ext cx="1703735" cy="2265967"/>
              </a:xfrm>
              <a:custGeom>
                <a:avLst/>
                <a:gdLst>
                  <a:gd name="connsiteX0" fmla="*/ 460324 w 914400"/>
                  <a:gd name="connsiteY0" fmla="*/ 48397 h 1216152"/>
                  <a:gd name="connsiteX1" fmla="*/ 76152 w 914400"/>
                  <a:gd name="connsiteY1" fmla="*/ 179523 h 1216152"/>
                  <a:gd name="connsiteX2" fmla="*/ 460324 w 914400"/>
                  <a:gd name="connsiteY2" fmla="*/ 310649 h 1216152"/>
                  <a:gd name="connsiteX3" fmla="*/ 844496 w 914400"/>
                  <a:gd name="connsiteY3" fmla="*/ 179523 h 1216152"/>
                  <a:gd name="connsiteX4" fmla="*/ 460324 w 914400"/>
                  <a:gd name="connsiteY4" fmla="*/ 48397 h 1216152"/>
                  <a:gd name="connsiteX5" fmla="*/ 457200 w 914400"/>
                  <a:gd name="connsiteY5" fmla="*/ 0 h 1216152"/>
                  <a:gd name="connsiteX6" fmla="*/ 914400 w 914400"/>
                  <a:gd name="connsiteY6" fmla="*/ 178121 h 1216152"/>
                  <a:gd name="connsiteX7" fmla="*/ 914400 w 914400"/>
                  <a:gd name="connsiteY7" fmla="*/ 1038031 h 1216152"/>
                  <a:gd name="connsiteX8" fmla="*/ 457200 w 914400"/>
                  <a:gd name="connsiteY8" fmla="*/ 1216152 h 1216152"/>
                  <a:gd name="connsiteX9" fmla="*/ 279237 w 914400"/>
                  <a:gd name="connsiteY9" fmla="*/ 1202155 h 1216152"/>
                  <a:gd name="connsiteX10" fmla="*/ 201575 w 914400"/>
                  <a:gd name="connsiteY10" fmla="*/ 1185732 h 1216152"/>
                  <a:gd name="connsiteX11" fmla="*/ 0 w 914400"/>
                  <a:gd name="connsiteY11" fmla="*/ 1038031 h 1216152"/>
                  <a:gd name="connsiteX12" fmla="*/ 0 w 914400"/>
                  <a:gd name="connsiteY12" fmla="*/ 178121 h 1216152"/>
                  <a:gd name="connsiteX13" fmla="*/ 0 w 914400"/>
                  <a:gd name="connsiteY13" fmla="*/ 178121 h 1216152"/>
                  <a:gd name="connsiteX14" fmla="*/ 457200 w 914400"/>
                  <a:gd name="connsiteY14" fmla="*/ 0 h 1216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14400" h="1216152">
                    <a:moveTo>
                      <a:pt x="460324" y="48397"/>
                    </a:moveTo>
                    <a:cubicBezTo>
                      <a:pt x="248152" y="48397"/>
                      <a:pt x="76152" y="107104"/>
                      <a:pt x="76152" y="179523"/>
                    </a:cubicBezTo>
                    <a:cubicBezTo>
                      <a:pt x="76152" y="251942"/>
                      <a:pt x="248152" y="310649"/>
                      <a:pt x="460324" y="310649"/>
                    </a:cubicBezTo>
                    <a:cubicBezTo>
                      <a:pt x="672496" y="310649"/>
                      <a:pt x="844496" y="251942"/>
                      <a:pt x="844496" y="179523"/>
                    </a:cubicBezTo>
                    <a:cubicBezTo>
                      <a:pt x="844496" y="107104"/>
                      <a:pt x="672496" y="48397"/>
                      <a:pt x="460324" y="48397"/>
                    </a:cubicBezTo>
                    <a:close/>
                    <a:moveTo>
                      <a:pt x="457200" y="0"/>
                    </a:moveTo>
                    <a:cubicBezTo>
                      <a:pt x="709705" y="0"/>
                      <a:pt x="914400" y="79747"/>
                      <a:pt x="914400" y="178121"/>
                    </a:cubicBezTo>
                    <a:lnTo>
                      <a:pt x="914400" y="1038031"/>
                    </a:lnTo>
                    <a:cubicBezTo>
                      <a:pt x="914400" y="1136405"/>
                      <a:pt x="709705" y="1216152"/>
                      <a:pt x="457200" y="1216152"/>
                    </a:cubicBezTo>
                    <a:cubicBezTo>
                      <a:pt x="394074" y="1216152"/>
                      <a:pt x="333936" y="1211168"/>
                      <a:pt x="279237" y="1202155"/>
                    </a:cubicBezTo>
                    <a:cubicBezTo>
                      <a:pt x="251888" y="1197648"/>
                      <a:pt x="225898" y="1192134"/>
                      <a:pt x="201575" y="1185732"/>
                    </a:cubicBezTo>
                    <a:cubicBezTo>
                      <a:pt x="79959" y="1153723"/>
                      <a:pt x="0" y="1099515"/>
                      <a:pt x="0" y="1038031"/>
                    </a:cubicBezTo>
                    <a:lnTo>
                      <a:pt x="0" y="178121"/>
                    </a:lnTo>
                    <a:lnTo>
                      <a:pt x="0" y="178121"/>
                    </a:lnTo>
                    <a:cubicBezTo>
                      <a:pt x="0" y="79747"/>
                      <a:pt x="204695" y="0"/>
                      <a:pt x="457200"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IN" sz="3137"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pic>
            <p:nvPicPr>
              <p:cNvPr id="16"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839691" y="4287387"/>
                <a:ext cx="1489581" cy="2703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9" name="Straight Arrow Connector 8"/>
            <p:cNvCxnSpPr>
              <a:stCxn id="6" idx="2"/>
              <a:endCxn id="10" idx="0"/>
            </p:cNvCxnSpPr>
            <p:nvPr/>
          </p:nvCxnSpPr>
          <p:spPr>
            <a:xfrm>
              <a:off x="9370989" y="3393497"/>
              <a:ext cx="0" cy="702794"/>
            </a:xfrm>
            <a:prstGeom prst="straightConnector1">
              <a:avLst/>
            </a:prstGeom>
            <a:ln w="38100">
              <a:headEnd type="none"/>
              <a:tailEnd type="triangle"/>
            </a:ln>
          </p:spPr>
          <p:style>
            <a:lnRef idx="1">
              <a:schemeClr val="accent6"/>
            </a:lnRef>
            <a:fillRef idx="0">
              <a:schemeClr val="accent6"/>
            </a:fillRef>
            <a:effectRef idx="0">
              <a:schemeClr val="accent6"/>
            </a:effectRef>
            <a:fontRef idx="minor">
              <a:schemeClr val="tx1"/>
            </a:fontRef>
          </p:style>
        </p:cxnSp>
        <p:cxnSp>
          <p:nvCxnSpPr>
            <p:cNvPr id="18" name="Straight Arrow Connector 17"/>
            <p:cNvCxnSpPr/>
            <p:nvPr/>
          </p:nvCxnSpPr>
          <p:spPr>
            <a:xfrm flipH="1">
              <a:off x="9348933" y="5159732"/>
              <a:ext cx="11605" cy="504363"/>
            </a:xfrm>
            <a:prstGeom prst="straightConnector1">
              <a:avLst/>
            </a:prstGeom>
            <a:ln w="38100">
              <a:headEnd type="none"/>
              <a:tailEnd type="triangle"/>
            </a:ln>
          </p:spPr>
          <p:style>
            <a:lnRef idx="1">
              <a:schemeClr val="accent6"/>
            </a:lnRef>
            <a:fillRef idx="0">
              <a:schemeClr val="accent6"/>
            </a:fillRef>
            <a:effectRef idx="0">
              <a:schemeClr val="accent6"/>
            </a:effectRef>
            <a:fontRef idx="minor">
              <a:schemeClr val="tx1"/>
            </a:fontRef>
          </p:style>
        </p:cxnSp>
        <p:cxnSp>
          <p:nvCxnSpPr>
            <p:cNvPr id="20" name="Straight Connector 19"/>
            <p:cNvCxnSpPr/>
            <p:nvPr/>
          </p:nvCxnSpPr>
          <p:spPr>
            <a:xfrm>
              <a:off x="8111700" y="3702865"/>
              <a:ext cx="2486071" cy="25679"/>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7840275" y="3485323"/>
              <a:ext cx="1339702" cy="666047"/>
            </a:xfrm>
            <a:prstGeom prst="rect">
              <a:avLst/>
            </a:prstGeom>
            <a:noFill/>
          </p:spPr>
          <p:txBody>
            <a:bodyPr wrap="square" lIns="0" tIns="0" rIns="0" bIns="0" rtlCol="0">
              <a:noAutofit/>
            </a:bodyPr>
            <a:lstStyle/>
            <a:p>
              <a:pPr algn="ctr">
                <a:lnSpc>
                  <a:spcPts val="1800"/>
                </a:lnSpc>
                <a:spcAft>
                  <a:spcPts val="600"/>
                </a:spcAft>
              </a:pPr>
              <a:r>
                <a:rPr lang="en-US" sz="16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Cluster Boundary</a:t>
              </a:r>
            </a:p>
          </p:txBody>
        </p:sp>
      </p:grpSp>
      <p:graphicFrame>
        <p:nvGraphicFramePr>
          <p:cNvPr id="37" name="Table 36"/>
          <p:cNvGraphicFramePr>
            <a:graphicFrameLocks noGrp="1"/>
          </p:cNvGraphicFramePr>
          <p:nvPr>
            <p:extLst>
              <p:ext uri="{D42A27DB-BD31-4B8C-83A1-F6EECF244321}">
                <p14:modId xmlns:p14="http://schemas.microsoft.com/office/powerpoint/2010/main" val="2758776891"/>
              </p:ext>
            </p:extLst>
          </p:nvPr>
        </p:nvGraphicFramePr>
        <p:xfrm>
          <a:off x="481551" y="1637415"/>
          <a:ext cx="7013022" cy="4726686"/>
        </p:xfrm>
        <a:graphic>
          <a:graphicData uri="http://schemas.openxmlformats.org/drawingml/2006/table">
            <a:tbl>
              <a:tblPr firstRow="1" bandRow="1">
                <a:tableStyleId>{F5AB1C69-6EDB-4FF4-983F-18BD219EF322}</a:tableStyleId>
              </a:tblPr>
              <a:tblGrid>
                <a:gridCol w="1823874">
                  <a:extLst>
                    <a:ext uri="{9D8B030D-6E8A-4147-A177-3AD203B41FA5}">
                      <a16:colId xmlns:a16="http://schemas.microsoft.com/office/drawing/2014/main" val="4120038402"/>
                    </a:ext>
                  </a:extLst>
                </a:gridCol>
                <a:gridCol w="5189148">
                  <a:extLst>
                    <a:ext uri="{9D8B030D-6E8A-4147-A177-3AD203B41FA5}">
                      <a16:colId xmlns:a16="http://schemas.microsoft.com/office/drawing/2014/main" val="3956205066"/>
                    </a:ext>
                  </a:extLst>
                </a:gridCol>
              </a:tblGrid>
              <a:tr h="340241">
                <a:tc>
                  <a:txBody>
                    <a:bodyPr/>
                    <a:lstStyle/>
                    <a:p>
                      <a:pPr algn="ctr"/>
                      <a:r>
                        <a:rPr lang="en-US" dirty="0"/>
                        <a:t>Operation</a:t>
                      </a:r>
                      <a:endParaRPr lang="en-US" b="0" dirty="0"/>
                    </a:p>
                  </a:txBody>
                  <a:tcPr anchor="ctr"/>
                </a:tc>
                <a:tc>
                  <a:txBody>
                    <a:bodyPr/>
                    <a:lstStyle/>
                    <a:p>
                      <a:pPr algn="ctr"/>
                      <a:r>
                        <a:rPr lang="en-US" dirty="0"/>
                        <a:t>API /</a:t>
                      </a:r>
                      <a:r>
                        <a:rPr lang="en-US" baseline="0" dirty="0"/>
                        <a:t> Command</a:t>
                      </a:r>
                      <a:endParaRPr lang="en-US" b="0" dirty="0"/>
                    </a:p>
                  </a:txBody>
                  <a:tcPr anchor="ctr"/>
                </a:tc>
                <a:extLst>
                  <a:ext uri="{0D108BD9-81ED-4DB2-BD59-A6C34878D82A}">
                    <a16:rowId xmlns:a16="http://schemas.microsoft.com/office/drawing/2014/main" val="3912663106"/>
                  </a:ext>
                </a:extLst>
              </a:tr>
              <a:tr h="1436370">
                <a:tc>
                  <a:txBody>
                    <a:bodyPr/>
                    <a:lstStyle/>
                    <a:p>
                      <a:pPr marL="0" indent="0" algn="l" defTabSz="914367" rtl="0" eaLnBrk="1" latinLnBrk="0" hangingPunct="1">
                        <a:spcAft>
                          <a:spcPts val="600"/>
                        </a:spcAft>
                        <a:buFont typeface="Arial" panose="020B0604020202020204" pitchFamily="34" charset="0"/>
                        <a:buNone/>
                      </a:pPr>
                      <a:r>
                        <a:rPr lang="en-US" sz="1800" kern="120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rPr>
                        <a:t>Insert or Update Data</a:t>
                      </a:r>
                    </a:p>
                  </a:txBody>
                  <a:tcPr anchor="ctr"/>
                </a:tc>
                <a:tc>
                  <a:txBody>
                    <a:bodyPr/>
                    <a:lstStyle/>
                    <a:p>
                      <a:pPr marL="0" indent="0" algn="l" defTabSz="914367" rtl="0" eaLnBrk="1" latinLnBrk="0" hangingPunct="1">
                        <a:lnSpc>
                          <a:spcPts val="1800"/>
                        </a:lnSpc>
                        <a:spcAft>
                          <a:spcPts val="600"/>
                        </a:spcAft>
                        <a:buFont typeface="Arial" panose="020B0604020202020204" pitchFamily="34" charset="0"/>
                        <a:buNone/>
                      </a:pPr>
                      <a:r>
                        <a:rPr lang="en-US" sz="1800" kern="120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rPr>
                        <a:t>You can insert/add new data or update existing cells using the ‘put’ command or ‘add’ command.</a:t>
                      </a:r>
                    </a:p>
                  </a:txBody>
                  <a:tcPr anchor="ctr"/>
                </a:tc>
                <a:extLst>
                  <a:ext uri="{0D108BD9-81ED-4DB2-BD59-A6C34878D82A}">
                    <a16:rowId xmlns:a16="http://schemas.microsoft.com/office/drawing/2014/main" val="2619140964"/>
                  </a:ext>
                </a:extLst>
              </a:tr>
              <a:tr h="1436370">
                <a:tc>
                  <a:txBody>
                    <a:bodyPr/>
                    <a:lstStyle/>
                    <a:p>
                      <a:pPr marL="0" indent="0" algn="l" defTabSz="914367" rtl="0" eaLnBrk="1" latinLnBrk="0" hangingPunct="1">
                        <a:spcAft>
                          <a:spcPts val="600"/>
                        </a:spcAft>
                        <a:buFont typeface="Arial" panose="020B0604020202020204" pitchFamily="34" charset="0"/>
                        <a:buNone/>
                      </a:pPr>
                      <a:r>
                        <a:rPr lang="en-US" sz="1800" kern="120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rPr>
                        <a:t>Read Data</a:t>
                      </a:r>
                    </a:p>
                  </a:txBody>
                  <a:tcPr anchor="ctr"/>
                </a:tc>
                <a:tc>
                  <a:txBody>
                    <a:bodyPr/>
                    <a:lstStyle/>
                    <a:p>
                      <a:pPr marL="0" indent="0" algn="l" defTabSz="914367" rtl="0" eaLnBrk="1" latinLnBrk="0" hangingPunct="1">
                        <a:spcAft>
                          <a:spcPts val="600"/>
                        </a:spcAft>
                        <a:buFont typeface="Arial" panose="020B0604020202020204" pitchFamily="34" charset="0"/>
                        <a:buNone/>
                      </a:pPr>
                      <a:r>
                        <a:rPr lang="en-US" sz="1800" kern="120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rPr>
                        <a:t>To read data, use:</a:t>
                      </a:r>
                    </a:p>
                    <a:p>
                      <a:pPr marL="285750" indent="-285750" algn="l" defTabSz="914367" rtl="0" eaLnBrk="1" latinLnBrk="0" hangingPunct="1">
                        <a:spcAft>
                          <a:spcPts val="600"/>
                        </a:spcAft>
                        <a:buFont typeface="Arial" panose="020B0604020202020204" pitchFamily="34" charset="0"/>
                        <a:buChar char="•"/>
                      </a:pPr>
                      <a:r>
                        <a:rPr lang="en-US" sz="1600" kern="120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rPr>
                        <a:t>‘get’ command to get a single row of data. You can get the entire row or only the specified columns</a:t>
                      </a:r>
                    </a:p>
                    <a:p>
                      <a:pPr marL="285750" indent="-285750" algn="l" defTabSz="914367" rtl="0" eaLnBrk="1" latinLnBrk="0" hangingPunct="1">
                        <a:spcAft>
                          <a:spcPts val="600"/>
                        </a:spcAft>
                        <a:buFont typeface="Arial" panose="020B0604020202020204" pitchFamily="34" charset="0"/>
                        <a:buChar char="•"/>
                      </a:pPr>
                      <a:r>
                        <a:rPr lang="en-US" sz="1600" kern="120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rPr>
                        <a:t>‘scan’ command to fetch the entire table or only rows matching the specified ‘</a:t>
                      </a:r>
                      <a:r>
                        <a:rPr lang="en-US" sz="1600" kern="1200" dirty="0" err="1">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rPr>
                        <a:t>RowKeys</a:t>
                      </a:r>
                      <a:r>
                        <a:rPr lang="en-US" sz="1600" kern="120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rPr>
                        <a:t>’</a:t>
                      </a:r>
                    </a:p>
                  </a:txBody>
                  <a:tcPr anchor="ctr"/>
                </a:tc>
                <a:extLst>
                  <a:ext uri="{0D108BD9-81ED-4DB2-BD59-A6C34878D82A}">
                    <a16:rowId xmlns:a16="http://schemas.microsoft.com/office/drawing/2014/main" val="3244882176"/>
                  </a:ext>
                </a:extLst>
              </a:tr>
              <a:tr h="1436370">
                <a:tc>
                  <a:txBody>
                    <a:bodyPr/>
                    <a:lstStyle/>
                    <a:p>
                      <a:pPr marL="0" indent="0" algn="l" defTabSz="914367" rtl="0" eaLnBrk="1" latinLnBrk="0" hangingPunct="1">
                        <a:spcAft>
                          <a:spcPts val="600"/>
                        </a:spcAft>
                        <a:buFont typeface="Arial" panose="020B0604020202020204" pitchFamily="34" charset="0"/>
                        <a:buNone/>
                      </a:pPr>
                      <a:r>
                        <a:rPr lang="en-US" sz="1800" kern="120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rPr>
                        <a:t>Delete Data</a:t>
                      </a:r>
                    </a:p>
                  </a:txBody>
                  <a:tcPr anchor="ctr"/>
                </a:tc>
                <a:tc>
                  <a:txBody>
                    <a:bodyPr/>
                    <a:lstStyle/>
                    <a:p>
                      <a:pPr marL="0" indent="0">
                        <a:spcAft>
                          <a:spcPts val="600"/>
                        </a:spcAft>
                        <a:buFont typeface="Arial" panose="020B0604020202020204" pitchFamily="34" charset="0"/>
                        <a:buNone/>
                      </a:pPr>
                      <a:r>
                        <a:rPr lang="en-US" sz="1800" kern="120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rPr>
                        <a:t>To delete data, use:</a:t>
                      </a:r>
                    </a:p>
                    <a:p>
                      <a:pPr marL="285750" indent="-285750">
                        <a:spcAft>
                          <a:spcPts val="600"/>
                        </a:spcAft>
                        <a:buFont typeface="Arial" panose="020B0604020202020204" pitchFamily="34" charset="0"/>
                        <a:buChar char="•"/>
                      </a:pPr>
                      <a:r>
                        <a:rPr lang="en-US" sz="1600" kern="120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rPr>
                        <a:t>‘delete’ command to delete a specific cell.</a:t>
                      </a:r>
                    </a:p>
                    <a:p>
                      <a:pPr marL="285750" indent="-285750">
                        <a:spcAft>
                          <a:spcPts val="600"/>
                        </a:spcAft>
                        <a:buFont typeface="Arial" panose="020B0604020202020204" pitchFamily="34" charset="0"/>
                        <a:buChar char="•"/>
                      </a:pPr>
                      <a:r>
                        <a:rPr lang="en-US" sz="1600" kern="120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rPr>
                        <a:t>‘</a:t>
                      </a:r>
                      <a:r>
                        <a:rPr lang="en-US" sz="1600" kern="1200" dirty="0" err="1">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rPr>
                        <a:t>deleteall</a:t>
                      </a:r>
                      <a:r>
                        <a:rPr lang="en-US" sz="1600" kern="120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rPr>
                        <a:t>’ to ‘delete’ all the cells of a row</a:t>
                      </a:r>
                    </a:p>
                  </a:txBody>
                  <a:tcPr anchor="ctr"/>
                </a:tc>
                <a:extLst>
                  <a:ext uri="{0D108BD9-81ED-4DB2-BD59-A6C34878D82A}">
                    <a16:rowId xmlns:a16="http://schemas.microsoft.com/office/drawing/2014/main" val="3535694628"/>
                  </a:ext>
                </a:extLst>
              </a:tr>
            </a:tbl>
          </a:graphicData>
        </a:graphic>
      </p:graphicFrame>
    </p:spTree>
    <p:extLst>
      <p:ext uri="{BB962C8B-B14F-4D97-AF65-F5344CB8AC3E}">
        <p14:creationId xmlns:p14="http://schemas.microsoft.com/office/powerpoint/2010/main" val="1861242002"/>
      </p:ext>
    </p:extLst>
  </p:cSld>
  <p:clrMapOvr>
    <a:masterClrMapping/>
  </p:clrMapOvr>
  <p:transition spd="med">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6380107" y="1173224"/>
            <a:ext cx="5811893" cy="487754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2" name="Title 1"/>
          <p:cNvSpPr>
            <a:spLocks noGrp="1"/>
          </p:cNvSpPr>
          <p:nvPr>
            <p:ph type="title"/>
          </p:nvPr>
        </p:nvSpPr>
        <p:spPr/>
        <p:txBody>
          <a:bodyPr/>
          <a:lstStyle/>
          <a:p>
            <a:r>
              <a:rPr lang="en-US" dirty="0"/>
              <a:t>MapReduce Component: Task Tracker</a:t>
            </a:r>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6</a:t>
            </a:fld>
            <a:endParaRPr lang="en-US" dirty="0"/>
          </a:p>
        </p:txBody>
      </p:sp>
      <p:grpSp>
        <p:nvGrpSpPr>
          <p:cNvPr id="55" name="Group 54"/>
          <p:cNvGrpSpPr/>
          <p:nvPr/>
        </p:nvGrpSpPr>
        <p:grpSpPr>
          <a:xfrm>
            <a:off x="6380107" y="1301261"/>
            <a:ext cx="5621438" cy="4749506"/>
            <a:chOff x="5365111" y="1525926"/>
            <a:chExt cx="6680397" cy="5263395"/>
          </a:xfrm>
        </p:grpSpPr>
        <p:sp>
          <p:nvSpPr>
            <p:cNvPr id="48" name="Rectangle 47"/>
            <p:cNvSpPr/>
            <p:nvPr/>
          </p:nvSpPr>
          <p:spPr bwMode="auto">
            <a:xfrm>
              <a:off x="8517276" y="2527443"/>
              <a:ext cx="3528232" cy="1130157"/>
            </a:xfrm>
            <a:prstGeom prst="rect">
              <a:avLst/>
            </a:prstGeom>
            <a:solidFill>
              <a:schemeClr val="accent3">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b="1" dirty="0">
                <a:solidFill>
                  <a:schemeClr val="bg1"/>
                </a:solidFill>
                <a:latin typeface="+mj-lt"/>
                <a:ea typeface="Segoe UI" pitchFamily="34" charset="0"/>
                <a:cs typeface="Segoe UI" pitchFamily="34" charset="0"/>
              </a:endParaRPr>
            </a:p>
          </p:txBody>
        </p:sp>
        <p:sp>
          <p:nvSpPr>
            <p:cNvPr id="4" name="Rounded Rectangle 3"/>
            <p:cNvSpPr/>
            <p:nvPr/>
          </p:nvSpPr>
          <p:spPr bwMode="auto">
            <a:xfrm>
              <a:off x="8620538" y="2668925"/>
              <a:ext cx="1522208" cy="844838"/>
            </a:xfrm>
            <a:prstGeom prst="round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b="1" dirty="0">
                <a:solidFill>
                  <a:schemeClr val="bg1"/>
                </a:solidFill>
                <a:latin typeface="+mj-lt"/>
                <a:ea typeface="Segoe UI" pitchFamily="34" charset="0"/>
                <a:cs typeface="Segoe UI" pitchFamily="34" charset="0"/>
              </a:endParaRPr>
            </a:p>
          </p:txBody>
        </p:sp>
        <p:sp>
          <p:nvSpPr>
            <p:cNvPr id="8" name="Oval 7"/>
            <p:cNvSpPr/>
            <p:nvPr/>
          </p:nvSpPr>
          <p:spPr bwMode="auto">
            <a:xfrm>
              <a:off x="8445262" y="1525926"/>
              <a:ext cx="1872761" cy="55391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b="1" dirty="0">
                <a:solidFill>
                  <a:schemeClr val="bg1"/>
                </a:solidFill>
                <a:latin typeface="+mj-lt"/>
                <a:ea typeface="Segoe UI" pitchFamily="34" charset="0"/>
                <a:cs typeface="Segoe UI" pitchFamily="34" charset="0"/>
              </a:endParaRPr>
            </a:p>
          </p:txBody>
        </p:sp>
        <p:sp>
          <p:nvSpPr>
            <p:cNvPr id="5" name="Rectangle 4"/>
            <p:cNvSpPr/>
            <p:nvPr/>
          </p:nvSpPr>
          <p:spPr bwMode="auto">
            <a:xfrm>
              <a:off x="8593092" y="4057911"/>
              <a:ext cx="1577100" cy="189311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b="1" dirty="0">
                <a:solidFill>
                  <a:schemeClr val="bg1"/>
                </a:solidFill>
                <a:latin typeface="+mj-lt"/>
                <a:ea typeface="Segoe UI" pitchFamily="34" charset="0"/>
                <a:cs typeface="Segoe UI" pitchFamily="34" charset="0"/>
              </a:endParaRPr>
            </a:p>
          </p:txBody>
        </p:sp>
        <p:sp>
          <p:nvSpPr>
            <p:cNvPr id="9" name="TextBox 8"/>
            <p:cNvSpPr txBox="1"/>
            <p:nvPr/>
          </p:nvSpPr>
          <p:spPr>
            <a:xfrm>
              <a:off x="8699498" y="4140497"/>
              <a:ext cx="1364289" cy="421539"/>
            </a:xfrm>
            <a:prstGeom prst="rect">
              <a:avLst/>
            </a:prstGeom>
            <a:solidFill>
              <a:schemeClr val="bg1"/>
            </a:solidFill>
          </p:spPr>
          <p:txBody>
            <a:bodyPr wrap="none" lIns="91440" tIns="91440" rIns="91440" bIns="91440" rtlCol="0" anchor="ctr">
              <a:noAutofit/>
            </a:bodyPr>
            <a:lstStyle/>
            <a:p>
              <a:pPr algn="ctr">
                <a:lnSpc>
                  <a:spcPct val="90000"/>
                </a:lnSpc>
                <a:spcAft>
                  <a:spcPts val="600"/>
                </a:spcAft>
              </a:pPr>
              <a:r>
                <a:rPr lang="en-US" sz="1400" dirty="0">
                  <a:solidFill>
                    <a:schemeClr val="tx1">
                      <a:lumMod val="85000"/>
                      <a:lumOff val="15000"/>
                    </a:schemeClr>
                  </a:solidFill>
                  <a:latin typeface="Segoe UI Semibold" panose="020B0702040204020203" pitchFamily="34" charset="0"/>
                  <a:cs typeface="Segoe UI Semibold" panose="020B0702040204020203" pitchFamily="34" charset="0"/>
                </a:rPr>
                <a:t>TaskTracker</a:t>
              </a:r>
            </a:p>
          </p:txBody>
        </p:sp>
        <p:sp>
          <p:nvSpPr>
            <p:cNvPr id="10" name="Rectangle 9"/>
            <p:cNvSpPr/>
            <p:nvPr/>
          </p:nvSpPr>
          <p:spPr bwMode="auto">
            <a:xfrm>
              <a:off x="8696722" y="4682165"/>
              <a:ext cx="623276" cy="44178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b="1" dirty="0">
                  <a:solidFill>
                    <a:schemeClr val="bg1"/>
                  </a:solidFill>
                  <a:latin typeface="Segoe UI Semibold" panose="020B0702040204020203" pitchFamily="34" charset="0"/>
                  <a:ea typeface="Segoe UI" pitchFamily="34" charset="0"/>
                  <a:cs typeface="Segoe UI Semibold" panose="020B0702040204020203" pitchFamily="34" charset="0"/>
                </a:rPr>
                <a:t>Tasks</a:t>
              </a:r>
            </a:p>
          </p:txBody>
        </p:sp>
        <p:sp>
          <p:nvSpPr>
            <p:cNvPr id="11" name="Rectangle 10"/>
            <p:cNvSpPr/>
            <p:nvPr/>
          </p:nvSpPr>
          <p:spPr bwMode="auto">
            <a:xfrm>
              <a:off x="9456122" y="4682165"/>
              <a:ext cx="622448" cy="44178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b="1" dirty="0">
                  <a:solidFill>
                    <a:schemeClr val="bg1"/>
                  </a:solidFill>
                  <a:latin typeface="Segoe UI Semibold" panose="020B0702040204020203" pitchFamily="34" charset="0"/>
                  <a:ea typeface="Segoe UI" pitchFamily="34" charset="0"/>
                  <a:cs typeface="Segoe UI Semibold" panose="020B0702040204020203" pitchFamily="34" charset="0"/>
                </a:rPr>
                <a:t>Tasks</a:t>
              </a:r>
            </a:p>
          </p:txBody>
        </p:sp>
        <p:sp>
          <p:nvSpPr>
            <p:cNvPr id="12" name="Rectangle 11"/>
            <p:cNvSpPr/>
            <p:nvPr/>
          </p:nvSpPr>
          <p:spPr bwMode="auto">
            <a:xfrm>
              <a:off x="8695011" y="5266078"/>
              <a:ext cx="623276" cy="441789"/>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b="1" dirty="0">
                  <a:solidFill>
                    <a:schemeClr val="bg1"/>
                  </a:solidFill>
                  <a:latin typeface="Segoe UI Semibold" panose="020B0702040204020203" pitchFamily="34" charset="0"/>
                  <a:ea typeface="Segoe UI" pitchFamily="34" charset="0"/>
                  <a:cs typeface="Segoe UI Semibold" panose="020B0702040204020203" pitchFamily="34" charset="0"/>
                </a:rPr>
                <a:t>Tasks</a:t>
              </a:r>
            </a:p>
          </p:txBody>
        </p:sp>
        <p:sp>
          <p:nvSpPr>
            <p:cNvPr id="13" name="Rectangle 12"/>
            <p:cNvSpPr/>
            <p:nvPr/>
          </p:nvSpPr>
          <p:spPr bwMode="auto">
            <a:xfrm>
              <a:off x="9454411" y="5266078"/>
              <a:ext cx="622448" cy="44178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b="1" dirty="0">
                  <a:solidFill>
                    <a:schemeClr val="bg1"/>
                  </a:solidFill>
                  <a:latin typeface="Segoe UI Semibold" panose="020B0702040204020203" pitchFamily="34" charset="0"/>
                  <a:ea typeface="Segoe UI" pitchFamily="34" charset="0"/>
                  <a:cs typeface="Segoe UI Semibold" panose="020B0702040204020203" pitchFamily="34" charset="0"/>
                </a:rPr>
                <a:t>Tasks</a:t>
              </a:r>
            </a:p>
          </p:txBody>
        </p:sp>
        <p:sp>
          <p:nvSpPr>
            <p:cNvPr id="14" name="TextBox 13"/>
            <p:cNvSpPr txBox="1"/>
            <p:nvPr/>
          </p:nvSpPr>
          <p:spPr>
            <a:xfrm>
              <a:off x="8701848" y="2880575"/>
              <a:ext cx="1359589" cy="421539"/>
            </a:xfrm>
            <a:prstGeom prst="roundRect">
              <a:avLst/>
            </a:prstGeom>
            <a:solidFill>
              <a:schemeClr val="bg1"/>
            </a:solidFill>
          </p:spPr>
          <p:txBody>
            <a:bodyPr wrap="none" lIns="91440" tIns="91440" rIns="91440" bIns="91440" rtlCol="0" anchor="ctr">
              <a:noAutofit/>
            </a:bodyPr>
            <a:lstStyle/>
            <a:p>
              <a:pPr algn="ctr">
                <a:lnSpc>
                  <a:spcPct val="90000"/>
                </a:lnSpc>
                <a:spcAft>
                  <a:spcPts val="600"/>
                </a:spcAft>
              </a:pPr>
              <a:r>
                <a:rPr lang="en-US" sz="1400" dirty="0">
                  <a:solidFill>
                    <a:schemeClr val="tx1">
                      <a:lumMod val="85000"/>
                      <a:lumOff val="15000"/>
                    </a:schemeClr>
                  </a:solidFill>
                  <a:latin typeface="Segoe UI Semibold" panose="020B0702040204020203" pitchFamily="34" charset="0"/>
                  <a:cs typeface="Segoe UI Semibold" panose="020B0702040204020203" pitchFamily="34" charset="0"/>
                </a:rPr>
                <a:t>JobTracker</a:t>
              </a:r>
            </a:p>
          </p:txBody>
        </p:sp>
        <p:sp>
          <p:nvSpPr>
            <p:cNvPr id="15" name="Rounded Rectangle 14"/>
            <p:cNvSpPr/>
            <p:nvPr/>
          </p:nvSpPr>
          <p:spPr bwMode="auto">
            <a:xfrm>
              <a:off x="10304665" y="2668925"/>
              <a:ext cx="1688123" cy="844838"/>
            </a:xfrm>
            <a:prstGeom prst="round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b="1" dirty="0">
                <a:solidFill>
                  <a:schemeClr val="bg1"/>
                </a:solidFill>
                <a:latin typeface="+mj-lt"/>
                <a:ea typeface="Segoe UI" pitchFamily="34" charset="0"/>
                <a:cs typeface="Segoe UI" pitchFamily="34" charset="0"/>
              </a:endParaRPr>
            </a:p>
          </p:txBody>
        </p:sp>
        <p:sp>
          <p:nvSpPr>
            <p:cNvPr id="16" name="TextBox 15"/>
            <p:cNvSpPr txBox="1"/>
            <p:nvPr/>
          </p:nvSpPr>
          <p:spPr>
            <a:xfrm>
              <a:off x="10468409" y="2880575"/>
              <a:ext cx="1362462" cy="421539"/>
            </a:xfrm>
            <a:prstGeom prst="roundRect">
              <a:avLst/>
            </a:prstGeom>
            <a:solidFill>
              <a:schemeClr val="bg1"/>
            </a:solidFill>
          </p:spPr>
          <p:txBody>
            <a:bodyPr wrap="none" lIns="91440" tIns="91440" rIns="91440" bIns="91440" rtlCol="0" anchor="ctr">
              <a:noAutofit/>
            </a:bodyPr>
            <a:lstStyle/>
            <a:p>
              <a:pPr algn="ctr">
                <a:lnSpc>
                  <a:spcPct val="90000"/>
                </a:lnSpc>
                <a:spcAft>
                  <a:spcPts val="600"/>
                </a:spcAft>
              </a:pPr>
              <a:r>
                <a:rPr lang="en-US" sz="1400" dirty="0">
                  <a:solidFill>
                    <a:schemeClr val="tx1">
                      <a:lumMod val="85000"/>
                      <a:lumOff val="15000"/>
                    </a:schemeClr>
                  </a:solidFill>
                  <a:latin typeface="Segoe UI Semibold" panose="020B0702040204020203" pitchFamily="34" charset="0"/>
                  <a:cs typeface="Segoe UI Semibold" panose="020B0702040204020203" pitchFamily="34" charset="0"/>
                </a:rPr>
                <a:t>NameNode</a:t>
              </a:r>
            </a:p>
          </p:txBody>
        </p:sp>
        <p:grpSp>
          <p:nvGrpSpPr>
            <p:cNvPr id="18" name="Group 17"/>
            <p:cNvGrpSpPr/>
            <p:nvPr/>
          </p:nvGrpSpPr>
          <p:grpSpPr>
            <a:xfrm>
              <a:off x="10468408" y="4057911"/>
              <a:ext cx="1577100" cy="1893111"/>
              <a:chOff x="6133673" y="4404946"/>
              <a:chExt cx="1577100" cy="1893111"/>
            </a:xfrm>
          </p:grpSpPr>
          <p:sp>
            <p:nvSpPr>
              <p:cNvPr id="19" name="Rectangle 18"/>
              <p:cNvSpPr/>
              <p:nvPr/>
            </p:nvSpPr>
            <p:spPr bwMode="auto">
              <a:xfrm>
                <a:off x="6133673" y="4404946"/>
                <a:ext cx="1577100" cy="189311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b="1" dirty="0">
                  <a:solidFill>
                    <a:schemeClr val="bg1"/>
                  </a:solidFill>
                  <a:latin typeface="+mj-lt"/>
                  <a:ea typeface="Segoe UI" pitchFamily="34" charset="0"/>
                  <a:cs typeface="Segoe UI" pitchFamily="34" charset="0"/>
                </a:endParaRPr>
              </a:p>
            </p:txBody>
          </p:sp>
          <p:sp>
            <p:nvSpPr>
              <p:cNvPr id="20" name="TextBox 19"/>
              <p:cNvSpPr txBox="1"/>
              <p:nvPr/>
            </p:nvSpPr>
            <p:spPr>
              <a:xfrm>
                <a:off x="6257851" y="4487532"/>
                <a:ext cx="1364289" cy="421539"/>
              </a:xfrm>
              <a:prstGeom prst="rect">
                <a:avLst/>
              </a:prstGeom>
              <a:solidFill>
                <a:schemeClr val="bg1"/>
              </a:solidFill>
            </p:spPr>
            <p:txBody>
              <a:bodyPr wrap="none" lIns="91440" tIns="91440" rIns="91440" bIns="91440" rtlCol="0" anchor="ctr">
                <a:noAutofit/>
              </a:bodyPr>
              <a:lstStyle/>
              <a:p>
                <a:pPr algn="ctr">
                  <a:lnSpc>
                    <a:spcPct val="90000"/>
                  </a:lnSpc>
                  <a:spcAft>
                    <a:spcPts val="600"/>
                  </a:spcAft>
                </a:pPr>
                <a:r>
                  <a:rPr lang="en-US" sz="1400" dirty="0">
                    <a:solidFill>
                      <a:schemeClr val="tx1">
                        <a:lumMod val="85000"/>
                        <a:lumOff val="15000"/>
                      </a:schemeClr>
                    </a:solidFill>
                    <a:latin typeface="Segoe UI Semibold" panose="020B0702040204020203" pitchFamily="34" charset="0"/>
                    <a:cs typeface="Segoe UI Semibold" panose="020B0702040204020203" pitchFamily="34" charset="0"/>
                  </a:rPr>
                  <a:t>TaskTracker</a:t>
                </a:r>
              </a:p>
            </p:txBody>
          </p:sp>
          <p:sp>
            <p:nvSpPr>
              <p:cNvPr id="21" name="Rectangle 20"/>
              <p:cNvSpPr/>
              <p:nvPr/>
            </p:nvSpPr>
            <p:spPr bwMode="auto">
              <a:xfrm>
                <a:off x="6237303" y="5029200"/>
                <a:ext cx="623276" cy="44178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b="1" dirty="0">
                    <a:solidFill>
                      <a:schemeClr val="bg1"/>
                    </a:solidFill>
                    <a:latin typeface="Segoe UI Semibold" panose="020B0702040204020203" pitchFamily="34" charset="0"/>
                    <a:ea typeface="Segoe UI" pitchFamily="34" charset="0"/>
                    <a:cs typeface="Segoe UI Semibold" panose="020B0702040204020203" pitchFamily="34" charset="0"/>
                  </a:rPr>
                  <a:t>Tasks</a:t>
                </a:r>
              </a:p>
            </p:txBody>
          </p:sp>
          <p:sp>
            <p:nvSpPr>
              <p:cNvPr id="22" name="Rectangle 21"/>
              <p:cNvSpPr/>
              <p:nvPr/>
            </p:nvSpPr>
            <p:spPr bwMode="auto">
              <a:xfrm>
                <a:off x="6996703" y="5029200"/>
                <a:ext cx="622448" cy="44178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b="1" dirty="0">
                    <a:solidFill>
                      <a:schemeClr val="bg1"/>
                    </a:solidFill>
                    <a:latin typeface="Segoe UI Semibold" panose="020B0702040204020203" pitchFamily="34" charset="0"/>
                    <a:ea typeface="Segoe UI" pitchFamily="34" charset="0"/>
                    <a:cs typeface="Segoe UI Semibold" panose="020B0702040204020203" pitchFamily="34" charset="0"/>
                  </a:rPr>
                  <a:t>Tasks</a:t>
                </a:r>
              </a:p>
            </p:txBody>
          </p:sp>
          <p:sp>
            <p:nvSpPr>
              <p:cNvPr id="23" name="Rectangle 22"/>
              <p:cNvSpPr/>
              <p:nvPr/>
            </p:nvSpPr>
            <p:spPr bwMode="auto">
              <a:xfrm>
                <a:off x="6235592" y="5613113"/>
                <a:ext cx="623276" cy="441789"/>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b="1" dirty="0">
                    <a:solidFill>
                      <a:schemeClr val="bg1"/>
                    </a:solidFill>
                    <a:latin typeface="Segoe UI Semibold" panose="020B0702040204020203" pitchFamily="34" charset="0"/>
                    <a:ea typeface="Segoe UI" pitchFamily="34" charset="0"/>
                    <a:cs typeface="Segoe UI Semibold" panose="020B0702040204020203" pitchFamily="34" charset="0"/>
                  </a:rPr>
                  <a:t>Tasks</a:t>
                </a:r>
              </a:p>
            </p:txBody>
          </p:sp>
          <p:sp>
            <p:nvSpPr>
              <p:cNvPr id="24" name="Rectangle 23"/>
              <p:cNvSpPr/>
              <p:nvPr/>
            </p:nvSpPr>
            <p:spPr bwMode="auto">
              <a:xfrm>
                <a:off x="6994992" y="5613113"/>
                <a:ext cx="622448" cy="44178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b="1" dirty="0">
                    <a:solidFill>
                      <a:schemeClr val="bg1"/>
                    </a:solidFill>
                    <a:latin typeface="Segoe UI Semibold" panose="020B0702040204020203" pitchFamily="34" charset="0"/>
                    <a:ea typeface="Segoe UI" pitchFamily="34" charset="0"/>
                    <a:cs typeface="Segoe UI Semibold" panose="020B0702040204020203" pitchFamily="34" charset="0"/>
                  </a:rPr>
                  <a:t>Tasks</a:t>
                </a:r>
              </a:p>
            </p:txBody>
          </p:sp>
        </p:grpSp>
        <p:grpSp>
          <p:nvGrpSpPr>
            <p:cNvPr id="25" name="Group 24"/>
            <p:cNvGrpSpPr/>
            <p:nvPr/>
          </p:nvGrpSpPr>
          <p:grpSpPr>
            <a:xfrm>
              <a:off x="6766275" y="4057911"/>
              <a:ext cx="1577100" cy="1893111"/>
              <a:chOff x="6133673" y="4404946"/>
              <a:chExt cx="1577100" cy="1893111"/>
            </a:xfrm>
          </p:grpSpPr>
          <p:sp>
            <p:nvSpPr>
              <p:cNvPr id="26" name="Rectangle 25"/>
              <p:cNvSpPr/>
              <p:nvPr/>
            </p:nvSpPr>
            <p:spPr bwMode="auto">
              <a:xfrm>
                <a:off x="6133673" y="4404946"/>
                <a:ext cx="1577100" cy="189311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b="1" dirty="0">
                  <a:solidFill>
                    <a:schemeClr val="bg1"/>
                  </a:solidFill>
                  <a:latin typeface="+mj-lt"/>
                  <a:ea typeface="Segoe UI" pitchFamily="34" charset="0"/>
                  <a:cs typeface="Segoe UI" pitchFamily="34" charset="0"/>
                </a:endParaRPr>
              </a:p>
            </p:txBody>
          </p:sp>
          <p:sp>
            <p:nvSpPr>
              <p:cNvPr id="27" name="TextBox 26"/>
              <p:cNvSpPr txBox="1"/>
              <p:nvPr/>
            </p:nvSpPr>
            <p:spPr>
              <a:xfrm>
                <a:off x="6257851" y="4487532"/>
                <a:ext cx="1364289" cy="421539"/>
              </a:xfrm>
              <a:prstGeom prst="rect">
                <a:avLst/>
              </a:prstGeom>
              <a:solidFill>
                <a:schemeClr val="bg1"/>
              </a:solidFill>
            </p:spPr>
            <p:txBody>
              <a:bodyPr wrap="none" lIns="91440" tIns="91440" rIns="91440" bIns="91440" rtlCol="0" anchor="ctr">
                <a:noAutofit/>
              </a:bodyPr>
              <a:lstStyle/>
              <a:p>
                <a:pPr algn="ctr">
                  <a:lnSpc>
                    <a:spcPct val="90000"/>
                  </a:lnSpc>
                  <a:spcAft>
                    <a:spcPts val="600"/>
                  </a:spcAft>
                </a:pPr>
                <a:r>
                  <a:rPr lang="en-US" sz="1400" dirty="0">
                    <a:solidFill>
                      <a:schemeClr val="tx1">
                        <a:lumMod val="85000"/>
                        <a:lumOff val="15000"/>
                      </a:schemeClr>
                    </a:solidFill>
                    <a:latin typeface="Segoe UI Semibold" panose="020B0702040204020203" pitchFamily="34" charset="0"/>
                    <a:cs typeface="Segoe UI Semibold" panose="020B0702040204020203" pitchFamily="34" charset="0"/>
                  </a:rPr>
                  <a:t>TaskTracker</a:t>
                </a:r>
              </a:p>
            </p:txBody>
          </p:sp>
          <p:sp>
            <p:nvSpPr>
              <p:cNvPr id="28" name="Rectangle 27"/>
              <p:cNvSpPr/>
              <p:nvPr/>
            </p:nvSpPr>
            <p:spPr bwMode="auto">
              <a:xfrm>
                <a:off x="6237303" y="5029200"/>
                <a:ext cx="623276" cy="44178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b="1" dirty="0">
                    <a:solidFill>
                      <a:schemeClr val="bg1"/>
                    </a:solidFill>
                    <a:latin typeface="Segoe UI Semibold" panose="020B0702040204020203" pitchFamily="34" charset="0"/>
                    <a:ea typeface="Segoe UI" pitchFamily="34" charset="0"/>
                    <a:cs typeface="Segoe UI Semibold" panose="020B0702040204020203" pitchFamily="34" charset="0"/>
                  </a:rPr>
                  <a:t>Tasks</a:t>
                </a:r>
              </a:p>
            </p:txBody>
          </p:sp>
          <p:sp>
            <p:nvSpPr>
              <p:cNvPr id="29" name="Rectangle 28"/>
              <p:cNvSpPr/>
              <p:nvPr/>
            </p:nvSpPr>
            <p:spPr bwMode="auto">
              <a:xfrm>
                <a:off x="6996703" y="5029200"/>
                <a:ext cx="622448" cy="44178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b="1" dirty="0">
                    <a:solidFill>
                      <a:schemeClr val="bg1"/>
                    </a:solidFill>
                    <a:latin typeface="Segoe UI Semibold" panose="020B0702040204020203" pitchFamily="34" charset="0"/>
                    <a:ea typeface="Segoe UI" pitchFamily="34" charset="0"/>
                    <a:cs typeface="Segoe UI Semibold" panose="020B0702040204020203" pitchFamily="34" charset="0"/>
                  </a:rPr>
                  <a:t>Tasks</a:t>
                </a:r>
              </a:p>
            </p:txBody>
          </p:sp>
          <p:sp>
            <p:nvSpPr>
              <p:cNvPr id="30" name="Rectangle 29"/>
              <p:cNvSpPr/>
              <p:nvPr/>
            </p:nvSpPr>
            <p:spPr bwMode="auto">
              <a:xfrm>
                <a:off x="6235592" y="5613113"/>
                <a:ext cx="623276" cy="441789"/>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b="1" dirty="0">
                    <a:solidFill>
                      <a:schemeClr val="bg1"/>
                    </a:solidFill>
                    <a:latin typeface="Segoe UI Semibold" panose="020B0702040204020203" pitchFamily="34" charset="0"/>
                    <a:ea typeface="Segoe UI" pitchFamily="34" charset="0"/>
                    <a:cs typeface="Segoe UI Semibold" panose="020B0702040204020203" pitchFamily="34" charset="0"/>
                  </a:rPr>
                  <a:t>Tasks</a:t>
                </a:r>
              </a:p>
            </p:txBody>
          </p:sp>
          <p:sp>
            <p:nvSpPr>
              <p:cNvPr id="31" name="Rectangle 30"/>
              <p:cNvSpPr/>
              <p:nvPr/>
            </p:nvSpPr>
            <p:spPr bwMode="auto">
              <a:xfrm>
                <a:off x="6994992" y="5613113"/>
                <a:ext cx="622448" cy="44178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b="1" dirty="0">
                    <a:solidFill>
                      <a:schemeClr val="bg1"/>
                    </a:solidFill>
                    <a:latin typeface="Segoe UI Semibold" panose="020B0702040204020203" pitchFamily="34" charset="0"/>
                    <a:ea typeface="Segoe UI" pitchFamily="34" charset="0"/>
                    <a:cs typeface="Segoe UI Semibold" panose="020B0702040204020203" pitchFamily="34" charset="0"/>
                  </a:rPr>
                  <a:t>Tasks</a:t>
                </a:r>
              </a:p>
            </p:txBody>
          </p:sp>
        </p:grpSp>
        <p:sp>
          <p:nvSpPr>
            <p:cNvPr id="32" name="TextBox 31"/>
            <p:cNvSpPr txBox="1"/>
            <p:nvPr/>
          </p:nvSpPr>
          <p:spPr>
            <a:xfrm>
              <a:off x="8783431" y="1681842"/>
              <a:ext cx="1196422" cy="244852"/>
            </a:xfrm>
            <a:prstGeom prst="ellipse">
              <a:avLst/>
            </a:prstGeom>
            <a:solidFill>
              <a:schemeClr val="bg1"/>
            </a:solidFill>
          </p:spPr>
          <p:txBody>
            <a:bodyPr wrap="none" lIns="91440" tIns="91440" rIns="91440" bIns="91440" rtlCol="0" anchor="ctr">
              <a:noAutofit/>
            </a:bodyPr>
            <a:lstStyle/>
            <a:p>
              <a:pPr algn="ctr">
                <a:lnSpc>
                  <a:spcPct val="90000"/>
                </a:lnSpc>
                <a:spcAft>
                  <a:spcPts val="600"/>
                </a:spcAft>
              </a:pPr>
              <a:r>
                <a:rPr lang="en-US" sz="1400" dirty="0">
                  <a:solidFill>
                    <a:schemeClr val="tx1">
                      <a:lumMod val="85000"/>
                      <a:lumOff val="15000"/>
                    </a:schemeClr>
                  </a:solidFill>
                  <a:latin typeface="Segoe UI Semibold" panose="020B0702040204020203" pitchFamily="34" charset="0"/>
                  <a:cs typeface="Segoe UI Semibold" panose="020B0702040204020203" pitchFamily="34" charset="0"/>
                </a:rPr>
                <a:t>Client</a:t>
              </a:r>
            </a:p>
          </p:txBody>
        </p:sp>
        <p:cxnSp>
          <p:nvCxnSpPr>
            <p:cNvPr id="34" name="Straight Arrow Connector 33"/>
            <p:cNvCxnSpPr/>
            <p:nvPr/>
          </p:nvCxnSpPr>
          <p:spPr>
            <a:xfrm flipH="1">
              <a:off x="9381642" y="2079841"/>
              <a:ext cx="1" cy="58908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a:off x="10076859" y="3091344"/>
              <a:ext cx="391550" cy="0"/>
            </a:xfrm>
            <a:prstGeom prst="straightConnector1">
              <a:avLst/>
            </a:prstGeom>
            <a:ln w="38100">
              <a:solidFill>
                <a:srgbClr val="92D05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8" name="Elbow Connector 37"/>
            <p:cNvCxnSpPr>
              <a:stCxn id="4" idx="2"/>
              <a:endCxn id="27" idx="0"/>
            </p:cNvCxnSpPr>
            <p:nvPr/>
          </p:nvCxnSpPr>
          <p:spPr>
            <a:xfrm rot="5400000">
              <a:off x="8163753" y="2922608"/>
              <a:ext cx="626734" cy="1809044"/>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0" name="Elbow Connector 39"/>
            <p:cNvCxnSpPr>
              <a:stCxn id="4" idx="2"/>
              <a:endCxn id="20" idx="0"/>
            </p:cNvCxnSpPr>
            <p:nvPr/>
          </p:nvCxnSpPr>
          <p:spPr>
            <a:xfrm rot="16200000" flipH="1">
              <a:off x="10014819" y="2880585"/>
              <a:ext cx="626734" cy="1893089"/>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a:stCxn id="4" idx="2"/>
              <a:endCxn id="9" idx="0"/>
            </p:cNvCxnSpPr>
            <p:nvPr/>
          </p:nvCxnSpPr>
          <p:spPr>
            <a:xfrm>
              <a:off x="9381642" y="3513763"/>
              <a:ext cx="1" cy="62673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9" name="TextBox 48"/>
            <p:cNvSpPr txBox="1"/>
            <p:nvPr/>
          </p:nvSpPr>
          <p:spPr>
            <a:xfrm>
              <a:off x="6601817" y="5874921"/>
              <a:ext cx="5229053" cy="914400"/>
            </a:xfrm>
            <a:prstGeom prst="rect">
              <a:avLst/>
            </a:prstGeom>
            <a:noFill/>
          </p:spPr>
          <p:txBody>
            <a:bodyPr wrap="square" lIns="182880" tIns="146304" rIns="182880" bIns="146304" rtlCol="0">
              <a:noAutofit/>
            </a:bodyPr>
            <a:lstStyle/>
            <a:p>
              <a:pPr marL="285750" indent="-285750">
                <a:lnSpc>
                  <a:spcPct val="90000"/>
                </a:lnSpc>
                <a:spcAft>
                  <a:spcPts val="600"/>
                </a:spcAft>
                <a:buFont typeface="Arial" panose="020B0604020202020204" pitchFamily="34" charset="0"/>
                <a:buChar char="•"/>
              </a:pPr>
              <a:r>
                <a:rPr lang="en-US" sz="1200" dirty="0">
                  <a:solidFill>
                    <a:schemeClr val="tx1">
                      <a:lumMod val="85000"/>
                      <a:lumOff val="15000"/>
                    </a:schemeClr>
                  </a:solidFill>
                </a:rPr>
                <a:t>Tasks can be Map, Reduce or Shuffle tasks</a:t>
              </a:r>
            </a:p>
            <a:p>
              <a:pPr marL="285750" indent="-285750">
                <a:lnSpc>
                  <a:spcPct val="90000"/>
                </a:lnSpc>
                <a:spcAft>
                  <a:spcPts val="600"/>
                </a:spcAft>
                <a:buFont typeface="Arial" panose="020B0604020202020204" pitchFamily="34" charset="0"/>
                <a:buChar char="•"/>
              </a:pPr>
              <a:r>
                <a:rPr lang="en-US" sz="1200" dirty="0">
                  <a:solidFill>
                    <a:schemeClr val="tx1">
                      <a:lumMod val="85000"/>
                      <a:lumOff val="15000"/>
                    </a:schemeClr>
                  </a:solidFill>
                </a:rPr>
                <a:t>HDFS component </a:t>
              </a:r>
              <a:r>
                <a:rPr lang="en-US" sz="1200" dirty="0" err="1">
                  <a:solidFill>
                    <a:schemeClr val="tx1">
                      <a:lumMod val="85000"/>
                      <a:lumOff val="15000"/>
                    </a:schemeClr>
                  </a:solidFill>
                </a:rPr>
                <a:t>DataNodes</a:t>
              </a:r>
              <a:r>
                <a:rPr lang="en-US" sz="1200" dirty="0">
                  <a:solidFill>
                    <a:schemeClr val="tx1">
                      <a:lumMod val="85000"/>
                      <a:lumOff val="15000"/>
                    </a:schemeClr>
                  </a:solidFill>
                </a:rPr>
                <a:t> are not shown. They are usually be on the same servers as TaskTrackers</a:t>
              </a:r>
            </a:p>
          </p:txBody>
        </p:sp>
        <p:sp>
          <p:nvSpPr>
            <p:cNvPr id="51" name="Left Brace 50"/>
            <p:cNvSpPr/>
            <p:nvPr/>
          </p:nvSpPr>
          <p:spPr>
            <a:xfrm>
              <a:off x="6040282" y="4067281"/>
              <a:ext cx="499890" cy="1883741"/>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sp>
          <p:nvSpPr>
            <p:cNvPr id="52" name="TextBox 51"/>
            <p:cNvSpPr txBox="1"/>
            <p:nvPr/>
          </p:nvSpPr>
          <p:spPr>
            <a:xfrm>
              <a:off x="5365111" y="4227984"/>
              <a:ext cx="708425" cy="1552964"/>
            </a:xfrm>
            <a:prstGeom prst="rect">
              <a:avLst/>
            </a:prstGeom>
            <a:noFill/>
          </p:spPr>
          <p:txBody>
            <a:bodyPr wrap="square" lIns="0" tIns="146304" rIns="0" bIns="146304" rtlCol="0" anchor="ctr">
              <a:noAutofit/>
            </a:bodyPr>
            <a:lstStyle/>
            <a:p>
              <a:pPr algn="r">
                <a:lnSpc>
                  <a:spcPct val="90000"/>
                </a:lnSpc>
                <a:spcAft>
                  <a:spcPts val="600"/>
                </a:spcAft>
              </a:pPr>
              <a:r>
                <a:rPr lang="en-US" sz="1400" dirty="0">
                  <a:solidFill>
                    <a:schemeClr val="tx1">
                      <a:lumMod val="85000"/>
                      <a:lumOff val="15000"/>
                    </a:schemeClr>
                  </a:solidFill>
                  <a:latin typeface="Segoe UI Semibold" panose="020B0702040204020203" pitchFamily="34" charset="0"/>
                  <a:cs typeface="Segoe UI Semibold" panose="020B0702040204020203" pitchFamily="34" charset="0"/>
                </a:rPr>
                <a:t>Slave Nodes</a:t>
              </a:r>
            </a:p>
          </p:txBody>
        </p:sp>
        <p:sp>
          <p:nvSpPr>
            <p:cNvPr id="53" name="Left Brace 52"/>
            <p:cNvSpPr/>
            <p:nvPr/>
          </p:nvSpPr>
          <p:spPr>
            <a:xfrm>
              <a:off x="7983791" y="2527206"/>
              <a:ext cx="506757" cy="1109166"/>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sp>
          <p:nvSpPr>
            <p:cNvPr id="54" name="TextBox 53"/>
            <p:cNvSpPr txBox="1"/>
            <p:nvPr/>
          </p:nvSpPr>
          <p:spPr>
            <a:xfrm>
              <a:off x="7287333" y="2292655"/>
              <a:ext cx="710771" cy="1552964"/>
            </a:xfrm>
            <a:prstGeom prst="rect">
              <a:avLst/>
            </a:prstGeom>
            <a:noFill/>
          </p:spPr>
          <p:txBody>
            <a:bodyPr wrap="square" lIns="0" tIns="146304" rIns="0" bIns="146304" rtlCol="0" anchor="ctr">
              <a:noAutofit/>
            </a:bodyPr>
            <a:lstStyle/>
            <a:p>
              <a:pPr algn="r">
                <a:lnSpc>
                  <a:spcPct val="90000"/>
                </a:lnSpc>
                <a:spcAft>
                  <a:spcPts val="600"/>
                </a:spcAft>
              </a:pPr>
              <a:r>
                <a:rPr lang="en-US" sz="1400" dirty="0">
                  <a:solidFill>
                    <a:schemeClr val="tx1">
                      <a:lumMod val="85000"/>
                      <a:lumOff val="15000"/>
                    </a:schemeClr>
                  </a:solidFill>
                  <a:latin typeface="Segoe UI Semibold" panose="020B0702040204020203" pitchFamily="34" charset="0"/>
                  <a:cs typeface="Segoe UI Semibold" panose="020B0702040204020203" pitchFamily="34" charset="0"/>
                </a:rPr>
                <a:t>Master Nodes</a:t>
              </a:r>
            </a:p>
          </p:txBody>
        </p:sp>
      </p:grpSp>
      <p:sp>
        <p:nvSpPr>
          <p:cNvPr id="7" name="Rectangle 6"/>
          <p:cNvSpPr/>
          <p:nvPr/>
        </p:nvSpPr>
        <p:spPr>
          <a:xfrm>
            <a:off x="400693" y="1087511"/>
            <a:ext cx="5653753" cy="5363007"/>
          </a:xfrm>
          <a:prstGeom prst="rect">
            <a:avLst/>
          </a:prstGeom>
        </p:spPr>
        <p:txBody>
          <a:bodyPr wrap="square">
            <a:spAutoFit/>
          </a:bodyPr>
          <a:lstStyle/>
          <a:p>
            <a:pPr marL="285750" indent="-285750">
              <a:lnSpc>
                <a:spcPts val="2100"/>
              </a:lnSpc>
              <a:spcAft>
                <a:spcPts val="300"/>
              </a:spcAft>
              <a:buClr>
                <a:schemeClr val="accent3"/>
              </a:buClr>
              <a:buSzPct val="75000"/>
              <a:buFont typeface="Wingdings" panose="05000000000000000000" pitchFamily="2" charset="2"/>
              <a:buChar char="v"/>
            </a:pPr>
            <a:r>
              <a:rPr lang="en-US" sz="1400" dirty="0">
                <a:solidFill>
                  <a:schemeClr val="tx1">
                    <a:lumMod val="65000"/>
                    <a:lumOff val="35000"/>
                  </a:schemeClr>
                </a:solidFill>
              </a:rPr>
              <a:t>A TaskTracker is a node in the cluster that accepts tasks - Map, Reduce and Shuffle operations - from a JobTracker.</a:t>
            </a:r>
          </a:p>
          <a:p>
            <a:pPr marL="285750" indent="-285750">
              <a:lnSpc>
                <a:spcPts val="2100"/>
              </a:lnSpc>
              <a:spcAft>
                <a:spcPts val="300"/>
              </a:spcAft>
              <a:buClr>
                <a:schemeClr val="accent3"/>
              </a:buClr>
              <a:buSzPct val="75000"/>
              <a:buFont typeface="Wingdings" panose="05000000000000000000" pitchFamily="2" charset="2"/>
              <a:buChar char="v"/>
            </a:pPr>
            <a:r>
              <a:rPr lang="en-US" sz="1400" dirty="0">
                <a:solidFill>
                  <a:schemeClr val="tx1">
                    <a:lumMod val="65000"/>
                    <a:lumOff val="35000"/>
                  </a:schemeClr>
                </a:solidFill>
              </a:rPr>
              <a:t>Every TaskTracker is configured with a set of </a:t>
            </a:r>
            <a:r>
              <a:rPr lang="en-US" sz="1400" i="1" dirty="0">
                <a:solidFill>
                  <a:schemeClr val="tx1">
                    <a:lumMod val="65000"/>
                    <a:lumOff val="35000"/>
                  </a:schemeClr>
                </a:solidFill>
              </a:rPr>
              <a:t>slots</a:t>
            </a:r>
            <a:r>
              <a:rPr lang="en-US" sz="1400" dirty="0">
                <a:solidFill>
                  <a:schemeClr val="tx1">
                    <a:lumMod val="65000"/>
                    <a:lumOff val="35000"/>
                  </a:schemeClr>
                </a:solidFill>
              </a:rPr>
              <a:t>, the number of tasks that it can accept. When the JobTracker tries to find somewhere to schedule a task it first looks for an empty slot on the same server that hosts the </a:t>
            </a:r>
            <a:r>
              <a:rPr lang="en-US" sz="1400" dirty="0" err="1">
                <a:solidFill>
                  <a:schemeClr val="tx1">
                    <a:lumMod val="65000"/>
                    <a:lumOff val="35000"/>
                  </a:schemeClr>
                </a:solidFill>
              </a:rPr>
              <a:t>DataNode</a:t>
            </a:r>
            <a:r>
              <a:rPr lang="en-US" sz="1400" dirty="0">
                <a:solidFill>
                  <a:schemeClr val="tx1">
                    <a:lumMod val="65000"/>
                    <a:lumOff val="35000"/>
                  </a:schemeClr>
                </a:solidFill>
              </a:rPr>
              <a:t> containing the data, and if not, it looks for an empty slot on a machine in the same rack.</a:t>
            </a:r>
          </a:p>
          <a:p>
            <a:pPr marL="285750" indent="-285750">
              <a:lnSpc>
                <a:spcPts val="2100"/>
              </a:lnSpc>
              <a:spcAft>
                <a:spcPts val="300"/>
              </a:spcAft>
              <a:buClr>
                <a:schemeClr val="accent3"/>
              </a:buClr>
              <a:buSzPct val="75000"/>
              <a:buFont typeface="Wingdings" panose="05000000000000000000" pitchFamily="2" charset="2"/>
              <a:buChar char="v"/>
            </a:pPr>
            <a:r>
              <a:rPr lang="en-US" sz="1400" dirty="0">
                <a:solidFill>
                  <a:schemeClr val="tx1">
                    <a:lumMod val="65000"/>
                    <a:lumOff val="35000"/>
                  </a:schemeClr>
                </a:solidFill>
              </a:rPr>
              <a:t>The TaskTracker spawns a separate JVM processes to do the actual work; this is to ensure that process failure does not take down the task tracker. The TaskTracker monitors these spawned processes, capturing the output and exit codes. </a:t>
            </a:r>
          </a:p>
          <a:p>
            <a:pPr marL="285750" indent="-285750">
              <a:lnSpc>
                <a:spcPts val="2100"/>
              </a:lnSpc>
              <a:spcAft>
                <a:spcPts val="300"/>
              </a:spcAft>
              <a:buClr>
                <a:schemeClr val="accent3"/>
              </a:buClr>
              <a:buSzPct val="75000"/>
              <a:buFont typeface="Wingdings" panose="05000000000000000000" pitchFamily="2" charset="2"/>
              <a:buChar char="v"/>
            </a:pPr>
            <a:r>
              <a:rPr lang="en-US" sz="1400" dirty="0">
                <a:solidFill>
                  <a:schemeClr val="tx1">
                    <a:lumMod val="65000"/>
                    <a:lumOff val="35000"/>
                  </a:schemeClr>
                </a:solidFill>
              </a:rPr>
              <a:t>When the process finishes, successfully or not, the tracker notifies the JobTracker. </a:t>
            </a:r>
          </a:p>
          <a:p>
            <a:pPr marL="285750" indent="-285750">
              <a:lnSpc>
                <a:spcPts val="2100"/>
              </a:lnSpc>
              <a:spcAft>
                <a:spcPts val="300"/>
              </a:spcAft>
              <a:buClr>
                <a:schemeClr val="accent3"/>
              </a:buClr>
              <a:buSzPct val="75000"/>
              <a:buFont typeface="Wingdings" panose="05000000000000000000" pitchFamily="2" charset="2"/>
              <a:buChar char="v"/>
            </a:pPr>
            <a:r>
              <a:rPr lang="en-US" sz="1400" dirty="0">
                <a:solidFill>
                  <a:schemeClr val="tx1">
                    <a:lumMod val="65000"/>
                    <a:lumOff val="35000"/>
                  </a:schemeClr>
                </a:solidFill>
              </a:rPr>
              <a:t>TaskTrackers also send out heartbeat messages to the JobTracker, usually every few minutes. These message also inform the JobTracker of the number of available slots, so the JobTracker can stay up to date with where in the cluster work can be delegated.</a:t>
            </a:r>
          </a:p>
        </p:txBody>
      </p:sp>
    </p:spTree>
    <p:extLst>
      <p:ext uri="{BB962C8B-B14F-4D97-AF65-F5344CB8AC3E}">
        <p14:creationId xmlns:p14="http://schemas.microsoft.com/office/powerpoint/2010/main" val="1028692017"/>
      </p:ext>
    </p:extLst>
  </p:cSld>
  <p:clrMapOvr>
    <a:masterClrMapping/>
  </p:clrMapOvr>
  <p:transition spd="med">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Base – Sample ‘Customer’ data File</a:t>
            </a:r>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60</a:t>
            </a:fld>
            <a:endParaRPr lang="en-US" dirty="0"/>
          </a:p>
        </p:txBody>
      </p:sp>
      <p:pic>
        <p:nvPicPr>
          <p:cNvPr id="5" name="Picture 4"/>
          <p:cNvPicPr>
            <a:picLocks noChangeAspect="1"/>
          </p:cNvPicPr>
          <p:nvPr/>
        </p:nvPicPr>
        <p:blipFill>
          <a:blip r:embed="rId2"/>
          <a:stretch>
            <a:fillRect/>
          </a:stretch>
        </p:blipFill>
        <p:spPr>
          <a:xfrm>
            <a:off x="832933" y="1914396"/>
            <a:ext cx="10812030" cy="4248142"/>
          </a:xfrm>
          <a:prstGeom prst="rect">
            <a:avLst/>
          </a:prstGeom>
          <a:ln>
            <a:solidFill>
              <a:schemeClr val="bg2">
                <a:lumMod val="75000"/>
              </a:schemeClr>
            </a:solidFill>
          </a:ln>
        </p:spPr>
      </p:pic>
      <p:sp>
        <p:nvSpPr>
          <p:cNvPr id="6" name="TextBox 5"/>
          <p:cNvSpPr txBox="1"/>
          <p:nvPr/>
        </p:nvSpPr>
        <p:spPr>
          <a:xfrm>
            <a:off x="2890982" y="1375013"/>
            <a:ext cx="2983346" cy="378691"/>
          </a:xfrm>
          <a:prstGeom prst="rect">
            <a:avLst/>
          </a:prstGeom>
          <a:noFill/>
        </p:spPr>
        <p:txBody>
          <a:bodyPr wrap="none" lIns="182880" tIns="146304" rIns="182880" bIns="146304" rtlCol="0" anchor="ctr">
            <a:noAutofit/>
          </a:bodyPr>
          <a:lstStyle/>
          <a:p>
            <a:pPr>
              <a:lnSpc>
                <a:spcPct val="90000"/>
              </a:lnSpc>
              <a:spcAft>
                <a:spcPts val="600"/>
              </a:spcAft>
            </a:pPr>
            <a:r>
              <a:rPr lang="en-US" dirty="0">
                <a:solidFill>
                  <a:schemeClr val="bg2">
                    <a:lumMod val="50000"/>
                  </a:schemeClr>
                </a:solidFill>
              </a:rPr>
              <a:t>This is a tab separated file</a:t>
            </a:r>
          </a:p>
        </p:txBody>
      </p:sp>
      <p:cxnSp>
        <p:nvCxnSpPr>
          <p:cNvPr id="8" name="Straight Arrow Connector 7"/>
          <p:cNvCxnSpPr/>
          <p:nvPr/>
        </p:nvCxnSpPr>
        <p:spPr>
          <a:xfrm flipH="1">
            <a:off x="2632364" y="1764145"/>
            <a:ext cx="849745" cy="249382"/>
          </a:xfrm>
          <a:prstGeom prst="straightConnector1">
            <a:avLst/>
          </a:prstGeom>
          <a:ln>
            <a:headEnd type="none"/>
            <a:tailEnd type="triangle"/>
          </a:ln>
        </p:spPr>
        <p:style>
          <a:lnRef idx="1">
            <a:schemeClr val="accent3"/>
          </a:lnRef>
          <a:fillRef idx="0">
            <a:schemeClr val="accent3"/>
          </a:fillRef>
          <a:effectRef idx="0">
            <a:schemeClr val="accent3"/>
          </a:effectRef>
          <a:fontRef idx="minor">
            <a:schemeClr val="tx1"/>
          </a:fontRef>
        </p:style>
      </p:cxnSp>
      <p:cxnSp>
        <p:nvCxnSpPr>
          <p:cNvPr id="10" name="Straight Arrow Connector 9"/>
          <p:cNvCxnSpPr/>
          <p:nvPr/>
        </p:nvCxnSpPr>
        <p:spPr>
          <a:xfrm>
            <a:off x="4996873" y="1753704"/>
            <a:ext cx="748145" cy="269060"/>
          </a:xfrm>
          <a:prstGeom prst="straightConnector1">
            <a:avLst/>
          </a:prstGeom>
          <a:ln>
            <a:headEnd type="none"/>
            <a:tailEnd type="triangle"/>
          </a:ln>
        </p:spPr>
        <p:style>
          <a:lnRef idx="1">
            <a:schemeClr val="accent3"/>
          </a:lnRef>
          <a:fillRef idx="0">
            <a:schemeClr val="accent3"/>
          </a:fillRef>
          <a:effectRef idx="0">
            <a:schemeClr val="accent3"/>
          </a:effectRef>
          <a:fontRef idx="minor">
            <a:schemeClr val="tx1"/>
          </a:fontRef>
        </p:style>
      </p:cxnSp>
      <p:sp>
        <p:nvSpPr>
          <p:cNvPr id="11" name="TextBox 10"/>
          <p:cNvSpPr txBox="1"/>
          <p:nvPr/>
        </p:nvSpPr>
        <p:spPr>
          <a:xfrm>
            <a:off x="4169906" y="6228982"/>
            <a:ext cx="3851564" cy="417520"/>
          </a:xfrm>
          <a:prstGeom prst="rect">
            <a:avLst/>
          </a:prstGeom>
          <a:noFill/>
        </p:spPr>
        <p:txBody>
          <a:bodyPr wrap="none" lIns="182880" tIns="146304" rIns="182880" bIns="146304" rtlCol="0" anchor="ctr">
            <a:noAutofit/>
          </a:bodyPr>
          <a:lstStyle/>
          <a:p>
            <a:pPr>
              <a:lnSpc>
                <a:spcPct val="90000"/>
              </a:lnSpc>
              <a:spcAft>
                <a:spcPts val="600"/>
              </a:spcAft>
            </a:pPr>
            <a:r>
              <a:rPr lang="en-US" dirty="0">
                <a:solidFill>
                  <a:schemeClr val="tx1">
                    <a:lumMod val="85000"/>
                    <a:lumOff val="15000"/>
                  </a:schemeClr>
                </a:solidFill>
              </a:rPr>
              <a:t>customers_address_hbase.txt</a:t>
            </a:r>
          </a:p>
        </p:txBody>
      </p:sp>
    </p:spTree>
    <p:extLst>
      <p:ext uri="{BB962C8B-B14F-4D97-AF65-F5344CB8AC3E}">
        <p14:creationId xmlns:p14="http://schemas.microsoft.com/office/powerpoint/2010/main" val="962704482"/>
      </p:ext>
    </p:extLst>
  </p:cSld>
  <p:clrMapOvr>
    <a:masterClrMapping/>
  </p:clrMapOvr>
  <p:transition spd="med">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Hbase</a:t>
            </a:r>
            <a:r>
              <a:rPr lang="en-US" dirty="0"/>
              <a:t> – Sample ‘Orders’ data file</a:t>
            </a:r>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61</a:t>
            </a:fld>
            <a:endParaRPr lang="en-US" dirty="0"/>
          </a:p>
        </p:txBody>
      </p:sp>
      <p:pic>
        <p:nvPicPr>
          <p:cNvPr id="4" name="Picture 3"/>
          <p:cNvPicPr>
            <a:picLocks noChangeAspect="1"/>
          </p:cNvPicPr>
          <p:nvPr/>
        </p:nvPicPr>
        <p:blipFill>
          <a:blip r:embed="rId2"/>
          <a:stretch>
            <a:fillRect/>
          </a:stretch>
        </p:blipFill>
        <p:spPr>
          <a:xfrm>
            <a:off x="471053" y="2018001"/>
            <a:ext cx="11301822" cy="3602568"/>
          </a:xfrm>
          <a:prstGeom prst="rect">
            <a:avLst/>
          </a:prstGeom>
          <a:ln>
            <a:solidFill>
              <a:schemeClr val="bg2">
                <a:lumMod val="75000"/>
              </a:schemeClr>
            </a:solidFill>
          </a:ln>
        </p:spPr>
      </p:pic>
      <p:sp>
        <p:nvSpPr>
          <p:cNvPr id="5" name="TextBox 4"/>
          <p:cNvSpPr txBox="1"/>
          <p:nvPr/>
        </p:nvSpPr>
        <p:spPr>
          <a:xfrm>
            <a:off x="4169906" y="6228982"/>
            <a:ext cx="3851564" cy="417520"/>
          </a:xfrm>
          <a:prstGeom prst="rect">
            <a:avLst/>
          </a:prstGeom>
          <a:noFill/>
        </p:spPr>
        <p:txBody>
          <a:bodyPr wrap="none" lIns="182880" tIns="146304" rIns="182880" bIns="146304" rtlCol="0" anchor="ctr">
            <a:noAutofit/>
          </a:bodyPr>
          <a:lstStyle/>
          <a:p>
            <a:pPr>
              <a:lnSpc>
                <a:spcPct val="90000"/>
              </a:lnSpc>
              <a:spcAft>
                <a:spcPts val="600"/>
              </a:spcAft>
            </a:pPr>
            <a:r>
              <a:rPr lang="en-US" dirty="0">
                <a:solidFill>
                  <a:schemeClr val="tx1">
                    <a:lumMod val="85000"/>
                    <a:lumOff val="15000"/>
                  </a:schemeClr>
                </a:solidFill>
              </a:rPr>
              <a:t>customers_orders_hbase.txt</a:t>
            </a:r>
          </a:p>
        </p:txBody>
      </p:sp>
    </p:spTree>
    <p:extLst>
      <p:ext uri="{BB962C8B-B14F-4D97-AF65-F5344CB8AC3E}">
        <p14:creationId xmlns:p14="http://schemas.microsoft.com/office/powerpoint/2010/main" val="3744034066"/>
      </p:ext>
    </p:extLst>
  </p:cSld>
  <p:clrMapOvr>
    <a:masterClrMapping/>
  </p:clrMapOvr>
  <p:transition spd="med">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reate, Load, Query HBase Tables</a:t>
            </a:r>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62</a:t>
            </a:fld>
            <a:endParaRPr lang="en-US" dirty="0"/>
          </a:p>
        </p:txBody>
      </p:sp>
      <p:pic>
        <p:nvPicPr>
          <p:cNvPr id="6" name="Picture 5"/>
          <p:cNvPicPr>
            <a:picLocks noChangeAspect="1"/>
          </p:cNvPicPr>
          <p:nvPr/>
        </p:nvPicPr>
        <p:blipFill>
          <a:blip r:embed="rId2"/>
          <a:stretch>
            <a:fillRect/>
          </a:stretch>
        </p:blipFill>
        <p:spPr>
          <a:xfrm>
            <a:off x="737548" y="1118795"/>
            <a:ext cx="9647168" cy="5140410"/>
          </a:xfrm>
          <a:prstGeom prst="rect">
            <a:avLst/>
          </a:prstGeom>
          <a:ln>
            <a:solidFill>
              <a:schemeClr val="tx2">
                <a:lumMod val="60000"/>
                <a:lumOff val="40000"/>
              </a:schemeClr>
            </a:solidFill>
          </a:ln>
        </p:spPr>
      </p:pic>
      <p:sp>
        <p:nvSpPr>
          <p:cNvPr id="7" name="TextBox 6"/>
          <p:cNvSpPr txBox="1"/>
          <p:nvPr/>
        </p:nvSpPr>
        <p:spPr>
          <a:xfrm>
            <a:off x="9225948" y="3689000"/>
            <a:ext cx="2857867" cy="1237128"/>
          </a:xfrm>
          <a:prstGeom prst="rect">
            <a:avLst/>
          </a:prstGeom>
          <a:solidFill>
            <a:schemeClr val="accent3"/>
          </a:solidFill>
        </p:spPr>
        <p:txBody>
          <a:bodyPr wrap="square" lIns="182880" tIns="146304" rIns="182880" bIns="146304" rtlCol="0" anchor="ctr">
            <a:noAutofit/>
          </a:bodyPr>
          <a:lstStyle/>
          <a:p>
            <a:pPr>
              <a:lnSpc>
                <a:spcPct val="90000"/>
              </a:lnSpc>
              <a:spcAft>
                <a:spcPts val="600"/>
              </a:spcAft>
            </a:pPr>
            <a:r>
              <a:rPr lang="en-US" sz="1600" dirty="0">
                <a:solidFill>
                  <a:schemeClr val="bg1"/>
                </a:solidFill>
              </a:rPr>
              <a:t>HBase supports Hive queries – Hive queries from previous slides can be run directly on these HBase tables.</a:t>
            </a:r>
          </a:p>
        </p:txBody>
      </p:sp>
    </p:spTree>
    <p:extLst>
      <p:ext uri="{BB962C8B-B14F-4D97-AF65-F5344CB8AC3E}">
        <p14:creationId xmlns:p14="http://schemas.microsoft.com/office/powerpoint/2010/main" val="4230670579"/>
      </p:ext>
    </p:extLst>
  </p:cSld>
  <p:clrMapOvr>
    <a:masterClrMapping/>
  </p:clrMapOvr>
  <p:transition spd="med">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p:cNvPicPr>
            <a:picLocks noChangeAspect="1"/>
          </p:cNvPicPr>
          <p:nvPr/>
        </p:nvPicPr>
        <p:blipFill rotWithShape="1">
          <a:blip r:embed="rId2"/>
          <a:srcRect l="18410" r="3610" b="53521"/>
          <a:stretch/>
        </p:blipFill>
        <p:spPr>
          <a:xfrm>
            <a:off x="7214013" y="3109265"/>
            <a:ext cx="3745603" cy="3264061"/>
          </a:xfrm>
          <a:prstGeom prst="rect">
            <a:avLst/>
          </a:prstGeom>
        </p:spPr>
      </p:pic>
      <p:sp>
        <p:nvSpPr>
          <p:cNvPr id="2" name="Title 1"/>
          <p:cNvSpPr>
            <a:spLocks noGrp="1"/>
          </p:cNvSpPr>
          <p:nvPr>
            <p:ph type="title"/>
          </p:nvPr>
        </p:nvSpPr>
        <p:spPr/>
        <p:txBody>
          <a:bodyPr/>
          <a:lstStyle/>
          <a:p>
            <a:r>
              <a:rPr lang="pt-BR" dirty="0"/>
              <a:t>HBase as a platform</a:t>
            </a:r>
            <a:br>
              <a:rPr lang="pt-BR" dirty="0"/>
            </a:br>
            <a:endParaRPr lang="en-US" dirty="0"/>
          </a:p>
        </p:txBody>
      </p:sp>
      <p:grpSp>
        <p:nvGrpSpPr>
          <p:cNvPr id="5" name="Group 4"/>
          <p:cNvGrpSpPr/>
          <p:nvPr/>
        </p:nvGrpSpPr>
        <p:grpSpPr>
          <a:xfrm>
            <a:off x="455994" y="1463328"/>
            <a:ext cx="5277391" cy="1773513"/>
            <a:chOff x="465137" y="1492174"/>
            <a:chExt cx="5383214" cy="1809076"/>
          </a:xfrm>
        </p:grpSpPr>
        <p:sp>
          <p:nvSpPr>
            <p:cNvPr id="42" name="Rectangle 41"/>
            <p:cNvSpPr/>
            <p:nvPr/>
          </p:nvSpPr>
          <p:spPr>
            <a:xfrm>
              <a:off x="970716" y="1492174"/>
              <a:ext cx="4877635" cy="1737360"/>
            </a:xfrm>
            <a:prstGeom prst="rect">
              <a:avLst/>
            </a:prstGeom>
            <a:noFill/>
            <a:ln w="3175">
              <a:noFill/>
            </a:ln>
          </p:spPr>
          <p:txBody>
            <a:bodyPr wrap="square" lIns="0" tIns="0" rIns="0" bIns="0">
              <a:noAutofit/>
            </a:bodyPr>
            <a:lstStyle/>
            <a:p>
              <a:pPr marL="0" lvl="1" defTabSz="913770" fontAlgn="base">
                <a:spcBef>
                  <a:spcPts val="588"/>
                </a:spcBef>
                <a:spcAft>
                  <a:spcPts val="588"/>
                </a:spcAft>
                <a:buClr>
                  <a:srgbClr val="68217A">
                    <a:lumMod val="50000"/>
                  </a:srgbClr>
                </a:buClr>
                <a:tabLst>
                  <a:tab pos="645523" algn="l"/>
                </a:tabLst>
              </a:pPr>
              <a:r>
                <a:rPr lang="en-IN" sz="2353" dirty="0">
                  <a:solidFill>
                    <a:srgbClr val="505050"/>
                  </a:solidFill>
                  <a:latin typeface="Segoe UI Semibold" panose="020B0702040204020203" pitchFamily="34" charset="0"/>
                  <a:ea typeface="Segoe UI" pitchFamily="34" charset="0"/>
                  <a:cs typeface="Segoe UI Semibold" panose="020B0702040204020203" pitchFamily="34" charset="0"/>
                </a:rPr>
                <a:t>Running on top of HBase </a:t>
              </a:r>
              <a:br>
                <a:rPr lang="en-IN" sz="2353" dirty="0">
                  <a:solidFill>
                    <a:srgbClr val="505050"/>
                  </a:solidFill>
                  <a:latin typeface="Segoe UI Semibold" panose="020B0702040204020203" pitchFamily="34" charset="0"/>
                  <a:ea typeface="Segoe UI" pitchFamily="34" charset="0"/>
                  <a:cs typeface="Segoe UI Semibold" panose="020B0702040204020203" pitchFamily="34" charset="0"/>
                </a:rPr>
              </a:br>
              <a:r>
                <a:rPr lang="en-IN" sz="2353" dirty="0">
                  <a:solidFill>
                    <a:srgbClr val="505050"/>
                  </a:solidFill>
                  <a:latin typeface="Segoe UI Semibold" panose="020B0702040204020203" pitchFamily="34" charset="0"/>
                  <a:ea typeface="Segoe UI" pitchFamily="34" charset="0"/>
                  <a:cs typeface="Segoe UI Semibold" panose="020B0702040204020203" pitchFamily="34" charset="0"/>
                </a:rPr>
                <a:t>using it as a </a:t>
              </a:r>
              <a:r>
                <a:rPr lang="en-IN" sz="2353" dirty="0" err="1">
                  <a:solidFill>
                    <a:srgbClr val="505050"/>
                  </a:solidFill>
                  <a:latin typeface="Segoe UI Semibold" panose="020B0702040204020203" pitchFamily="34" charset="0"/>
                  <a:ea typeface="Segoe UI" pitchFamily="34" charset="0"/>
                  <a:cs typeface="Segoe UI Semibold" panose="020B0702040204020203" pitchFamily="34" charset="0"/>
                </a:rPr>
                <a:t>datastore</a:t>
              </a:r>
              <a:endParaRPr lang="en-IN" sz="2353" dirty="0">
                <a:solidFill>
                  <a:srgbClr val="505050"/>
                </a:solidFill>
                <a:latin typeface="Segoe UI Semibold" panose="020B0702040204020203" pitchFamily="34" charset="0"/>
                <a:ea typeface="Segoe UI" pitchFamily="34" charset="0"/>
                <a:cs typeface="Segoe UI Semibold" panose="020B0702040204020203" pitchFamily="34" charset="0"/>
              </a:endParaRPr>
            </a:p>
            <a:p>
              <a:pPr marL="0" lvl="1" defTabSz="913770" fontAlgn="base">
                <a:spcBef>
                  <a:spcPts val="196"/>
                </a:spcBef>
                <a:spcAft>
                  <a:spcPts val="196"/>
                </a:spcAft>
                <a:buClr>
                  <a:srgbClr val="68217A">
                    <a:lumMod val="50000"/>
                  </a:srgbClr>
                </a:buClr>
                <a:tabLst>
                  <a:tab pos="645523" algn="l"/>
                </a:tabLst>
              </a:pPr>
              <a:r>
                <a:rPr lang="en-IN" sz="1765" dirty="0">
                  <a:solidFill>
                    <a:srgbClr val="505050"/>
                  </a:solidFill>
                  <a:ea typeface="Segoe UI" pitchFamily="34" charset="0"/>
                  <a:cs typeface="Segoe UI" pitchFamily="34" charset="0"/>
                </a:rPr>
                <a:t>Phoenix</a:t>
              </a:r>
            </a:p>
            <a:p>
              <a:pPr marL="0" lvl="1" defTabSz="913770" fontAlgn="base">
                <a:spcBef>
                  <a:spcPts val="196"/>
                </a:spcBef>
                <a:spcAft>
                  <a:spcPts val="196"/>
                </a:spcAft>
                <a:buClr>
                  <a:srgbClr val="68217A">
                    <a:lumMod val="50000"/>
                  </a:srgbClr>
                </a:buClr>
                <a:tabLst>
                  <a:tab pos="645523" algn="l"/>
                </a:tabLst>
              </a:pPr>
              <a:r>
                <a:rPr lang="en-IN" sz="1765" dirty="0" err="1">
                  <a:solidFill>
                    <a:srgbClr val="505050"/>
                  </a:solidFill>
                  <a:ea typeface="Segoe UI" pitchFamily="34" charset="0"/>
                  <a:cs typeface="Segoe UI" pitchFamily="34" charset="0"/>
                </a:rPr>
                <a:t>Kiji</a:t>
              </a:r>
              <a:endParaRPr lang="en-IN" sz="1765" dirty="0">
                <a:solidFill>
                  <a:srgbClr val="505050"/>
                </a:solidFill>
                <a:ea typeface="Segoe UI" pitchFamily="34" charset="0"/>
                <a:cs typeface="Segoe UI" pitchFamily="34" charset="0"/>
              </a:endParaRPr>
            </a:p>
            <a:p>
              <a:pPr marL="0" lvl="1" defTabSz="913770" fontAlgn="base">
                <a:spcBef>
                  <a:spcPts val="196"/>
                </a:spcBef>
                <a:spcAft>
                  <a:spcPts val="196"/>
                </a:spcAft>
                <a:buClr>
                  <a:srgbClr val="68217A">
                    <a:lumMod val="50000"/>
                  </a:srgbClr>
                </a:buClr>
                <a:tabLst>
                  <a:tab pos="645523" algn="l"/>
                </a:tabLst>
              </a:pPr>
              <a:r>
                <a:rPr lang="en-IN" sz="1765" dirty="0">
                  <a:solidFill>
                    <a:srgbClr val="505050"/>
                  </a:solidFill>
                  <a:ea typeface="Segoe UI" pitchFamily="34" charset="0"/>
                  <a:cs typeface="Segoe UI" pitchFamily="34" charset="0"/>
                </a:rPr>
                <a:t>Titan</a:t>
              </a:r>
            </a:p>
          </p:txBody>
        </p:sp>
        <p:sp>
          <p:nvSpPr>
            <p:cNvPr id="43" name="Freeform 42"/>
            <p:cNvSpPr>
              <a:spLocks/>
            </p:cNvSpPr>
            <p:nvPr/>
          </p:nvSpPr>
          <p:spPr bwMode="auto">
            <a:xfrm>
              <a:off x="465137" y="1578308"/>
              <a:ext cx="327221" cy="255032"/>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solidFill>
            <a:ln>
              <a:noFill/>
            </a:ln>
          </p:spPr>
          <p:txBody>
            <a:bodyPr vert="horz" wrap="square" lIns="89642" tIns="44821" rIns="89642" bIns="44821" numCol="1" anchor="t" anchorCtr="0" compatLnSpc="1">
              <a:prstTxWarp prst="textNoShape">
                <a:avLst/>
              </a:prstTxWarp>
            </a:bodyPr>
            <a:lstStyle/>
            <a:p>
              <a:pPr defTabSz="914367"/>
              <a:endParaRPr lang="en-IN" sz="1765">
                <a:solidFill>
                  <a:srgbClr val="000000"/>
                </a:solidFill>
              </a:endParaRPr>
            </a:p>
          </p:txBody>
        </p:sp>
        <p:sp>
          <p:nvSpPr>
            <p:cNvPr id="44" name="Rectangle 43"/>
            <p:cNvSpPr/>
            <p:nvPr/>
          </p:nvSpPr>
          <p:spPr>
            <a:xfrm>
              <a:off x="2944540" y="2275328"/>
              <a:ext cx="2440305" cy="1025922"/>
            </a:xfrm>
            <a:prstGeom prst="rect">
              <a:avLst/>
            </a:prstGeom>
          </p:spPr>
          <p:txBody>
            <a:bodyPr wrap="square">
              <a:spAutoFit/>
            </a:bodyPr>
            <a:lstStyle/>
            <a:p>
              <a:pPr marL="0" lvl="1" defTabSz="913770" fontAlgn="base">
                <a:spcBef>
                  <a:spcPts val="196"/>
                </a:spcBef>
                <a:spcAft>
                  <a:spcPts val="196"/>
                </a:spcAft>
                <a:buClr>
                  <a:srgbClr val="68217A">
                    <a:lumMod val="50000"/>
                  </a:srgbClr>
                </a:buClr>
                <a:tabLst>
                  <a:tab pos="645523" algn="l"/>
                </a:tabLst>
              </a:pPr>
              <a:r>
                <a:rPr lang="en-IN" sz="1765" dirty="0" err="1">
                  <a:solidFill>
                    <a:srgbClr val="505050"/>
                  </a:solidFill>
                  <a:ea typeface="Segoe UI" pitchFamily="34" charset="0"/>
                  <a:cs typeface="Segoe UI" pitchFamily="34" charset="0"/>
                </a:rPr>
                <a:t>OpenTSDB</a:t>
              </a:r>
              <a:endParaRPr lang="en-IN" sz="1765" dirty="0">
                <a:solidFill>
                  <a:srgbClr val="505050"/>
                </a:solidFill>
                <a:ea typeface="Segoe UI" pitchFamily="34" charset="0"/>
                <a:cs typeface="Segoe UI" pitchFamily="34" charset="0"/>
              </a:endParaRPr>
            </a:p>
            <a:p>
              <a:pPr marL="0" lvl="1" defTabSz="913770" fontAlgn="base">
                <a:spcBef>
                  <a:spcPts val="196"/>
                </a:spcBef>
                <a:spcAft>
                  <a:spcPts val="196"/>
                </a:spcAft>
                <a:buClr>
                  <a:srgbClr val="68217A">
                    <a:lumMod val="50000"/>
                  </a:srgbClr>
                </a:buClr>
                <a:tabLst>
                  <a:tab pos="645523" algn="l"/>
                </a:tabLst>
              </a:pPr>
              <a:r>
                <a:rPr lang="en-IN" sz="1765" dirty="0">
                  <a:solidFill>
                    <a:srgbClr val="505050"/>
                  </a:solidFill>
                  <a:ea typeface="Segoe UI" pitchFamily="34" charset="0"/>
                  <a:cs typeface="Segoe UI" pitchFamily="34" charset="0"/>
                </a:rPr>
                <a:t>Continuity</a:t>
              </a:r>
            </a:p>
            <a:p>
              <a:pPr marL="0" lvl="1" defTabSz="913770" fontAlgn="base">
                <a:spcBef>
                  <a:spcPts val="196"/>
                </a:spcBef>
                <a:spcAft>
                  <a:spcPts val="196"/>
                </a:spcAft>
                <a:buClr>
                  <a:srgbClr val="68217A">
                    <a:lumMod val="50000"/>
                  </a:srgbClr>
                </a:buClr>
                <a:tabLst>
                  <a:tab pos="645523" algn="l"/>
                </a:tabLst>
              </a:pPr>
              <a:r>
                <a:rPr lang="en-IN" sz="1765" dirty="0">
                  <a:solidFill>
                    <a:srgbClr val="505050"/>
                  </a:solidFill>
                  <a:ea typeface="Segoe UI" pitchFamily="34" charset="0"/>
                  <a:cs typeface="Segoe UI" pitchFamily="34" charset="0"/>
                </a:rPr>
                <a:t>Splice Machine</a:t>
              </a:r>
            </a:p>
          </p:txBody>
        </p:sp>
      </p:grpSp>
      <p:grpSp>
        <p:nvGrpSpPr>
          <p:cNvPr id="45" name="Group 44"/>
          <p:cNvGrpSpPr/>
          <p:nvPr/>
        </p:nvGrpSpPr>
        <p:grpSpPr>
          <a:xfrm>
            <a:off x="455994" y="3616465"/>
            <a:ext cx="5277391" cy="2050420"/>
            <a:chOff x="465137" y="1492173"/>
            <a:chExt cx="5383214" cy="2091535"/>
          </a:xfrm>
        </p:grpSpPr>
        <p:sp>
          <p:nvSpPr>
            <p:cNvPr id="46" name="Rectangle 45"/>
            <p:cNvSpPr/>
            <p:nvPr/>
          </p:nvSpPr>
          <p:spPr>
            <a:xfrm>
              <a:off x="970716" y="1492173"/>
              <a:ext cx="4877635" cy="2091535"/>
            </a:xfrm>
            <a:prstGeom prst="rect">
              <a:avLst/>
            </a:prstGeom>
            <a:noFill/>
            <a:ln w="3175">
              <a:noFill/>
            </a:ln>
          </p:spPr>
          <p:txBody>
            <a:bodyPr wrap="square" lIns="0" tIns="0" rIns="0" bIns="0">
              <a:noAutofit/>
            </a:bodyPr>
            <a:lstStyle/>
            <a:p>
              <a:pPr marL="0" lvl="1" defTabSz="913770" fontAlgn="base">
                <a:spcBef>
                  <a:spcPts val="588"/>
                </a:spcBef>
                <a:spcAft>
                  <a:spcPts val="588"/>
                </a:spcAft>
                <a:buClr>
                  <a:srgbClr val="68217A">
                    <a:lumMod val="50000"/>
                  </a:srgbClr>
                </a:buClr>
                <a:tabLst>
                  <a:tab pos="645523" algn="l"/>
                </a:tabLst>
              </a:pPr>
              <a:r>
                <a:rPr lang="en-US" sz="2353" dirty="0">
                  <a:solidFill>
                    <a:srgbClr val="505050"/>
                  </a:solidFill>
                  <a:latin typeface="Segoe UI Semibold" panose="020B0702040204020203" pitchFamily="34" charset="0"/>
                  <a:ea typeface="Segoe UI" pitchFamily="34" charset="0"/>
                  <a:cs typeface="Segoe UI Semibold" panose="020B0702040204020203" pitchFamily="34" charset="0"/>
                </a:rPr>
                <a:t>Integrated with HBase</a:t>
              </a:r>
              <a:endParaRPr lang="en-IN" sz="2353" dirty="0">
                <a:solidFill>
                  <a:srgbClr val="505050"/>
                </a:solidFill>
                <a:latin typeface="Segoe UI Semibold" panose="020B0702040204020203" pitchFamily="34" charset="0"/>
                <a:ea typeface="Segoe UI" pitchFamily="34" charset="0"/>
                <a:cs typeface="Segoe UI Semibold" panose="020B0702040204020203" pitchFamily="34" charset="0"/>
              </a:endParaRPr>
            </a:p>
            <a:p>
              <a:pPr marL="0" lvl="1" defTabSz="913770" fontAlgn="base">
                <a:spcBef>
                  <a:spcPts val="196"/>
                </a:spcBef>
                <a:spcAft>
                  <a:spcPts val="196"/>
                </a:spcAft>
                <a:buClr>
                  <a:srgbClr val="68217A">
                    <a:lumMod val="50000"/>
                  </a:srgbClr>
                </a:buClr>
                <a:tabLst>
                  <a:tab pos="645523" algn="l"/>
                </a:tabLst>
              </a:pPr>
              <a:r>
                <a:rPr lang="en-IN" sz="1765" dirty="0">
                  <a:solidFill>
                    <a:srgbClr val="505050"/>
                  </a:solidFill>
                  <a:ea typeface="Segoe UI" pitchFamily="34" charset="0"/>
                  <a:cs typeface="Segoe UI" pitchFamily="34" charset="0"/>
                </a:rPr>
                <a:t>Hive</a:t>
              </a:r>
            </a:p>
            <a:p>
              <a:pPr marL="0" lvl="1" defTabSz="913770" fontAlgn="base">
                <a:spcBef>
                  <a:spcPts val="196"/>
                </a:spcBef>
                <a:spcAft>
                  <a:spcPts val="196"/>
                </a:spcAft>
                <a:buClr>
                  <a:srgbClr val="68217A">
                    <a:lumMod val="50000"/>
                  </a:srgbClr>
                </a:buClr>
                <a:tabLst>
                  <a:tab pos="645523" algn="l"/>
                </a:tabLst>
              </a:pPr>
              <a:r>
                <a:rPr lang="en-IN" sz="1765" dirty="0" err="1">
                  <a:solidFill>
                    <a:srgbClr val="505050"/>
                  </a:solidFill>
                  <a:ea typeface="Segoe UI" pitchFamily="34" charset="0"/>
                  <a:cs typeface="Segoe UI" pitchFamily="34" charset="0"/>
                </a:rPr>
                <a:t>Solr</a:t>
              </a:r>
              <a:endParaRPr lang="en-IN" sz="1765" dirty="0">
                <a:solidFill>
                  <a:srgbClr val="505050"/>
                </a:solidFill>
                <a:ea typeface="Segoe UI" pitchFamily="34" charset="0"/>
                <a:cs typeface="Segoe UI" pitchFamily="34" charset="0"/>
              </a:endParaRPr>
            </a:p>
            <a:p>
              <a:pPr marL="0" lvl="1" defTabSz="913770" fontAlgn="base">
                <a:spcBef>
                  <a:spcPts val="196"/>
                </a:spcBef>
                <a:spcAft>
                  <a:spcPts val="196"/>
                </a:spcAft>
                <a:buClr>
                  <a:srgbClr val="68217A">
                    <a:lumMod val="50000"/>
                  </a:srgbClr>
                </a:buClr>
                <a:tabLst>
                  <a:tab pos="645523" algn="l"/>
                </a:tabLst>
              </a:pPr>
              <a:r>
                <a:rPr lang="en-IN" sz="1765" dirty="0">
                  <a:solidFill>
                    <a:srgbClr val="505050"/>
                  </a:solidFill>
                  <a:ea typeface="Segoe UI" pitchFamily="34" charset="0"/>
                  <a:cs typeface="Segoe UI" pitchFamily="34" charset="0"/>
                </a:rPr>
                <a:t>Storm</a:t>
              </a:r>
            </a:p>
            <a:p>
              <a:pPr marL="0" lvl="1" defTabSz="913770" fontAlgn="base">
                <a:spcBef>
                  <a:spcPts val="196"/>
                </a:spcBef>
                <a:spcAft>
                  <a:spcPts val="196"/>
                </a:spcAft>
                <a:buClr>
                  <a:srgbClr val="68217A">
                    <a:lumMod val="50000"/>
                  </a:srgbClr>
                </a:buClr>
                <a:tabLst>
                  <a:tab pos="645523" algn="l"/>
                </a:tabLst>
              </a:pPr>
              <a:r>
                <a:rPr lang="en-IN" sz="1765" dirty="0">
                  <a:solidFill>
                    <a:srgbClr val="505050"/>
                  </a:solidFill>
                  <a:ea typeface="Segoe UI" pitchFamily="34" charset="0"/>
                  <a:cs typeface="Segoe UI" pitchFamily="34" charset="0"/>
                </a:rPr>
                <a:t>Impala</a:t>
              </a:r>
            </a:p>
            <a:p>
              <a:pPr marL="0" lvl="1" defTabSz="913770" fontAlgn="base">
                <a:spcBef>
                  <a:spcPts val="196"/>
                </a:spcBef>
                <a:spcAft>
                  <a:spcPts val="196"/>
                </a:spcAft>
                <a:buClr>
                  <a:srgbClr val="68217A">
                    <a:lumMod val="50000"/>
                  </a:srgbClr>
                </a:buClr>
                <a:tabLst>
                  <a:tab pos="645523" algn="l"/>
                </a:tabLst>
              </a:pPr>
              <a:r>
                <a:rPr lang="en-IN" sz="1765" dirty="0">
                  <a:solidFill>
                    <a:srgbClr val="505050"/>
                  </a:solidFill>
                  <a:ea typeface="Segoe UI" pitchFamily="34" charset="0"/>
                  <a:cs typeface="Segoe UI" pitchFamily="34" charset="0"/>
                </a:rPr>
                <a:t>Spark</a:t>
              </a:r>
            </a:p>
          </p:txBody>
        </p:sp>
        <p:sp>
          <p:nvSpPr>
            <p:cNvPr id="47" name="Freeform 46"/>
            <p:cNvSpPr>
              <a:spLocks/>
            </p:cNvSpPr>
            <p:nvPr/>
          </p:nvSpPr>
          <p:spPr bwMode="auto">
            <a:xfrm>
              <a:off x="465137" y="1578308"/>
              <a:ext cx="327221" cy="255032"/>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solidFill>
            <a:ln>
              <a:noFill/>
            </a:ln>
          </p:spPr>
          <p:txBody>
            <a:bodyPr vert="horz" wrap="square" lIns="89642" tIns="44821" rIns="89642" bIns="44821" numCol="1" anchor="t" anchorCtr="0" compatLnSpc="1">
              <a:prstTxWarp prst="textNoShape">
                <a:avLst/>
              </a:prstTxWarp>
            </a:bodyPr>
            <a:lstStyle/>
            <a:p>
              <a:pPr defTabSz="914367"/>
              <a:endParaRPr lang="en-IN" sz="1765">
                <a:solidFill>
                  <a:srgbClr val="000000"/>
                </a:solidFill>
              </a:endParaRPr>
            </a:p>
          </p:txBody>
        </p:sp>
        <p:sp>
          <p:nvSpPr>
            <p:cNvPr id="48" name="Rectangle 47"/>
            <p:cNvSpPr/>
            <p:nvPr/>
          </p:nvSpPr>
          <p:spPr>
            <a:xfrm>
              <a:off x="2944540" y="1940914"/>
              <a:ext cx="2440305" cy="1354217"/>
            </a:xfrm>
            <a:prstGeom prst="rect">
              <a:avLst/>
            </a:prstGeom>
          </p:spPr>
          <p:txBody>
            <a:bodyPr wrap="square">
              <a:spAutoFit/>
            </a:bodyPr>
            <a:lstStyle/>
            <a:p>
              <a:pPr marL="0" lvl="1" defTabSz="913770" fontAlgn="base">
                <a:spcBef>
                  <a:spcPts val="196"/>
                </a:spcBef>
                <a:spcAft>
                  <a:spcPts val="196"/>
                </a:spcAft>
                <a:buClr>
                  <a:srgbClr val="68217A">
                    <a:lumMod val="50000"/>
                  </a:srgbClr>
                </a:buClr>
                <a:tabLst>
                  <a:tab pos="645523" algn="l"/>
                </a:tabLst>
              </a:pPr>
              <a:r>
                <a:rPr lang="en-IN" sz="1765" dirty="0">
                  <a:solidFill>
                    <a:srgbClr val="505050"/>
                  </a:solidFill>
                  <a:ea typeface="Segoe UI" pitchFamily="34" charset="0"/>
                  <a:cs typeface="Segoe UI" pitchFamily="34" charset="0"/>
                </a:rPr>
                <a:t>Drill</a:t>
              </a:r>
            </a:p>
            <a:p>
              <a:pPr marL="0" lvl="1" defTabSz="913770" fontAlgn="base">
                <a:spcBef>
                  <a:spcPts val="196"/>
                </a:spcBef>
                <a:spcAft>
                  <a:spcPts val="196"/>
                </a:spcAft>
                <a:buClr>
                  <a:srgbClr val="68217A">
                    <a:lumMod val="50000"/>
                  </a:srgbClr>
                </a:buClr>
                <a:tabLst>
                  <a:tab pos="645523" algn="l"/>
                </a:tabLst>
              </a:pPr>
              <a:r>
                <a:rPr lang="en-IN" sz="1765" dirty="0">
                  <a:solidFill>
                    <a:srgbClr val="505050"/>
                  </a:solidFill>
                  <a:ea typeface="Segoe UI" pitchFamily="34" charset="0"/>
                  <a:cs typeface="Segoe UI" pitchFamily="34" charset="0"/>
                </a:rPr>
                <a:t>Pig</a:t>
              </a:r>
            </a:p>
            <a:p>
              <a:pPr marL="0" lvl="1" defTabSz="913770" fontAlgn="base">
                <a:spcBef>
                  <a:spcPts val="196"/>
                </a:spcBef>
                <a:spcAft>
                  <a:spcPts val="196"/>
                </a:spcAft>
                <a:buClr>
                  <a:srgbClr val="68217A">
                    <a:lumMod val="50000"/>
                  </a:srgbClr>
                </a:buClr>
                <a:tabLst>
                  <a:tab pos="645523" algn="l"/>
                </a:tabLst>
              </a:pPr>
              <a:r>
                <a:rPr lang="en-IN" sz="1765" dirty="0">
                  <a:solidFill>
                    <a:srgbClr val="505050"/>
                  </a:solidFill>
                  <a:ea typeface="Segoe UI" pitchFamily="34" charset="0"/>
                  <a:cs typeface="Segoe UI" pitchFamily="34" charset="0"/>
                </a:rPr>
                <a:t>Flume</a:t>
              </a:r>
            </a:p>
            <a:p>
              <a:pPr marL="0" lvl="1" defTabSz="913770" fontAlgn="base">
                <a:spcBef>
                  <a:spcPts val="196"/>
                </a:spcBef>
                <a:spcAft>
                  <a:spcPts val="196"/>
                </a:spcAft>
                <a:buClr>
                  <a:srgbClr val="68217A">
                    <a:lumMod val="50000"/>
                  </a:srgbClr>
                </a:buClr>
                <a:tabLst>
                  <a:tab pos="645523" algn="l"/>
                </a:tabLst>
              </a:pPr>
              <a:r>
                <a:rPr lang="en-IN" sz="1765" dirty="0">
                  <a:solidFill>
                    <a:srgbClr val="505050"/>
                  </a:solidFill>
                  <a:ea typeface="Segoe UI" pitchFamily="34" charset="0"/>
                  <a:cs typeface="Segoe UI" pitchFamily="34" charset="0"/>
                </a:rPr>
                <a:t>Ganglia</a:t>
              </a:r>
            </a:p>
          </p:txBody>
        </p:sp>
      </p:grpSp>
      <p:grpSp>
        <p:nvGrpSpPr>
          <p:cNvPr id="8" name="Group 7"/>
          <p:cNvGrpSpPr/>
          <p:nvPr/>
        </p:nvGrpSpPr>
        <p:grpSpPr>
          <a:xfrm>
            <a:off x="6266420" y="1347448"/>
            <a:ext cx="5507449" cy="1737591"/>
            <a:chOff x="6392074" y="1457100"/>
            <a:chExt cx="5617885" cy="1772433"/>
          </a:xfrm>
        </p:grpSpPr>
        <p:sp>
          <p:nvSpPr>
            <p:cNvPr id="49" name="Rectangle 48"/>
            <p:cNvSpPr/>
            <p:nvPr/>
          </p:nvSpPr>
          <p:spPr bwMode="auto">
            <a:xfrm>
              <a:off x="6392074" y="1457100"/>
              <a:ext cx="5617885" cy="177243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3770" fontAlgn="base">
                <a:spcBef>
                  <a:spcPts val="196"/>
                </a:spcBef>
                <a:spcAft>
                  <a:spcPts val="294"/>
                </a:spcAft>
              </a:pPr>
              <a:endParaRPr lang="en-US" sz="1961" dirty="0">
                <a:solidFill>
                  <a:srgbClr val="505050"/>
                </a:solidFill>
                <a:ea typeface="Segoe UI" pitchFamily="34" charset="0"/>
                <a:cs typeface="Segoe UI" pitchFamily="34" charset="0"/>
              </a:endParaRPr>
            </a:p>
          </p:txBody>
        </p:sp>
        <p:sp>
          <p:nvSpPr>
            <p:cNvPr id="60" name="TextBox 59"/>
            <p:cNvSpPr txBox="1"/>
            <p:nvPr/>
          </p:nvSpPr>
          <p:spPr>
            <a:xfrm>
              <a:off x="6517001" y="1599854"/>
              <a:ext cx="1737360" cy="717752"/>
            </a:xfrm>
            <a:prstGeom prst="rect">
              <a:avLst/>
            </a:prstGeom>
            <a:solidFill>
              <a:schemeClr val="accent3"/>
            </a:solidFill>
            <a:ln w="25400" cap="flat" cmpd="sng" algn="ctr">
              <a:noFill/>
              <a:prstDash val="solid"/>
              <a:headEnd type="none" w="med" len="med"/>
              <a:tailEnd type="none" w="med" len="med"/>
            </a:ln>
            <a:effectLst/>
          </p:spPr>
          <p:txBody>
            <a:bodyPr rot="0" spcFirstLastPara="0" vertOverflow="overflow" horzOverflow="overflow" vert="horz" wrap="square" lIns="48725" tIns="44821" rIns="48725" bIns="40947" numCol="1" spcCol="0" rtlCol="0" fromWordArt="0" anchor="ctr" anchorCtr="0" forceAA="0" compatLnSpc="1">
              <a:prstTxWarp prst="textNoShape">
                <a:avLst/>
              </a:prstTxWarp>
              <a:noAutofit/>
            </a:bodyPr>
            <a:lstStyle>
              <a:defPPr>
                <a:defRPr lang="en-US"/>
              </a:defPPr>
              <a:lvl1pPr algn="ctr" defTabSz="602693" fontAlgn="base">
                <a:spcBef>
                  <a:spcPct val="0"/>
                </a:spcBef>
                <a:spcAft>
                  <a:spcPct val="0"/>
                </a:spcAft>
                <a:defRPr sz="1400" kern="0">
                  <a:solidFill>
                    <a:schemeClr val="bg1"/>
                  </a:solidFill>
                  <a:ea typeface="Segoe UI" pitchFamily="34" charset="0"/>
                  <a:cs typeface="Segoe UI"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1765" dirty="0">
                  <a:solidFill>
                    <a:srgbClr val="FFFFFF"/>
                  </a:solidFill>
                </a:rPr>
                <a:t>Phoenix</a:t>
              </a:r>
            </a:p>
          </p:txBody>
        </p:sp>
        <p:sp>
          <p:nvSpPr>
            <p:cNvPr id="61" name="TextBox 60"/>
            <p:cNvSpPr txBox="1"/>
            <p:nvPr/>
          </p:nvSpPr>
          <p:spPr>
            <a:xfrm>
              <a:off x="6517001" y="2417469"/>
              <a:ext cx="1737360" cy="717752"/>
            </a:xfrm>
            <a:prstGeom prst="rect">
              <a:avLst/>
            </a:prstGeom>
            <a:solidFill>
              <a:schemeClr val="accent3"/>
            </a:solidFill>
            <a:ln w="25400" cap="flat" cmpd="sng" algn="ctr">
              <a:noFill/>
              <a:prstDash val="solid"/>
              <a:headEnd type="none" w="med" len="med"/>
              <a:tailEnd type="none" w="med" len="med"/>
            </a:ln>
            <a:effectLst/>
          </p:spPr>
          <p:txBody>
            <a:bodyPr rot="0" spcFirstLastPara="0" vertOverflow="overflow" horzOverflow="overflow" vert="horz" wrap="square" lIns="48725" tIns="44821" rIns="48725" bIns="40947" numCol="1" spcCol="0" rtlCol="0" fromWordArt="0" anchor="ctr" anchorCtr="0" forceAA="0" compatLnSpc="1">
              <a:prstTxWarp prst="textNoShape">
                <a:avLst/>
              </a:prstTxWarp>
              <a:noAutofit/>
            </a:bodyPr>
            <a:lstStyle>
              <a:defPPr>
                <a:defRPr lang="en-US"/>
              </a:defPPr>
              <a:lvl1pPr algn="ctr" defTabSz="602693" fontAlgn="base">
                <a:spcBef>
                  <a:spcPct val="0"/>
                </a:spcBef>
                <a:spcAft>
                  <a:spcPct val="0"/>
                </a:spcAft>
                <a:defRPr sz="1400" kern="0">
                  <a:solidFill>
                    <a:schemeClr val="bg1"/>
                  </a:solidFill>
                  <a:ea typeface="Segoe UI" pitchFamily="34" charset="0"/>
                  <a:cs typeface="Segoe UI"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1765" dirty="0" err="1">
                  <a:solidFill>
                    <a:srgbClr val="FFFFFF"/>
                  </a:solidFill>
                </a:rPr>
                <a:t>Kiji</a:t>
              </a:r>
              <a:endParaRPr lang="en-US" sz="1765" dirty="0">
                <a:solidFill>
                  <a:srgbClr val="FFFFFF"/>
                </a:solidFill>
              </a:endParaRPr>
            </a:p>
          </p:txBody>
        </p:sp>
        <p:sp>
          <p:nvSpPr>
            <p:cNvPr id="62" name="TextBox 61"/>
            <p:cNvSpPr txBox="1"/>
            <p:nvPr/>
          </p:nvSpPr>
          <p:spPr>
            <a:xfrm>
              <a:off x="8340275" y="1599854"/>
              <a:ext cx="1737360" cy="717752"/>
            </a:xfrm>
            <a:prstGeom prst="rect">
              <a:avLst/>
            </a:prstGeom>
            <a:solidFill>
              <a:schemeClr val="accent3"/>
            </a:solidFill>
            <a:ln w="25400" cap="flat" cmpd="sng" algn="ctr">
              <a:noFill/>
              <a:prstDash val="solid"/>
              <a:headEnd type="none" w="med" len="med"/>
              <a:tailEnd type="none" w="med" len="med"/>
            </a:ln>
            <a:effectLst/>
          </p:spPr>
          <p:txBody>
            <a:bodyPr rot="0" spcFirstLastPara="0" vertOverflow="overflow" horzOverflow="overflow" vert="horz" wrap="square" lIns="48725" tIns="44821" rIns="48725" bIns="40947" numCol="1" spcCol="0" rtlCol="0" fromWordArt="0" anchor="ctr" anchorCtr="0" forceAA="0" compatLnSpc="1">
              <a:prstTxWarp prst="textNoShape">
                <a:avLst/>
              </a:prstTxWarp>
              <a:noAutofit/>
            </a:bodyPr>
            <a:lstStyle>
              <a:defPPr>
                <a:defRPr lang="en-US"/>
              </a:defPPr>
              <a:lvl1pPr algn="ctr" defTabSz="602693" fontAlgn="base">
                <a:spcBef>
                  <a:spcPct val="0"/>
                </a:spcBef>
                <a:spcAft>
                  <a:spcPct val="0"/>
                </a:spcAft>
                <a:defRPr sz="1400" kern="0">
                  <a:solidFill>
                    <a:schemeClr val="bg1"/>
                  </a:solidFill>
                  <a:ea typeface="Segoe UI" pitchFamily="34" charset="0"/>
                  <a:cs typeface="Segoe UI"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1765" dirty="0">
                  <a:solidFill>
                    <a:srgbClr val="FFFFFF"/>
                  </a:solidFill>
                </a:rPr>
                <a:t>Titan</a:t>
              </a:r>
            </a:p>
          </p:txBody>
        </p:sp>
        <p:sp>
          <p:nvSpPr>
            <p:cNvPr id="63" name="TextBox 62"/>
            <p:cNvSpPr txBox="1"/>
            <p:nvPr/>
          </p:nvSpPr>
          <p:spPr>
            <a:xfrm>
              <a:off x="8340275" y="2417469"/>
              <a:ext cx="1737360" cy="717752"/>
            </a:xfrm>
            <a:prstGeom prst="rect">
              <a:avLst/>
            </a:prstGeom>
            <a:solidFill>
              <a:schemeClr val="accent3"/>
            </a:solidFill>
            <a:ln w="25400" cap="flat" cmpd="sng" algn="ctr">
              <a:noFill/>
              <a:prstDash val="solid"/>
              <a:headEnd type="none" w="med" len="med"/>
              <a:tailEnd type="none" w="med" len="med"/>
            </a:ln>
            <a:effectLst/>
          </p:spPr>
          <p:txBody>
            <a:bodyPr rot="0" spcFirstLastPara="0" vertOverflow="overflow" horzOverflow="overflow" vert="horz" wrap="square" lIns="48725" tIns="44821" rIns="48725" bIns="40947" numCol="1" spcCol="0" rtlCol="0" fromWordArt="0" anchor="ctr" anchorCtr="0" forceAA="0" compatLnSpc="1">
              <a:prstTxWarp prst="textNoShape">
                <a:avLst/>
              </a:prstTxWarp>
              <a:noAutofit/>
            </a:bodyPr>
            <a:lstStyle>
              <a:defPPr>
                <a:defRPr lang="en-US"/>
              </a:defPPr>
              <a:lvl1pPr algn="ctr" defTabSz="602693" fontAlgn="base">
                <a:spcBef>
                  <a:spcPct val="0"/>
                </a:spcBef>
                <a:spcAft>
                  <a:spcPct val="0"/>
                </a:spcAft>
                <a:defRPr sz="1400" kern="0">
                  <a:solidFill>
                    <a:schemeClr val="bg1"/>
                  </a:solidFill>
                  <a:ea typeface="Segoe UI" pitchFamily="34" charset="0"/>
                  <a:cs typeface="Segoe UI"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1765" dirty="0" err="1">
                  <a:solidFill>
                    <a:srgbClr val="FFFFFF"/>
                  </a:solidFill>
                </a:rPr>
                <a:t>OpenTSDB</a:t>
              </a:r>
              <a:endParaRPr lang="en-US" sz="1765" dirty="0">
                <a:solidFill>
                  <a:srgbClr val="FFFFFF"/>
                </a:solidFill>
              </a:endParaRPr>
            </a:p>
          </p:txBody>
        </p:sp>
        <p:sp>
          <p:nvSpPr>
            <p:cNvPr id="64" name="TextBox 63"/>
            <p:cNvSpPr txBox="1"/>
            <p:nvPr/>
          </p:nvSpPr>
          <p:spPr>
            <a:xfrm>
              <a:off x="10163549" y="1599854"/>
              <a:ext cx="1737360" cy="717752"/>
            </a:xfrm>
            <a:prstGeom prst="rect">
              <a:avLst/>
            </a:prstGeom>
            <a:solidFill>
              <a:schemeClr val="accent3"/>
            </a:solidFill>
            <a:ln w="25400" cap="flat" cmpd="sng" algn="ctr">
              <a:noFill/>
              <a:prstDash val="solid"/>
              <a:headEnd type="none" w="med" len="med"/>
              <a:tailEnd type="none" w="med" len="med"/>
            </a:ln>
            <a:effectLst/>
          </p:spPr>
          <p:txBody>
            <a:bodyPr rot="0" spcFirstLastPara="0" vertOverflow="overflow" horzOverflow="overflow" vert="horz" wrap="square" lIns="48725" tIns="44821" rIns="48725" bIns="40947" numCol="1" spcCol="0" rtlCol="0" fromWordArt="0" anchor="ctr" anchorCtr="0" forceAA="0" compatLnSpc="1">
              <a:prstTxWarp prst="textNoShape">
                <a:avLst/>
              </a:prstTxWarp>
              <a:noAutofit/>
            </a:bodyPr>
            <a:lstStyle>
              <a:defPPr>
                <a:defRPr lang="en-US"/>
              </a:defPPr>
              <a:lvl1pPr algn="ctr" defTabSz="602693" fontAlgn="base">
                <a:spcBef>
                  <a:spcPct val="0"/>
                </a:spcBef>
                <a:spcAft>
                  <a:spcPct val="0"/>
                </a:spcAft>
                <a:defRPr sz="1400" kern="0">
                  <a:solidFill>
                    <a:schemeClr val="bg1"/>
                  </a:solidFill>
                  <a:ea typeface="Segoe UI" pitchFamily="34" charset="0"/>
                  <a:cs typeface="Segoe UI"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1765" dirty="0">
                  <a:solidFill>
                    <a:srgbClr val="FFFFFF"/>
                  </a:solidFill>
                </a:rPr>
                <a:t>Continuity</a:t>
              </a:r>
            </a:p>
          </p:txBody>
        </p:sp>
        <p:sp>
          <p:nvSpPr>
            <p:cNvPr id="65" name="TextBox 64"/>
            <p:cNvSpPr txBox="1"/>
            <p:nvPr/>
          </p:nvSpPr>
          <p:spPr>
            <a:xfrm>
              <a:off x="10163549" y="2417469"/>
              <a:ext cx="1737360" cy="717752"/>
            </a:xfrm>
            <a:prstGeom prst="rect">
              <a:avLst/>
            </a:prstGeom>
            <a:solidFill>
              <a:schemeClr val="accent3"/>
            </a:solidFill>
            <a:ln w="25400" cap="flat" cmpd="sng" algn="ctr">
              <a:noFill/>
              <a:prstDash val="solid"/>
              <a:headEnd type="none" w="med" len="med"/>
              <a:tailEnd type="none" w="med" len="med"/>
            </a:ln>
            <a:effectLst/>
          </p:spPr>
          <p:txBody>
            <a:bodyPr rot="0" spcFirstLastPara="0" vertOverflow="overflow" horzOverflow="overflow" vert="horz" wrap="square" lIns="48725" tIns="44821" rIns="48725" bIns="40947" numCol="1" spcCol="0" rtlCol="0" fromWordArt="0" anchor="ctr" anchorCtr="0" forceAA="0" compatLnSpc="1">
              <a:prstTxWarp prst="textNoShape">
                <a:avLst/>
              </a:prstTxWarp>
              <a:noAutofit/>
            </a:bodyPr>
            <a:lstStyle>
              <a:defPPr>
                <a:defRPr lang="en-US"/>
              </a:defPPr>
              <a:lvl1pPr algn="ctr" defTabSz="602693" fontAlgn="base">
                <a:spcBef>
                  <a:spcPct val="0"/>
                </a:spcBef>
                <a:spcAft>
                  <a:spcPct val="0"/>
                </a:spcAft>
                <a:defRPr sz="1400" kern="0">
                  <a:solidFill>
                    <a:schemeClr val="bg1"/>
                  </a:solidFill>
                  <a:ea typeface="Segoe UI" pitchFamily="34" charset="0"/>
                  <a:cs typeface="Segoe UI"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1765" dirty="0">
                  <a:solidFill>
                    <a:srgbClr val="FFFFFF"/>
                  </a:solidFill>
                </a:rPr>
                <a:t>Splice Machine</a:t>
              </a:r>
            </a:p>
          </p:txBody>
        </p:sp>
      </p:grpSp>
      <p:grpSp>
        <p:nvGrpSpPr>
          <p:cNvPr id="9" name="Group 8"/>
          <p:cNvGrpSpPr/>
          <p:nvPr/>
        </p:nvGrpSpPr>
        <p:grpSpPr>
          <a:xfrm>
            <a:off x="6266419" y="3699298"/>
            <a:ext cx="5507449" cy="3066660"/>
            <a:chOff x="6392074" y="3448137"/>
            <a:chExt cx="5617885" cy="3128153"/>
          </a:xfrm>
        </p:grpSpPr>
        <p:sp>
          <p:nvSpPr>
            <p:cNvPr id="59" name="Rectangle 58"/>
            <p:cNvSpPr/>
            <p:nvPr/>
          </p:nvSpPr>
          <p:spPr bwMode="auto">
            <a:xfrm>
              <a:off x="6392074" y="3448137"/>
              <a:ext cx="5617885" cy="312815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367" fontAlgn="base">
                <a:spcBef>
                  <a:spcPts val="588"/>
                </a:spcBef>
                <a:spcAft>
                  <a:spcPts val="588"/>
                </a:spcAft>
                <a:defRPr/>
              </a:pPr>
              <a:r>
                <a:rPr lang="en-US" sz="2353" b="1" dirty="0">
                  <a:solidFill>
                    <a:srgbClr val="505050"/>
                  </a:solidFill>
                </a:rPr>
                <a:t>HBase</a:t>
              </a:r>
            </a:p>
          </p:txBody>
        </p:sp>
        <p:sp>
          <p:nvSpPr>
            <p:cNvPr id="69" name="TextBox 68"/>
            <p:cNvSpPr txBox="1"/>
            <p:nvPr/>
          </p:nvSpPr>
          <p:spPr>
            <a:xfrm>
              <a:off x="6517001" y="4045875"/>
              <a:ext cx="1737360" cy="717752"/>
            </a:xfrm>
            <a:prstGeom prst="rect">
              <a:avLst/>
            </a:prstGeom>
            <a:solidFill>
              <a:schemeClr val="accent3"/>
            </a:solidFill>
            <a:ln w="25400" cap="flat" cmpd="sng" algn="ctr">
              <a:noFill/>
              <a:prstDash val="solid"/>
              <a:headEnd type="none" w="med" len="med"/>
              <a:tailEnd type="none" w="med" len="med"/>
            </a:ln>
            <a:effectLst/>
          </p:spPr>
          <p:txBody>
            <a:bodyPr rot="0" spcFirstLastPara="0" vertOverflow="overflow" horzOverflow="overflow" vert="horz" wrap="square" lIns="48725" tIns="44821" rIns="48725" bIns="40947" numCol="1" spcCol="0" rtlCol="0" fromWordArt="0" anchor="ctr" anchorCtr="0" forceAA="0" compatLnSpc="1">
              <a:prstTxWarp prst="textNoShape">
                <a:avLst/>
              </a:prstTxWarp>
              <a:noAutofit/>
            </a:bodyPr>
            <a:lstStyle>
              <a:defPPr>
                <a:defRPr lang="en-US"/>
              </a:defPPr>
              <a:lvl1pPr algn="ctr" defTabSz="602693" fontAlgn="base">
                <a:spcBef>
                  <a:spcPct val="0"/>
                </a:spcBef>
                <a:spcAft>
                  <a:spcPct val="0"/>
                </a:spcAft>
                <a:defRPr sz="1400" kern="0">
                  <a:solidFill>
                    <a:schemeClr val="bg1"/>
                  </a:solidFill>
                  <a:ea typeface="Segoe UI" pitchFamily="34" charset="0"/>
                  <a:cs typeface="Segoe UI"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1765" dirty="0">
                  <a:solidFill>
                    <a:srgbClr val="FFFFFF"/>
                  </a:solidFill>
                </a:rPr>
                <a:t>Hive</a:t>
              </a:r>
            </a:p>
          </p:txBody>
        </p:sp>
        <p:sp>
          <p:nvSpPr>
            <p:cNvPr id="70" name="TextBox 69"/>
            <p:cNvSpPr txBox="1"/>
            <p:nvPr/>
          </p:nvSpPr>
          <p:spPr>
            <a:xfrm>
              <a:off x="6517001" y="4863490"/>
              <a:ext cx="1737360" cy="717752"/>
            </a:xfrm>
            <a:prstGeom prst="rect">
              <a:avLst/>
            </a:prstGeom>
            <a:solidFill>
              <a:schemeClr val="accent3"/>
            </a:solidFill>
            <a:ln w="25400" cap="flat" cmpd="sng" algn="ctr">
              <a:noFill/>
              <a:prstDash val="solid"/>
              <a:headEnd type="none" w="med" len="med"/>
              <a:tailEnd type="none" w="med" len="med"/>
            </a:ln>
            <a:effectLst/>
          </p:spPr>
          <p:txBody>
            <a:bodyPr rot="0" spcFirstLastPara="0" vertOverflow="overflow" horzOverflow="overflow" vert="horz" wrap="square" lIns="48725" tIns="44821" rIns="48725" bIns="40947" numCol="1" spcCol="0" rtlCol="0" fromWordArt="0" anchor="ctr" anchorCtr="0" forceAA="0" compatLnSpc="1">
              <a:prstTxWarp prst="textNoShape">
                <a:avLst/>
              </a:prstTxWarp>
              <a:noAutofit/>
            </a:bodyPr>
            <a:lstStyle>
              <a:defPPr>
                <a:defRPr lang="en-US"/>
              </a:defPPr>
              <a:lvl1pPr algn="ctr" defTabSz="602693" fontAlgn="base">
                <a:spcBef>
                  <a:spcPct val="0"/>
                </a:spcBef>
                <a:spcAft>
                  <a:spcPct val="0"/>
                </a:spcAft>
                <a:defRPr sz="1400" kern="0">
                  <a:solidFill>
                    <a:schemeClr val="bg1"/>
                  </a:solidFill>
                  <a:ea typeface="Segoe UI" pitchFamily="34" charset="0"/>
                  <a:cs typeface="Segoe UI"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1765" dirty="0">
                  <a:solidFill>
                    <a:srgbClr val="FFFFFF"/>
                  </a:solidFill>
                </a:rPr>
                <a:t>Impala</a:t>
              </a:r>
            </a:p>
          </p:txBody>
        </p:sp>
        <p:sp>
          <p:nvSpPr>
            <p:cNvPr id="71" name="TextBox 70"/>
            <p:cNvSpPr txBox="1"/>
            <p:nvPr/>
          </p:nvSpPr>
          <p:spPr>
            <a:xfrm>
              <a:off x="8340275" y="4045875"/>
              <a:ext cx="1737360" cy="717752"/>
            </a:xfrm>
            <a:prstGeom prst="rect">
              <a:avLst/>
            </a:prstGeom>
            <a:solidFill>
              <a:schemeClr val="accent3"/>
            </a:solidFill>
            <a:ln w="25400" cap="flat" cmpd="sng" algn="ctr">
              <a:noFill/>
              <a:prstDash val="solid"/>
              <a:headEnd type="none" w="med" len="med"/>
              <a:tailEnd type="none" w="med" len="med"/>
            </a:ln>
            <a:effectLst/>
          </p:spPr>
          <p:txBody>
            <a:bodyPr rot="0" spcFirstLastPara="0" vertOverflow="overflow" horzOverflow="overflow" vert="horz" wrap="square" lIns="48725" tIns="44821" rIns="48725" bIns="40947" numCol="1" spcCol="0" rtlCol="0" fromWordArt="0" anchor="ctr" anchorCtr="0" forceAA="0" compatLnSpc="1">
              <a:prstTxWarp prst="textNoShape">
                <a:avLst/>
              </a:prstTxWarp>
              <a:noAutofit/>
            </a:bodyPr>
            <a:lstStyle>
              <a:defPPr>
                <a:defRPr lang="en-US"/>
              </a:defPPr>
              <a:lvl1pPr algn="ctr" defTabSz="602693" fontAlgn="base">
                <a:spcBef>
                  <a:spcPct val="0"/>
                </a:spcBef>
                <a:spcAft>
                  <a:spcPct val="0"/>
                </a:spcAft>
                <a:defRPr sz="1400" kern="0">
                  <a:solidFill>
                    <a:schemeClr val="bg1"/>
                  </a:solidFill>
                  <a:ea typeface="Segoe UI" pitchFamily="34" charset="0"/>
                  <a:cs typeface="Segoe UI"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1765" dirty="0" err="1">
                  <a:solidFill>
                    <a:srgbClr val="FFFFFF"/>
                  </a:solidFill>
                </a:rPr>
                <a:t>Solr</a:t>
              </a:r>
              <a:endParaRPr lang="en-US" sz="1765" dirty="0">
                <a:solidFill>
                  <a:srgbClr val="FFFFFF"/>
                </a:solidFill>
              </a:endParaRPr>
            </a:p>
          </p:txBody>
        </p:sp>
        <p:sp>
          <p:nvSpPr>
            <p:cNvPr id="72" name="TextBox 71"/>
            <p:cNvSpPr txBox="1"/>
            <p:nvPr/>
          </p:nvSpPr>
          <p:spPr>
            <a:xfrm>
              <a:off x="8340275" y="4863490"/>
              <a:ext cx="1737360" cy="717752"/>
            </a:xfrm>
            <a:prstGeom prst="rect">
              <a:avLst/>
            </a:prstGeom>
            <a:solidFill>
              <a:schemeClr val="accent3"/>
            </a:solidFill>
            <a:ln w="25400" cap="flat" cmpd="sng" algn="ctr">
              <a:noFill/>
              <a:prstDash val="solid"/>
              <a:headEnd type="none" w="med" len="med"/>
              <a:tailEnd type="none" w="med" len="med"/>
            </a:ln>
            <a:effectLst/>
          </p:spPr>
          <p:txBody>
            <a:bodyPr rot="0" spcFirstLastPara="0" vertOverflow="overflow" horzOverflow="overflow" vert="horz" wrap="square" lIns="48725" tIns="44821" rIns="48725" bIns="40947" numCol="1" spcCol="0" rtlCol="0" fromWordArt="0" anchor="ctr" anchorCtr="0" forceAA="0" compatLnSpc="1">
              <a:prstTxWarp prst="textNoShape">
                <a:avLst/>
              </a:prstTxWarp>
              <a:noAutofit/>
            </a:bodyPr>
            <a:lstStyle>
              <a:defPPr>
                <a:defRPr lang="en-US"/>
              </a:defPPr>
              <a:lvl1pPr algn="ctr" defTabSz="602693" fontAlgn="base">
                <a:spcBef>
                  <a:spcPct val="0"/>
                </a:spcBef>
                <a:spcAft>
                  <a:spcPct val="0"/>
                </a:spcAft>
                <a:defRPr sz="1400" kern="0">
                  <a:solidFill>
                    <a:schemeClr val="bg1"/>
                  </a:solidFill>
                  <a:ea typeface="Segoe UI" pitchFamily="34" charset="0"/>
                  <a:cs typeface="Segoe UI"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1765" dirty="0">
                  <a:solidFill>
                    <a:srgbClr val="FFFFFF"/>
                  </a:solidFill>
                </a:rPr>
                <a:t>Spark</a:t>
              </a:r>
            </a:p>
          </p:txBody>
        </p:sp>
        <p:sp>
          <p:nvSpPr>
            <p:cNvPr id="73" name="TextBox 72"/>
            <p:cNvSpPr txBox="1"/>
            <p:nvPr/>
          </p:nvSpPr>
          <p:spPr>
            <a:xfrm>
              <a:off x="10163549" y="4045875"/>
              <a:ext cx="1737360" cy="717752"/>
            </a:xfrm>
            <a:prstGeom prst="rect">
              <a:avLst/>
            </a:prstGeom>
            <a:solidFill>
              <a:schemeClr val="accent3"/>
            </a:solidFill>
            <a:ln w="25400" cap="flat" cmpd="sng" algn="ctr">
              <a:noFill/>
              <a:prstDash val="solid"/>
              <a:headEnd type="none" w="med" len="med"/>
              <a:tailEnd type="none" w="med" len="med"/>
            </a:ln>
            <a:effectLst/>
          </p:spPr>
          <p:txBody>
            <a:bodyPr rot="0" spcFirstLastPara="0" vertOverflow="overflow" horzOverflow="overflow" vert="horz" wrap="square" lIns="48725" tIns="44821" rIns="48725" bIns="40947" numCol="1" spcCol="0" rtlCol="0" fromWordArt="0" anchor="ctr" anchorCtr="0" forceAA="0" compatLnSpc="1">
              <a:prstTxWarp prst="textNoShape">
                <a:avLst/>
              </a:prstTxWarp>
              <a:noAutofit/>
            </a:bodyPr>
            <a:lstStyle>
              <a:defPPr>
                <a:defRPr lang="en-US"/>
              </a:defPPr>
              <a:lvl1pPr algn="ctr" defTabSz="602693" fontAlgn="base">
                <a:spcBef>
                  <a:spcPct val="0"/>
                </a:spcBef>
                <a:spcAft>
                  <a:spcPct val="0"/>
                </a:spcAft>
                <a:defRPr sz="1400" kern="0">
                  <a:solidFill>
                    <a:schemeClr val="bg1"/>
                  </a:solidFill>
                  <a:ea typeface="Segoe UI" pitchFamily="34" charset="0"/>
                  <a:cs typeface="Segoe UI"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1765" dirty="0">
                  <a:solidFill>
                    <a:srgbClr val="FFFFFF"/>
                  </a:solidFill>
                </a:rPr>
                <a:t>Storm</a:t>
              </a:r>
            </a:p>
          </p:txBody>
        </p:sp>
        <p:sp>
          <p:nvSpPr>
            <p:cNvPr id="74" name="TextBox 73"/>
            <p:cNvSpPr txBox="1"/>
            <p:nvPr/>
          </p:nvSpPr>
          <p:spPr>
            <a:xfrm>
              <a:off x="10163549" y="4863490"/>
              <a:ext cx="1737360" cy="717752"/>
            </a:xfrm>
            <a:prstGeom prst="rect">
              <a:avLst/>
            </a:prstGeom>
            <a:solidFill>
              <a:schemeClr val="accent3"/>
            </a:solidFill>
            <a:ln w="25400" cap="flat" cmpd="sng" algn="ctr">
              <a:noFill/>
              <a:prstDash val="solid"/>
              <a:headEnd type="none" w="med" len="med"/>
              <a:tailEnd type="none" w="med" len="med"/>
            </a:ln>
            <a:effectLst/>
          </p:spPr>
          <p:txBody>
            <a:bodyPr rot="0" spcFirstLastPara="0" vertOverflow="overflow" horzOverflow="overflow" vert="horz" wrap="square" lIns="48725" tIns="44821" rIns="48725" bIns="40947" numCol="1" spcCol="0" rtlCol="0" fromWordArt="0" anchor="ctr" anchorCtr="0" forceAA="0" compatLnSpc="1">
              <a:prstTxWarp prst="textNoShape">
                <a:avLst/>
              </a:prstTxWarp>
              <a:noAutofit/>
            </a:bodyPr>
            <a:lstStyle>
              <a:defPPr>
                <a:defRPr lang="en-US"/>
              </a:defPPr>
              <a:lvl1pPr algn="ctr" defTabSz="602693" fontAlgn="base">
                <a:spcBef>
                  <a:spcPct val="0"/>
                </a:spcBef>
                <a:spcAft>
                  <a:spcPct val="0"/>
                </a:spcAft>
                <a:defRPr sz="1400" kern="0">
                  <a:solidFill>
                    <a:schemeClr val="bg1"/>
                  </a:solidFill>
                  <a:ea typeface="Segoe UI" pitchFamily="34" charset="0"/>
                  <a:cs typeface="Segoe UI"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1765" dirty="0">
                  <a:solidFill>
                    <a:srgbClr val="FFFFFF"/>
                  </a:solidFill>
                </a:rPr>
                <a:t>Drill</a:t>
              </a:r>
            </a:p>
          </p:txBody>
        </p:sp>
        <p:sp>
          <p:nvSpPr>
            <p:cNvPr id="75" name="TextBox 74"/>
            <p:cNvSpPr txBox="1"/>
            <p:nvPr/>
          </p:nvSpPr>
          <p:spPr>
            <a:xfrm>
              <a:off x="6517001" y="5709817"/>
              <a:ext cx="1737360" cy="717752"/>
            </a:xfrm>
            <a:prstGeom prst="rect">
              <a:avLst/>
            </a:prstGeom>
            <a:solidFill>
              <a:schemeClr val="accent3"/>
            </a:solidFill>
            <a:ln w="25400" cap="flat" cmpd="sng" algn="ctr">
              <a:noFill/>
              <a:prstDash val="solid"/>
              <a:headEnd type="none" w="med" len="med"/>
              <a:tailEnd type="none" w="med" len="med"/>
            </a:ln>
            <a:effectLst/>
          </p:spPr>
          <p:txBody>
            <a:bodyPr rot="0" spcFirstLastPara="0" vertOverflow="overflow" horzOverflow="overflow" vert="horz" wrap="square" lIns="48725" tIns="44821" rIns="48725" bIns="40947" numCol="1" spcCol="0" rtlCol="0" fromWordArt="0" anchor="ctr" anchorCtr="0" forceAA="0" compatLnSpc="1">
              <a:prstTxWarp prst="textNoShape">
                <a:avLst/>
              </a:prstTxWarp>
              <a:noAutofit/>
            </a:bodyPr>
            <a:lstStyle>
              <a:defPPr>
                <a:defRPr lang="en-US"/>
              </a:defPPr>
              <a:lvl1pPr algn="ctr" defTabSz="602693" fontAlgn="base">
                <a:spcBef>
                  <a:spcPct val="0"/>
                </a:spcBef>
                <a:spcAft>
                  <a:spcPct val="0"/>
                </a:spcAft>
                <a:defRPr sz="1400" kern="0">
                  <a:solidFill>
                    <a:schemeClr val="bg1"/>
                  </a:solidFill>
                  <a:ea typeface="Segoe UI" pitchFamily="34" charset="0"/>
                  <a:cs typeface="Segoe UI"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1765" dirty="0">
                  <a:solidFill>
                    <a:srgbClr val="FFFFFF"/>
                  </a:solidFill>
                </a:rPr>
                <a:t>Pig</a:t>
              </a:r>
            </a:p>
          </p:txBody>
        </p:sp>
        <p:sp>
          <p:nvSpPr>
            <p:cNvPr id="76" name="TextBox 75"/>
            <p:cNvSpPr txBox="1"/>
            <p:nvPr/>
          </p:nvSpPr>
          <p:spPr>
            <a:xfrm>
              <a:off x="8340275" y="5709817"/>
              <a:ext cx="1737360" cy="717752"/>
            </a:xfrm>
            <a:prstGeom prst="rect">
              <a:avLst/>
            </a:prstGeom>
            <a:solidFill>
              <a:schemeClr val="accent3"/>
            </a:solidFill>
            <a:ln w="25400" cap="flat" cmpd="sng" algn="ctr">
              <a:noFill/>
              <a:prstDash val="solid"/>
              <a:headEnd type="none" w="med" len="med"/>
              <a:tailEnd type="none" w="med" len="med"/>
            </a:ln>
            <a:effectLst/>
          </p:spPr>
          <p:txBody>
            <a:bodyPr rot="0" spcFirstLastPara="0" vertOverflow="overflow" horzOverflow="overflow" vert="horz" wrap="square" lIns="48725" tIns="44821" rIns="48725" bIns="40947" numCol="1" spcCol="0" rtlCol="0" fromWordArt="0" anchor="ctr" anchorCtr="0" forceAA="0" compatLnSpc="1">
              <a:prstTxWarp prst="textNoShape">
                <a:avLst/>
              </a:prstTxWarp>
              <a:noAutofit/>
            </a:bodyPr>
            <a:lstStyle>
              <a:defPPr>
                <a:defRPr lang="en-US"/>
              </a:defPPr>
              <a:lvl1pPr algn="ctr" defTabSz="602693" fontAlgn="base">
                <a:spcBef>
                  <a:spcPct val="0"/>
                </a:spcBef>
                <a:spcAft>
                  <a:spcPct val="0"/>
                </a:spcAft>
                <a:defRPr sz="1400" kern="0">
                  <a:solidFill>
                    <a:schemeClr val="bg1"/>
                  </a:solidFill>
                  <a:ea typeface="Segoe UI" pitchFamily="34" charset="0"/>
                  <a:cs typeface="Segoe UI"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1765" dirty="0">
                  <a:solidFill>
                    <a:srgbClr val="FFFFFF"/>
                  </a:solidFill>
                </a:rPr>
                <a:t>Flume</a:t>
              </a:r>
            </a:p>
          </p:txBody>
        </p:sp>
        <p:sp>
          <p:nvSpPr>
            <p:cNvPr id="77" name="TextBox 76"/>
            <p:cNvSpPr txBox="1"/>
            <p:nvPr/>
          </p:nvSpPr>
          <p:spPr>
            <a:xfrm>
              <a:off x="10163549" y="5709817"/>
              <a:ext cx="1737360" cy="717752"/>
            </a:xfrm>
            <a:prstGeom prst="rect">
              <a:avLst/>
            </a:prstGeom>
            <a:solidFill>
              <a:schemeClr val="accent3"/>
            </a:solidFill>
            <a:ln w="25400" cap="flat" cmpd="sng" algn="ctr">
              <a:noFill/>
              <a:prstDash val="solid"/>
              <a:headEnd type="none" w="med" len="med"/>
              <a:tailEnd type="none" w="med" len="med"/>
            </a:ln>
            <a:effectLst/>
          </p:spPr>
          <p:txBody>
            <a:bodyPr rot="0" spcFirstLastPara="0" vertOverflow="overflow" horzOverflow="overflow" vert="horz" wrap="square" lIns="48725" tIns="44821" rIns="48725" bIns="40947" numCol="1" spcCol="0" rtlCol="0" fromWordArt="0" anchor="ctr" anchorCtr="0" forceAA="0" compatLnSpc="1">
              <a:prstTxWarp prst="textNoShape">
                <a:avLst/>
              </a:prstTxWarp>
              <a:noAutofit/>
            </a:bodyPr>
            <a:lstStyle>
              <a:defPPr>
                <a:defRPr lang="en-US"/>
              </a:defPPr>
              <a:lvl1pPr algn="ctr" defTabSz="602693" fontAlgn="base">
                <a:spcBef>
                  <a:spcPct val="0"/>
                </a:spcBef>
                <a:spcAft>
                  <a:spcPct val="0"/>
                </a:spcAft>
                <a:defRPr sz="1400" kern="0">
                  <a:solidFill>
                    <a:schemeClr val="bg1"/>
                  </a:solidFill>
                  <a:ea typeface="Segoe UI" pitchFamily="34" charset="0"/>
                  <a:cs typeface="Segoe UI"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1765" dirty="0">
                  <a:solidFill>
                    <a:srgbClr val="FFFFFF"/>
                  </a:solidFill>
                </a:rPr>
                <a:t>Ganglia</a:t>
              </a:r>
            </a:p>
          </p:txBody>
        </p:sp>
      </p:grpSp>
      <p:sp>
        <p:nvSpPr>
          <p:cNvPr id="3" name="Slide Number Placeholder 2"/>
          <p:cNvSpPr>
            <a:spLocks noGrp="1"/>
          </p:cNvSpPr>
          <p:nvPr>
            <p:ph type="sldNum" sz="quarter" idx="11"/>
          </p:nvPr>
        </p:nvSpPr>
        <p:spPr/>
        <p:txBody>
          <a:bodyPr/>
          <a:lstStyle/>
          <a:p>
            <a:pPr>
              <a:defRPr/>
            </a:pPr>
            <a:fld id="{F8A0AC42-AA1D-4944-8D96-660DE70C7E1B}" type="slidenum">
              <a:rPr lang="en-IN"/>
              <a:pPr>
                <a:defRPr/>
              </a:pPr>
              <a:t>63</a:t>
            </a:fld>
            <a:endParaRPr lang="en-IN" dirty="0"/>
          </a:p>
        </p:txBody>
      </p:sp>
    </p:spTree>
    <p:extLst>
      <p:ext uri="{BB962C8B-B14F-4D97-AF65-F5344CB8AC3E}">
        <p14:creationId xmlns:p14="http://schemas.microsoft.com/office/powerpoint/2010/main" val="2515624181"/>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45"/>
                                        </p:tgtEl>
                                        <p:attrNameLst>
                                          <p:attrName>style.visibility</p:attrName>
                                        </p:attrNameLst>
                                      </p:cBhvr>
                                      <p:to>
                                        <p:strVal val="visible"/>
                                      </p:to>
                                    </p:set>
                                    <p:animEffect transition="in" filter="fade">
                                      <p:cBhvr>
                                        <p:cTn id="15" dur="500"/>
                                        <p:tgtEl>
                                          <p:spTgt spid="45"/>
                                        </p:tgtEl>
                                      </p:cBhvr>
                                    </p:animEffect>
                                  </p:childTnLst>
                                </p:cTn>
                              </p:par>
                              <p:par>
                                <p:cTn id="16" presetID="10" presetClass="entr" presetSubtype="0" fill="hold" nodeType="with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en to use HBase in Azure</a:t>
            </a:r>
          </a:p>
        </p:txBody>
      </p:sp>
      <p:sp>
        <p:nvSpPr>
          <p:cNvPr id="7" name="Rectangle 6"/>
          <p:cNvSpPr/>
          <p:nvPr/>
        </p:nvSpPr>
        <p:spPr>
          <a:xfrm>
            <a:off x="268927" y="1669826"/>
            <a:ext cx="10628099" cy="3550267"/>
          </a:xfrm>
          <a:prstGeom prst="rect">
            <a:avLst/>
          </a:prstGeom>
        </p:spPr>
        <p:txBody>
          <a:bodyPr wrap="square">
            <a:spAutoFit/>
          </a:bodyPr>
          <a:lstStyle/>
          <a:p>
            <a:pPr marL="395812" lvl="1" indent="-342900" defTabSz="913770" fontAlgn="base">
              <a:spcBef>
                <a:spcPts val="588"/>
              </a:spcBef>
              <a:spcAft>
                <a:spcPts val="588"/>
              </a:spcAft>
              <a:buClr>
                <a:schemeClr val="accent3"/>
              </a:buClr>
              <a:buFont typeface="Wingdings" panose="05000000000000000000" pitchFamily="2" charset="2"/>
              <a:buChar char="v"/>
              <a:tabLst>
                <a:tab pos="645523" algn="l"/>
              </a:tabLst>
            </a:pPr>
            <a:r>
              <a:rPr lang="en-IN" sz="2353" dirty="0">
                <a:ln>
                  <a:solidFill>
                    <a:srgbClr val="FFFFFF">
                      <a:alpha val="0"/>
                    </a:srgbClr>
                  </a:solidFill>
                </a:ln>
                <a:gradFill>
                  <a:gsLst>
                    <a:gs pos="85321">
                      <a:srgbClr val="505050"/>
                    </a:gs>
                    <a:gs pos="57000">
                      <a:srgbClr val="505050"/>
                    </a:gs>
                  </a:gsLst>
                </a:gradFill>
                <a:ea typeface="Segoe UI" pitchFamily="34" charset="0"/>
                <a:cs typeface="Segoe UI" pitchFamily="34" charset="0"/>
              </a:rPr>
              <a:t>Existing expertise or workload on </a:t>
            </a:r>
            <a:r>
              <a:rPr lang="en-IN" sz="2353" dirty="0" err="1">
                <a:ln>
                  <a:solidFill>
                    <a:srgbClr val="FFFFFF">
                      <a:alpha val="0"/>
                    </a:srgbClr>
                  </a:solidFill>
                </a:ln>
                <a:gradFill>
                  <a:gsLst>
                    <a:gs pos="85321">
                      <a:srgbClr val="505050"/>
                    </a:gs>
                    <a:gs pos="57000">
                      <a:srgbClr val="505050"/>
                    </a:gs>
                  </a:gsLst>
                </a:gradFill>
                <a:ea typeface="Segoe UI" pitchFamily="34" charset="0"/>
                <a:cs typeface="Segoe UI" pitchFamily="34" charset="0"/>
              </a:rPr>
              <a:t>HBase</a:t>
            </a:r>
            <a:endParaRPr lang="en-IN" sz="2353" dirty="0">
              <a:ln>
                <a:solidFill>
                  <a:srgbClr val="FFFFFF">
                    <a:alpha val="0"/>
                  </a:srgbClr>
                </a:solidFill>
              </a:ln>
              <a:gradFill>
                <a:gsLst>
                  <a:gs pos="85321">
                    <a:srgbClr val="505050"/>
                  </a:gs>
                  <a:gs pos="57000">
                    <a:srgbClr val="505050"/>
                  </a:gs>
                </a:gsLst>
              </a:gradFill>
              <a:ea typeface="Segoe UI" pitchFamily="34" charset="0"/>
              <a:cs typeface="Segoe UI" pitchFamily="34" charset="0"/>
            </a:endParaRPr>
          </a:p>
          <a:p>
            <a:pPr marL="395812" lvl="1" indent="-342900" defTabSz="913770" fontAlgn="base">
              <a:spcBef>
                <a:spcPts val="588"/>
              </a:spcBef>
              <a:spcAft>
                <a:spcPts val="588"/>
              </a:spcAft>
              <a:buClr>
                <a:schemeClr val="accent3"/>
              </a:buClr>
              <a:buFont typeface="Wingdings" panose="05000000000000000000" pitchFamily="2" charset="2"/>
              <a:buChar char="v"/>
              <a:tabLst>
                <a:tab pos="645523" algn="l"/>
              </a:tabLst>
            </a:pPr>
            <a:r>
              <a:rPr lang="en-IN" sz="2353" dirty="0">
                <a:ln>
                  <a:solidFill>
                    <a:srgbClr val="FFFFFF">
                      <a:alpha val="0"/>
                    </a:srgbClr>
                  </a:solidFill>
                </a:ln>
                <a:gradFill>
                  <a:gsLst>
                    <a:gs pos="85321">
                      <a:srgbClr val="505050"/>
                    </a:gs>
                    <a:gs pos="57000">
                      <a:srgbClr val="505050"/>
                    </a:gs>
                  </a:gsLst>
                </a:gradFill>
                <a:ea typeface="Segoe UI" pitchFamily="34" charset="0"/>
                <a:cs typeface="Segoe UI" pitchFamily="34" charset="0"/>
              </a:rPr>
              <a:t>Storing large amounts of data</a:t>
            </a:r>
          </a:p>
          <a:p>
            <a:pPr marL="395812" lvl="1" indent="-342900" defTabSz="913770" fontAlgn="base">
              <a:spcBef>
                <a:spcPts val="588"/>
              </a:spcBef>
              <a:spcAft>
                <a:spcPts val="588"/>
              </a:spcAft>
              <a:buClr>
                <a:schemeClr val="accent3"/>
              </a:buClr>
              <a:buFont typeface="Wingdings" panose="05000000000000000000" pitchFamily="2" charset="2"/>
              <a:buChar char="v"/>
              <a:tabLst>
                <a:tab pos="645523" algn="l"/>
              </a:tabLst>
            </a:pPr>
            <a:r>
              <a:rPr lang="en-IN" sz="2353" dirty="0">
                <a:ln>
                  <a:solidFill>
                    <a:srgbClr val="FFFFFF">
                      <a:alpha val="0"/>
                    </a:srgbClr>
                  </a:solidFill>
                </a:ln>
                <a:gradFill>
                  <a:gsLst>
                    <a:gs pos="85321">
                      <a:srgbClr val="505050"/>
                    </a:gs>
                    <a:gs pos="57000">
                      <a:srgbClr val="505050"/>
                    </a:gs>
                  </a:gsLst>
                </a:gradFill>
                <a:ea typeface="Segoe UI" pitchFamily="34" charset="0"/>
                <a:cs typeface="Segoe UI" pitchFamily="34" charset="0"/>
              </a:rPr>
              <a:t>Need high write throughput</a:t>
            </a:r>
          </a:p>
          <a:p>
            <a:pPr marL="395812" lvl="1" indent="-342900" defTabSz="913770" fontAlgn="base">
              <a:spcBef>
                <a:spcPts val="588"/>
              </a:spcBef>
              <a:spcAft>
                <a:spcPts val="588"/>
              </a:spcAft>
              <a:buClr>
                <a:schemeClr val="accent3"/>
              </a:buClr>
              <a:buFont typeface="Wingdings" panose="05000000000000000000" pitchFamily="2" charset="2"/>
              <a:buChar char="v"/>
              <a:tabLst>
                <a:tab pos="645523" algn="l"/>
              </a:tabLst>
            </a:pPr>
            <a:r>
              <a:rPr lang="en-IN" sz="2353" dirty="0">
                <a:ln>
                  <a:solidFill>
                    <a:srgbClr val="FFFFFF">
                      <a:alpha val="0"/>
                    </a:srgbClr>
                  </a:solidFill>
                </a:ln>
                <a:gradFill>
                  <a:gsLst>
                    <a:gs pos="85321">
                      <a:srgbClr val="505050"/>
                    </a:gs>
                    <a:gs pos="57000">
                      <a:srgbClr val="505050"/>
                    </a:gs>
                  </a:gsLst>
                </a:gradFill>
                <a:ea typeface="Segoe UI" pitchFamily="34" charset="0"/>
                <a:cs typeface="Segoe UI" pitchFamily="34" charset="0"/>
              </a:rPr>
              <a:t>Need efficient random access within large dataset</a:t>
            </a:r>
          </a:p>
          <a:p>
            <a:pPr marL="395812" lvl="1" indent="-342900" defTabSz="913770" fontAlgn="base">
              <a:spcBef>
                <a:spcPts val="588"/>
              </a:spcBef>
              <a:spcAft>
                <a:spcPts val="588"/>
              </a:spcAft>
              <a:buClr>
                <a:schemeClr val="accent3"/>
              </a:buClr>
              <a:buFont typeface="Wingdings" panose="05000000000000000000" pitchFamily="2" charset="2"/>
              <a:buChar char="v"/>
              <a:tabLst>
                <a:tab pos="645523" algn="l"/>
              </a:tabLst>
            </a:pPr>
            <a:r>
              <a:rPr lang="en-IN" sz="2353" dirty="0">
                <a:ln>
                  <a:solidFill>
                    <a:srgbClr val="FFFFFF">
                      <a:alpha val="0"/>
                    </a:srgbClr>
                  </a:solidFill>
                </a:ln>
                <a:gradFill>
                  <a:gsLst>
                    <a:gs pos="85321">
                      <a:srgbClr val="505050"/>
                    </a:gs>
                    <a:gs pos="57000">
                      <a:srgbClr val="505050"/>
                    </a:gs>
                  </a:gsLst>
                </a:gradFill>
                <a:ea typeface="Segoe UI" pitchFamily="34" charset="0"/>
                <a:cs typeface="Segoe UI" pitchFamily="34" charset="0"/>
              </a:rPr>
              <a:t>Need to scale gracefully with data</a:t>
            </a:r>
          </a:p>
          <a:p>
            <a:pPr marL="395812" lvl="1" indent="-342900" defTabSz="913770" fontAlgn="base">
              <a:spcBef>
                <a:spcPts val="588"/>
              </a:spcBef>
              <a:spcAft>
                <a:spcPts val="588"/>
              </a:spcAft>
              <a:buClr>
                <a:schemeClr val="accent3"/>
              </a:buClr>
              <a:buFont typeface="Wingdings" panose="05000000000000000000" pitchFamily="2" charset="2"/>
              <a:buChar char="v"/>
              <a:tabLst>
                <a:tab pos="645523" algn="l"/>
              </a:tabLst>
            </a:pPr>
            <a:r>
              <a:rPr lang="en-IN" sz="2353" dirty="0">
                <a:ln>
                  <a:solidFill>
                    <a:srgbClr val="FFFFFF">
                      <a:alpha val="0"/>
                    </a:srgbClr>
                  </a:solidFill>
                </a:ln>
                <a:gradFill>
                  <a:gsLst>
                    <a:gs pos="85321">
                      <a:srgbClr val="505050"/>
                    </a:gs>
                    <a:gs pos="57000">
                      <a:srgbClr val="505050"/>
                    </a:gs>
                  </a:gsLst>
                </a:gradFill>
                <a:ea typeface="Segoe UI" pitchFamily="34" charset="0"/>
                <a:cs typeface="Segoe UI" pitchFamily="34" charset="0"/>
              </a:rPr>
              <a:t>For structured and semi-structured data</a:t>
            </a:r>
          </a:p>
          <a:p>
            <a:pPr marL="395812" lvl="1" indent="-342900" defTabSz="913770" fontAlgn="base">
              <a:spcBef>
                <a:spcPts val="588"/>
              </a:spcBef>
              <a:spcAft>
                <a:spcPts val="588"/>
              </a:spcAft>
              <a:buClr>
                <a:schemeClr val="accent3"/>
              </a:buClr>
              <a:buFont typeface="Wingdings" panose="05000000000000000000" pitchFamily="2" charset="2"/>
              <a:buChar char="v"/>
              <a:tabLst>
                <a:tab pos="645523" algn="l"/>
              </a:tabLst>
            </a:pPr>
            <a:r>
              <a:rPr lang="en-IN" sz="2353" dirty="0">
                <a:ln>
                  <a:solidFill>
                    <a:srgbClr val="FFFFFF">
                      <a:alpha val="0"/>
                    </a:srgbClr>
                  </a:solidFill>
                </a:ln>
                <a:gradFill>
                  <a:gsLst>
                    <a:gs pos="85321">
                      <a:srgbClr val="505050"/>
                    </a:gs>
                    <a:gs pos="57000">
                      <a:srgbClr val="505050"/>
                    </a:gs>
                  </a:gsLst>
                </a:gradFill>
                <a:ea typeface="Segoe UI" pitchFamily="34" charset="0"/>
                <a:cs typeface="Segoe UI" pitchFamily="34" charset="0"/>
              </a:rPr>
              <a:t>Don’t need full RDBMS capabilities (cross table transactions, joins)</a:t>
            </a:r>
          </a:p>
        </p:txBody>
      </p:sp>
      <p:sp>
        <p:nvSpPr>
          <p:cNvPr id="22" name="Rectangle 21"/>
          <p:cNvSpPr/>
          <p:nvPr/>
        </p:nvSpPr>
        <p:spPr>
          <a:xfrm>
            <a:off x="768905" y="4767503"/>
            <a:ext cx="11004454" cy="452590"/>
          </a:xfrm>
          <a:prstGeom prst="rect">
            <a:avLst/>
          </a:prstGeom>
        </p:spPr>
        <p:txBody>
          <a:bodyPr wrap="square">
            <a:spAutoFit/>
          </a:bodyPr>
          <a:lstStyle/>
          <a:p>
            <a:pPr marL="52912" lvl="1" defTabSz="913770" fontAlgn="base">
              <a:spcBef>
                <a:spcPts val="588"/>
              </a:spcBef>
              <a:spcAft>
                <a:spcPts val="588"/>
              </a:spcAft>
              <a:buClr>
                <a:srgbClr val="68217A">
                  <a:lumMod val="50000"/>
                </a:srgbClr>
              </a:buClr>
              <a:tabLst>
                <a:tab pos="645523" algn="l"/>
              </a:tabLst>
            </a:pPr>
            <a:endParaRPr lang="en-IN" sz="2353" dirty="0">
              <a:ln>
                <a:solidFill>
                  <a:srgbClr val="FFFFFF">
                    <a:alpha val="0"/>
                  </a:srgbClr>
                </a:solidFill>
              </a:ln>
              <a:gradFill>
                <a:gsLst>
                  <a:gs pos="85321">
                    <a:srgbClr val="505050"/>
                  </a:gs>
                  <a:gs pos="57000">
                    <a:srgbClr val="505050"/>
                  </a:gs>
                </a:gsLst>
              </a:gradFill>
              <a:ea typeface="Segoe UI" pitchFamily="34" charset="0"/>
              <a:cs typeface="Segoe UI" pitchFamily="34" charset="0"/>
            </a:endParaRPr>
          </a:p>
        </p:txBody>
      </p:sp>
      <p:sp>
        <p:nvSpPr>
          <p:cNvPr id="3" name="Slide Number Placeholder 2"/>
          <p:cNvSpPr>
            <a:spLocks noGrp="1"/>
          </p:cNvSpPr>
          <p:nvPr>
            <p:ph type="sldNum" sz="quarter" idx="11"/>
          </p:nvPr>
        </p:nvSpPr>
        <p:spPr/>
        <p:txBody>
          <a:bodyPr/>
          <a:lstStyle/>
          <a:p>
            <a:pPr>
              <a:defRPr/>
            </a:pPr>
            <a:fld id="{F8A0AC42-AA1D-4944-8D96-660DE70C7E1B}" type="slidenum">
              <a:rPr lang="en-IN"/>
              <a:pPr>
                <a:defRPr/>
              </a:pPr>
              <a:t>64</a:t>
            </a:fld>
            <a:endParaRPr lang="en-IN" dirty="0"/>
          </a:p>
        </p:txBody>
      </p:sp>
    </p:spTree>
    <p:extLst>
      <p:ext uri="{BB962C8B-B14F-4D97-AF65-F5344CB8AC3E}">
        <p14:creationId xmlns:p14="http://schemas.microsoft.com/office/powerpoint/2010/main" val="1295354163"/>
      </p:ext>
    </p:extLst>
  </p:cSld>
  <p:clrMapOvr>
    <a:masterClrMapping/>
  </p:clrMapOvr>
  <p:transition spd="med">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Base and RDBMS</a:t>
            </a:r>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65</a:t>
            </a:fld>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128957468"/>
              </p:ext>
            </p:extLst>
          </p:nvPr>
        </p:nvGraphicFramePr>
        <p:xfrm>
          <a:off x="-275525" y="1601536"/>
          <a:ext cx="11311140" cy="4178689"/>
        </p:xfrm>
        <a:graphic>
          <a:graphicData uri="http://schemas.openxmlformats.org/drawingml/2006/table">
            <a:tbl>
              <a:tblPr firstRow="1" bandRow="1"/>
              <a:tblGrid>
                <a:gridCol w="3026990">
                  <a:extLst>
                    <a:ext uri="{9D8B030D-6E8A-4147-A177-3AD203B41FA5}">
                      <a16:colId xmlns:a16="http://schemas.microsoft.com/office/drawing/2014/main" val="20000"/>
                    </a:ext>
                  </a:extLst>
                </a:gridCol>
                <a:gridCol w="4142075">
                  <a:extLst>
                    <a:ext uri="{9D8B030D-6E8A-4147-A177-3AD203B41FA5}">
                      <a16:colId xmlns:a16="http://schemas.microsoft.com/office/drawing/2014/main" val="20001"/>
                    </a:ext>
                  </a:extLst>
                </a:gridCol>
                <a:gridCol w="4142075">
                  <a:extLst>
                    <a:ext uri="{9D8B030D-6E8A-4147-A177-3AD203B41FA5}">
                      <a16:colId xmlns:a16="http://schemas.microsoft.com/office/drawing/2014/main" val="20002"/>
                    </a:ext>
                  </a:extLst>
                </a:gridCol>
              </a:tblGrid>
              <a:tr h="556041">
                <a:tc>
                  <a:txBody>
                    <a:bodyPr/>
                    <a:lstStyle/>
                    <a:p>
                      <a:endParaRPr lang="en-US" sz="2800" dirty="0">
                        <a:latin typeface="Trebuchet MS" pitchFamily="34" charset="0"/>
                      </a:endParaRPr>
                    </a:p>
                  </a:txBody>
                  <a:tcPr marL="89642" marR="89642" marT="44821" marB="44821" anchor="ctr">
                    <a:lnL w="12700" cmpd="sng">
                      <a:noFill/>
                      <a:prstDash val="solid"/>
                    </a:lnL>
                    <a:lnR w="12700" cap="flat" cmpd="sng" algn="ctr">
                      <a:solidFill>
                        <a:schemeClr val="accent3"/>
                      </a:solidFill>
                      <a:prstDash val="solid"/>
                      <a:round/>
                      <a:headEnd type="none" w="med" len="med"/>
                      <a:tailEnd type="none" w="med" len="med"/>
                    </a:lnR>
                    <a:lnT w="12700" cmpd="sng">
                      <a:noFill/>
                      <a:prstDash val="soli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2700" baseline="0" dirty="0">
                          <a:solidFill>
                            <a:schemeClr val="bg1"/>
                          </a:solidFill>
                          <a:latin typeface="+mn-lt"/>
                        </a:rPr>
                        <a:t>RDBMS</a:t>
                      </a:r>
                      <a:endParaRPr lang="en-US" sz="2700" b="0" dirty="0">
                        <a:solidFill>
                          <a:schemeClr val="bg1"/>
                        </a:solidFill>
                        <a:latin typeface="+mn-lt"/>
                      </a:endParaRPr>
                    </a:p>
                  </a:txBody>
                  <a:tcPr marL="89642" marR="89642" marT="44821" marB="44821" anchor="ctr">
                    <a:lnL w="12700" cap="flat" cmpd="sng" algn="ctr">
                      <a:solidFill>
                        <a:schemeClr val="accent3"/>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mpd="sng">
                      <a:noFill/>
                      <a:prstDash val="soli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US" sz="2700" dirty="0">
                          <a:solidFill>
                            <a:schemeClr val="bg1"/>
                          </a:solidFill>
                          <a:latin typeface="+mn-lt"/>
                        </a:rPr>
                        <a:t>HBase</a:t>
                      </a:r>
                      <a:endParaRPr lang="en-US" sz="2700" b="0" dirty="0">
                        <a:solidFill>
                          <a:schemeClr val="bg1"/>
                        </a:solidFill>
                        <a:latin typeface="+mn-lt"/>
                      </a:endParaRPr>
                    </a:p>
                  </a:txBody>
                  <a:tcPr marL="89642" marR="89642" marT="44821" marB="44821" anchor="ctr">
                    <a:lnL w="9525" cap="flat" cmpd="sng" algn="ctr">
                      <a:solidFill>
                        <a:schemeClr val="bg1"/>
                      </a:solidFill>
                      <a:prstDash val="solid"/>
                      <a:round/>
                      <a:headEnd type="none" w="med" len="med"/>
                      <a:tailEnd type="none" w="med" len="med"/>
                    </a:lnL>
                    <a:lnR w="9525" cap="flat" cmpd="sng" algn="ctr">
                      <a:solidFill>
                        <a:schemeClr val="accent3"/>
                      </a:solidFill>
                      <a:prstDash val="solid"/>
                      <a:round/>
                      <a:headEnd type="none" w="med" len="med"/>
                      <a:tailEnd type="none" w="med" len="med"/>
                    </a:lnR>
                    <a:lnT w="12700" cmpd="sng">
                      <a:noFill/>
                      <a:prstDash val="soli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0000"/>
                  </a:ext>
                </a:extLst>
              </a:tr>
              <a:tr h="556041">
                <a:tc>
                  <a:txBody>
                    <a:bodyPr/>
                    <a:lstStyle/>
                    <a:p>
                      <a:pPr algn="r"/>
                      <a:r>
                        <a:rPr lang="en-US" sz="2500" dirty="0">
                          <a:solidFill>
                            <a:schemeClr val="accent3"/>
                          </a:solidFill>
                          <a:latin typeface="+mn-lt"/>
                        </a:rPr>
                        <a:t>Data</a:t>
                      </a:r>
                      <a:r>
                        <a:rPr lang="en-US" sz="2500" baseline="0" dirty="0">
                          <a:solidFill>
                            <a:schemeClr val="accent3"/>
                          </a:solidFill>
                          <a:latin typeface="+mn-lt"/>
                        </a:rPr>
                        <a:t> Layout</a:t>
                      </a:r>
                      <a:endParaRPr lang="en-US" sz="2500" dirty="0">
                        <a:solidFill>
                          <a:schemeClr val="accent3"/>
                        </a:solidFill>
                        <a:latin typeface="+mn-lt"/>
                      </a:endParaRPr>
                    </a:p>
                  </a:txBody>
                  <a:tcPr marL="89642" marR="89642" marT="44821" marB="44821" anchor="ctr">
                    <a:lnL w="952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000" b="0" dirty="0">
                          <a:solidFill>
                            <a:schemeClr val="tx2"/>
                          </a:solidFill>
                          <a:latin typeface="+mn-lt"/>
                        </a:rPr>
                        <a:t>Row</a:t>
                      </a:r>
                      <a:r>
                        <a:rPr lang="en-US" sz="2000" b="0" baseline="0" dirty="0">
                          <a:solidFill>
                            <a:schemeClr val="tx2"/>
                          </a:solidFill>
                          <a:latin typeface="+mn-lt"/>
                        </a:rPr>
                        <a:t> oriented</a:t>
                      </a:r>
                      <a:endParaRPr lang="en-US" sz="2000" b="0" dirty="0">
                        <a:solidFill>
                          <a:schemeClr val="tx2"/>
                        </a:solidFill>
                        <a:latin typeface="+mj-lt"/>
                      </a:endParaRPr>
                    </a:p>
                  </a:txBody>
                  <a:tcPr marL="89642" marR="89642" marT="44821" marB="44821"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000" b="0" dirty="0">
                          <a:solidFill>
                            <a:schemeClr val="tx2"/>
                          </a:solidFill>
                          <a:latin typeface="+mn-lt"/>
                        </a:rPr>
                        <a:t>Column</a:t>
                      </a:r>
                      <a:r>
                        <a:rPr lang="en-US" sz="2000" b="0" baseline="0" dirty="0">
                          <a:solidFill>
                            <a:schemeClr val="tx2"/>
                          </a:solidFill>
                          <a:latin typeface="+mn-lt"/>
                        </a:rPr>
                        <a:t> Oriented</a:t>
                      </a:r>
                      <a:endParaRPr lang="en-US" sz="2000" b="0" dirty="0">
                        <a:solidFill>
                          <a:schemeClr val="tx2"/>
                        </a:solidFill>
                        <a:latin typeface="+mj-lt"/>
                      </a:endParaRPr>
                    </a:p>
                  </a:txBody>
                  <a:tcPr marL="89642" marR="89642" marT="44821" marB="44821"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56041">
                <a:tc>
                  <a:txBody>
                    <a:bodyPr/>
                    <a:lstStyle/>
                    <a:p>
                      <a:pPr algn="r"/>
                      <a:r>
                        <a:rPr lang="en-US" sz="2500" dirty="0">
                          <a:solidFill>
                            <a:schemeClr val="accent3"/>
                          </a:solidFill>
                          <a:latin typeface="+mn-lt"/>
                        </a:rPr>
                        <a:t>Transactions</a:t>
                      </a:r>
                    </a:p>
                  </a:txBody>
                  <a:tcPr marL="89642" marR="89642" marT="44821" marB="44821" anchor="ctr">
                    <a:lnL w="952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000" b="0" dirty="0">
                          <a:solidFill>
                            <a:schemeClr val="tx2"/>
                          </a:solidFill>
                          <a:latin typeface="+mn-lt"/>
                        </a:rPr>
                        <a:t>ACID</a:t>
                      </a:r>
                      <a:r>
                        <a:rPr lang="en-US" sz="2000" b="0" baseline="0" dirty="0">
                          <a:solidFill>
                            <a:schemeClr val="tx2"/>
                          </a:solidFill>
                          <a:latin typeface="+mn-lt"/>
                        </a:rPr>
                        <a:t> over multiple rows and tables</a:t>
                      </a:r>
                      <a:endParaRPr lang="en-US" sz="2000" b="0" dirty="0">
                        <a:solidFill>
                          <a:schemeClr val="tx2"/>
                        </a:solidFill>
                        <a:latin typeface="+mj-lt"/>
                      </a:endParaRPr>
                    </a:p>
                  </a:txBody>
                  <a:tcPr marL="89642" marR="89642" marT="44821" marB="44821"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4E4F8"/>
                    </a:solid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2000" b="0" dirty="0">
                          <a:solidFill>
                            <a:schemeClr val="tx2"/>
                          </a:solidFill>
                          <a:latin typeface="+mn-lt"/>
                        </a:rPr>
                        <a:t>ACID</a:t>
                      </a:r>
                      <a:r>
                        <a:rPr lang="en-US" sz="2000" b="0" baseline="0" dirty="0">
                          <a:solidFill>
                            <a:schemeClr val="tx2"/>
                          </a:solidFill>
                          <a:latin typeface="+mn-lt"/>
                        </a:rPr>
                        <a:t> over single row or adjacent row groups only</a:t>
                      </a:r>
                      <a:endParaRPr lang="en-US" sz="2000" b="0" dirty="0">
                        <a:solidFill>
                          <a:schemeClr val="tx2"/>
                        </a:solidFill>
                        <a:latin typeface="+mj-lt"/>
                      </a:endParaRPr>
                    </a:p>
                  </a:txBody>
                  <a:tcPr marL="89642" marR="89642" marT="44821" marB="44821"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4E4F8"/>
                    </a:solidFill>
                  </a:tcPr>
                </a:tc>
                <a:extLst>
                  <a:ext uri="{0D108BD9-81ED-4DB2-BD59-A6C34878D82A}">
                    <a16:rowId xmlns:a16="http://schemas.microsoft.com/office/drawing/2014/main" val="10002"/>
                  </a:ext>
                </a:extLst>
              </a:tr>
              <a:tr h="556041">
                <a:tc>
                  <a:txBody>
                    <a:bodyPr/>
                    <a:lstStyle/>
                    <a:p>
                      <a:pPr algn="r"/>
                      <a:r>
                        <a:rPr lang="en-US" sz="2500" dirty="0">
                          <a:solidFill>
                            <a:schemeClr val="accent3"/>
                          </a:solidFill>
                          <a:latin typeface="+mn-lt"/>
                        </a:rPr>
                        <a:t>Query</a:t>
                      </a:r>
                      <a:r>
                        <a:rPr lang="en-US" sz="2500" baseline="0" dirty="0">
                          <a:solidFill>
                            <a:schemeClr val="accent3"/>
                          </a:solidFill>
                          <a:latin typeface="+mn-lt"/>
                        </a:rPr>
                        <a:t> language</a:t>
                      </a:r>
                      <a:endParaRPr lang="en-US" sz="2500" dirty="0">
                        <a:solidFill>
                          <a:schemeClr val="accent3"/>
                        </a:solidFill>
                        <a:latin typeface="+mn-lt"/>
                      </a:endParaRPr>
                    </a:p>
                  </a:txBody>
                  <a:tcPr marL="89642" marR="89642" marT="44821" marB="44821" anchor="ctr">
                    <a:lnL w="952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000" b="0" dirty="0">
                          <a:solidFill>
                            <a:schemeClr val="tx2"/>
                          </a:solidFill>
                          <a:latin typeface="+mn-lt"/>
                        </a:rPr>
                        <a:t>SQL</a:t>
                      </a:r>
                      <a:endParaRPr lang="en-US" sz="2000" b="0" dirty="0">
                        <a:solidFill>
                          <a:schemeClr val="tx2"/>
                        </a:solidFill>
                        <a:latin typeface="+mj-lt"/>
                      </a:endParaRPr>
                    </a:p>
                  </a:txBody>
                  <a:tcPr marL="89642" marR="89642" marT="44821" marB="44821"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000" b="0" dirty="0">
                          <a:solidFill>
                            <a:schemeClr val="tx2"/>
                          </a:solidFill>
                          <a:latin typeface="+mn-lt"/>
                        </a:rPr>
                        <a:t>None</a:t>
                      </a:r>
                      <a:r>
                        <a:rPr lang="en-US" sz="2000" b="0" baseline="0" dirty="0">
                          <a:solidFill>
                            <a:schemeClr val="tx2"/>
                          </a:solidFill>
                          <a:latin typeface="+mn-lt"/>
                        </a:rPr>
                        <a:t> (APIs: get, put, scan, … ) </a:t>
                      </a:r>
                      <a:endParaRPr lang="en-US" sz="2000" b="0" dirty="0">
                        <a:solidFill>
                          <a:schemeClr val="tx2"/>
                        </a:solidFill>
                        <a:latin typeface="+mj-lt"/>
                      </a:endParaRPr>
                    </a:p>
                  </a:txBody>
                  <a:tcPr marL="89642" marR="89642" marT="44821" marB="44821"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556041">
                <a:tc>
                  <a:txBody>
                    <a:bodyPr/>
                    <a:lstStyle/>
                    <a:p>
                      <a:pPr algn="r"/>
                      <a:r>
                        <a:rPr lang="en-US" sz="2500" dirty="0">
                          <a:solidFill>
                            <a:schemeClr val="accent3"/>
                          </a:solidFill>
                          <a:latin typeface="+mn-lt"/>
                        </a:rPr>
                        <a:t>Joins</a:t>
                      </a:r>
                    </a:p>
                  </a:txBody>
                  <a:tcPr marL="89642" marR="89642" marT="44821" marB="44821" anchor="ctr">
                    <a:lnL w="952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000" dirty="0">
                          <a:solidFill>
                            <a:schemeClr val="tx2"/>
                          </a:solidFill>
                        </a:rPr>
                        <a:t>Yes</a:t>
                      </a:r>
                      <a:endParaRPr lang="en-US" sz="2000" b="0" dirty="0">
                        <a:solidFill>
                          <a:schemeClr val="tx2"/>
                        </a:solidFill>
                        <a:latin typeface="+mj-lt"/>
                      </a:endParaRPr>
                    </a:p>
                  </a:txBody>
                  <a:tcPr marL="89642" marR="89642" marT="44821" marB="44821"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4E4F8"/>
                    </a:solidFill>
                  </a:tcPr>
                </a:tc>
                <a:tc>
                  <a:txBody>
                    <a:bodyPr/>
                    <a:lstStyle/>
                    <a:p>
                      <a:pPr algn="ctr"/>
                      <a:r>
                        <a:rPr lang="en-US" sz="2000" dirty="0">
                          <a:solidFill>
                            <a:schemeClr val="tx2"/>
                          </a:solidFill>
                        </a:rPr>
                        <a:t>No </a:t>
                      </a:r>
                      <a:endParaRPr lang="en-US" sz="2000" b="0" dirty="0">
                        <a:solidFill>
                          <a:schemeClr val="tx2"/>
                        </a:solidFill>
                        <a:latin typeface="+mj-lt"/>
                      </a:endParaRPr>
                    </a:p>
                  </a:txBody>
                  <a:tcPr marL="89642" marR="89642" marT="44821" marB="44821"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4E4F8"/>
                    </a:solidFill>
                  </a:tcPr>
                </a:tc>
                <a:extLst>
                  <a:ext uri="{0D108BD9-81ED-4DB2-BD59-A6C34878D82A}">
                    <a16:rowId xmlns:a16="http://schemas.microsoft.com/office/drawing/2014/main" val="10004"/>
                  </a:ext>
                </a:extLst>
              </a:tr>
              <a:tr h="556041">
                <a:tc>
                  <a:txBody>
                    <a:bodyPr/>
                    <a:lstStyle/>
                    <a:p>
                      <a:pPr algn="r"/>
                      <a:r>
                        <a:rPr lang="en-US" sz="2500" dirty="0">
                          <a:solidFill>
                            <a:schemeClr val="accent3"/>
                          </a:solidFill>
                          <a:latin typeface="+mn-lt"/>
                        </a:rPr>
                        <a:t>Indexes</a:t>
                      </a:r>
                    </a:p>
                  </a:txBody>
                  <a:tcPr marL="89642" marR="89642" marT="44821" marB="44821" anchor="ctr">
                    <a:lnL w="952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000" b="0" dirty="0">
                          <a:solidFill>
                            <a:schemeClr val="tx2"/>
                          </a:solidFill>
                          <a:latin typeface="+mn-lt"/>
                        </a:rPr>
                        <a:t>On</a:t>
                      </a:r>
                      <a:r>
                        <a:rPr lang="en-US" sz="2000" b="0" baseline="0" dirty="0">
                          <a:solidFill>
                            <a:schemeClr val="tx2"/>
                          </a:solidFill>
                          <a:latin typeface="+mn-lt"/>
                        </a:rPr>
                        <a:t> any column or multiple columns</a:t>
                      </a:r>
                      <a:endParaRPr lang="en-US" sz="2000" b="0" dirty="0">
                        <a:solidFill>
                          <a:schemeClr val="tx2"/>
                        </a:solidFill>
                        <a:latin typeface="+mj-lt"/>
                      </a:endParaRPr>
                    </a:p>
                  </a:txBody>
                  <a:tcPr marL="89642" marR="89642" marT="44821" marB="44821"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000" baseline="0" dirty="0">
                          <a:solidFill>
                            <a:schemeClr val="tx2"/>
                          </a:solidFill>
                        </a:rPr>
                        <a:t>Single row index only </a:t>
                      </a:r>
                      <a:endParaRPr lang="en-US" sz="2000" b="0" dirty="0">
                        <a:solidFill>
                          <a:schemeClr val="tx2"/>
                        </a:solidFill>
                        <a:latin typeface="+mj-lt"/>
                      </a:endParaRPr>
                    </a:p>
                  </a:txBody>
                  <a:tcPr marL="89642" marR="89642" marT="44821" marB="44821"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556041">
                <a:tc>
                  <a:txBody>
                    <a:bodyPr/>
                    <a:lstStyle/>
                    <a:p>
                      <a:pPr algn="r"/>
                      <a:r>
                        <a:rPr lang="en-US" sz="2500" dirty="0">
                          <a:solidFill>
                            <a:schemeClr val="accent3"/>
                          </a:solidFill>
                          <a:latin typeface="+mn-lt"/>
                        </a:rPr>
                        <a:t>Data</a:t>
                      </a:r>
                      <a:r>
                        <a:rPr lang="en-US" sz="2500" baseline="0" dirty="0">
                          <a:solidFill>
                            <a:schemeClr val="accent3"/>
                          </a:solidFill>
                          <a:latin typeface="+mn-lt"/>
                        </a:rPr>
                        <a:t> Size</a:t>
                      </a:r>
                      <a:endParaRPr lang="en-US" sz="2500" dirty="0">
                        <a:solidFill>
                          <a:schemeClr val="accent3"/>
                        </a:solidFill>
                        <a:latin typeface="+mn-lt"/>
                      </a:endParaRPr>
                    </a:p>
                  </a:txBody>
                  <a:tcPr marL="89642" marR="89642" marT="44821" marB="44821" anchor="ctr">
                    <a:lnL w="952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000" b="0" dirty="0">
                          <a:solidFill>
                            <a:schemeClr val="tx2"/>
                          </a:solidFill>
                          <a:latin typeface="+mn-lt"/>
                        </a:rPr>
                        <a:t>Usually</a:t>
                      </a:r>
                      <a:r>
                        <a:rPr lang="en-US" sz="2000" b="0" baseline="0" dirty="0">
                          <a:solidFill>
                            <a:schemeClr val="tx2"/>
                          </a:solidFill>
                          <a:latin typeface="+mn-lt"/>
                        </a:rPr>
                        <a:t> limited to Terabytes</a:t>
                      </a:r>
                      <a:endParaRPr lang="en-US" sz="2000" b="0" dirty="0">
                        <a:solidFill>
                          <a:schemeClr val="tx2"/>
                        </a:solidFill>
                        <a:latin typeface="+mj-lt"/>
                      </a:endParaRPr>
                    </a:p>
                  </a:txBody>
                  <a:tcPr marL="89642" marR="89642" marT="44821" marB="44821"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4E4F8"/>
                    </a:solidFill>
                  </a:tcPr>
                </a:tc>
                <a:tc>
                  <a:txBody>
                    <a:bodyPr/>
                    <a:lstStyle/>
                    <a:p>
                      <a:pPr algn="ctr"/>
                      <a:r>
                        <a:rPr lang="en-US" sz="2000" b="0" dirty="0">
                          <a:solidFill>
                            <a:schemeClr val="tx2"/>
                          </a:solidFill>
                          <a:latin typeface="+mn-lt"/>
                        </a:rPr>
                        <a:t>Petabytes</a:t>
                      </a:r>
                      <a:endParaRPr lang="en-US" sz="2000" b="0" dirty="0">
                        <a:solidFill>
                          <a:schemeClr val="tx2"/>
                        </a:solidFill>
                        <a:latin typeface="+mj-lt"/>
                      </a:endParaRPr>
                    </a:p>
                  </a:txBody>
                  <a:tcPr marL="89642" marR="89642" marT="44821" marB="44821"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4E4F8"/>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3521885604"/>
      </p:ext>
    </p:extLst>
  </p:cSld>
  <p:clrMapOvr>
    <a:masterClrMapping/>
  </p:clrMapOvr>
  <p:transition spd="med">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58" y="2044"/>
          <a:ext cx="1556" cy="1556"/>
        </p:xfrm>
        <a:graphic>
          <a:graphicData uri="http://schemas.openxmlformats.org/presentationml/2006/ole">
            <mc:AlternateContent xmlns:mc="http://schemas.openxmlformats.org/markup-compatibility/2006">
              <mc:Choice xmlns:v="urn:schemas-microsoft-com:vml" Requires="v">
                <p:oleObj spid="_x0000_s26798" name="think-cell Slide" r:id="rId4" imgW="377" imgH="377" progId="TCLayout.ActiveDocument.1">
                  <p:embed/>
                </p:oleObj>
              </mc:Choice>
              <mc:Fallback>
                <p:oleObj name="think-cell Slide" r:id="rId4" imgW="377" imgH="377" progId="TCLayout.ActiveDocument.1">
                  <p:embed/>
                  <p:pic>
                    <p:nvPicPr>
                      <p:cNvPr id="7" name="Object 6" hidden="1"/>
                      <p:cNvPicPr/>
                      <p:nvPr/>
                    </p:nvPicPr>
                    <p:blipFill>
                      <a:blip r:embed="rId5"/>
                      <a:stretch>
                        <a:fillRect/>
                      </a:stretch>
                    </p:blipFill>
                    <p:spPr>
                      <a:xfrm>
                        <a:off x="1558" y="2044"/>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Apache Phoenix —SQL over HBase</a:t>
            </a:r>
            <a:br>
              <a:rPr lang="en-US" dirty="0"/>
            </a:br>
            <a:endParaRPr lang="en-US" dirty="0"/>
          </a:p>
        </p:txBody>
      </p:sp>
      <p:sp>
        <p:nvSpPr>
          <p:cNvPr id="1153" name="Oval 1152"/>
          <p:cNvSpPr/>
          <p:nvPr/>
        </p:nvSpPr>
        <p:spPr bwMode="auto">
          <a:xfrm>
            <a:off x="8999801" y="5391279"/>
            <a:ext cx="473866" cy="473866"/>
          </a:xfrm>
          <a:prstGeom prst="ellipse">
            <a:avLst/>
          </a:prstGeom>
          <a:solidFill>
            <a:schemeClr val="bg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3" name="Slide Number Placeholder 2"/>
          <p:cNvSpPr>
            <a:spLocks noGrp="1"/>
          </p:cNvSpPr>
          <p:nvPr>
            <p:ph type="sldNum" sz="quarter" idx="11"/>
          </p:nvPr>
        </p:nvSpPr>
        <p:spPr/>
        <p:txBody>
          <a:bodyPr/>
          <a:lstStyle/>
          <a:p>
            <a:pPr>
              <a:defRPr/>
            </a:pPr>
            <a:fld id="{F8A0AC42-AA1D-4944-8D96-660DE70C7E1B}" type="slidenum">
              <a:rPr lang="en-IN"/>
              <a:pPr>
                <a:defRPr/>
              </a:pPr>
              <a:t>66</a:t>
            </a:fld>
            <a:endParaRPr lang="en-IN" dirty="0"/>
          </a:p>
        </p:txBody>
      </p:sp>
      <p:sp>
        <p:nvSpPr>
          <p:cNvPr id="4" name="TextBox 3"/>
          <p:cNvSpPr txBox="1"/>
          <p:nvPr/>
        </p:nvSpPr>
        <p:spPr>
          <a:xfrm>
            <a:off x="521208" y="1353312"/>
            <a:ext cx="11009376" cy="621792"/>
          </a:xfrm>
          <a:prstGeom prst="rect">
            <a:avLst/>
          </a:prstGeom>
          <a:solidFill>
            <a:schemeClr val="accent3">
              <a:lumMod val="75000"/>
            </a:schemeClr>
          </a:solidFill>
        </p:spPr>
        <p:txBody>
          <a:bodyPr wrap="none" lIns="182880" tIns="146304" rIns="182880" bIns="146304" rtlCol="0">
            <a:noAutofit/>
          </a:bodyPr>
          <a:lstStyle/>
          <a:p>
            <a:pPr algn="ctr">
              <a:lnSpc>
                <a:spcPct val="90000"/>
              </a:lnSpc>
              <a:spcAft>
                <a:spcPts val="600"/>
              </a:spcAft>
            </a:pPr>
            <a:r>
              <a:rPr lang="en-US" sz="2400" dirty="0">
                <a:solidFill>
                  <a:schemeClr val="bg1"/>
                </a:solidFill>
                <a:latin typeface="Segoe UI Semibold" panose="020B0702040204020203" pitchFamily="34" charset="0"/>
                <a:cs typeface="Segoe UI Semibold" panose="020B0702040204020203" pitchFamily="34" charset="0"/>
              </a:rPr>
              <a:t>Apache Phoenix is a relational database layer on top of HBase.</a:t>
            </a:r>
          </a:p>
        </p:txBody>
      </p:sp>
      <p:sp>
        <p:nvSpPr>
          <p:cNvPr id="6" name="TextBox 5"/>
          <p:cNvSpPr txBox="1"/>
          <p:nvPr/>
        </p:nvSpPr>
        <p:spPr>
          <a:xfrm>
            <a:off x="402973" y="2114095"/>
            <a:ext cx="6997288" cy="4173047"/>
          </a:xfrm>
          <a:prstGeom prst="rect">
            <a:avLst/>
          </a:prstGeom>
          <a:noFill/>
        </p:spPr>
        <p:txBody>
          <a:bodyPr wrap="square" lIns="182880" tIns="146304" rIns="182880" bIns="146304" rtlCol="0">
            <a:noAutofit/>
          </a:bodyPr>
          <a:lstStyle/>
          <a:p>
            <a:pPr marL="331470" lvl="1" indent="-342900" defTabSz="913770" fontAlgn="base">
              <a:lnSpc>
                <a:spcPts val="2700"/>
              </a:lnSpc>
              <a:spcBef>
                <a:spcPts val="588"/>
              </a:spcBef>
              <a:spcAft>
                <a:spcPts val="588"/>
              </a:spcAft>
              <a:buClr>
                <a:srgbClr val="68217A">
                  <a:lumMod val="50000"/>
                </a:srgbClr>
              </a:buClr>
              <a:buSzPct val="75000"/>
              <a:buFont typeface="Wingdings" panose="05000000000000000000" pitchFamily="2" charset="2"/>
              <a:buChar char="v"/>
              <a:tabLst>
                <a:tab pos="645523" algn="l"/>
              </a:tabLst>
            </a:pPr>
            <a:r>
              <a:rPr lang="en-US" sz="2353" dirty="0">
                <a:ln>
                  <a:solidFill>
                    <a:srgbClr val="FFFFFF">
                      <a:alpha val="0"/>
                    </a:srgbClr>
                  </a:solidFill>
                </a:ln>
                <a:gradFill>
                  <a:gsLst>
                    <a:gs pos="85321">
                      <a:srgbClr val="505050"/>
                    </a:gs>
                    <a:gs pos="57000">
                      <a:srgbClr val="505050"/>
                    </a:gs>
                  </a:gsLst>
                </a:gradFill>
                <a:ea typeface="Segoe UI" pitchFamily="34" charset="0"/>
                <a:cs typeface="Segoe UI" pitchFamily="34" charset="0"/>
              </a:rPr>
              <a:t>Lets you view HBase table as regular relational tables (Rows and Columns). Maps the HBase data model to the relational data model.</a:t>
            </a:r>
          </a:p>
          <a:p>
            <a:pPr marL="331470" lvl="1" indent="-342900" defTabSz="913770" fontAlgn="base">
              <a:lnSpc>
                <a:spcPts val="2700"/>
              </a:lnSpc>
              <a:spcBef>
                <a:spcPts val="588"/>
              </a:spcBef>
              <a:spcAft>
                <a:spcPts val="588"/>
              </a:spcAft>
              <a:buClr>
                <a:srgbClr val="68217A">
                  <a:lumMod val="50000"/>
                </a:srgbClr>
              </a:buClr>
              <a:buSzPct val="75000"/>
              <a:buFont typeface="Wingdings" panose="05000000000000000000" pitchFamily="2" charset="2"/>
              <a:buChar char="v"/>
              <a:tabLst>
                <a:tab pos="645523" algn="l"/>
              </a:tabLst>
            </a:pPr>
            <a:r>
              <a:rPr lang="en-US" sz="2353" dirty="0">
                <a:ln>
                  <a:solidFill>
                    <a:srgbClr val="FFFFFF">
                      <a:alpha val="0"/>
                    </a:srgbClr>
                  </a:solidFill>
                </a:ln>
                <a:gradFill>
                  <a:gsLst>
                    <a:gs pos="85321">
                      <a:srgbClr val="505050"/>
                    </a:gs>
                    <a:gs pos="57000">
                      <a:srgbClr val="505050"/>
                    </a:gs>
                  </a:gsLst>
                </a:gradFill>
                <a:ea typeface="Segoe UI" pitchFamily="34" charset="0"/>
                <a:cs typeface="Segoe UI" pitchFamily="34" charset="0"/>
              </a:rPr>
              <a:t>Lets you query HBase tables using SQL </a:t>
            </a:r>
          </a:p>
          <a:p>
            <a:pPr marL="331470" lvl="1" indent="-342900" defTabSz="913770" fontAlgn="base">
              <a:lnSpc>
                <a:spcPts val="2700"/>
              </a:lnSpc>
              <a:spcBef>
                <a:spcPts val="588"/>
              </a:spcBef>
              <a:spcAft>
                <a:spcPts val="588"/>
              </a:spcAft>
              <a:buClr>
                <a:srgbClr val="68217A">
                  <a:lumMod val="50000"/>
                </a:srgbClr>
              </a:buClr>
              <a:buSzPct val="75000"/>
              <a:buFont typeface="Wingdings" panose="05000000000000000000" pitchFamily="2" charset="2"/>
              <a:buChar char="v"/>
              <a:tabLst>
                <a:tab pos="645523" algn="l"/>
              </a:tabLst>
            </a:pPr>
            <a:r>
              <a:rPr lang="en-US" sz="2353" dirty="0">
                <a:ln>
                  <a:solidFill>
                    <a:srgbClr val="FFFFFF">
                      <a:alpha val="0"/>
                    </a:srgbClr>
                  </a:solidFill>
                </a:ln>
                <a:gradFill>
                  <a:gsLst>
                    <a:gs pos="85321">
                      <a:srgbClr val="505050"/>
                    </a:gs>
                    <a:gs pos="57000">
                      <a:srgbClr val="505050"/>
                    </a:gs>
                  </a:gsLst>
                </a:gradFill>
                <a:ea typeface="Segoe UI" pitchFamily="34" charset="0"/>
                <a:cs typeface="Segoe UI" pitchFamily="34" charset="0"/>
              </a:rPr>
              <a:t>Creates a scale-out relational database using HBase.</a:t>
            </a:r>
          </a:p>
          <a:p>
            <a:pPr marL="365760" lvl="1" indent="-342900" defTabSz="913770" fontAlgn="base">
              <a:lnSpc>
                <a:spcPts val="2700"/>
              </a:lnSpc>
              <a:spcBef>
                <a:spcPts val="588"/>
              </a:spcBef>
              <a:spcAft>
                <a:spcPts val="588"/>
              </a:spcAft>
              <a:buClr>
                <a:srgbClr val="68217A">
                  <a:lumMod val="50000"/>
                </a:srgbClr>
              </a:buClr>
              <a:buSzPct val="75000"/>
              <a:buFont typeface="Wingdings" panose="05000000000000000000" pitchFamily="2" charset="2"/>
              <a:buChar char="v"/>
              <a:tabLst>
                <a:tab pos="645523" algn="l"/>
              </a:tabLst>
            </a:pPr>
            <a:r>
              <a:rPr lang="en-US" sz="2353" dirty="0">
                <a:ln>
                  <a:solidFill>
                    <a:srgbClr val="FFFFFF">
                      <a:alpha val="0"/>
                    </a:srgbClr>
                  </a:solidFill>
                </a:ln>
                <a:gradFill>
                  <a:gsLst>
                    <a:gs pos="85321">
                      <a:srgbClr val="505050"/>
                    </a:gs>
                    <a:gs pos="57000">
                      <a:srgbClr val="505050"/>
                    </a:gs>
                  </a:gsLst>
                </a:gradFill>
                <a:ea typeface="Segoe UI" pitchFamily="34" charset="0"/>
                <a:cs typeface="Segoe UI" pitchFamily="34" charset="0"/>
              </a:rPr>
              <a:t>Integrates with the Hadoop ecosystem (Pig, Scoop, Flume)</a:t>
            </a:r>
          </a:p>
          <a:p>
            <a:pPr marL="331470" lvl="1" indent="-342900" defTabSz="913770" fontAlgn="base">
              <a:lnSpc>
                <a:spcPts val="2700"/>
              </a:lnSpc>
              <a:spcBef>
                <a:spcPts val="588"/>
              </a:spcBef>
              <a:spcAft>
                <a:spcPts val="588"/>
              </a:spcAft>
              <a:buClr>
                <a:srgbClr val="68217A">
                  <a:lumMod val="50000"/>
                </a:srgbClr>
              </a:buClr>
              <a:buSzPct val="75000"/>
              <a:buFont typeface="Wingdings" panose="05000000000000000000" pitchFamily="2" charset="2"/>
              <a:buChar char="v"/>
              <a:tabLst>
                <a:tab pos="645523" algn="l"/>
              </a:tabLst>
            </a:pPr>
            <a:r>
              <a:rPr lang="en-US" sz="2353" dirty="0">
                <a:ln>
                  <a:solidFill>
                    <a:srgbClr val="FFFFFF">
                      <a:alpha val="0"/>
                    </a:srgbClr>
                  </a:solidFill>
                </a:ln>
                <a:gradFill>
                  <a:gsLst>
                    <a:gs pos="85321">
                      <a:srgbClr val="505050"/>
                    </a:gs>
                    <a:gs pos="57000">
                      <a:srgbClr val="505050"/>
                    </a:gs>
                  </a:gsLst>
                </a:gradFill>
                <a:ea typeface="Segoe UI" pitchFamily="34" charset="0"/>
                <a:cs typeface="Segoe UI" pitchFamily="34" charset="0"/>
              </a:rPr>
              <a:t>Requires no additional servers</a:t>
            </a:r>
          </a:p>
          <a:p>
            <a:pPr>
              <a:lnSpc>
                <a:spcPts val="2700"/>
              </a:lnSpc>
              <a:spcAft>
                <a:spcPts val="600"/>
              </a:spcAft>
            </a:pPr>
            <a:endParaRPr lang="en-US" sz="2400" dirty="0">
              <a:solidFill>
                <a:schemeClr val="tx1">
                  <a:lumMod val="85000"/>
                  <a:lumOff val="15000"/>
                </a:schemeClr>
              </a:solidFill>
            </a:endParaRPr>
          </a:p>
        </p:txBody>
      </p:sp>
      <p:pic>
        <p:nvPicPr>
          <p:cNvPr id="26635" name="Picture 11" descr="http://1.bp.blogspot.com/-kFPwZPelCWQ/VUpqNmVhEuI/AAAAAAAAAbc/16awcgWEDrQ/s1600/phoenix-hadoopsphere.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210120" y="3147769"/>
            <a:ext cx="4712330" cy="22435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72430804"/>
      </p:ext>
    </p:extLst>
  </p:cSld>
  <p:clrMapOvr>
    <a:masterClrMapping/>
  </p:clrMapOvr>
  <p:transition spd="med">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ache Phoenix: SQL Support</a:t>
            </a:r>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67</a:t>
            </a:fld>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3823919672"/>
              </p:ext>
            </p:extLst>
          </p:nvPr>
        </p:nvGraphicFramePr>
        <p:xfrm>
          <a:off x="1955550" y="1466116"/>
          <a:ext cx="8845234" cy="4554440"/>
        </p:xfrm>
        <a:graphic>
          <a:graphicData uri="http://schemas.openxmlformats.org/drawingml/2006/table">
            <a:tbl>
              <a:tblPr firstRow="1" bandRow="1">
                <a:tableStyleId>{F5AB1C69-6EDB-4FF4-983F-18BD219EF322}</a:tableStyleId>
              </a:tblPr>
              <a:tblGrid>
                <a:gridCol w="4431649">
                  <a:extLst>
                    <a:ext uri="{9D8B030D-6E8A-4147-A177-3AD203B41FA5}">
                      <a16:colId xmlns:a16="http://schemas.microsoft.com/office/drawing/2014/main" val="3097671619"/>
                    </a:ext>
                  </a:extLst>
                </a:gridCol>
                <a:gridCol w="4413585">
                  <a:extLst>
                    <a:ext uri="{9D8B030D-6E8A-4147-A177-3AD203B41FA5}">
                      <a16:colId xmlns:a16="http://schemas.microsoft.com/office/drawing/2014/main" val="4131113444"/>
                    </a:ext>
                  </a:extLst>
                </a:gridCol>
              </a:tblGrid>
              <a:tr h="455444">
                <a:tc>
                  <a:txBody>
                    <a:bodyPr/>
                    <a:lstStyle/>
                    <a:p>
                      <a:pPr marL="0" algn="ctr" defTabSz="914367" rtl="0" eaLnBrk="1" latinLnBrk="0" hangingPunct="1"/>
                      <a:r>
                        <a:rPr lang="en-US" sz="2000" kern="1200" dirty="0">
                          <a:ln>
                            <a:solidFill>
                              <a:srgbClr val="FFFFFF">
                                <a:alpha val="0"/>
                              </a:srgbClr>
                            </a:solidFill>
                          </a:ln>
                        </a:rPr>
                        <a:t>SQL Language Construct</a:t>
                      </a:r>
                      <a:endParaRPr lang="en-US" sz="2000" b="0" kern="1200" dirty="0">
                        <a:ln>
                          <a:solidFill>
                            <a:srgbClr val="FFFFFF">
                              <a:alpha val="0"/>
                            </a:srgbClr>
                          </a:solidFill>
                        </a:ln>
                        <a:solidFill>
                          <a:schemeClr val="bg1"/>
                        </a:solidFill>
                        <a:latin typeface="Segoe UI Semibold" panose="020B0702040204020203" pitchFamily="34" charset="0"/>
                        <a:ea typeface="Segoe UI" pitchFamily="34" charset="0"/>
                        <a:cs typeface="Segoe UI Semibold" panose="020B0702040204020203" pitchFamily="34" charset="0"/>
                      </a:endParaRPr>
                    </a:p>
                  </a:txBody>
                  <a:tcPr/>
                </a:tc>
                <a:tc>
                  <a:txBody>
                    <a:bodyPr/>
                    <a:lstStyle/>
                    <a:p>
                      <a:pPr marL="0" algn="ctr" defTabSz="914367" rtl="0" eaLnBrk="1" latinLnBrk="0" hangingPunct="1"/>
                      <a:r>
                        <a:rPr lang="en-US" sz="2000" kern="1200" dirty="0">
                          <a:ln>
                            <a:solidFill>
                              <a:srgbClr val="FFFFFF">
                                <a:alpha val="0"/>
                              </a:srgbClr>
                            </a:solidFill>
                          </a:ln>
                        </a:rPr>
                        <a:t> Supported? (Yes/No)</a:t>
                      </a:r>
                      <a:endParaRPr lang="en-US" sz="2000" b="0" kern="1200" dirty="0">
                        <a:ln>
                          <a:solidFill>
                            <a:srgbClr val="FFFFFF">
                              <a:alpha val="0"/>
                            </a:srgbClr>
                          </a:solidFill>
                        </a:ln>
                        <a:solidFill>
                          <a:schemeClr val="bg1"/>
                        </a:solidFill>
                        <a:latin typeface="Segoe UI Semibold" panose="020B0702040204020203" pitchFamily="34" charset="0"/>
                        <a:ea typeface="Segoe UI" pitchFamily="34" charset="0"/>
                        <a:cs typeface="Segoe UI Semibold" panose="020B0702040204020203" pitchFamily="34" charset="0"/>
                      </a:endParaRPr>
                    </a:p>
                  </a:txBody>
                  <a:tcPr/>
                </a:tc>
                <a:extLst>
                  <a:ext uri="{0D108BD9-81ED-4DB2-BD59-A6C34878D82A}">
                    <a16:rowId xmlns:a16="http://schemas.microsoft.com/office/drawing/2014/main" val="2048304605"/>
                  </a:ext>
                </a:extLst>
              </a:tr>
              <a:tr h="455444">
                <a:tc>
                  <a:txBody>
                    <a:bodyPr/>
                    <a:lstStyle/>
                    <a:p>
                      <a:r>
                        <a:rPr lang="en-US" sz="2000" kern="1200" dirty="0">
                          <a:ln>
                            <a:solidFill>
                              <a:srgbClr val="FFFFFF">
                                <a:alpha val="0"/>
                              </a:srgbClr>
                            </a:solidFill>
                          </a:ln>
                        </a:rPr>
                        <a:t>CREATE/DROP/ALTER TABLE</a:t>
                      </a:r>
                      <a:endParaRPr lang="en-US" sz="2000" kern="120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endParaRPr>
                    </a:p>
                  </a:txBody>
                  <a:tcPr anchor="ctr"/>
                </a:tc>
                <a:tc>
                  <a:txBody>
                    <a:bodyPr/>
                    <a:lstStyle/>
                    <a:p>
                      <a:pPr lvl="1"/>
                      <a:r>
                        <a:rPr lang="en-US" sz="2000" kern="1200" dirty="0">
                          <a:ln>
                            <a:solidFill>
                              <a:srgbClr val="FFFFFF">
                                <a:alpha val="0"/>
                              </a:srgbClr>
                            </a:solidFill>
                          </a:ln>
                        </a:rPr>
                        <a:t>Yes</a:t>
                      </a:r>
                      <a:endParaRPr lang="en-US" sz="2000" kern="120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endParaRPr>
                    </a:p>
                  </a:txBody>
                  <a:tcPr anchor="ctr"/>
                </a:tc>
                <a:extLst>
                  <a:ext uri="{0D108BD9-81ED-4DB2-BD59-A6C34878D82A}">
                    <a16:rowId xmlns:a16="http://schemas.microsoft.com/office/drawing/2014/main" val="3180485779"/>
                  </a:ext>
                </a:extLst>
              </a:tr>
              <a:tr h="455444">
                <a:tc>
                  <a:txBody>
                    <a:bodyPr/>
                    <a:lstStyle/>
                    <a:p>
                      <a:r>
                        <a:rPr lang="en-US" sz="2000" kern="1200" dirty="0">
                          <a:ln>
                            <a:solidFill>
                              <a:srgbClr val="FFFFFF">
                                <a:alpha val="0"/>
                              </a:srgbClr>
                            </a:solidFill>
                          </a:ln>
                        </a:rPr>
                        <a:t>UPSERT / DELETE</a:t>
                      </a:r>
                      <a:endParaRPr lang="en-US" sz="2000" kern="120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endParaRPr>
                    </a:p>
                  </a:txBody>
                  <a:tcPr anchor="ctr"/>
                </a:tc>
                <a:tc>
                  <a:txBody>
                    <a:bodyPr/>
                    <a:lstStyle/>
                    <a:p>
                      <a:pPr lvl="1"/>
                      <a:r>
                        <a:rPr lang="en-US" sz="2000" kern="1200" dirty="0">
                          <a:ln>
                            <a:solidFill>
                              <a:srgbClr val="FFFFFF">
                                <a:alpha val="0"/>
                              </a:srgbClr>
                            </a:solidFill>
                          </a:ln>
                        </a:rPr>
                        <a:t>Yes</a:t>
                      </a:r>
                      <a:endParaRPr lang="en-US" sz="2000" kern="120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endParaRPr>
                    </a:p>
                  </a:txBody>
                  <a:tcPr anchor="ctr"/>
                </a:tc>
                <a:extLst>
                  <a:ext uri="{0D108BD9-81ED-4DB2-BD59-A6C34878D82A}">
                    <a16:rowId xmlns:a16="http://schemas.microsoft.com/office/drawing/2014/main" val="2091490162"/>
                  </a:ext>
                </a:extLst>
              </a:tr>
              <a:tr h="455444">
                <a:tc>
                  <a:txBody>
                    <a:bodyPr/>
                    <a:lstStyle/>
                    <a:p>
                      <a:r>
                        <a:rPr lang="en-US" sz="2000" kern="1200" dirty="0">
                          <a:ln>
                            <a:solidFill>
                              <a:srgbClr val="FFFFFF">
                                <a:alpha val="0"/>
                              </a:srgbClr>
                            </a:solidFill>
                          </a:ln>
                        </a:rPr>
                        <a:t>SELECT</a:t>
                      </a:r>
                      <a:endParaRPr lang="en-US" sz="2000" kern="120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endParaRPr>
                    </a:p>
                  </a:txBody>
                  <a:tcPr anchor="ctr"/>
                </a:tc>
                <a:tc>
                  <a:txBody>
                    <a:bodyPr/>
                    <a:lstStyle/>
                    <a:p>
                      <a:pPr lvl="1"/>
                      <a:r>
                        <a:rPr lang="en-US" sz="2000" kern="1200" dirty="0">
                          <a:ln>
                            <a:solidFill>
                              <a:srgbClr val="FFFFFF">
                                <a:alpha val="0"/>
                              </a:srgbClr>
                            </a:solidFill>
                          </a:ln>
                        </a:rPr>
                        <a:t>Yes</a:t>
                      </a:r>
                      <a:endParaRPr lang="en-US" sz="2000" kern="120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endParaRPr>
                    </a:p>
                  </a:txBody>
                  <a:tcPr anchor="ctr"/>
                </a:tc>
                <a:extLst>
                  <a:ext uri="{0D108BD9-81ED-4DB2-BD59-A6C34878D82A}">
                    <a16:rowId xmlns:a16="http://schemas.microsoft.com/office/drawing/2014/main" val="3496063237"/>
                  </a:ext>
                </a:extLst>
              </a:tr>
              <a:tr h="455444">
                <a:tc>
                  <a:txBody>
                    <a:bodyPr/>
                    <a:lstStyle/>
                    <a:p>
                      <a:r>
                        <a:rPr lang="en-US" sz="2000" kern="1200" dirty="0">
                          <a:ln>
                            <a:solidFill>
                              <a:srgbClr val="FFFFFF">
                                <a:alpha val="0"/>
                              </a:srgbClr>
                            </a:solidFill>
                          </a:ln>
                        </a:rPr>
                        <a:t>WHERE / HAVING</a:t>
                      </a:r>
                      <a:endParaRPr lang="en-US" sz="2000" kern="120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endParaRPr>
                    </a:p>
                  </a:txBody>
                  <a:tcPr anchor="ctr"/>
                </a:tc>
                <a:tc>
                  <a:txBody>
                    <a:bodyPr/>
                    <a:lstStyle/>
                    <a:p>
                      <a:pPr lvl="1"/>
                      <a:r>
                        <a:rPr lang="en-US" sz="2000" kern="1200" dirty="0">
                          <a:ln>
                            <a:solidFill>
                              <a:srgbClr val="FFFFFF">
                                <a:alpha val="0"/>
                              </a:srgbClr>
                            </a:solidFill>
                          </a:ln>
                        </a:rPr>
                        <a:t>Yes</a:t>
                      </a:r>
                      <a:endParaRPr lang="en-US" sz="2000" kern="120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endParaRPr>
                    </a:p>
                  </a:txBody>
                  <a:tcPr anchor="ctr"/>
                </a:tc>
                <a:extLst>
                  <a:ext uri="{0D108BD9-81ED-4DB2-BD59-A6C34878D82A}">
                    <a16:rowId xmlns:a16="http://schemas.microsoft.com/office/drawing/2014/main" val="922852203"/>
                  </a:ext>
                </a:extLst>
              </a:tr>
              <a:tr h="455444">
                <a:tc>
                  <a:txBody>
                    <a:bodyPr/>
                    <a:lstStyle/>
                    <a:p>
                      <a:r>
                        <a:rPr lang="en-US" sz="2000" kern="1200" dirty="0">
                          <a:ln>
                            <a:solidFill>
                              <a:srgbClr val="FFFFFF">
                                <a:alpha val="0"/>
                              </a:srgbClr>
                            </a:solidFill>
                          </a:ln>
                        </a:rPr>
                        <a:t>GROUP BY / ORDER BY</a:t>
                      </a:r>
                      <a:endParaRPr lang="en-US" sz="2000" kern="120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endParaRPr>
                    </a:p>
                  </a:txBody>
                  <a:tcPr anchor="ctr"/>
                </a:tc>
                <a:tc>
                  <a:txBody>
                    <a:bodyPr/>
                    <a:lstStyle/>
                    <a:p>
                      <a:pPr lvl="1"/>
                      <a:r>
                        <a:rPr lang="en-US" sz="2000" kern="1200" dirty="0">
                          <a:ln>
                            <a:solidFill>
                              <a:srgbClr val="FFFFFF">
                                <a:alpha val="0"/>
                              </a:srgbClr>
                            </a:solidFill>
                          </a:ln>
                        </a:rPr>
                        <a:t>Yes</a:t>
                      </a:r>
                      <a:endParaRPr lang="en-US" sz="2000" kern="120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endParaRPr>
                    </a:p>
                  </a:txBody>
                  <a:tcPr anchor="ctr"/>
                </a:tc>
                <a:extLst>
                  <a:ext uri="{0D108BD9-81ED-4DB2-BD59-A6C34878D82A}">
                    <a16:rowId xmlns:a16="http://schemas.microsoft.com/office/drawing/2014/main" val="776076028"/>
                  </a:ext>
                </a:extLst>
              </a:tr>
              <a:tr h="455444">
                <a:tc>
                  <a:txBody>
                    <a:bodyPr/>
                    <a:lstStyle/>
                    <a:p>
                      <a:r>
                        <a:rPr lang="en-US" sz="2000" kern="1200" dirty="0">
                          <a:ln>
                            <a:solidFill>
                              <a:srgbClr val="FFFFFF">
                                <a:alpha val="0"/>
                              </a:srgbClr>
                            </a:solidFill>
                          </a:ln>
                        </a:rPr>
                        <a:t>LIMIT</a:t>
                      </a:r>
                      <a:endParaRPr lang="en-US" sz="2000" kern="120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endParaRPr>
                    </a:p>
                  </a:txBody>
                  <a:tcPr anchor="ctr"/>
                </a:tc>
                <a:tc>
                  <a:txBody>
                    <a:bodyPr/>
                    <a:lstStyle/>
                    <a:p>
                      <a:pPr lvl="1"/>
                      <a:r>
                        <a:rPr lang="en-US" sz="2000" kern="1200" dirty="0">
                          <a:ln>
                            <a:solidFill>
                              <a:srgbClr val="FFFFFF">
                                <a:alpha val="0"/>
                              </a:srgbClr>
                            </a:solidFill>
                          </a:ln>
                        </a:rPr>
                        <a:t>Yes</a:t>
                      </a:r>
                      <a:endParaRPr lang="en-US" sz="2000" kern="120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endParaRPr>
                    </a:p>
                  </a:txBody>
                  <a:tcPr anchor="ctr"/>
                </a:tc>
                <a:extLst>
                  <a:ext uri="{0D108BD9-81ED-4DB2-BD59-A6C34878D82A}">
                    <a16:rowId xmlns:a16="http://schemas.microsoft.com/office/drawing/2014/main" val="1515103676"/>
                  </a:ext>
                </a:extLst>
              </a:tr>
              <a:tr h="455444">
                <a:tc>
                  <a:txBody>
                    <a:bodyPr/>
                    <a:lstStyle/>
                    <a:p>
                      <a:r>
                        <a:rPr lang="en-US" sz="2000" kern="1200" dirty="0">
                          <a:ln>
                            <a:solidFill>
                              <a:srgbClr val="FFFFFF">
                                <a:alpha val="0"/>
                              </a:srgbClr>
                            </a:solidFill>
                          </a:ln>
                        </a:rPr>
                        <a:t>JOIN</a:t>
                      </a:r>
                      <a:endParaRPr lang="en-US" sz="2000" kern="120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endParaRPr>
                    </a:p>
                  </a:txBody>
                  <a:tcPr anchor="ctr"/>
                </a:tc>
                <a:tc>
                  <a:txBody>
                    <a:bodyPr/>
                    <a:lstStyle/>
                    <a:p>
                      <a:pPr lvl="1"/>
                      <a:r>
                        <a:rPr lang="en-US" sz="2000" kern="1200" dirty="0">
                          <a:ln>
                            <a:solidFill>
                              <a:srgbClr val="FFFFFF">
                                <a:alpha val="0"/>
                              </a:srgbClr>
                            </a:solidFill>
                          </a:ln>
                        </a:rPr>
                        <a:t>Yes (with limitations)</a:t>
                      </a:r>
                      <a:endParaRPr lang="en-US" sz="2000" kern="120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endParaRPr>
                    </a:p>
                  </a:txBody>
                  <a:tcPr anchor="ctr"/>
                </a:tc>
                <a:extLst>
                  <a:ext uri="{0D108BD9-81ED-4DB2-BD59-A6C34878D82A}">
                    <a16:rowId xmlns:a16="http://schemas.microsoft.com/office/drawing/2014/main" val="1238115445"/>
                  </a:ext>
                </a:extLst>
              </a:tr>
              <a:tr h="455444">
                <a:tc>
                  <a:txBody>
                    <a:bodyPr/>
                    <a:lstStyle/>
                    <a:p>
                      <a:r>
                        <a:rPr lang="en-US" sz="2000" kern="1200" dirty="0">
                          <a:ln>
                            <a:solidFill>
                              <a:srgbClr val="FFFFFF">
                                <a:alpha val="0"/>
                              </a:srgbClr>
                            </a:solidFill>
                          </a:ln>
                        </a:rPr>
                        <a:t>VIEWS</a:t>
                      </a:r>
                      <a:endParaRPr lang="en-US" sz="2000" kern="120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endParaRPr>
                    </a:p>
                  </a:txBody>
                  <a:tcPr anchor="ctr"/>
                </a:tc>
                <a:tc>
                  <a:txBody>
                    <a:bodyPr/>
                    <a:lstStyle/>
                    <a:p>
                      <a:pPr lvl="1"/>
                      <a:r>
                        <a:rPr lang="en-US" sz="2000" kern="1200" dirty="0">
                          <a:ln>
                            <a:solidFill>
                              <a:srgbClr val="FFFFFF">
                                <a:alpha val="0"/>
                              </a:srgbClr>
                            </a:solidFill>
                          </a:ln>
                        </a:rPr>
                        <a:t>Yes</a:t>
                      </a:r>
                      <a:endParaRPr lang="en-US" sz="2000" kern="120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endParaRPr>
                    </a:p>
                  </a:txBody>
                  <a:tcPr anchor="ctr"/>
                </a:tc>
                <a:extLst>
                  <a:ext uri="{0D108BD9-81ED-4DB2-BD59-A6C34878D82A}">
                    <a16:rowId xmlns:a16="http://schemas.microsoft.com/office/drawing/2014/main" val="4205280229"/>
                  </a:ext>
                </a:extLst>
              </a:tr>
              <a:tr h="455444">
                <a:tc>
                  <a:txBody>
                    <a:bodyPr/>
                    <a:lstStyle/>
                    <a:p>
                      <a:r>
                        <a:rPr lang="en-US" sz="2000" kern="1200" dirty="0">
                          <a:ln>
                            <a:solidFill>
                              <a:srgbClr val="FFFFFF">
                                <a:alpha val="0"/>
                              </a:srgbClr>
                            </a:solidFill>
                          </a:ln>
                        </a:rPr>
                        <a:t>Transactions</a:t>
                      </a:r>
                      <a:endParaRPr lang="en-US" sz="2000" kern="120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endParaRPr>
                    </a:p>
                  </a:txBody>
                  <a:tcPr anchor="ctr"/>
                </a:tc>
                <a:tc>
                  <a:txBody>
                    <a:bodyPr/>
                    <a:lstStyle/>
                    <a:p>
                      <a:pPr lvl="1"/>
                      <a:r>
                        <a:rPr lang="en-US" sz="2000" kern="1200" dirty="0">
                          <a:ln>
                            <a:solidFill>
                              <a:srgbClr val="FFFFFF">
                                <a:alpha val="0"/>
                              </a:srgbClr>
                            </a:solidFill>
                          </a:ln>
                        </a:rPr>
                        <a:t>No</a:t>
                      </a:r>
                      <a:endParaRPr lang="en-US" sz="2000" kern="120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endParaRPr>
                    </a:p>
                  </a:txBody>
                  <a:tcPr anchor="ctr"/>
                </a:tc>
                <a:extLst>
                  <a:ext uri="{0D108BD9-81ED-4DB2-BD59-A6C34878D82A}">
                    <a16:rowId xmlns:a16="http://schemas.microsoft.com/office/drawing/2014/main" val="401833769"/>
                  </a:ext>
                </a:extLst>
              </a:tr>
            </a:tbl>
          </a:graphicData>
        </a:graphic>
      </p:graphicFrame>
    </p:spTree>
    <p:extLst>
      <p:ext uri="{BB962C8B-B14F-4D97-AF65-F5344CB8AC3E}">
        <p14:creationId xmlns:p14="http://schemas.microsoft.com/office/powerpoint/2010/main" val="24068871"/>
      </p:ext>
    </p:extLst>
  </p:cSld>
  <p:clrMapOvr>
    <a:masterClrMapping/>
  </p:clrMapOvr>
  <p:transition spd="med">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ache Phoenix: Components</a:t>
            </a:r>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68</a:t>
            </a:fld>
            <a:endParaRPr lang="en-US" dirty="0"/>
          </a:p>
        </p:txBody>
      </p:sp>
      <p:pic>
        <p:nvPicPr>
          <p:cNvPr id="5" name="Picture 4"/>
          <p:cNvPicPr>
            <a:picLocks noChangeAspect="1"/>
          </p:cNvPicPr>
          <p:nvPr/>
        </p:nvPicPr>
        <p:blipFill>
          <a:blip r:embed="rId2"/>
          <a:stretch>
            <a:fillRect/>
          </a:stretch>
        </p:blipFill>
        <p:spPr>
          <a:xfrm>
            <a:off x="6044184" y="2084830"/>
            <a:ext cx="5924702" cy="3191260"/>
          </a:xfrm>
          <a:prstGeom prst="rect">
            <a:avLst/>
          </a:prstGeom>
        </p:spPr>
      </p:pic>
      <p:sp>
        <p:nvSpPr>
          <p:cNvPr id="7" name="Rectangle 6"/>
          <p:cNvSpPr/>
          <p:nvPr/>
        </p:nvSpPr>
        <p:spPr bwMode="auto">
          <a:xfrm>
            <a:off x="321173" y="2084830"/>
            <a:ext cx="1337591" cy="100061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600" dirty="0">
                <a:solidFill>
                  <a:schemeClr val="bg1"/>
                </a:solidFill>
                <a:ea typeface="Segoe UI" pitchFamily="34" charset="0"/>
                <a:cs typeface="Segoe UI" pitchFamily="34" charset="0"/>
              </a:rPr>
              <a:t>Query Execution Engine</a:t>
            </a:r>
          </a:p>
        </p:txBody>
      </p:sp>
      <p:sp>
        <p:nvSpPr>
          <p:cNvPr id="10" name="Rectangle 9"/>
          <p:cNvSpPr/>
          <p:nvPr/>
        </p:nvSpPr>
        <p:spPr bwMode="auto">
          <a:xfrm>
            <a:off x="1674250" y="2084832"/>
            <a:ext cx="4351647" cy="99925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indent="-91440">
              <a:lnSpc>
                <a:spcPts val="2600"/>
              </a:lnSpc>
              <a:spcBef>
                <a:spcPts val="600"/>
              </a:spcBef>
            </a:pPr>
            <a:endParaRPr lang="en-US" sz="1400" dirty="0">
              <a:solidFill>
                <a:schemeClr val="bg1"/>
              </a:solidFill>
            </a:endParaRPr>
          </a:p>
        </p:txBody>
      </p:sp>
      <p:sp>
        <p:nvSpPr>
          <p:cNvPr id="11" name="TextBox 10"/>
          <p:cNvSpPr txBox="1"/>
          <p:nvPr/>
        </p:nvSpPr>
        <p:spPr>
          <a:xfrm>
            <a:off x="1702290" y="2123344"/>
            <a:ext cx="4259598" cy="969883"/>
          </a:xfrm>
          <a:prstGeom prst="rect">
            <a:avLst/>
          </a:prstGeom>
          <a:noFill/>
        </p:spPr>
        <p:txBody>
          <a:bodyPr wrap="square" lIns="0" tIns="0" rIns="0" bIns="0" rtlCol="0" anchor="ctr">
            <a:noAutofit/>
          </a:bodyPr>
          <a:lstStyle/>
          <a:p>
            <a:pPr marL="91440" indent="-91440">
              <a:lnSpc>
                <a:spcPts val="2400"/>
              </a:lnSpc>
              <a:buFont typeface="Arial" panose="020B0604020202020204" pitchFamily="34" charset="0"/>
              <a:buChar char="•"/>
            </a:pPr>
            <a:r>
              <a:rPr lang="en-US" sz="1400" dirty="0">
                <a:solidFill>
                  <a:schemeClr val="bg1"/>
                </a:solidFill>
              </a:rPr>
              <a:t>Transforms SQL queries into native HBase API calls</a:t>
            </a:r>
          </a:p>
          <a:p>
            <a:pPr marL="91440" indent="-91440">
              <a:lnSpc>
                <a:spcPts val="2200"/>
              </a:lnSpc>
              <a:buFont typeface="Arial" panose="020B0604020202020204" pitchFamily="34" charset="0"/>
              <a:buChar char="•"/>
            </a:pPr>
            <a:r>
              <a:rPr lang="en-US" sz="1400" dirty="0">
                <a:solidFill>
                  <a:schemeClr val="bg1"/>
                </a:solidFill>
              </a:rPr>
              <a:t>Pushes down operations onto the cluster for maximum parallelism</a:t>
            </a:r>
            <a:endParaRPr lang="en-US" sz="1400" dirty="0">
              <a:solidFill>
                <a:schemeClr val="tx1">
                  <a:lumMod val="85000"/>
                  <a:lumOff val="15000"/>
                </a:schemeClr>
              </a:solidFill>
            </a:endParaRPr>
          </a:p>
        </p:txBody>
      </p:sp>
      <p:sp>
        <p:nvSpPr>
          <p:cNvPr id="12" name="Rectangle 11"/>
          <p:cNvSpPr/>
          <p:nvPr/>
        </p:nvSpPr>
        <p:spPr bwMode="auto">
          <a:xfrm>
            <a:off x="321173" y="3088711"/>
            <a:ext cx="1337591" cy="100061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600" dirty="0">
                <a:solidFill>
                  <a:schemeClr val="bg1"/>
                </a:solidFill>
                <a:ea typeface="Segoe UI" pitchFamily="34" charset="0"/>
                <a:cs typeface="Segoe UI" pitchFamily="34" charset="0"/>
              </a:rPr>
              <a:t>JDBC Driver</a:t>
            </a:r>
          </a:p>
        </p:txBody>
      </p:sp>
      <p:sp>
        <p:nvSpPr>
          <p:cNvPr id="13" name="Rectangle 12"/>
          <p:cNvSpPr/>
          <p:nvPr/>
        </p:nvSpPr>
        <p:spPr bwMode="auto">
          <a:xfrm>
            <a:off x="1674250" y="3088711"/>
            <a:ext cx="4351646" cy="100061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indent="-91440">
              <a:lnSpc>
                <a:spcPts val="2600"/>
              </a:lnSpc>
              <a:spcBef>
                <a:spcPts val="600"/>
              </a:spcBef>
            </a:pPr>
            <a:endParaRPr lang="en-US" sz="1400" dirty="0">
              <a:solidFill>
                <a:schemeClr val="bg1"/>
              </a:solidFill>
            </a:endParaRPr>
          </a:p>
        </p:txBody>
      </p:sp>
      <p:sp>
        <p:nvSpPr>
          <p:cNvPr id="14" name="TextBox 13"/>
          <p:cNvSpPr txBox="1"/>
          <p:nvPr/>
        </p:nvSpPr>
        <p:spPr>
          <a:xfrm>
            <a:off x="1711434" y="3302135"/>
            <a:ext cx="3696741" cy="573765"/>
          </a:xfrm>
          <a:prstGeom prst="rect">
            <a:avLst/>
          </a:prstGeom>
          <a:solidFill>
            <a:schemeClr val="accent2"/>
          </a:solidFill>
        </p:spPr>
        <p:txBody>
          <a:bodyPr wrap="square" lIns="0" tIns="0" rIns="0" bIns="0" rtlCol="0" anchor="ctr">
            <a:noAutofit/>
          </a:bodyPr>
          <a:lstStyle/>
          <a:p>
            <a:pPr marL="91440" indent="-91440">
              <a:lnSpc>
                <a:spcPts val="2400"/>
              </a:lnSpc>
              <a:buFont typeface="Arial" panose="020B0604020202020204" pitchFamily="34" charset="0"/>
              <a:buChar char="•"/>
            </a:pPr>
            <a:r>
              <a:rPr lang="en-US" sz="1400" dirty="0">
                <a:solidFill>
                  <a:schemeClr val="bg1"/>
                </a:solidFill>
              </a:rPr>
              <a:t>Client side driver</a:t>
            </a:r>
          </a:p>
        </p:txBody>
      </p:sp>
      <p:sp>
        <p:nvSpPr>
          <p:cNvPr id="15" name="Rectangle 14"/>
          <p:cNvSpPr/>
          <p:nvPr/>
        </p:nvSpPr>
        <p:spPr bwMode="auto">
          <a:xfrm>
            <a:off x="321173" y="4101737"/>
            <a:ext cx="1337591" cy="1000615"/>
          </a:xfrm>
          <a:prstGeom prst="rect">
            <a:avLst/>
          </a:prstGeom>
          <a:solidFill>
            <a:schemeClr val="accent6">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600" dirty="0">
                <a:solidFill>
                  <a:schemeClr val="bg1"/>
                </a:solidFill>
                <a:ea typeface="Segoe UI" pitchFamily="34" charset="0"/>
                <a:cs typeface="Segoe UI" pitchFamily="34" charset="0"/>
              </a:rPr>
              <a:t>Metadata Repository</a:t>
            </a:r>
          </a:p>
        </p:txBody>
      </p:sp>
      <p:sp>
        <p:nvSpPr>
          <p:cNvPr id="16" name="Rectangle 15"/>
          <p:cNvSpPr/>
          <p:nvPr/>
        </p:nvSpPr>
        <p:spPr bwMode="auto">
          <a:xfrm>
            <a:off x="1674250" y="4101737"/>
            <a:ext cx="4351646" cy="1000616"/>
          </a:xfrm>
          <a:prstGeom prst="rect">
            <a:avLst/>
          </a:prstGeom>
          <a:solidFill>
            <a:schemeClr val="accent6">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indent="-91440">
              <a:lnSpc>
                <a:spcPts val="2600"/>
              </a:lnSpc>
              <a:spcBef>
                <a:spcPts val="600"/>
              </a:spcBef>
            </a:pPr>
            <a:endParaRPr lang="en-US" sz="1400" dirty="0">
              <a:solidFill>
                <a:schemeClr val="bg1"/>
              </a:solidFill>
            </a:endParaRPr>
          </a:p>
        </p:txBody>
      </p:sp>
      <p:sp>
        <p:nvSpPr>
          <p:cNvPr id="17" name="TextBox 16"/>
          <p:cNvSpPr txBox="1"/>
          <p:nvPr/>
        </p:nvSpPr>
        <p:spPr>
          <a:xfrm>
            <a:off x="1711434" y="4298235"/>
            <a:ext cx="4168158" cy="505955"/>
          </a:xfrm>
          <a:prstGeom prst="rect">
            <a:avLst/>
          </a:prstGeom>
          <a:solidFill>
            <a:schemeClr val="accent6">
              <a:lumMod val="50000"/>
            </a:schemeClr>
          </a:solidFill>
        </p:spPr>
        <p:txBody>
          <a:bodyPr wrap="square" lIns="0" tIns="0" rIns="0" bIns="0" rtlCol="0" anchor="ctr">
            <a:noAutofit/>
          </a:bodyPr>
          <a:lstStyle/>
          <a:p>
            <a:pPr marL="91440" indent="-91440">
              <a:lnSpc>
                <a:spcPts val="2200"/>
              </a:lnSpc>
              <a:spcBef>
                <a:spcPts val="600"/>
              </a:spcBef>
              <a:buFont typeface="Arial" panose="020B0604020202020204" pitchFamily="34" charset="0"/>
              <a:buChar char="•"/>
            </a:pPr>
            <a:r>
              <a:rPr lang="en-US" sz="1400" dirty="0">
                <a:solidFill>
                  <a:schemeClr val="bg1"/>
                </a:solidFill>
              </a:rPr>
              <a:t>Provides typed access to data stored on HBase tables</a:t>
            </a:r>
          </a:p>
        </p:txBody>
      </p:sp>
    </p:spTree>
    <p:extLst>
      <p:ext uri="{BB962C8B-B14F-4D97-AF65-F5344CB8AC3E}">
        <p14:creationId xmlns:p14="http://schemas.microsoft.com/office/powerpoint/2010/main" val="2064912484"/>
      </p:ext>
    </p:extLst>
  </p:cSld>
  <p:clrMapOvr>
    <a:masterClrMapping/>
  </p:clrMapOvr>
  <p:transition spd="med">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1" y="487"/>
            <a:ext cx="5220356" cy="6857027"/>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endParaRPr lang="en-US" sz="5294" dirty="0">
              <a:solidFill>
                <a:schemeClr val="bg1"/>
              </a:solidFill>
              <a:latin typeface="+mj-lt"/>
              <a:ea typeface="Segoe UI" pitchFamily="34" charset="0"/>
              <a:cs typeface="Segoe UI" pitchFamily="34" charset="0"/>
            </a:endParaRPr>
          </a:p>
          <a:p>
            <a:pPr defTabSz="914102" fontAlgn="base">
              <a:lnSpc>
                <a:spcPct val="90000"/>
              </a:lnSpc>
              <a:spcBef>
                <a:spcPct val="0"/>
              </a:spcBef>
              <a:spcAft>
                <a:spcPct val="0"/>
              </a:spcAft>
            </a:pPr>
            <a:endParaRPr lang="en-US" sz="5294" dirty="0">
              <a:solidFill>
                <a:schemeClr val="bg1"/>
              </a:solidFill>
              <a:latin typeface="+mj-lt"/>
              <a:ea typeface="Segoe UI" pitchFamily="34" charset="0"/>
              <a:cs typeface="Segoe UI" pitchFamily="34" charset="0"/>
            </a:endParaRPr>
          </a:p>
        </p:txBody>
      </p:sp>
      <p:sp>
        <p:nvSpPr>
          <p:cNvPr id="4" name="TextBox 3"/>
          <p:cNvSpPr txBox="1"/>
          <p:nvPr/>
        </p:nvSpPr>
        <p:spPr>
          <a:xfrm>
            <a:off x="5229284" y="1335766"/>
            <a:ext cx="6553002" cy="2531696"/>
          </a:xfrm>
          <a:prstGeom prst="rect">
            <a:avLst/>
          </a:prstGeom>
          <a:noFill/>
        </p:spPr>
        <p:txBody>
          <a:bodyPr wrap="square" lIns="268927" tIns="143428" rIns="179285" bIns="143428" rtlCol="0">
            <a:noAutofit/>
          </a:bodyPr>
          <a:lstStyle/>
          <a:p>
            <a:pPr marL="558686" lvl="1" indent="-448193" defTabSz="913770" fontAlgn="base">
              <a:buClr>
                <a:schemeClr val="accent3">
                  <a:lumMod val="50000"/>
                </a:schemeClr>
              </a:buClr>
              <a:buBlip>
                <a:blip r:embed="rId2"/>
              </a:buBlip>
            </a:pPr>
            <a:r>
              <a:rPr lang="en-US" sz="2353" dirty="0">
                <a:ln>
                  <a:solidFill>
                    <a:srgbClr val="FFFFFF">
                      <a:alpha val="0"/>
                    </a:srgbClr>
                  </a:solidFill>
                </a:ln>
                <a:solidFill>
                  <a:schemeClr val="tx2"/>
                </a:solidFill>
                <a:ea typeface="Segoe UI" pitchFamily="34" charset="0"/>
                <a:cs typeface="Segoe UI" pitchFamily="34" charset="0"/>
              </a:rPr>
              <a:t>What is Storm</a:t>
            </a:r>
          </a:p>
          <a:p>
            <a:pPr marL="558686" lvl="1" indent="-448193" defTabSz="913770" fontAlgn="base">
              <a:buClr>
                <a:schemeClr val="accent3">
                  <a:lumMod val="50000"/>
                </a:schemeClr>
              </a:buClr>
              <a:buBlip>
                <a:blip r:embed="rId2"/>
              </a:buBlip>
            </a:pPr>
            <a:r>
              <a:rPr lang="en-US" sz="2353" dirty="0">
                <a:ln>
                  <a:solidFill>
                    <a:srgbClr val="FFFFFF">
                      <a:alpha val="0"/>
                    </a:srgbClr>
                  </a:solidFill>
                </a:ln>
                <a:solidFill>
                  <a:schemeClr val="tx2"/>
                </a:solidFill>
                <a:ea typeface="Segoe UI" pitchFamily="34" charset="0"/>
                <a:cs typeface="Segoe UI" pitchFamily="34" charset="0"/>
              </a:rPr>
              <a:t>Developing Storm Applications</a:t>
            </a:r>
          </a:p>
          <a:p>
            <a:pPr marL="558686" lvl="1" indent="-448193" defTabSz="913770" fontAlgn="base">
              <a:buClr>
                <a:schemeClr val="accent3">
                  <a:lumMod val="50000"/>
                </a:schemeClr>
              </a:buClr>
              <a:buBlip>
                <a:blip r:embed="rId2"/>
              </a:buBlip>
            </a:pPr>
            <a:r>
              <a:rPr lang="en-US" sz="2353" dirty="0">
                <a:ln>
                  <a:solidFill>
                    <a:srgbClr val="FFFFFF">
                      <a:alpha val="0"/>
                    </a:srgbClr>
                  </a:solidFill>
                </a:ln>
                <a:solidFill>
                  <a:schemeClr val="tx2"/>
                </a:solidFill>
                <a:ea typeface="Segoe UI" pitchFamily="34" charset="0"/>
                <a:cs typeface="Segoe UI" pitchFamily="34" charset="0"/>
              </a:rPr>
              <a:t>Bolts, Spouts and Topologies</a:t>
            </a:r>
          </a:p>
          <a:p>
            <a:pPr marL="558686" lvl="1" indent="-448193" defTabSz="913770" fontAlgn="base">
              <a:buClr>
                <a:schemeClr val="accent3">
                  <a:lumMod val="50000"/>
                </a:schemeClr>
              </a:buClr>
              <a:buBlip>
                <a:blip r:embed="rId2"/>
              </a:buBlip>
            </a:pPr>
            <a:r>
              <a:rPr lang="en-US" sz="2353" dirty="0">
                <a:ln>
                  <a:solidFill>
                    <a:srgbClr val="FFFFFF">
                      <a:alpha val="0"/>
                    </a:srgbClr>
                  </a:solidFill>
                </a:ln>
                <a:solidFill>
                  <a:schemeClr val="tx2"/>
                </a:solidFill>
                <a:ea typeface="Segoe UI" pitchFamily="34" charset="0"/>
                <a:cs typeface="Segoe UI" pitchFamily="34" charset="0"/>
              </a:rPr>
              <a:t>Trident</a:t>
            </a:r>
          </a:p>
          <a:p>
            <a:pPr marL="558686" lvl="1" indent="-448193" defTabSz="913770" fontAlgn="base">
              <a:buClr>
                <a:schemeClr val="accent3">
                  <a:lumMod val="50000"/>
                </a:schemeClr>
              </a:buClr>
              <a:buBlip>
                <a:blip r:embed="rId2"/>
              </a:buBlip>
            </a:pPr>
            <a:r>
              <a:rPr lang="en-US" sz="2353" dirty="0">
                <a:ln>
                  <a:solidFill>
                    <a:srgbClr val="FFFFFF">
                      <a:alpha val="0"/>
                    </a:srgbClr>
                  </a:solidFill>
                </a:ln>
                <a:solidFill>
                  <a:schemeClr val="tx2"/>
                </a:solidFill>
                <a:ea typeface="Segoe UI" pitchFamily="34" charset="0"/>
                <a:cs typeface="Segoe UI" pitchFamily="34" charset="0"/>
              </a:rPr>
              <a:t>Trident and Storm</a:t>
            </a:r>
          </a:p>
          <a:p>
            <a:pPr marL="558686" lvl="1" indent="-448193" defTabSz="913770" fontAlgn="base">
              <a:buClr>
                <a:schemeClr val="accent3">
                  <a:lumMod val="50000"/>
                </a:schemeClr>
              </a:buClr>
              <a:buBlip>
                <a:blip r:embed="rId2"/>
              </a:buBlip>
            </a:pPr>
            <a:r>
              <a:rPr lang="en-US" sz="2353" dirty="0">
                <a:ln>
                  <a:solidFill>
                    <a:srgbClr val="FFFFFF">
                      <a:alpha val="0"/>
                    </a:srgbClr>
                  </a:solidFill>
                </a:ln>
                <a:solidFill>
                  <a:schemeClr val="tx2"/>
                </a:solidFill>
                <a:ea typeface="Segoe UI" pitchFamily="34" charset="0"/>
                <a:cs typeface="Segoe UI" pitchFamily="34" charset="0"/>
              </a:rPr>
              <a:t>Storm on HDInsight</a:t>
            </a:r>
          </a:p>
        </p:txBody>
      </p:sp>
      <p:sp>
        <p:nvSpPr>
          <p:cNvPr id="5" name="Rectangle 4"/>
          <p:cNvSpPr/>
          <p:nvPr/>
        </p:nvSpPr>
        <p:spPr bwMode="auto">
          <a:xfrm>
            <a:off x="1" y="6319659"/>
            <a:ext cx="5220356" cy="537855"/>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endParaRPr lang="en-US" sz="2353" kern="0" dirty="0">
              <a:ln>
                <a:solidFill>
                  <a:srgbClr val="FFFFFF">
                    <a:alpha val="0"/>
                  </a:srgbClr>
                </a:solidFill>
              </a:ln>
              <a:solidFill>
                <a:srgbClr val="FFFFFF"/>
              </a:solidFill>
              <a:latin typeface="Segoe UI Semibold" panose="020B0702040204020203" pitchFamily="34" charset="0"/>
              <a:ea typeface="MS PGothic" charset="0"/>
              <a:cs typeface="Segoe UI Semibold" panose="020B0702040204020203" pitchFamily="34" charset="0"/>
            </a:endParaRPr>
          </a:p>
        </p:txBody>
      </p:sp>
      <p:sp>
        <p:nvSpPr>
          <p:cNvPr id="6" name="Freeform 5"/>
          <p:cNvSpPr>
            <a:spLocks/>
          </p:cNvSpPr>
          <p:nvPr/>
        </p:nvSpPr>
        <p:spPr bwMode="auto">
          <a:xfrm flipH="1">
            <a:off x="2619107" y="4183803"/>
            <a:ext cx="2601249" cy="2135857"/>
          </a:xfrm>
          <a:custGeom>
            <a:avLst/>
            <a:gdLst>
              <a:gd name="connsiteX0" fmla="*/ 603413 w 1090712"/>
              <a:gd name="connsiteY0" fmla="*/ 721327 h 895572"/>
              <a:gd name="connsiteX1" fmla="*/ 578466 w 1090712"/>
              <a:gd name="connsiteY1" fmla="*/ 770746 h 895572"/>
              <a:gd name="connsiteX2" fmla="*/ 553519 w 1090712"/>
              <a:gd name="connsiteY2" fmla="*/ 818264 h 895572"/>
              <a:gd name="connsiteX3" fmla="*/ 528334 w 1090712"/>
              <a:gd name="connsiteY3" fmla="*/ 865069 h 895572"/>
              <a:gd name="connsiteX4" fmla="*/ 511825 w 1090712"/>
              <a:gd name="connsiteY4" fmla="*/ 895572 h 895572"/>
              <a:gd name="connsiteX5" fmla="*/ 624528 w 1090712"/>
              <a:gd name="connsiteY5" fmla="*/ 895572 h 895572"/>
              <a:gd name="connsiteX6" fmla="*/ 624796 w 1090712"/>
              <a:gd name="connsiteY6" fmla="*/ 894768 h 895572"/>
              <a:gd name="connsiteX7" fmla="*/ 625271 w 1090712"/>
              <a:gd name="connsiteY7" fmla="*/ 891679 h 895572"/>
              <a:gd name="connsiteX8" fmla="*/ 625747 w 1090712"/>
              <a:gd name="connsiteY8" fmla="*/ 889066 h 895572"/>
              <a:gd name="connsiteX9" fmla="*/ 625747 w 1090712"/>
              <a:gd name="connsiteY9" fmla="*/ 860555 h 895572"/>
              <a:gd name="connsiteX10" fmla="*/ 624796 w 1090712"/>
              <a:gd name="connsiteY10" fmla="*/ 833945 h 895572"/>
              <a:gd name="connsiteX11" fmla="*/ 624321 w 1090712"/>
              <a:gd name="connsiteY11" fmla="*/ 820877 h 895572"/>
              <a:gd name="connsiteX12" fmla="*/ 623608 w 1090712"/>
              <a:gd name="connsiteY12" fmla="*/ 808047 h 895572"/>
              <a:gd name="connsiteX13" fmla="*/ 621708 w 1090712"/>
              <a:gd name="connsiteY13" fmla="*/ 795218 h 895572"/>
              <a:gd name="connsiteX14" fmla="*/ 620044 w 1090712"/>
              <a:gd name="connsiteY14" fmla="*/ 782625 h 895572"/>
              <a:gd name="connsiteX15" fmla="*/ 616005 w 1090712"/>
              <a:gd name="connsiteY15" fmla="*/ 766707 h 895572"/>
              <a:gd name="connsiteX16" fmla="*/ 611966 w 1090712"/>
              <a:gd name="connsiteY16" fmla="*/ 751976 h 895572"/>
              <a:gd name="connsiteX17" fmla="*/ 607452 w 1090712"/>
              <a:gd name="connsiteY17" fmla="*/ 737245 h 895572"/>
              <a:gd name="connsiteX18" fmla="*/ 698212 w 1090712"/>
              <a:gd name="connsiteY18" fmla="*/ 530778 h 895572"/>
              <a:gd name="connsiteX19" fmla="*/ 693460 w 1090712"/>
              <a:gd name="connsiteY19" fmla="*/ 534818 h 895572"/>
              <a:gd name="connsiteX20" fmla="*/ 688471 w 1090712"/>
              <a:gd name="connsiteY20" fmla="*/ 538857 h 895572"/>
              <a:gd name="connsiteX21" fmla="*/ 678254 w 1090712"/>
              <a:gd name="connsiteY21" fmla="*/ 546935 h 895572"/>
              <a:gd name="connsiteX22" fmla="*/ 669226 w 1090712"/>
              <a:gd name="connsiteY22" fmla="*/ 553587 h 895572"/>
              <a:gd name="connsiteX23" fmla="*/ 663048 w 1090712"/>
              <a:gd name="connsiteY23" fmla="*/ 558814 h 895572"/>
              <a:gd name="connsiteX24" fmla="*/ 663048 w 1090712"/>
              <a:gd name="connsiteY24" fmla="*/ 556676 h 895572"/>
              <a:gd name="connsiteX25" fmla="*/ 663523 w 1090712"/>
              <a:gd name="connsiteY25" fmla="*/ 554538 h 895572"/>
              <a:gd name="connsiteX26" fmla="*/ 665424 w 1090712"/>
              <a:gd name="connsiteY26" fmla="*/ 550498 h 895572"/>
              <a:gd name="connsiteX27" fmla="*/ 668038 w 1090712"/>
              <a:gd name="connsiteY27" fmla="*/ 546459 h 895572"/>
              <a:gd name="connsiteX28" fmla="*/ 671602 w 1090712"/>
              <a:gd name="connsiteY28" fmla="*/ 542420 h 895572"/>
              <a:gd name="connsiteX29" fmla="*/ 676829 w 1090712"/>
              <a:gd name="connsiteY29" fmla="*/ 538857 h 895572"/>
              <a:gd name="connsiteX30" fmla="*/ 682768 w 1090712"/>
              <a:gd name="connsiteY30" fmla="*/ 535768 h 895572"/>
              <a:gd name="connsiteX31" fmla="*/ 689896 w 1090712"/>
              <a:gd name="connsiteY31" fmla="*/ 533154 h 895572"/>
              <a:gd name="connsiteX32" fmla="*/ 654257 w 1090712"/>
              <a:gd name="connsiteY32" fmla="*/ 302216 h 895572"/>
              <a:gd name="connsiteX33" fmla="*/ 651882 w 1090712"/>
              <a:gd name="connsiteY33" fmla="*/ 302691 h 895572"/>
              <a:gd name="connsiteX34" fmla="*/ 649268 w 1090712"/>
              <a:gd name="connsiteY34" fmla="*/ 303166 h 895572"/>
              <a:gd name="connsiteX35" fmla="*/ 647130 w 1090712"/>
              <a:gd name="connsiteY35" fmla="*/ 304354 h 895572"/>
              <a:gd name="connsiteX36" fmla="*/ 644516 w 1090712"/>
              <a:gd name="connsiteY36" fmla="*/ 306255 h 895572"/>
              <a:gd name="connsiteX37" fmla="*/ 642140 w 1090712"/>
              <a:gd name="connsiteY37" fmla="*/ 307918 h 895572"/>
              <a:gd name="connsiteX38" fmla="*/ 640002 w 1090712"/>
              <a:gd name="connsiteY38" fmla="*/ 310294 h 895572"/>
              <a:gd name="connsiteX39" fmla="*/ 638101 w 1090712"/>
              <a:gd name="connsiteY39" fmla="*/ 312432 h 895572"/>
              <a:gd name="connsiteX40" fmla="*/ 636913 w 1090712"/>
              <a:gd name="connsiteY40" fmla="*/ 314571 h 895572"/>
              <a:gd name="connsiteX41" fmla="*/ 635963 w 1090712"/>
              <a:gd name="connsiteY41" fmla="*/ 316946 h 895572"/>
              <a:gd name="connsiteX42" fmla="*/ 635963 w 1090712"/>
              <a:gd name="connsiteY42" fmla="*/ 319085 h 895572"/>
              <a:gd name="connsiteX43" fmla="*/ 636913 w 1090712"/>
              <a:gd name="connsiteY43" fmla="*/ 321223 h 895572"/>
              <a:gd name="connsiteX44" fmla="*/ 637626 w 1090712"/>
              <a:gd name="connsiteY44" fmla="*/ 324074 h 895572"/>
              <a:gd name="connsiteX45" fmla="*/ 639527 w 1090712"/>
              <a:gd name="connsiteY45" fmla="*/ 326688 h 895572"/>
              <a:gd name="connsiteX46" fmla="*/ 643091 w 1090712"/>
              <a:gd name="connsiteY46" fmla="*/ 331677 h 895572"/>
              <a:gd name="connsiteX47" fmla="*/ 647130 w 1090712"/>
              <a:gd name="connsiteY47" fmla="*/ 335954 h 895572"/>
              <a:gd name="connsiteX48" fmla="*/ 655920 w 1090712"/>
              <a:gd name="connsiteY48" fmla="*/ 330727 h 895572"/>
              <a:gd name="connsiteX49" fmla="*/ 663999 w 1090712"/>
              <a:gd name="connsiteY49" fmla="*/ 324787 h 895572"/>
              <a:gd name="connsiteX50" fmla="*/ 679917 w 1090712"/>
              <a:gd name="connsiteY50" fmla="*/ 313383 h 895572"/>
              <a:gd name="connsiteX51" fmla="*/ 676354 w 1090712"/>
              <a:gd name="connsiteY51" fmla="*/ 311007 h 895572"/>
              <a:gd name="connsiteX52" fmla="*/ 672790 w 1090712"/>
              <a:gd name="connsiteY52" fmla="*/ 308393 h 895572"/>
              <a:gd name="connsiteX53" fmla="*/ 668988 w 1090712"/>
              <a:gd name="connsiteY53" fmla="*/ 306730 h 895572"/>
              <a:gd name="connsiteX54" fmla="*/ 664949 w 1090712"/>
              <a:gd name="connsiteY54" fmla="*/ 304829 h 895572"/>
              <a:gd name="connsiteX55" fmla="*/ 660910 w 1090712"/>
              <a:gd name="connsiteY55" fmla="*/ 303641 h 895572"/>
              <a:gd name="connsiteX56" fmla="*/ 657346 w 1090712"/>
              <a:gd name="connsiteY56" fmla="*/ 302691 h 895572"/>
              <a:gd name="connsiteX57" fmla="*/ 696549 w 1090712"/>
              <a:gd name="connsiteY57" fmla="*/ 252322 h 895572"/>
              <a:gd name="connsiteX58" fmla="*/ 696786 w 1090712"/>
              <a:gd name="connsiteY58" fmla="*/ 259925 h 895572"/>
              <a:gd name="connsiteX59" fmla="*/ 698212 w 1090712"/>
              <a:gd name="connsiteY59" fmla="*/ 266102 h 895572"/>
              <a:gd name="connsiteX60" fmla="*/ 700113 w 1090712"/>
              <a:gd name="connsiteY60" fmla="*/ 272042 h 895572"/>
              <a:gd name="connsiteX61" fmla="*/ 701776 w 1090712"/>
              <a:gd name="connsiteY61" fmla="*/ 276794 h 895572"/>
              <a:gd name="connsiteX62" fmla="*/ 704389 w 1090712"/>
              <a:gd name="connsiteY62" fmla="*/ 280833 h 895572"/>
              <a:gd name="connsiteX63" fmla="*/ 707240 w 1090712"/>
              <a:gd name="connsiteY63" fmla="*/ 284397 h 895572"/>
              <a:gd name="connsiteX64" fmla="*/ 710329 w 1090712"/>
              <a:gd name="connsiteY64" fmla="*/ 287010 h 895572"/>
              <a:gd name="connsiteX65" fmla="*/ 713418 w 1090712"/>
              <a:gd name="connsiteY65" fmla="*/ 289624 h 895572"/>
              <a:gd name="connsiteX66" fmla="*/ 716506 w 1090712"/>
              <a:gd name="connsiteY66" fmla="*/ 291524 h 895572"/>
              <a:gd name="connsiteX67" fmla="*/ 719595 w 1090712"/>
              <a:gd name="connsiteY67" fmla="*/ 293187 h 895572"/>
              <a:gd name="connsiteX68" fmla="*/ 725772 w 1090712"/>
              <a:gd name="connsiteY68" fmla="*/ 295088 h 895572"/>
              <a:gd name="connsiteX69" fmla="*/ 731237 w 1090712"/>
              <a:gd name="connsiteY69" fmla="*/ 296514 h 895572"/>
              <a:gd name="connsiteX70" fmla="*/ 734801 w 1090712"/>
              <a:gd name="connsiteY70" fmla="*/ 296751 h 895572"/>
              <a:gd name="connsiteX71" fmla="*/ 722209 w 1090712"/>
              <a:gd name="connsiteY71" fmla="*/ 303879 h 895572"/>
              <a:gd name="connsiteX72" fmla="*/ 710804 w 1090712"/>
              <a:gd name="connsiteY72" fmla="*/ 311007 h 895572"/>
              <a:gd name="connsiteX73" fmla="*/ 688471 w 1090712"/>
              <a:gd name="connsiteY73" fmla="*/ 324787 h 895572"/>
              <a:gd name="connsiteX74" fmla="*/ 667563 w 1090712"/>
              <a:gd name="connsiteY74" fmla="*/ 339043 h 895572"/>
              <a:gd name="connsiteX75" fmla="*/ 646179 w 1090712"/>
              <a:gd name="connsiteY75" fmla="*/ 352823 h 895572"/>
              <a:gd name="connsiteX76" fmla="*/ 620044 w 1090712"/>
              <a:gd name="connsiteY76" fmla="*/ 313383 h 895572"/>
              <a:gd name="connsiteX77" fmla="*/ 617668 w 1090712"/>
              <a:gd name="connsiteY77" fmla="*/ 312432 h 895572"/>
              <a:gd name="connsiteX78" fmla="*/ 615055 w 1090712"/>
              <a:gd name="connsiteY78" fmla="*/ 312432 h 895572"/>
              <a:gd name="connsiteX79" fmla="*/ 612441 w 1090712"/>
              <a:gd name="connsiteY79" fmla="*/ 313383 h 895572"/>
              <a:gd name="connsiteX80" fmla="*/ 609353 w 1090712"/>
              <a:gd name="connsiteY80" fmla="*/ 314095 h 895572"/>
              <a:gd name="connsiteX81" fmla="*/ 602938 w 1090712"/>
              <a:gd name="connsiteY81" fmla="*/ 316946 h 895572"/>
              <a:gd name="connsiteX82" fmla="*/ 599849 w 1090712"/>
              <a:gd name="connsiteY82" fmla="*/ 317659 h 895572"/>
              <a:gd name="connsiteX83" fmla="*/ 596760 w 1090712"/>
              <a:gd name="connsiteY83" fmla="*/ 318610 h 895572"/>
              <a:gd name="connsiteX84" fmla="*/ 607927 w 1090712"/>
              <a:gd name="connsiteY84" fmla="*/ 307205 h 895572"/>
              <a:gd name="connsiteX85" fmla="*/ 618619 w 1090712"/>
              <a:gd name="connsiteY85" fmla="*/ 295088 h 895572"/>
              <a:gd name="connsiteX86" fmla="*/ 623846 w 1090712"/>
              <a:gd name="connsiteY86" fmla="*/ 289386 h 895572"/>
              <a:gd name="connsiteX87" fmla="*/ 629786 w 1090712"/>
              <a:gd name="connsiteY87" fmla="*/ 283921 h 895572"/>
              <a:gd name="connsiteX88" fmla="*/ 635963 w 1090712"/>
              <a:gd name="connsiteY88" fmla="*/ 278694 h 895572"/>
              <a:gd name="connsiteX89" fmla="*/ 642140 w 1090712"/>
              <a:gd name="connsiteY89" fmla="*/ 273705 h 895572"/>
              <a:gd name="connsiteX90" fmla="*/ 648793 w 1090712"/>
              <a:gd name="connsiteY90" fmla="*/ 269191 h 895572"/>
              <a:gd name="connsiteX91" fmla="*/ 655446 w 1090712"/>
              <a:gd name="connsiteY91" fmla="*/ 265627 h 895572"/>
              <a:gd name="connsiteX92" fmla="*/ 662098 w 1090712"/>
              <a:gd name="connsiteY92" fmla="*/ 263013 h 895572"/>
              <a:gd name="connsiteX93" fmla="*/ 668988 w 1090712"/>
              <a:gd name="connsiteY93" fmla="*/ 260400 h 895572"/>
              <a:gd name="connsiteX94" fmla="*/ 682768 w 1090712"/>
              <a:gd name="connsiteY94" fmla="*/ 256361 h 895572"/>
              <a:gd name="connsiteX95" fmla="*/ 1030602 w 1090712"/>
              <a:gd name="connsiteY95" fmla="*/ 200289 h 895572"/>
              <a:gd name="connsiteX96" fmla="*/ 1027513 w 1090712"/>
              <a:gd name="connsiteY96" fmla="*/ 207892 h 895572"/>
              <a:gd name="connsiteX97" fmla="*/ 1023949 w 1090712"/>
              <a:gd name="connsiteY97" fmla="*/ 214545 h 895572"/>
              <a:gd name="connsiteX98" fmla="*/ 1019910 w 1090712"/>
              <a:gd name="connsiteY98" fmla="*/ 221197 h 895572"/>
              <a:gd name="connsiteX99" fmla="*/ 1015396 w 1090712"/>
              <a:gd name="connsiteY99" fmla="*/ 226899 h 895572"/>
              <a:gd name="connsiteX100" fmla="*/ 1011119 w 1090712"/>
              <a:gd name="connsiteY100" fmla="*/ 232839 h 895572"/>
              <a:gd name="connsiteX101" fmla="*/ 1006130 w 1090712"/>
              <a:gd name="connsiteY101" fmla="*/ 237591 h 895572"/>
              <a:gd name="connsiteX102" fmla="*/ 1001140 w 1090712"/>
              <a:gd name="connsiteY102" fmla="*/ 242105 h 895572"/>
              <a:gd name="connsiteX103" fmla="*/ 996388 w 1090712"/>
              <a:gd name="connsiteY103" fmla="*/ 246144 h 895572"/>
              <a:gd name="connsiteX104" fmla="*/ 990924 w 1090712"/>
              <a:gd name="connsiteY104" fmla="*/ 249708 h 895572"/>
              <a:gd name="connsiteX105" fmla="*/ 985697 w 1090712"/>
              <a:gd name="connsiteY105" fmla="*/ 252797 h 895572"/>
              <a:gd name="connsiteX106" fmla="*/ 980232 w 1090712"/>
              <a:gd name="connsiteY106" fmla="*/ 254935 h 895572"/>
              <a:gd name="connsiteX107" fmla="*/ 975005 w 1090712"/>
              <a:gd name="connsiteY107" fmla="*/ 256836 h 895572"/>
              <a:gd name="connsiteX108" fmla="*/ 969541 w 1090712"/>
              <a:gd name="connsiteY108" fmla="*/ 258262 h 895572"/>
              <a:gd name="connsiteX109" fmla="*/ 963839 w 1090712"/>
              <a:gd name="connsiteY109" fmla="*/ 258499 h 895572"/>
              <a:gd name="connsiteX110" fmla="*/ 958612 w 1090712"/>
              <a:gd name="connsiteY110" fmla="*/ 258499 h 895572"/>
              <a:gd name="connsiteX111" fmla="*/ 953622 w 1090712"/>
              <a:gd name="connsiteY111" fmla="*/ 257786 h 895572"/>
              <a:gd name="connsiteX112" fmla="*/ 970966 w 1090712"/>
              <a:gd name="connsiteY112" fmla="*/ 244006 h 895572"/>
              <a:gd name="connsiteX113" fmla="*/ 990211 w 1090712"/>
              <a:gd name="connsiteY113" fmla="*/ 229275 h 895572"/>
              <a:gd name="connsiteX114" fmla="*/ 1010169 w 1090712"/>
              <a:gd name="connsiteY114" fmla="*/ 214069 h 895572"/>
              <a:gd name="connsiteX115" fmla="*/ 1020385 w 1090712"/>
              <a:gd name="connsiteY115" fmla="*/ 206942 h 895572"/>
              <a:gd name="connsiteX116" fmla="*/ 389581 w 1090712"/>
              <a:gd name="connsiteY116" fmla="*/ 176768 h 895572"/>
              <a:gd name="connsiteX117" fmla="*/ 397422 w 1090712"/>
              <a:gd name="connsiteY117" fmla="*/ 177243 h 895572"/>
              <a:gd name="connsiteX118" fmla="*/ 414766 w 1090712"/>
              <a:gd name="connsiteY118" fmla="*/ 178906 h 895572"/>
              <a:gd name="connsiteX119" fmla="*/ 405500 w 1090712"/>
              <a:gd name="connsiteY119" fmla="*/ 179856 h 895572"/>
              <a:gd name="connsiteX120" fmla="*/ 396946 w 1090712"/>
              <a:gd name="connsiteY120" fmla="*/ 181995 h 895572"/>
              <a:gd name="connsiteX121" fmla="*/ 389581 w 1090712"/>
              <a:gd name="connsiteY121" fmla="*/ 184371 h 895572"/>
              <a:gd name="connsiteX122" fmla="*/ 381978 w 1090712"/>
              <a:gd name="connsiteY122" fmla="*/ 186984 h 895572"/>
              <a:gd name="connsiteX123" fmla="*/ 375326 w 1090712"/>
              <a:gd name="connsiteY123" fmla="*/ 190548 h 895572"/>
              <a:gd name="connsiteX124" fmla="*/ 368911 w 1090712"/>
              <a:gd name="connsiteY124" fmla="*/ 194112 h 895572"/>
              <a:gd name="connsiteX125" fmla="*/ 363208 w 1090712"/>
              <a:gd name="connsiteY125" fmla="*/ 198626 h 895572"/>
              <a:gd name="connsiteX126" fmla="*/ 357981 w 1090712"/>
              <a:gd name="connsiteY126" fmla="*/ 202903 h 895572"/>
              <a:gd name="connsiteX127" fmla="*/ 352517 w 1090712"/>
              <a:gd name="connsiteY127" fmla="*/ 208367 h 895572"/>
              <a:gd name="connsiteX128" fmla="*/ 348003 w 1090712"/>
              <a:gd name="connsiteY128" fmla="*/ 214070 h 895572"/>
              <a:gd name="connsiteX129" fmla="*/ 343726 w 1090712"/>
              <a:gd name="connsiteY129" fmla="*/ 220247 h 895572"/>
              <a:gd name="connsiteX130" fmla="*/ 339687 w 1090712"/>
              <a:gd name="connsiteY130" fmla="*/ 226662 h 895572"/>
              <a:gd name="connsiteX131" fmla="*/ 335648 w 1090712"/>
              <a:gd name="connsiteY131" fmla="*/ 233790 h 895572"/>
              <a:gd name="connsiteX132" fmla="*/ 332559 w 1090712"/>
              <a:gd name="connsiteY132" fmla="*/ 240917 h 895572"/>
              <a:gd name="connsiteX133" fmla="*/ 328995 w 1090712"/>
              <a:gd name="connsiteY133" fmla="*/ 248758 h 895572"/>
              <a:gd name="connsiteX134" fmla="*/ 325907 w 1090712"/>
              <a:gd name="connsiteY134" fmla="*/ 256836 h 895572"/>
              <a:gd name="connsiteX135" fmla="*/ 325432 w 1090712"/>
              <a:gd name="connsiteY135" fmla="*/ 252797 h 895572"/>
              <a:gd name="connsiteX136" fmla="*/ 324956 w 1090712"/>
              <a:gd name="connsiteY136" fmla="*/ 248283 h 895572"/>
              <a:gd name="connsiteX137" fmla="*/ 323056 w 1090712"/>
              <a:gd name="connsiteY137" fmla="*/ 239492 h 895572"/>
              <a:gd name="connsiteX138" fmla="*/ 320917 w 1090712"/>
              <a:gd name="connsiteY138" fmla="*/ 229275 h 895572"/>
              <a:gd name="connsiteX139" fmla="*/ 320442 w 1090712"/>
              <a:gd name="connsiteY139" fmla="*/ 223811 h 895572"/>
              <a:gd name="connsiteX140" fmla="*/ 319967 w 1090712"/>
              <a:gd name="connsiteY140" fmla="*/ 217633 h 895572"/>
              <a:gd name="connsiteX141" fmla="*/ 314740 w 1090712"/>
              <a:gd name="connsiteY141" fmla="*/ 217633 h 895572"/>
              <a:gd name="connsiteX142" fmla="*/ 302148 w 1090712"/>
              <a:gd name="connsiteY142" fmla="*/ 243056 h 895572"/>
              <a:gd name="connsiteX143" fmla="*/ 289793 w 1090712"/>
              <a:gd name="connsiteY143" fmla="*/ 267528 h 895572"/>
              <a:gd name="connsiteX144" fmla="*/ 277438 w 1090712"/>
              <a:gd name="connsiteY144" fmla="*/ 291049 h 895572"/>
              <a:gd name="connsiteX145" fmla="*/ 264371 w 1090712"/>
              <a:gd name="connsiteY145" fmla="*/ 312907 h 895572"/>
              <a:gd name="connsiteX146" fmla="*/ 267459 w 1090712"/>
              <a:gd name="connsiteY146" fmla="*/ 295088 h 895572"/>
              <a:gd name="connsiteX147" fmla="*/ 271023 w 1090712"/>
              <a:gd name="connsiteY147" fmla="*/ 279170 h 895572"/>
              <a:gd name="connsiteX148" fmla="*/ 274587 w 1090712"/>
              <a:gd name="connsiteY148" fmla="*/ 263964 h 895572"/>
              <a:gd name="connsiteX149" fmla="*/ 279101 w 1090712"/>
              <a:gd name="connsiteY149" fmla="*/ 250183 h 895572"/>
              <a:gd name="connsiteX150" fmla="*/ 284091 w 1090712"/>
              <a:gd name="connsiteY150" fmla="*/ 238066 h 895572"/>
              <a:gd name="connsiteX151" fmla="*/ 289318 w 1090712"/>
              <a:gd name="connsiteY151" fmla="*/ 226900 h 895572"/>
              <a:gd name="connsiteX152" fmla="*/ 292406 w 1090712"/>
              <a:gd name="connsiteY152" fmla="*/ 221673 h 895572"/>
              <a:gd name="connsiteX153" fmla="*/ 295495 w 1090712"/>
              <a:gd name="connsiteY153" fmla="*/ 217158 h 895572"/>
              <a:gd name="connsiteX154" fmla="*/ 298584 w 1090712"/>
              <a:gd name="connsiteY154" fmla="*/ 212406 h 895572"/>
              <a:gd name="connsiteX155" fmla="*/ 302148 w 1090712"/>
              <a:gd name="connsiteY155" fmla="*/ 208367 h 895572"/>
              <a:gd name="connsiteX156" fmla="*/ 305711 w 1090712"/>
              <a:gd name="connsiteY156" fmla="*/ 204328 h 895572"/>
              <a:gd name="connsiteX157" fmla="*/ 309275 w 1090712"/>
              <a:gd name="connsiteY157" fmla="*/ 200765 h 895572"/>
              <a:gd name="connsiteX158" fmla="*/ 313314 w 1090712"/>
              <a:gd name="connsiteY158" fmla="*/ 197201 h 895572"/>
              <a:gd name="connsiteX159" fmla="*/ 317354 w 1090712"/>
              <a:gd name="connsiteY159" fmla="*/ 194112 h 895572"/>
              <a:gd name="connsiteX160" fmla="*/ 321868 w 1090712"/>
              <a:gd name="connsiteY160" fmla="*/ 191498 h 895572"/>
              <a:gd name="connsiteX161" fmla="*/ 326382 w 1090712"/>
              <a:gd name="connsiteY161" fmla="*/ 188647 h 895572"/>
              <a:gd name="connsiteX162" fmla="*/ 330659 w 1090712"/>
              <a:gd name="connsiteY162" fmla="*/ 186509 h 895572"/>
              <a:gd name="connsiteX163" fmla="*/ 335648 w 1090712"/>
              <a:gd name="connsiteY163" fmla="*/ 184371 h 895572"/>
              <a:gd name="connsiteX164" fmla="*/ 340637 w 1090712"/>
              <a:gd name="connsiteY164" fmla="*/ 182470 h 895572"/>
              <a:gd name="connsiteX165" fmla="*/ 345864 w 1090712"/>
              <a:gd name="connsiteY165" fmla="*/ 181282 h 895572"/>
              <a:gd name="connsiteX166" fmla="*/ 351091 w 1090712"/>
              <a:gd name="connsiteY166" fmla="*/ 179856 h 895572"/>
              <a:gd name="connsiteX167" fmla="*/ 357031 w 1090712"/>
              <a:gd name="connsiteY167" fmla="*/ 178431 h 895572"/>
              <a:gd name="connsiteX168" fmla="*/ 368911 w 1090712"/>
              <a:gd name="connsiteY168" fmla="*/ 177243 h 895572"/>
              <a:gd name="connsiteX169" fmla="*/ 381978 w 1090712"/>
              <a:gd name="connsiteY169" fmla="*/ 176768 h 895572"/>
              <a:gd name="connsiteX170" fmla="*/ 609353 w 1090712"/>
              <a:gd name="connsiteY170" fmla="*/ 174629 h 895572"/>
              <a:gd name="connsiteX171" fmla="*/ 602463 w 1090712"/>
              <a:gd name="connsiteY171" fmla="*/ 180807 h 895572"/>
              <a:gd name="connsiteX172" fmla="*/ 596285 w 1090712"/>
              <a:gd name="connsiteY172" fmla="*/ 187459 h 895572"/>
              <a:gd name="connsiteX173" fmla="*/ 583931 w 1090712"/>
              <a:gd name="connsiteY173" fmla="*/ 201715 h 895572"/>
              <a:gd name="connsiteX174" fmla="*/ 571101 w 1090712"/>
              <a:gd name="connsiteY174" fmla="*/ 215495 h 895572"/>
              <a:gd name="connsiteX175" fmla="*/ 564686 w 1090712"/>
              <a:gd name="connsiteY175" fmla="*/ 222148 h 895572"/>
              <a:gd name="connsiteX176" fmla="*/ 558508 w 1090712"/>
              <a:gd name="connsiteY176" fmla="*/ 228325 h 895572"/>
              <a:gd name="connsiteX177" fmla="*/ 557558 w 1090712"/>
              <a:gd name="connsiteY177" fmla="*/ 223335 h 895572"/>
              <a:gd name="connsiteX178" fmla="*/ 557083 w 1090712"/>
              <a:gd name="connsiteY178" fmla="*/ 219059 h 895572"/>
              <a:gd name="connsiteX179" fmla="*/ 557083 w 1090712"/>
              <a:gd name="connsiteY179" fmla="*/ 215020 h 895572"/>
              <a:gd name="connsiteX180" fmla="*/ 557558 w 1090712"/>
              <a:gd name="connsiteY180" fmla="*/ 210981 h 895572"/>
              <a:gd name="connsiteX181" fmla="*/ 558508 w 1090712"/>
              <a:gd name="connsiteY181" fmla="*/ 207417 h 895572"/>
              <a:gd name="connsiteX182" fmla="*/ 560409 w 1090712"/>
              <a:gd name="connsiteY182" fmla="*/ 203853 h 895572"/>
              <a:gd name="connsiteX183" fmla="*/ 562072 w 1090712"/>
              <a:gd name="connsiteY183" fmla="*/ 200764 h 895572"/>
              <a:gd name="connsiteX184" fmla="*/ 564686 w 1090712"/>
              <a:gd name="connsiteY184" fmla="*/ 197676 h 895572"/>
              <a:gd name="connsiteX185" fmla="*/ 567774 w 1090712"/>
              <a:gd name="connsiteY185" fmla="*/ 194587 h 895572"/>
              <a:gd name="connsiteX186" fmla="*/ 571813 w 1090712"/>
              <a:gd name="connsiteY186" fmla="*/ 191973 h 895572"/>
              <a:gd name="connsiteX187" fmla="*/ 576328 w 1090712"/>
              <a:gd name="connsiteY187" fmla="*/ 188647 h 895572"/>
              <a:gd name="connsiteX188" fmla="*/ 581317 w 1090712"/>
              <a:gd name="connsiteY188" fmla="*/ 186034 h 895572"/>
              <a:gd name="connsiteX189" fmla="*/ 587019 w 1090712"/>
              <a:gd name="connsiteY189" fmla="*/ 183420 h 895572"/>
              <a:gd name="connsiteX190" fmla="*/ 593672 w 1090712"/>
              <a:gd name="connsiteY190" fmla="*/ 180332 h 895572"/>
              <a:gd name="connsiteX191" fmla="*/ 586544 w 1090712"/>
              <a:gd name="connsiteY191" fmla="*/ 0 h 895572"/>
              <a:gd name="connsiteX192" fmla="*/ 570150 w 1090712"/>
              <a:gd name="connsiteY192" fmla="*/ 2851 h 895572"/>
              <a:gd name="connsiteX193" fmla="*/ 553519 w 1090712"/>
              <a:gd name="connsiteY193" fmla="*/ 5940 h 895572"/>
              <a:gd name="connsiteX194" fmla="*/ 536650 w 1090712"/>
              <a:gd name="connsiteY194" fmla="*/ 10454 h 895572"/>
              <a:gd name="connsiteX195" fmla="*/ 520256 w 1090712"/>
              <a:gd name="connsiteY195" fmla="*/ 14731 h 895572"/>
              <a:gd name="connsiteX196" fmla="*/ 486993 w 1090712"/>
              <a:gd name="connsiteY196" fmla="*/ 24472 h 895572"/>
              <a:gd name="connsiteX197" fmla="*/ 469887 w 1090712"/>
              <a:gd name="connsiteY197" fmla="*/ 28986 h 895572"/>
              <a:gd name="connsiteX198" fmla="*/ 453493 w 1090712"/>
              <a:gd name="connsiteY198" fmla="*/ 33500 h 895572"/>
              <a:gd name="connsiteX199" fmla="*/ 438762 w 1090712"/>
              <a:gd name="connsiteY199" fmla="*/ 40153 h 895572"/>
              <a:gd name="connsiteX200" fmla="*/ 424507 w 1090712"/>
              <a:gd name="connsiteY200" fmla="*/ 47281 h 895572"/>
              <a:gd name="connsiteX201" fmla="*/ 417379 w 1090712"/>
              <a:gd name="connsiteY201" fmla="*/ 51320 h 895572"/>
              <a:gd name="connsiteX202" fmla="*/ 410727 w 1090712"/>
              <a:gd name="connsiteY202" fmla="*/ 55834 h 895572"/>
              <a:gd name="connsiteX203" fmla="*/ 403599 w 1090712"/>
              <a:gd name="connsiteY203" fmla="*/ 60111 h 895572"/>
              <a:gd name="connsiteX204" fmla="*/ 397422 w 1090712"/>
              <a:gd name="connsiteY204" fmla="*/ 65100 h 895572"/>
              <a:gd name="connsiteX205" fmla="*/ 390769 w 1090712"/>
              <a:gd name="connsiteY205" fmla="*/ 69852 h 895572"/>
              <a:gd name="connsiteX206" fmla="*/ 384592 w 1090712"/>
              <a:gd name="connsiteY206" fmla="*/ 75792 h 895572"/>
              <a:gd name="connsiteX207" fmla="*/ 378889 w 1090712"/>
              <a:gd name="connsiteY207" fmla="*/ 81494 h 895572"/>
              <a:gd name="connsiteX208" fmla="*/ 372950 w 1090712"/>
              <a:gd name="connsiteY208" fmla="*/ 87671 h 895572"/>
              <a:gd name="connsiteX209" fmla="*/ 367723 w 1090712"/>
              <a:gd name="connsiteY209" fmla="*/ 94324 h 895572"/>
              <a:gd name="connsiteX210" fmla="*/ 362733 w 1090712"/>
              <a:gd name="connsiteY210" fmla="*/ 101452 h 895572"/>
              <a:gd name="connsiteX211" fmla="*/ 357981 w 1090712"/>
              <a:gd name="connsiteY211" fmla="*/ 109055 h 895572"/>
              <a:gd name="connsiteX212" fmla="*/ 353467 w 1090712"/>
              <a:gd name="connsiteY212" fmla="*/ 117608 h 895572"/>
              <a:gd name="connsiteX213" fmla="*/ 409064 w 1090712"/>
              <a:gd name="connsiteY213" fmla="*/ 117608 h 895572"/>
              <a:gd name="connsiteX214" fmla="*/ 406925 w 1090712"/>
              <a:gd name="connsiteY214" fmla="*/ 119271 h 895572"/>
              <a:gd name="connsiteX215" fmla="*/ 404074 w 1090712"/>
              <a:gd name="connsiteY215" fmla="*/ 121647 h 895572"/>
              <a:gd name="connsiteX216" fmla="*/ 400510 w 1090712"/>
              <a:gd name="connsiteY216" fmla="*/ 123310 h 895572"/>
              <a:gd name="connsiteX217" fmla="*/ 397422 w 1090712"/>
              <a:gd name="connsiteY217" fmla="*/ 125211 h 895572"/>
              <a:gd name="connsiteX218" fmla="*/ 393383 w 1090712"/>
              <a:gd name="connsiteY218" fmla="*/ 126399 h 895572"/>
              <a:gd name="connsiteX219" fmla="*/ 389581 w 1090712"/>
              <a:gd name="connsiteY219" fmla="*/ 127824 h 895572"/>
              <a:gd name="connsiteX220" fmla="*/ 385542 w 1090712"/>
              <a:gd name="connsiteY220" fmla="*/ 128299 h 895572"/>
              <a:gd name="connsiteX221" fmla="*/ 381503 w 1090712"/>
              <a:gd name="connsiteY221" fmla="*/ 128774 h 895572"/>
              <a:gd name="connsiteX222" fmla="*/ 375326 w 1090712"/>
              <a:gd name="connsiteY222" fmla="*/ 130438 h 895572"/>
              <a:gd name="connsiteX223" fmla="*/ 368435 w 1090712"/>
              <a:gd name="connsiteY223" fmla="*/ 131863 h 895572"/>
              <a:gd name="connsiteX224" fmla="*/ 361783 w 1090712"/>
              <a:gd name="connsiteY224" fmla="*/ 133051 h 895572"/>
              <a:gd name="connsiteX225" fmla="*/ 355606 w 1090712"/>
              <a:gd name="connsiteY225" fmla="*/ 134001 h 895572"/>
              <a:gd name="connsiteX226" fmla="*/ 342300 w 1090712"/>
              <a:gd name="connsiteY226" fmla="*/ 135427 h 895572"/>
              <a:gd name="connsiteX227" fmla="*/ 329471 w 1090712"/>
              <a:gd name="connsiteY227" fmla="*/ 137090 h 895572"/>
              <a:gd name="connsiteX228" fmla="*/ 322818 w 1090712"/>
              <a:gd name="connsiteY228" fmla="*/ 138040 h 895572"/>
              <a:gd name="connsiteX229" fmla="*/ 316403 w 1090712"/>
              <a:gd name="connsiteY229" fmla="*/ 139704 h 895572"/>
              <a:gd name="connsiteX230" fmla="*/ 310226 w 1090712"/>
              <a:gd name="connsiteY230" fmla="*/ 141604 h 895572"/>
              <a:gd name="connsiteX231" fmla="*/ 304048 w 1090712"/>
              <a:gd name="connsiteY231" fmla="*/ 144218 h 895572"/>
              <a:gd name="connsiteX232" fmla="*/ 298346 w 1090712"/>
              <a:gd name="connsiteY232" fmla="*/ 147307 h 895572"/>
              <a:gd name="connsiteX233" fmla="*/ 292406 w 1090712"/>
              <a:gd name="connsiteY233" fmla="*/ 151346 h 895572"/>
              <a:gd name="connsiteX234" fmla="*/ 286704 w 1090712"/>
              <a:gd name="connsiteY234" fmla="*/ 156335 h 895572"/>
              <a:gd name="connsiteX235" fmla="*/ 281240 w 1090712"/>
              <a:gd name="connsiteY235" fmla="*/ 162037 h 895572"/>
              <a:gd name="connsiteX236" fmla="*/ 262232 w 1090712"/>
              <a:gd name="connsiteY236" fmla="*/ 182945 h 895572"/>
              <a:gd name="connsiteX237" fmla="*/ 242987 w 1090712"/>
              <a:gd name="connsiteY237" fmla="*/ 203378 h 895572"/>
              <a:gd name="connsiteX238" fmla="*/ 203547 w 1090712"/>
              <a:gd name="connsiteY238" fmla="*/ 244006 h 895572"/>
              <a:gd name="connsiteX239" fmla="*/ 183827 w 1090712"/>
              <a:gd name="connsiteY239" fmla="*/ 264439 h 895572"/>
              <a:gd name="connsiteX240" fmla="*/ 164345 w 1090712"/>
              <a:gd name="connsiteY240" fmla="*/ 285822 h 895572"/>
              <a:gd name="connsiteX241" fmla="*/ 144862 w 1090712"/>
              <a:gd name="connsiteY241" fmla="*/ 307443 h 895572"/>
              <a:gd name="connsiteX242" fmla="*/ 126093 w 1090712"/>
              <a:gd name="connsiteY242" fmla="*/ 329777 h 895572"/>
              <a:gd name="connsiteX243" fmla="*/ 122054 w 1090712"/>
              <a:gd name="connsiteY243" fmla="*/ 335004 h 895572"/>
              <a:gd name="connsiteX244" fmla="*/ 118015 w 1090712"/>
              <a:gd name="connsiteY244" fmla="*/ 340468 h 895572"/>
              <a:gd name="connsiteX245" fmla="*/ 110887 w 1090712"/>
              <a:gd name="connsiteY245" fmla="*/ 352110 h 895572"/>
              <a:gd name="connsiteX246" fmla="*/ 104709 w 1090712"/>
              <a:gd name="connsiteY246" fmla="*/ 363514 h 895572"/>
              <a:gd name="connsiteX247" fmla="*/ 99007 w 1090712"/>
              <a:gd name="connsiteY247" fmla="*/ 375156 h 895572"/>
              <a:gd name="connsiteX248" fmla="*/ 87840 w 1090712"/>
              <a:gd name="connsiteY248" fmla="*/ 400103 h 895572"/>
              <a:gd name="connsiteX249" fmla="*/ 82138 w 1090712"/>
              <a:gd name="connsiteY249" fmla="*/ 412458 h 895572"/>
              <a:gd name="connsiteX250" fmla="*/ 75723 w 1090712"/>
              <a:gd name="connsiteY250" fmla="*/ 425050 h 895572"/>
              <a:gd name="connsiteX251" fmla="*/ 75723 w 1090712"/>
              <a:gd name="connsiteY251" fmla="*/ 429802 h 895572"/>
              <a:gd name="connsiteX252" fmla="*/ 76674 w 1090712"/>
              <a:gd name="connsiteY252" fmla="*/ 436217 h 895572"/>
              <a:gd name="connsiteX253" fmla="*/ 77149 w 1090712"/>
              <a:gd name="connsiteY253" fmla="*/ 439306 h 895572"/>
              <a:gd name="connsiteX254" fmla="*/ 78574 w 1090712"/>
              <a:gd name="connsiteY254" fmla="*/ 442395 h 895572"/>
              <a:gd name="connsiteX255" fmla="*/ 79762 w 1090712"/>
              <a:gd name="connsiteY255" fmla="*/ 445008 h 895572"/>
              <a:gd name="connsiteX256" fmla="*/ 81663 w 1090712"/>
              <a:gd name="connsiteY256" fmla="*/ 447147 h 895572"/>
              <a:gd name="connsiteX257" fmla="*/ 94018 w 1090712"/>
              <a:gd name="connsiteY257" fmla="*/ 468055 h 895572"/>
              <a:gd name="connsiteX258" fmla="*/ 106848 w 1090712"/>
              <a:gd name="connsiteY258" fmla="*/ 488963 h 895572"/>
              <a:gd name="connsiteX259" fmla="*/ 113975 w 1090712"/>
              <a:gd name="connsiteY259" fmla="*/ 499654 h 895572"/>
              <a:gd name="connsiteX260" fmla="*/ 121103 w 1090712"/>
              <a:gd name="connsiteY260" fmla="*/ 510346 h 895572"/>
              <a:gd name="connsiteX261" fmla="*/ 128706 w 1090712"/>
              <a:gd name="connsiteY261" fmla="*/ 520562 h 895572"/>
              <a:gd name="connsiteX262" fmla="*/ 137259 w 1090712"/>
              <a:gd name="connsiteY262" fmla="*/ 531254 h 895572"/>
              <a:gd name="connsiteX263" fmla="*/ 149614 w 1090712"/>
              <a:gd name="connsiteY263" fmla="*/ 514385 h 895572"/>
              <a:gd name="connsiteX264" fmla="*/ 162206 w 1090712"/>
              <a:gd name="connsiteY264" fmla="*/ 498466 h 895572"/>
              <a:gd name="connsiteX265" fmla="*/ 174561 w 1090712"/>
              <a:gd name="connsiteY265" fmla="*/ 483260 h 895572"/>
              <a:gd name="connsiteX266" fmla="*/ 180739 w 1090712"/>
              <a:gd name="connsiteY266" fmla="*/ 476133 h 895572"/>
              <a:gd name="connsiteX267" fmla="*/ 186916 w 1090712"/>
              <a:gd name="connsiteY267" fmla="*/ 469480 h 895572"/>
              <a:gd name="connsiteX268" fmla="*/ 182639 w 1090712"/>
              <a:gd name="connsiteY268" fmla="*/ 482310 h 895572"/>
              <a:gd name="connsiteX269" fmla="*/ 178125 w 1090712"/>
              <a:gd name="connsiteY269" fmla="*/ 495615 h 895572"/>
              <a:gd name="connsiteX270" fmla="*/ 172423 w 1090712"/>
              <a:gd name="connsiteY270" fmla="*/ 509871 h 895572"/>
              <a:gd name="connsiteX271" fmla="*/ 164820 w 1090712"/>
              <a:gd name="connsiteY271" fmla="*/ 525552 h 895572"/>
              <a:gd name="connsiteX272" fmla="*/ 156267 w 1090712"/>
              <a:gd name="connsiteY272" fmla="*/ 538381 h 895572"/>
              <a:gd name="connsiteX273" fmla="*/ 152703 w 1090712"/>
              <a:gd name="connsiteY273" fmla="*/ 544559 h 895572"/>
              <a:gd name="connsiteX274" fmla="*/ 148664 w 1090712"/>
              <a:gd name="connsiteY274" fmla="*/ 551449 h 895572"/>
              <a:gd name="connsiteX275" fmla="*/ 145100 w 1090712"/>
              <a:gd name="connsiteY275" fmla="*/ 558339 h 895572"/>
              <a:gd name="connsiteX276" fmla="*/ 142011 w 1090712"/>
              <a:gd name="connsiteY276" fmla="*/ 565467 h 895572"/>
              <a:gd name="connsiteX277" fmla="*/ 139398 w 1090712"/>
              <a:gd name="connsiteY277" fmla="*/ 573070 h 895572"/>
              <a:gd name="connsiteX278" fmla="*/ 137259 w 1090712"/>
              <a:gd name="connsiteY278" fmla="*/ 581623 h 895572"/>
              <a:gd name="connsiteX279" fmla="*/ 136309 w 1090712"/>
              <a:gd name="connsiteY279" fmla="*/ 583761 h 895572"/>
              <a:gd name="connsiteX280" fmla="*/ 135359 w 1090712"/>
              <a:gd name="connsiteY280" fmla="*/ 586137 h 895572"/>
              <a:gd name="connsiteX281" fmla="*/ 134883 w 1090712"/>
              <a:gd name="connsiteY281" fmla="*/ 590889 h 895572"/>
              <a:gd name="connsiteX282" fmla="*/ 134883 w 1090712"/>
              <a:gd name="connsiteY282" fmla="*/ 595879 h 895572"/>
              <a:gd name="connsiteX283" fmla="*/ 135359 w 1090712"/>
              <a:gd name="connsiteY283" fmla="*/ 601106 h 895572"/>
              <a:gd name="connsiteX284" fmla="*/ 136784 w 1090712"/>
              <a:gd name="connsiteY284" fmla="*/ 606095 h 895572"/>
              <a:gd name="connsiteX285" fmla="*/ 138447 w 1090712"/>
              <a:gd name="connsiteY285" fmla="*/ 611322 h 895572"/>
              <a:gd name="connsiteX286" fmla="*/ 140348 w 1090712"/>
              <a:gd name="connsiteY286" fmla="*/ 616311 h 895572"/>
              <a:gd name="connsiteX287" fmla="*/ 142486 w 1090712"/>
              <a:gd name="connsiteY287" fmla="*/ 620826 h 895572"/>
              <a:gd name="connsiteX288" fmla="*/ 148664 w 1090712"/>
              <a:gd name="connsiteY288" fmla="*/ 629616 h 895572"/>
              <a:gd name="connsiteX289" fmla="*/ 155554 w 1090712"/>
              <a:gd name="connsiteY289" fmla="*/ 637219 h 895572"/>
              <a:gd name="connsiteX290" fmla="*/ 162444 w 1090712"/>
              <a:gd name="connsiteY290" fmla="*/ 643872 h 895572"/>
              <a:gd name="connsiteX291" fmla="*/ 169572 w 1090712"/>
              <a:gd name="connsiteY291" fmla="*/ 649099 h 895572"/>
              <a:gd name="connsiteX292" fmla="*/ 177175 w 1090712"/>
              <a:gd name="connsiteY292" fmla="*/ 653613 h 895572"/>
              <a:gd name="connsiteX293" fmla="*/ 184778 w 1090712"/>
              <a:gd name="connsiteY293" fmla="*/ 657177 h 895572"/>
              <a:gd name="connsiteX294" fmla="*/ 192856 w 1090712"/>
              <a:gd name="connsiteY294" fmla="*/ 659553 h 895572"/>
              <a:gd name="connsiteX295" fmla="*/ 200934 w 1090712"/>
              <a:gd name="connsiteY295" fmla="*/ 661216 h 895572"/>
              <a:gd name="connsiteX296" fmla="*/ 209250 w 1090712"/>
              <a:gd name="connsiteY296" fmla="*/ 661691 h 895572"/>
              <a:gd name="connsiteX297" fmla="*/ 218278 w 1090712"/>
              <a:gd name="connsiteY297" fmla="*/ 661691 h 895572"/>
              <a:gd name="connsiteX298" fmla="*/ 227069 w 1090712"/>
              <a:gd name="connsiteY298" fmla="*/ 660266 h 895572"/>
              <a:gd name="connsiteX299" fmla="*/ 236335 w 1090712"/>
              <a:gd name="connsiteY299" fmla="*/ 658603 h 895572"/>
              <a:gd name="connsiteX300" fmla="*/ 245838 w 1090712"/>
              <a:gd name="connsiteY300" fmla="*/ 655514 h 895572"/>
              <a:gd name="connsiteX301" fmla="*/ 255580 w 1090712"/>
              <a:gd name="connsiteY301" fmla="*/ 652425 h 895572"/>
              <a:gd name="connsiteX302" fmla="*/ 265321 w 1090712"/>
              <a:gd name="connsiteY302" fmla="*/ 647911 h 895572"/>
              <a:gd name="connsiteX303" fmla="*/ 276013 w 1090712"/>
              <a:gd name="connsiteY303" fmla="*/ 642922 h 895572"/>
              <a:gd name="connsiteX304" fmla="*/ 288367 w 1090712"/>
              <a:gd name="connsiteY304" fmla="*/ 635081 h 895572"/>
              <a:gd name="connsiteX305" fmla="*/ 301910 w 1090712"/>
              <a:gd name="connsiteY305" fmla="*/ 627478 h 895572"/>
              <a:gd name="connsiteX306" fmla="*/ 315215 w 1090712"/>
              <a:gd name="connsiteY306" fmla="*/ 620350 h 895572"/>
              <a:gd name="connsiteX307" fmla="*/ 329471 w 1090712"/>
              <a:gd name="connsiteY307" fmla="*/ 613698 h 895572"/>
              <a:gd name="connsiteX308" fmla="*/ 343726 w 1090712"/>
              <a:gd name="connsiteY308" fmla="*/ 607283 h 895572"/>
              <a:gd name="connsiteX309" fmla="*/ 357981 w 1090712"/>
              <a:gd name="connsiteY309" fmla="*/ 602056 h 895572"/>
              <a:gd name="connsiteX310" fmla="*/ 371999 w 1090712"/>
              <a:gd name="connsiteY310" fmla="*/ 597066 h 895572"/>
              <a:gd name="connsiteX311" fmla="*/ 386730 w 1090712"/>
              <a:gd name="connsiteY311" fmla="*/ 592790 h 895572"/>
              <a:gd name="connsiteX312" fmla="*/ 394808 w 1090712"/>
              <a:gd name="connsiteY312" fmla="*/ 590414 h 895572"/>
              <a:gd name="connsiteX313" fmla="*/ 402411 w 1090712"/>
              <a:gd name="connsiteY313" fmla="*/ 587325 h 895572"/>
              <a:gd name="connsiteX314" fmla="*/ 409064 w 1090712"/>
              <a:gd name="connsiteY314" fmla="*/ 583761 h 895572"/>
              <a:gd name="connsiteX315" fmla="*/ 411677 w 1090712"/>
              <a:gd name="connsiteY315" fmla="*/ 581623 h 895572"/>
              <a:gd name="connsiteX316" fmla="*/ 414766 w 1090712"/>
              <a:gd name="connsiteY316" fmla="*/ 579247 h 895572"/>
              <a:gd name="connsiteX317" fmla="*/ 417142 w 1090712"/>
              <a:gd name="connsiteY317" fmla="*/ 577109 h 895572"/>
              <a:gd name="connsiteX318" fmla="*/ 419280 w 1090712"/>
              <a:gd name="connsiteY318" fmla="*/ 574495 h 895572"/>
              <a:gd name="connsiteX319" fmla="*/ 420943 w 1090712"/>
              <a:gd name="connsiteY319" fmla="*/ 571407 h 895572"/>
              <a:gd name="connsiteX320" fmla="*/ 422844 w 1090712"/>
              <a:gd name="connsiteY320" fmla="*/ 568318 h 895572"/>
              <a:gd name="connsiteX321" fmla="*/ 424269 w 1090712"/>
              <a:gd name="connsiteY321" fmla="*/ 565229 h 895572"/>
              <a:gd name="connsiteX322" fmla="*/ 424982 w 1090712"/>
              <a:gd name="connsiteY322" fmla="*/ 561665 h 895572"/>
              <a:gd name="connsiteX323" fmla="*/ 425457 w 1090712"/>
              <a:gd name="connsiteY323" fmla="*/ 557626 h 895572"/>
              <a:gd name="connsiteX324" fmla="*/ 425932 w 1090712"/>
              <a:gd name="connsiteY324" fmla="*/ 553587 h 895572"/>
              <a:gd name="connsiteX325" fmla="*/ 425932 w 1090712"/>
              <a:gd name="connsiteY325" fmla="*/ 413884 h 895572"/>
              <a:gd name="connsiteX326" fmla="*/ 425932 w 1090712"/>
              <a:gd name="connsiteY326" fmla="*/ 285347 h 895572"/>
              <a:gd name="connsiteX327" fmla="*/ 429496 w 1090712"/>
              <a:gd name="connsiteY327" fmla="*/ 300078 h 895572"/>
              <a:gd name="connsiteX328" fmla="*/ 433060 w 1090712"/>
              <a:gd name="connsiteY328" fmla="*/ 314096 h 895572"/>
              <a:gd name="connsiteX329" fmla="*/ 436149 w 1090712"/>
              <a:gd name="connsiteY329" fmla="*/ 328826 h 895572"/>
              <a:gd name="connsiteX330" fmla="*/ 438762 w 1090712"/>
              <a:gd name="connsiteY330" fmla="*/ 343082 h 895572"/>
              <a:gd name="connsiteX331" fmla="*/ 443752 w 1090712"/>
              <a:gd name="connsiteY331" fmla="*/ 370642 h 895572"/>
              <a:gd name="connsiteX332" fmla="*/ 447791 w 1090712"/>
              <a:gd name="connsiteY332" fmla="*/ 397015 h 895572"/>
              <a:gd name="connsiteX333" fmla="*/ 451830 w 1090712"/>
              <a:gd name="connsiteY333" fmla="*/ 421962 h 895572"/>
              <a:gd name="connsiteX334" fmla="*/ 454919 w 1090712"/>
              <a:gd name="connsiteY334" fmla="*/ 446434 h 895572"/>
              <a:gd name="connsiteX335" fmla="*/ 456106 w 1090712"/>
              <a:gd name="connsiteY335" fmla="*/ 458313 h 895572"/>
              <a:gd name="connsiteX336" fmla="*/ 457057 w 1090712"/>
              <a:gd name="connsiteY336" fmla="*/ 470430 h 895572"/>
              <a:gd name="connsiteX337" fmla="*/ 457532 w 1090712"/>
              <a:gd name="connsiteY337" fmla="*/ 482310 h 895572"/>
              <a:gd name="connsiteX338" fmla="*/ 457532 w 1090712"/>
              <a:gd name="connsiteY338" fmla="*/ 493952 h 895572"/>
              <a:gd name="connsiteX339" fmla="*/ 457532 w 1090712"/>
              <a:gd name="connsiteY339" fmla="*/ 506069 h 895572"/>
              <a:gd name="connsiteX340" fmla="*/ 456582 w 1090712"/>
              <a:gd name="connsiteY340" fmla="*/ 517473 h 895572"/>
              <a:gd name="connsiteX341" fmla="*/ 455869 w 1090712"/>
              <a:gd name="connsiteY341" fmla="*/ 529116 h 895572"/>
              <a:gd name="connsiteX342" fmla="*/ 453968 w 1090712"/>
              <a:gd name="connsiteY342" fmla="*/ 540757 h 895572"/>
              <a:gd name="connsiteX343" fmla="*/ 452305 w 1090712"/>
              <a:gd name="connsiteY343" fmla="*/ 552162 h 895572"/>
              <a:gd name="connsiteX344" fmla="*/ 449454 w 1090712"/>
              <a:gd name="connsiteY344" fmla="*/ 563804 h 895572"/>
              <a:gd name="connsiteX345" fmla="*/ 446365 w 1090712"/>
              <a:gd name="connsiteY345" fmla="*/ 575446 h 895572"/>
              <a:gd name="connsiteX346" fmla="*/ 442326 w 1090712"/>
              <a:gd name="connsiteY346" fmla="*/ 586850 h 895572"/>
              <a:gd name="connsiteX347" fmla="*/ 440188 w 1090712"/>
              <a:gd name="connsiteY347" fmla="*/ 591364 h 895572"/>
              <a:gd name="connsiteX348" fmla="*/ 437574 w 1090712"/>
              <a:gd name="connsiteY348" fmla="*/ 595403 h 895572"/>
              <a:gd name="connsiteX349" fmla="*/ 434486 w 1090712"/>
              <a:gd name="connsiteY349" fmla="*/ 598967 h 895572"/>
              <a:gd name="connsiteX350" fmla="*/ 431397 w 1090712"/>
              <a:gd name="connsiteY350" fmla="*/ 602531 h 895572"/>
              <a:gd name="connsiteX351" fmla="*/ 428071 w 1090712"/>
              <a:gd name="connsiteY351" fmla="*/ 605145 h 895572"/>
              <a:gd name="connsiteX352" fmla="*/ 424982 w 1090712"/>
              <a:gd name="connsiteY352" fmla="*/ 607283 h 895572"/>
              <a:gd name="connsiteX353" fmla="*/ 422369 w 1090712"/>
              <a:gd name="connsiteY353" fmla="*/ 608708 h 895572"/>
              <a:gd name="connsiteX354" fmla="*/ 420230 w 1090712"/>
              <a:gd name="connsiteY354" fmla="*/ 609659 h 895572"/>
              <a:gd name="connsiteX355" fmla="*/ 410727 w 1090712"/>
              <a:gd name="connsiteY355" fmla="*/ 610847 h 895572"/>
              <a:gd name="connsiteX356" fmla="*/ 401461 w 1090712"/>
              <a:gd name="connsiteY356" fmla="*/ 612748 h 895572"/>
              <a:gd name="connsiteX357" fmla="*/ 392670 w 1090712"/>
              <a:gd name="connsiteY357" fmla="*/ 614886 h 895572"/>
              <a:gd name="connsiteX358" fmla="*/ 383641 w 1090712"/>
              <a:gd name="connsiteY358" fmla="*/ 617262 h 895572"/>
              <a:gd name="connsiteX359" fmla="*/ 374850 w 1090712"/>
              <a:gd name="connsiteY359" fmla="*/ 620350 h 895572"/>
              <a:gd name="connsiteX360" fmla="*/ 365822 w 1090712"/>
              <a:gd name="connsiteY360" fmla="*/ 623914 h 895572"/>
              <a:gd name="connsiteX361" fmla="*/ 348478 w 1090712"/>
              <a:gd name="connsiteY361" fmla="*/ 631042 h 895572"/>
              <a:gd name="connsiteX362" fmla="*/ 331609 w 1090712"/>
              <a:gd name="connsiteY362" fmla="*/ 639358 h 895572"/>
              <a:gd name="connsiteX363" fmla="*/ 314740 w 1090712"/>
              <a:gd name="connsiteY363" fmla="*/ 647911 h 895572"/>
              <a:gd name="connsiteX364" fmla="*/ 281240 w 1090712"/>
              <a:gd name="connsiteY364" fmla="*/ 665255 h 895572"/>
              <a:gd name="connsiteX365" fmla="*/ 274587 w 1090712"/>
              <a:gd name="connsiteY365" fmla="*/ 669294 h 895572"/>
              <a:gd name="connsiteX366" fmla="*/ 267935 w 1090712"/>
              <a:gd name="connsiteY366" fmla="*/ 672858 h 895572"/>
              <a:gd name="connsiteX367" fmla="*/ 261757 w 1090712"/>
              <a:gd name="connsiteY367" fmla="*/ 675947 h 895572"/>
              <a:gd name="connsiteX368" fmla="*/ 255105 w 1090712"/>
              <a:gd name="connsiteY368" fmla="*/ 679035 h 895572"/>
              <a:gd name="connsiteX369" fmla="*/ 248927 w 1090712"/>
              <a:gd name="connsiteY369" fmla="*/ 681174 h 895572"/>
              <a:gd name="connsiteX370" fmla="*/ 242987 w 1090712"/>
              <a:gd name="connsiteY370" fmla="*/ 683075 h 895572"/>
              <a:gd name="connsiteX371" fmla="*/ 236810 w 1090712"/>
              <a:gd name="connsiteY371" fmla="*/ 684738 h 895572"/>
              <a:gd name="connsiteX372" fmla="*/ 231108 w 1090712"/>
              <a:gd name="connsiteY372" fmla="*/ 686163 h 895572"/>
              <a:gd name="connsiteX373" fmla="*/ 225406 w 1090712"/>
              <a:gd name="connsiteY373" fmla="*/ 687114 h 895572"/>
              <a:gd name="connsiteX374" fmla="*/ 219466 w 1090712"/>
              <a:gd name="connsiteY374" fmla="*/ 687589 h 895572"/>
              <a:gd name="connsiteX375" fmla="*/ 213764 w 1090712"/>
              <a:gd name="connsiteY375" fmla="*/ 687589 h 895572"/>
              <a:gd name="connsiteX376" fmla="*/ 208299 w 1090712"/>
              <a:gd name="connsiteY376" fmla="*/ 687589 h 895572"/>
              <a:gd name="connsiteX377" fmla="*/ 203072 w 1090712"/>
              <a:gd name="connsiteY377" fmla="*/ 687114 h 895572"/>
              <a:gd name="connsiteX378" fmla="*/ 197607 w 1090712"/>
              <a:gd name="connsiteY378" fmla="*/ 686163 h 895572"/>
              <a:gd name="connsiteX379" fmla="*/ 192380 w 1090712"/>
              <a:gd name="connsiteY379" fmla="*/ 684738 h 895572"/>
              <a:gd name="connsiteX380" fmla="*/ 186916 w 1090712"/>
              <a:gd name="connsiteY380" fmla="*/ 683550 h 895572"/>
              <a:gd name="connsiteX381" fmla="*/ 181689 w 1090712"/>
              <a:gd name="connsiteY381" fmla="*/ 681649 h 895572"/>
              <a:gd name="connsiteX382" fmla="*/ 176699 w 1090712"/>
              <a:gd name="connsiteY382" fmla="*/ 679986 h 895572"/>
              <a:gd name="connsiteX383" fmla="*/ 171472 w 1090712"/>
              <a:gd name="connsiteY383" fmla="*/ 677610 h 895572"/>
              <a:gd name="connsiteX384" fmla="*/ 166483 w 1090712"/>
              <a:gd name="connsiteY384" fmla="*/ 674996 h 895572"/>
              <a:gd name="connsiteX385" fmla="*/ 156742 w 1090712"/>
              <a:gd name="connsiteY385" fmla="*/ 669294 h 895572"/>
              <a:gd name="connsiteX386" fmla="*/ 147001 w 1090712"/>
              <a:gd name="connsiteY386" fmla="*/ 662167 h 895572"/>
              <a:gd name="connsiteX387" fmla="*/ 137735 w 1090712"/>
              <a:gd name="connsiteY387" fmla="*/ 654564 h 895572"/>
              <a:gd name="connsiteX388" fmla="*/ 127756 w 1090712"/>
              <a:gd name="connsiteY388" fmla="*/ 645535 h 895572"/>
              <a:gd name="connsiteX389" fmla="*/ 118490 w 1090712"/>
              <a:gd name="connsiteY389" fmla="*/ 636269 h 895572"/>
              <a:gd name="connsiteX390" fmla="*/ 109224 w 1090712"/>
              <a:gd name="connsiteY390" fmla="*/ 626053 h 895572"/>
              <a:gd name="connsiteX391" fmla="*/ 107323 w 1090712"/>
              <a:gd name="connsiteY391" fmla="*/ 623914 h 895572"/>
              <a:gd name="connsiteX392" fmla="*/ 106135 w 1090712"/>
              <a:gd name="connsiteY392" fmla="*/ 620350 h 895572"/>
              <a:gd name="connsiteX393" fmla="*/ 105185 w 1090712"/>
              <a:gd name="connsiteY393" fmla="*/ 616311 h 895572"/>
              <a:gd name="connsiteX394" fmla="*/ 105185 w 1090712"/>
              <a:gd name="connsiteY394" fmla="*/ 612272 h 895572"/>
              <a:gd name="connsiteX395" fmla="*/ 105185 w 1090712"/>
              <a:gd name="connsiteY395" fmla="*/ 608233 h 895572"/>
              <a:gd name="connsiteX396" fmla="*/ 106135 w 1090712"/>
              <a:gd name="connsiteY396" fmla="*/ 604194 h 895572"/>
              <a:gd name="connsiteX397" fmla="*/ 107323 w 1090712"/>
              <a:gd name="connsiteY397" fmla="*/ 600630 h 895572"/>
              <a:gd name="connsiteX398" fmla="*/ 109224 w 1090712"/>
              <a:gd name="connsiteY398" fmla="*/ 598017 h 895572"/>
              <a:gd name="connsiteX399" fmla="*/ 111837 w 1090712"/>
              <a:gd name="connsiteY399" fmla="*/ 591840 h 895572"/>
              <a:gd name="connsiteX400" fmla="*/ 113975 w 1090712"/>
              <a:gd name="connsiteY400" fmla="*/ 586137 h 895572"/>
              <a:gd name="connsiteX401" fmla="*/ 115401 w 1090712"/>
              <a:gd name="connsiteY401" fmla="*/ 579722 h 895572"/>
              <a:gd name="connsiteX402" fmla="*/ 115876 w 1090712"/>
              <a:gd name="connsiteY402" fmla="*/ 574020 h 895572"/>
              <a:gd name="connsiteX403" fmla="*/ 115876 w 1090712"/>
              <a:gd name="connsiteY403" fmla="*/ 568318 h 895572"/>
              <a:gd name="connsiteX404" fmla="*/ 115401 w 1090712"/>
              <a:gd name="connsiteY404" fmla="*/ 562378 h 895572"/>
              <a:gd name="connsiteX405" fmla="*/ 114451 w 1090712"/>
              <a:gd name="connsiteY405" fmla="*/ 557151 h 895572"/>
              <a:gd name="connsiteX406" fmla="*/ 112788 w 1090712"/>
              <a:gd name="connsiteY406" fmla="*/ 551449 h 895572"/>
              <a:gd name="connsiteX407" fmla="*/ 110412 w 1090712"/>
              <a:gd name="connsiteY407" fmla="*/ 545984 h 895572"/>
              <a:gd name="connsiteX408" fmla="*/ 108273 w 1090712"/>
              <a:gd name="connsiteY408" fmla="*/ 540757 h 895572"/>
              <a:gd name="connsiteX409" fmla="*/ 105185 w 1090712"/>
              <a:gd name="connsiteY409" fmla="*/ 535293 h 895572"/>
              <a:gd name="connsiteX410" fmla="*/ 102096 w 1090712"/>
              <a:gd name="connsiteY410" fmla="*/ 530066 h 895572"/>
              <a:gd name="connsiteX411" fmla="*/ 94968 w 1090712"/>
              <a:gd name="connsiteY411" fmla="*/ 519374 h 895572"/>
              <a:gd name="connsiteX412" fmla="*/ 86890 w 1090712"/>
              <a:gd name="connsiteY412" fmla="*/ 508683 h 895572"/>
              <a:gd name="connsiteX413" fmla="*/ 78812 w 1090712"/>
              <a:gd name="connsiteY413" fmla="*/ 497991 h 895572"/>
              <a:gd name="connsiteX414" fmla="*/ 70972 w 1090712"/>
              <a:gd name="connsiteY414" fmla="*/ 486824 h 895572"/>
              <a:gd name="connsiteX415" fmla="*/ 67408 w 1090712"/>
              <a:gd name="connsiteY415" fmla="*/ 481122 h 895572"/>
              <a:gd name="connsiteX416" fmla="*/ 64319 w 1090712"/>
              <a:gd name="connsiteY416" fmla="*/ 474707 h 895572"/>
              <a:gd name="connsiteX417" fmla="*/ 61230 w 1090712"/>
              <a:gd name="connsiteY417" fmla="*/ 469005 h 895572"/>
              <a:gd name="connsiteX418" fmla="*/ 58379 w 1090712"/>
              <a:gd name="connsiteY418" fmla="*/ 462828 h 895572"/>
              <a:gd name="connsiteX419" fmla="*/ 56716 w 1090712"/>
              <a:gd name="connsiteY419" fmla="*/ 456175 h 895572"/>
              <a:gd name="connsiteX420" fmla="*/ 54815 w 1090712"/>
              <a:gd name="connsiteY420" fmla="*/ 449998 h 895572"/>
              <a:gd name="connsiteX421" fmla="*/ 54103 w 1090712"/>
              <a:gd name="connsiteY421" fmla="*/ 443345 h 895572"/>
              <a:gd name="connsiteX422" fmla="*/ 53627 w 1090712"/>
              <a:gd name="connsiteY422" fmla="*/ 436455 h 895572"/>
              <a:gd name="connsiteX423" fmla="*/ 53627 w 1090712"/>
              <a:gd name="connsiteY423" fmla="*/ 429327 h 895572"/>
              <a:gd name="connsiteX424" fmla="*/ 54815 w 1090712"/>
              <a:gd name="connsiteY424" fmla="*/ 422675 h 895572"/>
              <a:gd name="connsiteX425" fmla="*/ 56716 w 1090712"/>
              <a:gd name="connsiteY425" fmla="*/ 415547 h 895572"/>
              <a:gd name="connsiteX426" fmla="*/ 59330 w 1090712"/>
              <a:gd name="connsiteY426" fmla="*/ 408182 h 895572"/>
              <a:gd name="connsiteX427" fmla="*/ 60280 w 1090712"/>
              <a:gd name="connsiteY427" fmla="*/ 403192 h 895572"/>
              <a:gd name="connsiteX428" fmla="*/ 61943 w 1090712"/>
              <a:gd name="connsiteY428" fmla="*/ 397965 h 895572"/>
              <a:gd name="connsiteX429" fmla="*/ 65507 w 1090712"/>
              <a:gd name="connsiteY429" fmla="*/ 387986 h 895572"/>
              <a:gd name="connsiteX430" fmla="*/ 69546 w 1090712"/>
              <a:gd name="connsiteY430" fmla="*/ 378720 h 895572"/>
              <a:gd name="connsiteX431" fmla="*/ 74535 w 1090712"/>
              <a:gd name="connsiteY431" fmla="*/ 369929 h 895572"/>
              <a:gd name="connsiteX432" fmla="*/ 79762 w 1090712"/>
              <a:gd name="connsiteY432" fmla="*/ 360901 h 895572"/>
              <a:gd name="connsiteX433" fmla="*/ 85940 w 1090712"/>
              <a:gd name="connsiteY433" fmla="*/ 352585 h 895572"/>
              <a:gd name="connsiteX434" fmla="*/ 98057 w 1090712"/>
              <a:gd name="connsiteY434" fmla="*/ 335479 h 895572"/>
              <a:gd name="connsiteX435" fmla="*/ 102571 w 1090712"/>
              <a:gd name="connsiteY435" fmla="*/ 328113 h 895572"/>
              <a:gd name="connsiteX436" fmla="*/ 106848 w 1090712"/>
              <a:gd name="connsiteY436" fmla="*/ 320986 h 895572"/>
              <a:gd name="connsiteX437" fmla="*/ 116827 w 1090712"/>
              <a:gd name="connsiteY437" fmla="*/ 307205 h 895572"/>
              <a:gd name="connsiteX438" fmla="*/ 127043 w 1090712"/>
              <a:gd name="connsiteY438" fmla="*/ 293188 h 895572"/>
              <a:gd name="connsiteX439" fmla="*/ 137735 w 1090712"/>
              <a:gd name="connsiteY439" fmla="*/ 279407 h 895572"/>
              <a:gd name="connsiteX440" fmla="*/ 159831 w 1090712"/>
              <a:gd name="connsiteY440" fmla="*/ 251847 h 895572"/>
              <a:gd name="connsiteX441" fmla="*/ 170522 w 1090712"/>
              <a:gd name="connsiteY441" fmla="*/ 238066 h 895572"/>
              <a:gd name="connsiteX442" fmla="*/ 181214 w 1090712"/>
              <a:gd name="connsiteY442" fmla="*/ 223336 h 895572"/>
              <a:gd name="connsiteX443" fmla="*/ 164820 w 1090712"/>
              <a:gd name="connsiteY443" fmla="*/ 223336 h 895572"/>
              <a:gd name="connsiteX444" fmla="*/ 137972 w 1090712"/>
              <a:gd name="connsiteY444" fmla="*/ 230226 h 895572"/>
              <a:gd name="connsiteX445" fmla="*/ 125142 w 1090712"/>
              <a:gd name="connsiteY445" fmla="*/ 233790 h 895572"/>
              <a:gd name="connsiteX446" fmla="*/ 112788 w 1090712"/>
              <a:gd name="connsiteY446" fmla="*/ 237591 h 895572"/>
              <a:gd name="connsiteX447" fmla="*/ 100195 w 1090712"/>
              <a:gd name="connsiteY447" fmla="*/ 241630 h 895572"/>
              <a:gd name="connsiteX448" fmla="*/ 87840 w 1090712"/>
              <a:gd name="connsiteY448" fmla="*/ 245669 h 895572"/>
              <a:gd name="connsiteX449" fmla="*/ 75723 w 1090712"/>
              <a:gd name="connsiteY449" fmla="*/ 250183 h 895572"/>
              <a:gd name="connsiteX450" fmla="*/ 64319 w 1090712"/>
              <a:gd name="connsiteY450" fmla="*/ 254935 h 895572"/>
              <a:gd name="connsiteX451" fmla="*/ 52677 w 1090712"/>
              <a:gd name="connsiteY451" fmla="*/ 260400 h 895572"/>
              <a:gd name="connsiteX452" fmla="*/ 41035 w 1090712"/>
              <a:gd name="connsiteY452" fmla="*/ 265627 h 895572"/>
              <a:gd name="connsiteX453" fmla="*/ 29868 w 1090712"/>
              <a:gd name="connsiteY453" fmla="*/ 271567 h 895572"/>
              <a:gd name="connsiteX454" fmla="*/ 18939 w 1090712"/>
              <a:gd name="connsiteY454" fmla="*/ 277744 h 895572"/>
              <a:gd name="connsiteX455" fmla="*/ 7772 w 1090712"/>
              <a:gd name="connsiteY455" fmla="*/ 284397 h 895572"/>
              <a:gd name="connsiteX456" fmla="*/ 0 w 1090712"/>
              <a:gd name="connsiteY456" fmla="*/ 289924 h 895572"/>
              <a:gd name="connsiteX457" fmla="*/ 0 w 1090712"/>
              <a:gd name="connsiteY457" fmla="*/ 895572 h 895572"/>
              <a:gd name="connsiteX458" fmla="*/ 125653 w 1090712"/>
              <a:gd name="connsiteY458" fmla="*/ 895572 h 895572"/>
              <a:gd name="connsiteX459" fmla="*/ 127756 w 1090712"/>
              <a:gd name="connsiteY459" fmla="*/ 892155 h 895572"/>
              <a:gd name="connsiteX460" fmla="*/ 131082 w 1090712"/>
              <a:gd name="connsiteY460" fmla="*/ 885502 h 895572"/>
              <a:gd name="connsiteX461" fmla="*/ 133696 w 1090712"/>
              <a:gd name="connsiteY461" fmla="*/ 878374 h 895572"/>
              <a:gd name="connsiteX462" fmla="*/ 135834 w 1090712"/>
              <a:gd name="connsiteY462" fmla="*/ 871722 h 895572"/>
              <a:gd name="connsiteX463" fmla="*/ 137735 w 1090712"/>
              <a:gd name="connsiteY463" fmla="*/ 864594 h 895572"/>
              <a:gd name="connsiteX464" fmla="*/ 138923 w 1090712"/>
              <a:gd name="connsiteY464" fmla="*/ 857466 h 895572"/>
              <a:gd name="connsiteX465" fmla="*/ 140348 w 1090712"/>
              <a:gd name="connsiteY465" fmla="*/ 850339 h 895572"/>
              <a:gd name="connsiteX466" fmla="*/ 141298 w 1090712"/>
              <a:gd name="connsiteY466" fmla="*/ 843211 h 895572"/>
              <a:gd name="connsiteX467" fmla="*/ 142011 w 1090712"/>
              <a:gd name="connsiteY467" fmla="*/ 828955 h 895572"/>
              <a:gd name="connsiteX468" fmla="*/ 142486 w 1090712"/>
              <a:gd name="connsiteY468" fmla="*/ 814225 h 895572"/>
              <a:gd name="connsiteX469" fmla="*/ 142486 w 1090712"/>
              <a:gd name="connsiteY469" fmla="*/ 799494 h 895572"/>
              <a:gd name="connsiteX470" fmla="*/ 142486 w 1090712"/>
              <a:gd name="connsiteY470" fmla="*/ 782625 h 895572"/>
              <a:gd name="connsiteX471" fmla="*/ 142486 w 1090712"/>
              <a:gd name="connsiteY471" fmla="*/ 771458 h 895572"/>
              <a:gd name="connsiteX472" fmla="*/ 143912 w 1090712"/>
              <a:gd name="connsiteY472" fmla="*/ 778586 h 895572"/>
              <a:gd name="connsiteX473" fmla="*/ 145100 w 1090712"/>
              <a:gd name="connsiteY473" fmla="*/ 784526 h 895572"/>
              <a:gd name="connsiteX474" fmla="*/ 147476 w 1090712"/>
              <a:gd name="connsiteY474" fmla="*/ 789753 h 895572"/>
              <a:gd name="connsiteX475" fmla="*/ 149614 w 1090712"/>
              <a:gd name="connsiteY475" fmla="*/ 794267 h 895572"/>
              <a:gd name="connsiteX476" fmla="*/ 152228 w 1090712"/>
              <a:gd name="connsiteY476" fmla="*/ 797831 h 895572"/>
              <a:gd name="connsiteX477" fmla="*/ 155554 w 1090712"/>
              <a:gd name="connsiteY477" fmla="*/ 801395 h 895572"/>
              <a:gd name="connsiteX478" fmla="*/ 158643 w 1090712"/>
              <a:gd name="connsiteY478" fmla="*/ 803533 h 895572"/>
              <a:gd name="connsiteX479" fmla="*/ 162206 w 1090712"/>
              <a:gd name="connsiteY479" fmla="*/ 805909 h 895572"/>
              <a:gd name="connsiteX480" fmla="*/ 165770 w 1090712"/>
              <a:gd name="connsiteY480" fmla="*/ 807572 h 895572"/>
              <a:gd name="connsiteX481" fmla="*/ 169572 w 1090712"/>
              <a:gd name="connsiteY481" fmla="*/ 808523 h 895572"/>
              <a:gd name="connsiteX482" fmla="*/ 174086 w 1090712"/>
              <a:gd name="connsiteY482" fmla="*/ 809473 h 895572"/>
              <a:gd name="connsiteX483" fmla="*/ 178600 w 1090712"/>
              <a:gd name="connsiteY483" fmla="*/ 810186 h 895572"/>
              <a:gd name="connsiteX484" fmla="*/ 187866 w 1090712"/>
              <a:gd name="connsiteY484" fmla="*/ 810661 h 895572"/>
              <a:gd name="connsiteX485" fmla="*/ 198083 w 1090712"/>
              <a:gd name="connsiteY485" fmla="*/ 810661 h 895572"/>
              <a:gd name="connsiteX486" fmla="*/ 236810 w 1090712"/>
              <a:gd name="connsiteY486" fmla="*/ 810661 h 895572"/>
              <a:gd name="connsiteX487" fmla="*/ 249640 w 1090712"/>
              <a:gd name="connsiteY487" fmla="*/ 811136 h 895572"/>
              <a:gd name="connsiteX488" fmla="*/ 263183 w 1090712"/>
              <a:gd name="connsiteY488" fmla="*/ 811611 h 895572"/>
              <a:gd name="connsiteX489" fmla="*/ 270310 w 1090712"/>
              <a:gd name="connsiteY489" fmla="*/ 811611 h 895572"/>
              <a:gd name="connsiteX490" fmla="*/ 276963 w 1090712"/>
              <a:gd name="connsiteY490" fmla="*/ 811136 h 895572"/>
              <a:gd name="connsiteX491" fmla="*/ 283140 w 1090712"/>
              <a:gd name="connsiteY491" fmla="*/ 810186 h 895572"/>
              <a:gd name="connsiteX492" fmla="*/ 289793 w 1090712"/>
              <a:gd name="connsiteY492" fmla="*/ 808523 h 895572"/>
              <a:gd name="connsiteX493" fmla="*/ 295495 w 1090712"/>
              <a:gd name="connsiteY493" fmla="*/ 806147 h 895572"/>
              <a:gd name="connsiteX494" fmla="*/ 301435 w 1090712"/>
              <a:gd name="connsiteY494" fmla="*/ 803058 h 895572"/>
              <a:gd name="connsiteX495" fmla="*/ 304524 w 1090712"/>
              <a:gd name="connsiteY495" fmla="*/ 801395 h 895572"/>
              <a:gd name="connsiteX496" fmla="*/ 307137 w 1090712"/>
              <a:gd name="connsiteY496" fmla="*/ 799256 h 895572"/>
              <a:gd name="connsiteX497" fmla="*/ 309275 w 1090712"/>
              <a:gd name="connsiteY497" fmla="*/ 796881 h 895572"/>
              <a:gd name="connsiteX498" fmla="*/ 312126 w 1090712"/>
              <a:gd name="connsiteY498" fmla="*/ 794267 h 895572"/>
              <a:gd name="connsiteX499" fmla="*/ 314265 w 1090712"/>
              <a:gd name="connsiteY499" fmla="*/ 791178 h 895572"/>
              <a:gd name="connsiteX500" fmla="*/ 316403 w 1090712"/>
              <a:gd name="connsiteY500" fmla="*/ 788090 h 895572"/>
              <a:gd name="connsiteX501" fmla="*/ 318304 w 1090712"/>
              <a:gd name="connsiteY501" fmla="*/ 784051 h 895572"/>
              <a:gd name="connsiteX502" fmla="*/ 319967 w 1090712"/>
              <a:gd name="connsiteY502" fmla="*/ 780012 h 895572"/>
              <a:gd name="connsiteX503" fmla="*/ 321868 w 1090712"/>
              <a:gd name="connsiteY503" fmla="*/ 775973 h 895572"/>
              <a:gd name="connsiteX504" fmla="*/ 323056 w 1090712"/>
              <a:gd name="connsiteY504" fmla="*/ 771221 h 895572"/>
              <a:gd name="connsiteX505" fmla="*/ 324481 w 1090712"/>
              <a:gd name="connsiteY505" fmla="*/ 765756 h 895572"/>
              <a:gd name="connsiteX506" fmla="*/ 325907 w 1090712"/>
              <a:gd name="connsiteY506" fmla="*/ 760529 h 895572"/>
              <a:gd name="connsiteX507" fmla="*/ 325907 w 1090712"/>
              <a:gd name="connsiteY507" fmla="*/ 827530 h 895572"/>
              <a:gd name="connsiteX508" fmla="*/ 310226 w 1090712"/>
              <a:gd name="connsiteY508" fmla="*/ 835608 h 895572"/>
              <a:gd name="connsiteX509" fmla="*/ 295970 w 1090712"/>
              <a:gd name="connsiteY509" fmla="*/ 843686 h 895572"/>
              <a:gd name="connsiteX510" fmla="*/ 282665 w 1090712"/>
              <a:gd name="connsiteY510" fmla="*/ 850339 h 895572"/>
              <a:gd name="connsiteX511" fmla="*/ 276488 w 1090712"/>
              <a:gd name="connsiteY511" fmla="*/ 852952 h 895572"/>
              <a:gd name="connsiteX512" fmla="*/ 270310 w 1090712"/>
              <a:gd name="connsiteY512" fmla="*/ 855565 h 895572"/>
              <a:gd name="connsiteX513" fmla="*/ 266271 w 1090712"/>
              <a:gd name="connsiteY513" fmla="*/ 857942 h 895572"/>
              <a:gd name="connsiteX514" fmla="*/ 262708 w 1090712"/>
              <a:gd name="connsiteY514" fmla="*/ 860080 h 895572"/>
              <a:gd name="connsiteX515" fmla="*/ 259619 w 1090712"/>
              <a:gd name="connsiteY515" fmla="*/ 862693 h 895572"/>
              <a:gd name="connsiteX516" fmla="*/ 256768 w 1090712"/>
              <a:gd name="connsiteY516" fmla="*/ 865544 h 895572"/>
              <a:gd name="connsiteX517" fmla="*/ 254154 w 1090712"/>
              <a:gd name="connsiteY517" fmla="*/ 868633 h 895572"/>
              <a:gd name="connsiteX518" fmla="*/ 252491 w 1090712"/>
              <a:gd name="connsiteY518" fmla="*/ 871722 h 895572"/>
              <a:gd name="connsiteX519" fmla="*/ 250590 w 1090712"/>
              <a:gd name="connsiteY519" fmla="*/ 874810 h 895572"/>
              <a:gd name="connsiteX520" fmla="*/ 249402 w 1090712"/>
              <a:gd name="connsiteY520" fmla="*/ 877899 h 895572"/>
              <a:gd name="connsiteX521" fmla="*/ 248452 w 1090712"/>
              <a:gd name="connsiteY521" fmla="*/ 880988 h 895572"/>
              <a:gd name="connsiteX522" fmla="*/ 247977 w 1090712"/>
              <a:gd name="connsiteY522" fmla="*/ 884076 h 895572"/>
              <a:gd name="connsiteX523" fmla="*/ 247977 w 1090712"/>
              <a:gd name="connsiteY523" fmla="*/ 887165 h 895572"/>
              <a:gd name="connsiteX524" fmla="*/ 248452 w 1090712"/>
              <a:gd name="connsiteY524" fmla="*/ 890016 h 895572"/>
              <a:gd name="connsiteX525" fmla="*/ 249402 w 1090712"/>
              <a:gd name="connsiteY525" fmla="*/ 893105 h 895572"/>
              <a:gd name="connsiteX526" fmla="*/ 250075 w 1090712"/>
              <a:gd name="connsiteY526" fmla="*/ 895572 h 895572"/>
              <a:gd name="connsiteX527" fmla="*/ 474750 w 1090712"/>
              <a:gd name="connsiteY527" fmla="*/ 895572 h 895572"/>
              <a:gd name="connsiteX528" fmla="*/ 475827 w 1090712"/>
              <a:gd name="connsiteY528" fmla="*/ 894768 h 895572"/>
              <a:gd name="connsiteX529" fmla="*/ 486993 w 1090712"/>
              <a:gd name="connsiteY529" fmla="*/ 882889 h 895572"/>
              <a:gd name="connsiteX530" fmla="*/ 497210 w 1090712"/>
              <a:gd name="connsiteY530" fmla="*/ 870296 h 895572"/>
              <a:gd name="connsiteX531" fmla="*/ 506951 w 1090712"/>
              <a:gd name="connsiteY531" fmla="*/ 857942 h 895572"/>
              <a:gd name="connsiteX532" fmla="*/ 515742 w 1090712"/>
              <a:gd name="connsiteY532" fmla="*/ 844636 h 895572"/>
              <a:gd name="connsiteX533" fmla="*/ 523820 w 1090712"/>
              <a:gd name="connsiteY533" fmla="*/ 831094 h 895572"/>
              <a:gd name="connsiteX534" fmla="*/ 531898 w 1090712"/>
              <a:gd name="connsiteY534" fmla="*/ 816838 h 895572"/>
              <a:gd name="connsiteX535" fmla="*/ 539026 w 1090712"/>
              <a:gd name="connsiteY535" fmla="*/ 802583 h 895572"/>
              <a:gd name="connsiteX536" fmla="*/ 545678 w 1090712"/>
              <a:gd name="connsiteY536" fmla="*/ 788565 h 895572"/>
              <a:gd name="connsiteX537" fmla="*/ 552331 w 1090712"/>
              <a:gd name="connsiteY537" fmla="*/ 773359 h 895572"/>
              <a:gd name="connsiteX538" fmla="*/ 558033 w 1090712"/>
              <a:gd name="connsiteY538" fmla="*/ 758628 h 895572"/>
              <a:gd name="connsiteX539" fmla="*/ 563498 w 1090712"/>
              <a:gd name="connsiteY539" fmla="*/ 743185 h 895572"/>
              <a:gd name="connsiteX540" fmla="*/ 568725 w 1090712"/>
              <a:gd name="connsiteY540" fmla="*/ 727979 h 895572"/>
              <a:gd name="connsiteX541" fmla="*/ 573714 w 1090712"/>
              <a:gd name="connsiteY541" fmla="*/ 712298 h 895572"/>
              <a:gd name="connsiteX542" fmla="*/ 577991 w 1090712"/>
              <a:gd name="connsiteY542" fmla="*/ 696855 h 895572"/>
              <a:gd name="connsiteX543" fmla="*/ 586544 w 1090712"/>
              <a:gd name="connsiteY543" fmla="*/ 665255 h 895572"/>
              <a:gd name="connsiteX544" fmla="*/ 586069 w 1090712"/>
              <a:gd name="connsiteY544" fmla="*/ 663117 h 895572"/>
              <a:gd name="connsiteX545" fmla="*/ 584881 w 1090712"/>
              <a:gd name="connsiteY545" fmla="*/ 660266 h 895572"/>
              <a:gd name="connsiteX546" fmla="*/ 582980 w 1090712"/>
              <a:gd name="connsiteY546" fmla="*/ 657177 h 895572"/>
              <a:gd name="connsiteX547" fmla="*/ 580367 w 1090712"/>
              <a:gd name="connsiteY547" fmla="*/ 654088 h 895572"/>
              <a:gd name="connsiteX548" fmla="*/ 574902 w 1090712"/>
              <a:gd name="connsiteY548" fmla="*/ 647911 h 895572"/>
              <a:gd name="connsiteX549" fmla="*/ 570150 w 1090712"/>
              <a:gd name="connsiteY549" fmla="*/ 642922 h 895572"/>
              <a:gd name="connsiteX550" fmla="*/ 565636 w 1090712"/>
              <a:gd name="connsiteY550" fmla="*/ 636744 h 895572"/>
              <a:gd name="connsiteX551" fmla="*/ 560647 w 1090712"/>
              <a:gd name="connsiteY551" fmla="*/ 631517 h 895572"/>
              <a:gd name="connsiteX552" fmla="*/ 555420 w 1090712"/>
              <a:gd name="connsiteY552" fmla="*/ 626053 h 895572"/>
              <a:gd name="connsiteX553" fmla="*/ 550193 w 1090712"/>
              <a:gd name="connsiteY553" fmla="*/ 621301 h 895572"/>
              <a:gd name="connsiteX554" fmla="*/ 544253 w 1090712"/>
              <a:gd name="connsiteY554" fmla="*/ 616787 h 895572"/>
              <a:gd name="connsiteX555" fmla="*/ 538075 w 1090712"/>
              <a:gd name="connsiteY555" fmla="*/ 612272 h 895572"/>
              <a:gd name="connsiteX556" fmla="*/ 525721 w 1090712"/>
              <a:gd name="connsiteY556" fmla="*/ 603719 h 895572"/>
              <a:gd name="connsiteX557" fmla="*/ 563023 w 1090712"/>
              <a:gd name="connsiteY557" fmla="*/ 619875 h 895572"/>
              <a:gd name="connsiteX558" fmla="*/ 581317 w 1090712"/>
              <a:gd name="connsiteY558" fmla="*/ 628191 h 895572"/>
              <a:gd name="connsiteX559" fmla="*/ 599374 w 1090712"/>
              <a:gd name="connsiteY559" fmla="*/ 636744 h 895572"/>
              <a:gd name="connsiteX560" fmla="*/ 607927 w 1090712"/>
              <a:gd name="connsiteY560" fmla="*/ 641259 h 895572"/>
              <a:gd name="connsiteX561" fmla="*/ 616718 w 1090712"/>
              <a:gd name="connsiteY561" fmla="*/ 646010 h 895572"/>
              <a:gd name="connsiteX562" fmla="*/ 625271 w 1090712"/>
              <a:gd name="connsiteY562" fmla="*/ 651000 h 895572"/>
              <a:gd name="connsiteX563" fmla="*/ 633349 w 1090712"/>
              <a:gd name="connsiteY563" fmla="*/ 656227 h 895572"/>
              <a:gd name="connsiteX564" fmla="*/ 641665 w 1090712"/>
              <a:gd name="connsiteY564" fmla="*/ 662167 h 895572"/>
              <a:gd name="connsiteX565" fmla="*/ 649268 w 1090712"/>
              <a:gd name="connsiteY565" fmla="*/ 668344 h 895572"/>
              <a:gd name="connsiteX566" fmla="*/ 656871 w 1090712"/>
              <a:gd name="connsiteY566" fmla="*/ 674996 h 895572"/>
              <a:gd name="connsiteX567" fmla="*/ 664474 w 1090712"/>
              <a:gd name="connsiteY567" fmla="*/ 682124 h 895572"/>
              <a:gd name="connsiteX568" fmla="*/ 668988 w 1090712"/>
              <a:gd name="connsiteY568" fmla="*/ 686163 h 895572"/>
              <a:gd name="connsiteX569" fmla="*/ 672790 w 1090712"/>
              <a:gd name="connsiteY569" fmla="*/ 690202 h 895572"/>
              <a:gd name="connsiteX570" fmla="*/ 677304 w 1090712"/>
              <a:gd name="connsiteY570" fmla="*/ 693291 h 895572"/>
              <a:gd name="connsiteX571" fmla="*/ 682293 w 1090712"/>
              <a:gd name="connsiteY571" fmla="*/ 696855 h 895572"/>
              <a:gd name="connsiteX572" fmla="*/ 686570 w 1090712"/>
              <a:gd name="connsiteY572" fmla="*/ 699468 h 895572"/>
              <a:gd name="connsiteX573" fmla="*/ 691559 w 1090712"/>
              <a:gd name="connsiteY573" fmla="*/ 702082 h 895572"/>
              <a:gd name="connsiteX574" fmla="*/ 696549 w 1090712"/>
              <a:gd name="connsiteY574" fmla="*/ 703983 h 895572"/>
              <a:gd name="connsiteX575" fmla="*/ 701300 w 1090712"/>
              <a:gd name="connsiteY575" fmla="*/ 705646 h 895572"/>
              <a:gd name="connsiteX576" fmla="*/ 706290 w 1090712"/>
              <a:gd name="connsiteY576" fmla="*/ 707071 h 895572"/>
              <a:gd name="connsiteX577" fmla="*/ 711042 w 1090712"/>
              <a:gd name="connsiteY577" fmla="*/ 708497 h 895572"/>
              <a:gd name="connsiteX578" fmla="*/ 716506 w 1090712"/>
              <a:gd name="connsiteY578" fmla="*/ 708734 h 895572"/>
              <a:gd name="connsiteX579" fmla="*/ 721258 w 1090712"/>
              <a:gd name="connsiteY579" fmla="*/ 708734 h 895572"/>
              <a:gd name="connsiteX580" fmla="*/ 726723 w 1090712"/>
              <a:gd name="connsiteY580" fmla="*/ 708497 h 895572"/>
              <a:gd name="connsiteX581" fmla="*/ 731712 w 1090712"/>
              <a:gd name="connsiteY581" fmla="*/ 707546 h 895572"/>
              <a:gd name="connsiteX582" fmla="*/ 736939 w 1090712"/>
              <a:gd name="connsiteY582" fmla="*/ 706121 h 895572"/>
              <a:gd name="connsiteX583" fmla="*/ 742166 w 1090712"/>
              <a:gd name="connsiteY583" fmla="*/ 704458 h 895572"/>
              <a:gd name="connsiteX584" fmla="*/ 749294 w 1090712"/>
              <a:gd name="connsiteY584" fmla="*/ 702082 h 895572"/>
              <a:gd name="connsiteX585" fmla="*/ 756184 w 1090712"/>
              <a:gd name="connsiteY585" fmla="*/ 699468 h 895572"/>
              <a:gd name="connsiteX586" fmla="*/ 762361 w 1090712"/>
              <a:gd name="connsiteY586" fmla="*/ 696380 h 895572"/>
              <a:gd name="connsiteX587" fmla="*/ 768063 w 1090712"/>
              <a:gd name="connsiteY587" fmla="*/ 692816 h 895572"/>
              <a:gd name="connsiteX588" fmla="*/ 773528 w 1090712"/>
              <a:gd name="connsiteY588" fmla="*/ 689252 h 895572"/>
              <a:gd name="connsiteX589" fmla="*/ 778755 w 1090712"/>
              <a:gd name="connsiteY589" fmla="*/ 684738 h 895572"/>
              <a:gd name="connsiteX590" fmla="*/ 783269 w 1090712"/>
              <a:gd name="connsiteY590" fmla="*/ 680461 h 895572"/>
              <a:gd name="connsiteX591" fmla="*/ 787308 w 1090712"/>
              <a:gd name="connsiteY591" fmla="*/ 674996 h 895572"/>
              <a:gd name="connsiteX592" fmla="*/ 791110 w 1090712"/>
              <a:gd name="connsiteY592" fmla="*/ 669769 h 895572"/>
              <a:gd name="connsiteX593" fmla="*/ 794436 w 1090712"/>
              <a:gd name="connsiteY593" fmla="*/ 663830 h 895572"/>
              <a:gd name="connsiteX594" fmla="*/ 797050 w 1090712"/>
              <a:gd name="connsiteY594" fmla="*/ 657652 h 895572"/>
              <a:gd name="connsiteX595" fmla="*/ 799188 w 1090712"/>
              <a:gd name="connsiteY595" fmla="*/ 651000 h 895572"/>
              <a:gd name="connsiteX596" fmla="*/ 801089 w 1090712"/>
              <a:gd name="connsiteY596" fmla="*/ 643872 h 895572"/>
              <a:gd name="connsiteX597" fmla="*/ 802277 w 1090712"/>
              <a:gd name="connsiteY597" fmla="*/ 636744 h 895572"/>
              <a:gd name="connsiteX598" fmla="*/ 803227 w 1090712"/>
              <a:gd name="connsiteY598" fmla="*/ 628666 h 895572"/>
              <a:gd name="connsiteX599" fmla="*/ 803227 w 1090712"/>
              <a:gd name="connsiteY599" fmla="*/ 620826 h 895572"/>
              <a:gd name="connsiteX600" fmla="*/ 801089 w 1090712"/>
              <a:gd name="connsiteY600" fmla="*/ 622489 h 895572"/>
              <a:gd name="connsiteX601" fmla="*/ 798238 w 1090712"/>
              <a:gd name="connsiteY601" fmla="*/ 623914 h 895572"/>
              <a:gd name="connsiteX602" fmla="*/ 793011 w 1090712"/>
              <a:gd name="connsiteY602" fmla="*/ 626053 h 895572"/>
              <a:gd name="connsiteX603" fmla="*/ 790397 w 1090712"/>
              <a:gd name="connsiteY603" fmla="*/ 627478 h 895572"/>
              <a:gd name="connsiteX604" fmla="*/ 788496 w 1090712"/>
              <a:gd name="connsiteY604" fmla="*/ 628191 h 895572"/>
              <a:gd name="connsiteX605" fmla="*/ 787308 w 1090712"/>
              <a:gd name="connsiteY605" fmla="*/ 630092 h 895572"/>
              <a:gd name="connsiteX606" fmla="*/ 786833 w 1090712"/>
              <a:gd name="connsiteY606" fmla="*/ 631755 h 895572"/>
              <a:gd name="connsiteX607" fmla="*/ 785408 w 1090712"/>
              <a:gd name="connsiteY607" fmla="*/ 635794 h 895572"/>
              <a:gd name="connsiteX608" fmla="*/ 784220 w 1090712"/>
              <a:gd name="connsiteY608" fmla="*/ 639833 h 895572"/>
              <a:gd name="connsiteX609" fmla="*/ 780656 w 1090712"/>
              <a:gd name="connsiteY609" fmla="*/ 646485 h 895572"/>
              <a:gd name="connsiteX610" fmla="*/ 776617 w 1090712"/>
              <a:gd name="connsiteY610" fmla="*/ 653138 h 895572"/>
              <a:gd name="connsiteX611" fmla="*/ 772103 w 1090712"/>
              <a:gd name="connsiteY611" fmla="*/ 659078 h 895572"/>
              <a:gd name="connsiteX612" fmla="*/ 762361 w 1090712"/>
              <a:gd name="connsiteY612" fmla="*/ 670007 h 895572"/>
              <a:gd name="connsiteX613" fmla="*/ 757847 w 1090712"/>
              <a:gd name="connsiteY613" fmla="*/ 675947 h 895572"/>
              <a:gd name="connsiteX614" fmla="*/ 753333 w 1090712"/>
              <a:gd name="connsiteY614" fmla="*/ 682124 h 895572"/>
              <a:gd name="connsiteX615" fmla="*/ 750244 w 1090712"/>
              <a:gd name="connsiteY615" fmla="*/ 684738 h 895572"/>
              <a:gd name="connsiteX616" fmla="*/ 747155 w 1090712"/>
              <a:gd name="connsiteY616" fmla="*/ 687589 h 895572"/>
              <a:gd name="connsiteX617" fmla="*/ 744067 w 1090712"/>
              <a:gd name="connsiteY617" fmla="*/ 689252 h 895572"/>
              <a:gd name="connsiteX618" fmla="*/ 740978 w 1090712"/>
              <a:gd name="connsiteY618" fmla="*/ 690915 h 895572"/>
              <a:gd name="connsiteX619" fmla="*/ 737890 w 1090712"/>
              <a:gd name="connsiteY619" fmla="*/ 691865 h 895572"/>
              <a:gd name="connsiteX620" fmla="*/ 734801 w 1090712"/>
              <a:gd name="connsiteY620" fmla="*/ 692816 h 895572"/>
              <a:gd name="connsiteX621" fmla="*/ 731950 w 1090712"/>
              <a:gd name="connsiteY621" fmla="*/ 693291 h 895572"/>
              <a:gd name="connsiteX622" fmla="*/ 728861 w 1090712"/>
              <a:gd name="connsiteY622" fmla="*/ 693291 h 895572"/>
              <a:gd name="connsiteX623" fmla="*/ 723634 w 1090712"/>
              <a:gd name="connsiteY623" fmla="*/ 692816 h 895572"/>
              <a:gd name="connsiteX624" fmla="*/ 718169 w 1090712"/>
              <a:gd name="connsiteY624" fmla="*/ 691390 h 895572"/>
              <a:gd name="connsiteX625" fmla="*/ 713418 w 1090712"/>
              <a:gd name="connsiteY625" fmla="*/ 689727 h 895572"/>
              <a:gd name="connsiteX626" fmla="*/ 708903 w 1090712"/>
              <a:gd name="connsiteY626" fmla="*/ 687826 h 895572"/>
              <a:gd name="connsiteX627" fmla="*/ 706765 w 1090712"/>
              <a:gd name="connsiteY627" fmla="*/ 687589 h 895572"/>
              <a:gd name="connsiteX628" fmla="*/ 704864 w 1090712"/>
              <a:gd name="connsiteY628" fmla="*/ 687114 h 895572"/>
              <a:gd name="connsiteX629" fmla="*/ 703201 w 1090712"/>
              <a:gd name="connsiteY629" fmla="*/ 686163 h 895572"/>
              <a:gd name="connsiteX630" fmla="*/ 701776 w 1090712"/>
              <a:gd name="connsiteY630" fmla="*/ 684738 h 895572"/>
              <a:gd name="connsiteX631" fmla="*/ 698687 w 1090712"/>
              <a:gd name="connsiteY631" fmla="*/ 681649 h 895572"/>
              <a:gd name="connsiteX632" fmla="*/ 696549 w 1090712"/>
              <a:gd name="connsiteY632" fmla="*/ 678085 h 895572"/>
              <a:gd name="connsiteX633" fmla="*/ 694648 w 1090712"/>
              <a:gd name="connsiteY633" fmla="*/ 673571 h 895572"/>
              <a:gd name="connsiteX634" fmla="*/ 693460 w 1090712"/>
              <a:gd name="connsiteY634" fmla="*/ 668819 h 895572"/>
              <a:gd name="connsiteX635" fmla="*/ 692510 w 1090712"/>
              <a:gd name="connsiteY635" fmla="*/ 664305 h 895572"/>
              <a:gd name="connsiteX636" fmla="*/ 692510 w 1090712"/>
              <a:gd name="connsiteY636" fmla="*/ 659790 h 895572"/>
              <a:gd name="connsiteX637" fmla="*/ 692510 w 1090712"/>
              <a:gd name="connsiteY637" fmla="*/ 647436 h 895572"/>
              <a:gd name="connsiteX638" fmla="*/ 693460 w 1090712"/>
              <a:gd name="connsiteY638" fmla="*/ 635319 h 895572"/>
              <a:gd name="connsiteX639" fmla="*/ 694173 w 1090712"/>
              <a:gd name="connsiteY639" fmla="*/ 624389 h 895572"/>
              <a:gd name="connsiteX640" fmla="*/ 695598 w 1090712"/>
              <a:gd name="connsiteY640" fmla="*/ 612748 h 895572"/>
              <a:gd name="connsiteX641" fmla="*/ 699162 w 1090712"/>
              <a:gd name="connsiteY641" fmla="*/ 591364 h 895572"/>
              <a:gd name="connsiteX642" fmla="*/ 703676 w 1090712"/>
              <a:gd name="connsiteY642" fmla="*/ 570456 h 895572"/>
              <a:gd name="connsiteX643" fmla="*/ 720070 w 1090712"/>
              <a:gd name="connsiteY643" fmla="*/ 574971 h 895572"/>
              <a:gd name="connsiteX644" fmla="*/ 736939 w 1090712"/>
              <a:gd name="connsiteY644" fmla="*/ 579247 h 895572"/>
              <a:gd name="connsiteX645" fmla="*/ 770677 w 1090712"/>
              <a:gd name="connsiteY645" fmla="*/ 589226 h 895572"/>
              <a:gd name="connsiteX646" fmla="*/ 788021 w 1090712"/>
              <a:gd name="connsiteY646" fmla="*/ 593503 h 895572"/>
              <a:gd name="connsiteX647" fmla="*/ 805365 w 1090712"/>
              <a:gd name="connsiteY647" fmla="*/ 597542 h 895572"/>
              <a:gd name="connsiteX648" fmla="*/ 823660 w 1090712"/>
              <a:gd name="connsiteY648" fmla="*/ 601106 h 895572"/>
              <a:gd name="connsiteX649" fmla="*/ 841954 w 1090712"/>
              <a:gd name="connsiteY649" fmla="*/ 603719 h 895572"/>
              <a:gd name="connsiteX650" fmla="*/ 861437 w 1090712"/>
              <a:gd name="connsiteY650" fmla="*/ 606570 h 895572"/>
              <a:gd name="connsiteX651" fmla="*/ 880682 w 1090712"/>
              <a:gd name="connsiteY651" fmla="*/ 608233 h 895572"/>
              <a:gd name="connsiteX652" fmla="*/ 889948 w 1090712"/>
              <a:gd name="connsiteY652" fmla="*/ 608708 h 895572"/>
              <a:gd name="connsiteX653" fmla="*/ 898976 w 1090712"/>
              <a:gd name="connsiteY653" fmla="*/ 608708 h 895572"/>
              <a:gd name="connsiteX654" fmla="*/ 908242 w 1090712"/>
              <a:gd name="connsiteY654" fmla="*/ 608708 h 895572"/>
              <a:gd name="connsiteX655" fmla="*/ 916795 w 1090712"/>
              <a:gd name="connsiteY655" fmla="*/ 608233 h 895572"/>
              <a:gd name="connsiteX656" fmla="*/ 925586 w 1090712"/>
              <a:gd name="connsiteY656" fmla="*/ 607283 h 895572"/>
              <a:gd name="connsiteX657" fmla="*/ 934140 w 1090712"/>
              <a:gd name="connsiteY657" fmla="*/ 606095 h 895572"/>
              <a:gd name="connsiteX658" fmla="*/ 942455 w 1090712"/>
              <a:gd name="connsiteY658" fmla="*/ 604669 h 895572"/>
              <a:gd name="connsiteX659" fmla="*/ 950533 w 1090712"/>
              <a:gd name="connsiteY659" fmla="*/ 603006 h 895572"/>
              <a:gd name="connsiteX660" fmla="*/ 958611 w 1090712"/>
              <a:gd name="connsiteY660" fmla="*/ 600630 h 895572"/>
              <a:gd name="connsiteX661" fmla="*/ 966452 w 1090712"/>
              <a:gd name="connsiteY661" fmla="*/ 598017 h 895572"/>
              <a:gd name="connsiteX662" fmla="*/ 974055 w 1090712"/>
              <a:gd name="connsiteY662" fmla="*/ 595403 h 895572"/>
              <a:gd name="connsiteX663" fmla="*/ 981658 w 1090712"/>
              <a:gd name="connsiteY663" fmla="*/ 591840 h 895572"/>
              <a:gd name="connsiteX664" fmla="*/ 989261 w 1090712"/>
              <a:gd name="connsiteY664" fmla="*/ 588276 h 895572"/>
              <a:gd name="connsiteX665" fmla="*/ 996388 w 1090712"/>
              <a:gd name="connsiteY665" fmla="*/ 584237 h 895572"/>
              <a:gd name="connsiteX666" fmla="*/ 1003041 w 1090712"/>
              <a:gd name="connsiteY666" fmla="*/ 579247 h 895572"/>
              <a:gd name="connsiteX667" fmla="*/ 1009694 w 1090712"/>
              <a:gd name="connsiteY667" fmla="*/ 574495 h 895572"/>
              <a:gd name="connsiteX668" fmla="*/ 1016346 w 1090712"/>
              <a:gd name="connsiteY668" fmla="*/ 569031 h 895572"/>
              <a:gd name="connsiteX669" fmla="*/ 1022998 w 1090712"/>
              <a:gd name="connsiteY669" fmla="*/ 562853 h 895572"/>
              <a:gd name="connsiteX670" fmla="*/ 1029176 w 1090712"/>
              <a:gd name="connsiteY670" fmla="*/ 556676 h 895572"/>
              <a:gd name="connsiteX671" fmla="*/ 1035116 w 1090712"/>
              <a:gd name="connsiteY671" fmla="*/ 549548 h 895572"/>
              <a:gd name="connsiteX672" fmla="*/ 1040818 w 1090712"/>
              <a:gd name="connsiteY672" fmla="*/ 541945 h 895572"/>
              <a:gd name="connsiteX673" fmla="*/ 1046520 w 1090712"/>
              <a:gd name="connsiteY673" fmla="*/ 534342 h 895572"/>
              <a:gd name="connsiteX674" fmla="*/ 1051985 w 1090712"/>
              <a:gd name="connsiteY674" fmla="*/ 526027 h 895572"/>
              <a:gd name="connsiteX675" fmla="*/ 1056737 w 1090712"/>
              <a:gd name="connsiteY675" fmla="*/ 516523 h 895572"/>
              <a:gd name="connsiteX676" fmla="*/ 1061726 w 1090712"/>
              <a:gd name="connsiteY676" fmla="*/ 507257 h 895572"/>
              <a:gd name="connsiteX677" fmla="*/ 1066715 w 1090712"/>
              <a:gd name="connsiteY677" fmla="*/ 497041 h 895572"/>
              <a:gd name="connsiteX678" fmla="*/ 1070992 w 1090712"/>
              <a:gd name="connsiteY678" fmla="*/ 486349 h 895572"/>
              <a:gd name="connsiteX679" fmla="*/ 1075506 w 1090712"/>
              <a:gd name="connsiteY679" fmla="*/ 475182 h 895572"/>
              <a:gd name="connsiteX680" fmla="*/ 1079070 w 1090712"/>
              <a:gd name="connsiteY680" fmla="*/ 462828 h 895572"/>
              <a:gd name="connsiteX681" fmla="*/ 1082634 w 1090712"/>
              <a:gd name="connsiteY681" fmla="*/ 449998 h 895572"/>
              <a:gd name="connsiteX682" fmla="*/ 1084772 w 1090712"/>
              <a:gd name="connsiteY682" fmla="*/ 437405 h 895572"/>
              <a:gd name="connsiteX683" fmla="*/ 1087148 w 1090712"/>
              <a:gd name="connsiteY683" fmla="*/ 425050 h 895572"/>
              <a:gd name="connsiteX684" fmla="*/ 1088811 w 1090712"/>
              <a:gd name="connsiteY684" fmla="*/ 411983 h 895572"/>
              <a:gd name="connsiteX685" fmla="*/ 1089762 w 1090712"/>
              <a:gd name="connsiteY685" fmla="*/ 399628 h 895572"/>
              <a:gd name="connsiteX686" fmla="*/ 1090712 w 1090712"/>
              <a:gd name="connsiteY686" fmla="*/ 386798 h 895572"/>
              <a:gd name="connsiteX687" fmla="*/ 1090712 w 1090712"/>
              <a:gd name="connsiteY687" fmla="*/ 373731 h 895572"/>
              <a:gd name="connsiteX688" fmla="*/ 1090712 w 1090712"/>
              <a:gd name="connsiteY688" fmla="*/ 360901 h 895572"/>
              <a:gd name="connsiteX689" fmla="*/ 1089762 w 1090712"/>
              <a:gd name="connsiteY689" fmla="*/ 348071 h 895572"/>
              <a:gd name="connsiteX690" fmla="*/ 1088811 w 1090712"/>
              <a:gd name="connsiteY690" fmla="*/ 335004 h 895572"/>
              <a:gd name="connsiteX691" fmla="*/ 1088099 w 1090712"/>
              <a:gd name="connsiteY691" fmla="*/ 321698 h 895572"/>
              <a:gd name="connsiteX692" fmla="*/ 1084772 w 1090712"/>
              <a:gd name="connsiteY692" fmla="*/ 295563 h 895572"/>
              <a:gd name="connsiteX693" fmla="*/ 1080971 w 1090712"/>
              <a:gd name="connsiteY693" fmla="*/ 268478 h 895572"/>
              <a:gd name="connsiteX694" fmla="*/ 1078595 w 1090712"/>
              <a:gd name="connsiteY694" fmla="*/ 258262 h 895572"/>
              <a:gd name="connsiteX695" fmla="*/ 1075981 w 1090712"/>
              <a:gd name="connsiteY695" fmla="*/ 248283 h 895572"/>
              <a:gd name="connsiteX696" fmla="*/ 1072417 w 1090712"/>
              <a:gd name="connsiteY696" fmla="*/ 238542 h 895572"/>
              <a:gd name="connsiteX697" fmla="*/ 1069329 w 1090712"/>
              <a:gd name="connsiteY697" fmla="*/ 229275 h 895572"/>
              <a:gd name="connsiteX698" fmla="*/ 1061251 w 1090712"/>
              <a:gd name="connsiteY698" fmla="*/ 210031 h 895572"/>
              <a:gd name="connsiteX699" fmla="*/ 1053173 w 1090712"/>
              <a:gd name="connsiteY699" fmla="*/ 190073 h 895572"/>
              <a:gd name="connsiteX700" fmla="*/ 1051034 w 1090712"/>
              <a:gd name="connsiteY700" fmla="*/ 186034 h 895572"/>
              <a:gd name="connsiteX701" fmla="*/ 1048896 w 1090712"/>
              <a:gd name="connsiteY701" fmla="*/ 182470 h 895572"/>
              <a:gd name="connsiteX702" fmla="*/ 1046045 w 1090712"/>
              <a:gd name="connsiteY702" fmla="*/ 179381 h 895572"/>
              <a:gd name="connsiteX703" fmla="*/ 1043906 w 1090712"/>
              <a:gd name="connsiteY703" fmla="*/ 176768 h 895572"/>
              <a:gd name="connsiteX704" fmla="*/ 1041293 w 1090712"/>
              <a:gd name="connsiteY704" fmla="*/ 174630 h 895572"/>
              <a:gd name="connsiteX705" fmla="*/ 1038680 w 1090712"/>
              <a:gd name="connsiteY705" fmla="*/ 172729 h 895572"/>
              <a:gd name="connsiteX706" fmla="*/ 1035828 w 1090712"/>
              <a:gd name="connsiteY706" fmla="*/ 171303 h 895572"/>
              <a:gd name="connsiteX707" fmla="*/ 1032740 w 1090712"/>
              <a:gd name="connsiteY707" fmla="*/ 170591 h 895572"/>
              <a:gd name="connsiteX708" fmla="*/ 1030126 w 1090712"/>
              <a:gd name="connsiteY708" fmla="*/ 170591 h 895572"/>
              <a:gd name="connsiteX709" fmla="*/ 1027038 w 1090712"/>
              <a:gd name="connsiteY709" fmla="*/ 170591 h 895572"/>
              <a:gd name="connsiteX710" fmla="*/ 1024424 w 1090712"/>
              <a:gd name="connsiteY710" fmla="*/ 171303 h 895572"/>
              <a:gd name="connsiteX711" fmla="*/ 1021335 w 1090712"/>
              <a:gd name="connsiteY711" fmla="*/ 172729 h 895572"/>
              <a:gd name="connsiteX712" fmla="*/ 1018247 w 1090712"/>
              <a:gd name="connsiteY712" fmla="*/ 174867 h 895572"/>
              <a:gd name="connsiteX713" fmla="*/ 1014920 w 1090712"/>
              <a:gd name="connsiteY713" fmla="*/ 177718 h 895572"/>
              <a:gd name="connsiteX714" fmla="*/ 1011832 w 1090712"/>
              <a:gd name="connsiteY714" fmla="*/ 180807 h 895572"/>
              <a:gd name="connsiteX715" fmla="*/ 1008743 w 1090712"/>
              <a:gd name="connsiteY715" fmla="*/ 184846 h 895572"/>
              <a:gd name="connsiteX716" fmla="*/ 991874 w 1090712"/>
              <a:gd name="connsiteY716" fmla="*/ 201240 h 895572"/>
              <a:gd name="connsiteX717" fmla="*/ 983321 w 1090712"/>
              <a:gd name="connsiteY717" fmla="*/ 209318 h 895572"/>
              <a:gd name="connsiteX718" fmla="*/ 974530 w 1090712"/>
              <a:gd name="connsiteY718" fmla="*/ 216683 h 895572"/>
              <a:gd name="connsiteX719" fmla="*/ 965739 w 1090712"/>
              <a:gd name="connsiteY719" fmla="*/ 223811 h 895572"/>
              <a:gd name="connsiteX720" fmla="*/ 956236 w 1090712"/>
              <a:gd name="connsiteY720" fmla="*/ 230226 h 895572"/>
              <a:gd name="connsiteX721" fmla="*/ 946494 w 1090712"/>
              <a:gd name="connsiteY721" fmla="*/ 235928 h 895572"/>
              <a:gd name="connsiteX722" fmla="*/ 941505 w 1090712"/>
              <a:gd name="connsiteY722" fmla="*/ 238066 h 895572"/>
              <a:gd name="connsiteX723" fmla="*/ 936753 w 1090712"/>
              <a:gd name="connsiteY723" fmla="*/ 240442 h 895572"/>
              <a:gd name="connsiteX724" fmla="*/ 932239 w 1090712"/>
              <a:gd name="connsiteY724" fmla="*/ 242581 h 895572"/>
              <a:gd name="connsiteX725" fmla="*/ 928675 w 1090712"/>
              <a:gd name="connsiteY725" fmla="*/ 245669 h 895572"/>
              <a:gd name="connsiteX726" fmla="*/ 925111 w 1090712"/>
              <a:gd name="connsiteY726" fmla="*/ 249233 h 895572"/>
              <a:gd name="connsiteX727" fmla="*/ 922022 w 1090712"/>
              <a:gd name="connsiteY727" fmla="*/ 252797 h 895572"/>
              <a:gd name="connsiteX728" fmla="*/ 919884 w 1090712"/>
              <a:gd name="connsiteY728" fmla="*/ 257311 h 895572"/>
              <a:gd name="connsiteX729" fmla="*/ 918934 w 1090712"/>
              <a:gd name="connsiteY729" fmla="*/ 259925 h 895572"/>
              <a:gd name="connsiteX730" fmla="*/ 918459 w 1090712"/>
              <a:gd name="connsiteY730" fmla="*/ 262538 h 895572"/>
              <a:gd name="connsiteX731" fmla="*/ 918459 w 1090712"/>
              <a:gd name="connsiteY731" fmla="*/ 265389 h 895572"/>
              <a:gd name="connsiteX732" fmla="*/ 918459 w 1090712"/>
              <a:gd name="connsiteY732" fmla="*/ 268003 h 895572"/>
              <a:gd name="connsiteX733" fmla="*/ 918934 w 1090712"/>
              <a:gd name="connsiteY733" fmla="*/ 271091 h 895572"/>
              <a:gd name="connsiteX734" fmla="*/ 919884 w 1090712"/>
              <a:gd name="connsiteY734" fmla="*/ 274180 h 895572"/>
              <a:gd name="connsiteX735" fmla="*/ 921547 w 1090712"/>
              <a:gd name="connsiteY735" fmla="*/ 282258 h 895572"/>
              <a:gd name="connsiteX736" fmla="*/ 922973 w 1090712"/>
              <a:gd name="connsiteY736" fmla="*/ 290574 h 895572"/>
              <a:gd name="connsiteX737" fmla="*/ 923923 w 1090712"/>
              <a:gd name="connsiteY737" fmla="*/ 299127 h 895572"/>
              <a:gd name="connsiteX738" fmla="*/ 924161 w 1090712"/>
              <a:gd name="connsiteY738" fmla="*/ 307443 h 895572"/>
              <a:gd name="connsiteX739" fmla="*/ 924161 w 1090712"/>
              <a:gd name="connsiteY739" fmla="*/ 315996 h 895572"/>
              <a:gd name="connsiteX740" fmla="*/ 923923 w 1090712"/>
              <a:gd name="connsiteY740" fmla="*/ 324550 h 895572"/>
              <a:gd name="connsiteX741" fmla="*/ 922973 w 1090712"/>
              <a:gd name="connsiteY741" fmla="*/ 332865 h 895572"/>
              <a:gd name="connsiteX742" fmla="*/ 922022 w 1090712"/>
              <a:gd name="connsiteY742" fmla="*/ 340943 h 895572"/>
              <a:gd name="connsiteX743" fmla="*/ 920597 w 1090712"/>
              <a:gd name="connsiteY743" fmla="*/ 349259 h 895572"/>
              <a:gd name="connsiteX744" fmla="*/ 918934 w 1090712"/>
              <a:gd name="connsiteY744" fmla="*/ 357812 h 895572"/>
              <a:gd name="connsiteX745" fmla="*/ 914420 w 1090712"/>
              <a:gd name="connsiteY745" fmla="*/ 374681 h 895572"/>
              <a:gd name="connsiteX746" fmla="*/ 909192 w 1090712"/>
              <a:gd name="connsiteY746" fmla="*/ 391075 h 895572"/>
              <a:gd name="connsiteX747" fmla="*/ 903253 w 1090712"/>
              <a:gd name="connsiteY747" fmla="*/ 408182 h 895572"/>
              <a:gd name="connsiteX748" fmla="*/ 903253 w 1090712"/>
              <a:gd name="connsiteY748" fmla="*/ 397965 h 895572"/>
              <a:gd name="connsiteX749" fmla="*/ 904203 w 1090712"/>
              <a:gd name="connsiteY749" fmla="*/ 387274 h 895572"/>
              <a:gd name="connsiteX750" fmla="*/ 906104 w 1090712"/>
              <a:gd name="connsiteY750" fmla="*/ 367078 h 895572"/>
              <a:gd name="connsiteX751" fmla="*/ 907767 w 1090712"/>
              <a:gd name="connsiteY751" fmla="*/ 347596 h 895572"/>
              <a:gd name="connsiteX752" fmla="*/ 908717 w 1090712"/>
              <a:gd name="connsiteY752" fmla="*/ 338567 h 895572"/>
              <a:gd name="connsiteX753" fmla="*/ 908717 w 1090712"/>
              <a:gd name="connsiteY753" fmla="*/ 329777 h 895572"/>
              <a:gd name="connsiteX754" fmla="*/ 908717 w 1090712"/>
              <a:gd name="connsiteY754" fmla="*/ 325738 h 895572"/>
              <a:gd name="connsiteX755" fmla="*/ 907767 w 1090712"/>
              <a:gd name="connsiteY755" fmla="*/ 322649 h 895572"/>
              <a:gd name="connsiteX756" fmla="*/ 906817 w 1090712"/>
              <a:gd name="connsiteY756" fmla="*/ 319560 h 895572"/>
              <a:gd name="connsiteX757" fmla="*/ 905154 w 1090712"/>
              <a:gd name="connsiteY757" fmla="*/ 316471 h 895572"/>
              <a:gd name="connsiteX758" fmla="*/ 903728 w 1090712"/>
              <a:gd name="connsiteY758" fmla="*/ 314096 h 895572"/>
              <a:gd name="connsiteX759" fmla="*/ 901590 w 1090712"/>
              <a:gd name="connsiteY759" fmla="*/ 311957 h 895572"/>
              <a:gd name="connsiteX760" fmla="*/ 897551 w 1090712"/>
              <a:gd name="connsiteY760" fmla="*/ 307443 h 895572"/>
              <a:gd name="connsiteX761" fmla="*/ 895412 w 1090712"/>
              <a:gd name="connsiteY761" fmla="*/ 309344 h 895572"/>
              <a:gd name="connsiteX762" fmla="*/ 892561 w 1090712"/>
              <a:gd name="connsiteY762" fmla="*/ 310769 h 895572"/>
              <a:gd name="connsiteX763" fmla="*/ 887334 w 1090712"/>
              <a:gd name="connsiteY763" fmla="*/ 313383 h 895572"/>
              <a:gd name="connsiteX764" fmla="*/ 884721 w 1090712"/>
              <a:gd name="connsiteY764" fmla="*/ 314096 h 895572"/>
              <a:gd name="connsiteX765" fmla="*/ 882820 w 1090712"/>
              <a:gd name="connsiteY765" fmla="*/ 315521 h 895572"/>
              <a:gd name="connsiteX766" fmla="*/ 881632 w 1090712"/>
              <a:gd name="connsiteY766" fmla="*/ 316947 h 895572"/>
              <a:gd name="connsiteX767" fmla="*/ 881157 w 1090712"/>
              <a:gd name="connsiteY767" fmla="*/ 318610 h 895572"/>
              <a:gd name="connsiteX768" fmla="*/ 872604 w 1090712"/>
              <a:gd name="connsiteY768" fmla="*/ 331915 h 895572"/>
              <a:gd name="connsiteX769" fmla="*/ 864288 w 1090712"/>
              <a:gd name="connsiteY769" fmla="*/ 346646 h 895572"/>
              <a:gd name="connsiteX770" fmla="*/ 856210 w 1090712"/>
              <a:gd name="connsiteY770" fmla="*/ 361376 h 895572"/>
              <a:gd name="connsiteX771" fmla="*/ 847656 w 1090712"/>
              <a:gd name="connsiteY771" fmla="*/ 374681 h 895572"/>
              <a:gd name="connsiteX772" fmla="*/ 841954 w 1090712"/>
              <a:gd name="connsiteY772" fmla="*/ 374681 h 895572"/>
              <a:gd name="connsiteX773" fmla="*/ 846468 w 1090712"/>
              <a:gd name="connsiteY773" fmla="*/ 357812 h 895572"/>
              <a:gd name="connsiteX774" fmla="*/ 850508 w 1090712"/>
              <a:gd name="connsiteY774" fmla="*/ 339518 h 895572"/>
              <a:gd name="connsiteX775" fmla="*/ 854784 w 1090712"/>
              <a:gd name="connsiteY775" fmla="*/ 319560 h 895572"/>
              <a:gd name="connsiteX776" fmla="*/ 858823 w 1090712"/>
              <a:gd name="connsiteY776" fmla="*/ 296514 h 895572"/>
              <a:gd name="connsiteX777" fmla="*/ 848132 w 1090712"/>
              <a:gd name="connsiteY777" fmla="*/ 303879 h 895572"/>
              <a:gd name="connsiteX778" fmla="*/ 840054 w 1090712"/>
              <a:gd name="connsiteY778" fmla="*/ 310294 h 895572"/>
              <a:gd name="connsiteX779" fmla="*/ 833163 w 1090712"/>
              <a:gd name="connsiteY779" fmla="*/ 316947 h 895572"/>
              <a:gd name="connsiteX780" fmla="*/ 825560 w 1090712"/>
              <a:gd name="connsiteY780" fmla="*/ 324550 h 895572"/>
              <a:gd name="connsiteX781" fmla="*/ 823185 w 1090712"/>
              <a:gd name="connsiteY781" fmla="*/ 326688 h 895572"/>
              <a:gd name="connsiteX782" fmla="*/ 821522 w 1090712"/>
              <a:gd name="connsiteY782" fmla="*/ 329301 h 895572"/>
              <a:gd name="connsiteX783" fmla="*/ 817007 w 1090712"/>
              <a:gd name="connsiteY783" fmla="*/ 335954 h 895572"/>
              <a:gd name="connsiteX784" fmla="*/ 812968 w 1090712"/>
              <a:gd name="connsiteY784" fmla="*/ 344032 h 895572"/>
              <a:gd name="connsiteX785" fmla="*/ 808929 w 1090712"/>
              <a:gd name="connsiteY785" fmla="*/ 352585 h 895572"/>
              <a:gd name="connsiteX786" fmla="*/ 809880 w 1090712"/>
              <a:gd name="connsiteY786" fmla="*/ 343557 h 895572"/>
              <a:gd name="connsiteX787" fmla="*/ 811305 w 1090712"/>
              <a:gd name="connsiteY787" fmla="*/ 335479 h 895572"/>
              <a:gd name="connsiteX788" fmla="*/ 812493 w 1090712"/>
              <a:gd name="connsiteY788" fmla="*/ 328826 h 895572"/>
              <a:gd name="connsiteX789" fmla="*/ 814394 w 1090712"/>
              <a:gd name="connsiteY789" fmla="*/ 323124 h 895572"/>
              <a:gd name="connsiteX790" fmla="*/ 816532 w 1090712"/>
              <a:gd name="connsiteY790" fmla="*/ 317659 h 895572"/>
              <a:gd name="connsiteX791" fmla="*/ 819146 w 1090712"/>
              <a:gd name="connsiteY791" fmla="*/ 313383 h 895572"/>
              <a:gd name="connsiteX792" fmla="*/ 822709 w 1090712"/>
              <a:gd name="connsiteY792" fmla="*/ 309344 h 895572"/>
              <a:gd name="connsiteX793" fmla="*/ 826748 w 1090712"/>
              <a:gd name="connsiteY793" fmla="*/ 306255 h 895572"/>
              <a:gd name="connsiteX794" fmla="*/ 832213 w 1090712"/>
              <a:gd name="connsiteY794" fmla="*/ 303166 h 895572"/>
              <a:gd name="connsiteX795" fmla="*/ 838390 w 1090712"/>
              <a:gd name="connsiteY795" fmla="*/ 300315 h 895572"/>
              <a:gd name="connsiteX796" fmla="*/ 845518 w 1090712"/>
              <a:gd name="connsiteY796" fmla="*/ 298177 h 895572"/>
              <a:gd name="connsiteX797" fmla="*/ 854071 w 1090712"/>
              <a:gd name="connsiteY797" fmla="*/ 295563 h 895572"/>
              <a:gd name="connsiteX798" fmla="*/ 875217 w 1090712"/>
              <a:gd name="connsiteY798" fmla="*/ 290574 h 895572"/>
              <a:gd name="connsiteX799" fmla="*/ 903253 w 1090712"/>
              <a:gd name="connsiteY799" fmla="*/ 285347 h 895572"/>
              <a:gd name="connsiteX800" fmla="*/ 886384 w 1090712"/>
              <a:gd name="connsiteY800" fmla="*/ 268478 h 895572"/>
              <a:gd name="connsiteX801" fmla="*/ 879731 w 1090712"/>
              <a:gd name="connsiteY801" fmla="*/ 270141 h 895572"/>
              <a:gd name="connsiteX802" fmla="*/ 873079 w 1090712"/>
              <a:gd name="connsiteY802" fmla="*/ 271091 h 895572"/>
              <a:gd name="connsiteX803" fmla="*/ 867376 w 1090712"/>
              <a:gd name="connsiteY803" fmla="*/ 271567 h 895572"/>
              <a:gd name="connsiteX804" fmla="*/ 862387 w 1090712"/>
              <a:gd name="connsiteY804" fmla="*/ 271091 h 895572"/>
              <a:gd name="connsiteX805" fmla="*/ 857398 w 1090712"/>
              <a:gd name="connsiteY805" fmla="*/ 269666 h 895572"/>
              <a:gd name="connsiteX806" fmla="*/ 853596 w 1090712"/>
              <a:gd name="connsiteY806" fmla="*/ 268003 h 895572"/>
              <a:gd name="connsiteX807" fmla="*/ 849557 w 1090712"/>
              <a:gd name="connsiteY807" fmla="*/ 265627 h 895572"/>
              <a:gd name="connsiteX808" fmla="*/ 846468 w 1090712"/>
              <a:gd name="connsiteY808" fmla="*/ 262538 h 895572"/>
              <a:gd name="connsiteX809" fmla="*/ 843380 w 1090712"/>
              <a:gd name="connsiteY809" fmla="*/ 259450 h 895572"/>
              <a:gd name="connsiteX810" fmla="*/ 840529 w 1090712"/>
              <a:gd name="connsiteY810" fmla="*/ 255411 h 895572"/>
              <a:gd name="connsiteX811" fmla="*/ 838390 w 1090712"/>
              <a:gd name="connsiteY811" fmla="*/ 251134 h 895572"/>
              <a:gd name="connsiteX812" fmla="*/ 836490 w 1090712"/>
              <a:gd name="connsiteY812" fmla="*/ 246620 h 895572"/>
              <a:gd name="connsiteX813" fmla="*/ 834827 w 1090712"/>
              <a:gd name="connsiteY813" fmla="*/ 241155 h 895572"/>
              <a:gd name="connsiteX814" fmla="*/ 833401 w 1090712"/>
              <a:gd name="connsiteY814" fmla="*/ 235453 h 895572"/>
              <a:gd name="connsiteX815" fmla="*/ 831263 w 1090712"/>
              <a:gd name="connsiteY815" fmla="*/ 223336 h 895572"/>
              <a:gd name="connsiteX816" fmla="*/ 897551 w 1090712"/>
              <a:gd name="connsiteY816" fmla="*/ 206942 h 895572"/>
              <a:gd name="connsiteX817" fmla="*/ 888997 w 1090712"/>
              <a:gd name="connsiteY817" fmla="*/ 194112 h 895572"/>
              <a:gd name="connsiteX818" fmla="*/ 880682 w 1090712"/>
              <a:gd name="connsiteY818" fmla="*/ 181282 h 895572"/>
              <a:gd name="connsiteX819" fmla="*/ 871416 w 1090712"/>
              <a:gd name="connsiteY819" fmla="*/ 168690 h 895572"/>
              <a:gd name="connsiteX820" fmla="*/ 866901 w 1090712"/>
              <a:gd name="connsiteY820" fmla="*/ 162988 h 895572"/>
              <a:gd name="connsiteX821" fmla="*/ 861437 w 1090712"/>
              <a:gd name="connsiteY821" fmla="*/ 157048 h 895572"/>
              <a:gd name="connsiteX822" fmla="*/ 856210 w 1090712"/>
              <a:gd name="connsiteY822" fmla="*/ 151821 h 895572"/>
              <a:gd name="connsiteX823" fmla="*/ 850745 w 1090712"/>
              <a:gd name="connsiteY823" fmla="*/ 146831 h 895572"/>
              <a:gd name="connsiteX824" fmla="*/ 844568 w 1090712"/>
              <a:gd name="connsiteY824" fmla="*/ 142555 h 895572"/>
              <a:gd name="connsiteX825" fmla="*/ 838390 w 1090712"/>
              <a:gd name="connsiteY825" fmla="*/ 138516 h 895572"/>
              <a:gd name="connsiteX826" fmla="*/ 831738 w 1090712"/>
              <a:gd name="connsiteY826" fmla="*/ 134952 h 895572"/>
              <a:gd name="connsiteX827" fmla="*/ 824610 w 1090712"/>
              <a:gd name="connsiteY827" fmla="*/ 132338 h 895572"/>
              <a:gd name="connsiteX828" fmla="*/ 817007 w 1090712"/>
              <a:gd name="connsiteY828" fmla="*/ 129963 h 895572"/>
              <a:gd name="connsiteX829" fmla="*/ 808929 w 1090712"/>
              <a:gd name="connsiteY829" fmla="*/ 128774 h 895572"/>
              <a:gd name="connsiteX830" fmla="*/ 806791 w 1090712"/>
              <a:gd name="connsiteY830" fmla="*/ 128299 h 895572"/>
              <a:gd name="connsiteX831" fmla="*/ 804652 w 1090712"/>
              <a:gd name="connsiteY831" fmla="*/ 127824 h 895572"/>
              <a:gd name="connsiteX832" fmla="*/ 802752 w 1090712"/>
              <a:gd name="connsiteY832" fmla="*/ 126399 h 895572"/>
              <a:gd name="connsiteX833" fmla="*/ 801089 w 1090712"/>
              <a:gd name="connsiteY833" fmla="*/ 125211 h 895572"/>
              <a:gd name="connsiteX834" fmla="*/ 799663 w 1090712"/>
              <a:gd name="connsiteY834" fmla="*/ 123310 h 895572"/>
              <a:gd name="connsiteX835" fmla="*/ 798713 w 1090712"/>
              <a:gd name="connsiteY835" fmla="*/ 121647 h 895572"/>
              <a:gd name="connsiteX836" fmla="*/ 798000 w 1090712"/>
              <a:gd name="connsiteY836" fmla="*/ 119271 h 895572"/>
              <a:gd name="connsiteX837" fmla="*/ 798000 w 1090712"/>
              <a:gd name="connsiteY837" fmla="*/ 117608 h 895572"/>
              <a:gd name="connsiteX838" fmla="*/ 785408 w 1090712"/>
              <a:gd name="connsiteY838" fmla="*/ 106916 h 895572"/>
              <a:gd name="connsiteX839" fmla="*/ 772578 w 1090712"/>
              <a:gd name="connsiteY839" fmla="*/ 95749 h 895572"/>
              <a:gd name="connsiteX840" fmla="*/ 747155 w 1090712"/>
              <a:gd name="connsiteY840" fmla="*/ 72703 h 895572"/>
              <a:gd name="connsiteX841" fmla="*/ 733850 w 1090712"/>
              <a:gd name="connsiteY841" fmla="*/ 61061 h 895572"/>
              <a:gd name="connsiteX842" fmla="*/ 720545 w 1090712"/>
              <a:gd name="connsiteY842" fmla="*/ 49894 h 895572"/>
              <a:gd name="connsiteX843" fmla="*/ 706765 w 1090712"/>
              <a:gd name="connsiteY843" fmla="*/ 38728 h 895572"/>
              <a:gd name="connsiteX844" fmla="*/ 692510 w 1090712"/>
              <a:gd name="connsiteY844" fmla="*/ 28036 h 895572"/>
              <a:gd name="connsiteX845" fmla="*/ 679442 w 1090712"/>
              <a:gd name="connsiteY845" fmla="*/ 21859 h 895572"/>
              <a:gd name="connsiteX846" fmla="*/ 666137 w 1090712"/>
              <a:gd name="connsiteY846" fmla="*/ 16632 h 895572"/>
              <a:gd name="connsiteX847" fmla="*/ 652832 w 1090712"/>
              <a:gd name="connsiteY847" fmla="*/ 11642 h 895572"/>
              <a:gd name="connsiteX848" fmla="*/ 639527 w 1090712"/>
              <a:gd name="connsiteY848" fmla="*/ 7603 h 895572"/>
              <a:gd name="connsiteX849" fmla="*/ 626222 w 1090712"/>
              <a:gd name="connsiteY849" fmla="*/ 4514 h 895572"/>
              <a:gd name="connsiteX850" fmla="*/ 612917 w 1090712"/>
              <a:gd name="connsiteY850" fmla="*/ 1901 h 895572"/>
              <a:gd name="connsiteX851" fmla="*/ 599374 w 1090712"/>
              <a:gd name="connsiteY851" fmla="*/ 475 h 895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Lst>
            <a:rect l="l" t="t" r="r" b="b"/>
            <a:pathLst>
              <a:path w="1090712" h="895572">
                <a:moveTo>
                  <a:pt x="603413" y="721327"/>
                </a:moveTo>
                <a:lnTo>
                  <a:pt x="578466" y="770746"/>
                </a:lnTo>
                <a:lnTo>
                  <a:pt x="553519" y="818264"/>
                </a:lnTo>
                <a:lnTo>
                  <a:pt x="528334" y="865069"/>
                </a:lnTo>
                <a:lnTo>
                  <a:pt x="511825" y="895572"/>
                </a:lnTo>
                <a:lnTo>
                  <a:pt x="624528" y="895572"/>
                </a:lnTo>
                <a:lnTo>
                  <a:pt x="624796" y="894768"/>
                </a:lnTo>
                <a:lnTo>
                  <a:pt x="625271" y="891679"/>
                </a:lnTo>
                <a:lnTo>
                  <a:pt x="625747" y="889066"/>
                </a:lnTo>
                <a:lnTo>
                  <a:pt x="625747" y="860555"/>
                </a:lnTo>
                <a:lnTo>
                  <a:pt x="624796" y="833945"/>
                </a:lnTo>
                <a:lnTo>
                  <a:pt x="624321" y="820877"/>
                </a:lnTo>
                <a:lnTo>
                  <a:pt x="623608" y="808047"/>
                </a:lnTo>
                <a:lnTo>
                  <a:pt x="621708" y="795218"/>
                </a:lnTo>
                <a:lnTo>
                  <a:pt x="620044" y="782625"/>
                </a:lnTo>
                <a:lnTo>
                  <a:pt x="616005" y="766707"/>
                </a:lnTo>
                <a:lnTo>
                  <a:pt x="611966" y="751976"/>
                </a:lnTo>
                <a:lnTo>
                  <a:pt x="607452" y="737245"/>
                </a:lnTo>
                <a:close/>
                <a:moveTo>
                  <a:pt x="698212" y="530778"/>
                </a:moveTo>
                <a:lnTo>
                  <a:pt x="693460" y="534818"/>
                </a:lnTo>
                <a:lnTo>
                  <a:pt x="688471" y="538857"/>
                </a:lnTo>
                <a:lnTo>
                  <a:pt x="678254" y="546935"/>
                </a:lnTo>
                <a:lnTo>
                  <a:pt x="669226" y="553587"/>
                </a:lnTo>
                <a:lnTo>
                  <a:pt x="663048" y="558814"/>
                </a:lnTo>
                <a:lnTo>
                  <a:pt x="663048" y="556676"/>
                </a:lnTo>
                <a:lnTo>
                  <a:pt x="663523" y="554538"/>
                </a:lnTo>
                <a:lnTo>
                  <a:pt x="665424" y="550498"/>
                </a:lnTo>
                <a:lnTo>
                  <a:pt x="668038" y="546459"/>
                </a:lnTo>
                <a:lnTo>
                  <a:pt x="671602" y="542420"/>
                </a:lnTo>
                <a:lnTo>
                  <a:pt x="676829" y="538857"/>
                </a:lnTo>
                <a:lnTo>
                  <a:pt x="682768" y="535768"/>
                </a:lnTo>
                <a:lnTo>
                  <a:pt x="689896" y="533154"/>
                </a:lnTo>
                <a:close/>
                <a:moveTo>
                  <a:pt x="654257" y="302216"/>
                </a:moveTo>
                <a:lnTo>
                  <a:pt x="651882" y="302691"/>
                </a:lnTo>
                <a:lnTo>
                  <a:pt x="649268" y="303166"/>
                </a:lnTo>
                <a:lnTo>
                  <a:pt x="647130" y="304354"/>
                </a:lnTo>
                <a:lnTo>
                  <a:pt x="644516" y="306255"/>
                </a:lnTo>
                <a:lnTo>
                  <a:pt x="642140" y="307918"/>
                </a:lnTo>
                <a:lnTo>
                  <a:pt x="640002" y="310294"/>
                </a:lnTo>
                <a:lnTo>
                  <a:pt x="638101" y="312432"/>
                </a:lnTo>
                <a:lnTo>
                  <a:pt x="636913" y="314571"/>
                </a:lnTo>
                <a:lnTo>
                  <a:pt x="635963" y="316946"/>
                </a:lnTo>
                <a:lnTo>
                  <a:pt x="635963" y="319085"/>
                </a:lnTo>
                <a:lnTo>
                  <a:pt x="636913" y="321223"/>
                </a:lnTo>
                <a:lnTo>
                  <a:pt x="637626" y="324074"/>
                </a:lnTo>
                <a:lnTo>
                  <a:pt x="639527" y="326688"/>
                </a:lnTo>
                <a:lnTo>
                  <a:pt x="643091" y="331677"/>
                </a:lnTo>
                <a:lnTo>
                  <a:pt x="647130" y="335954"/>
                </a:lnTo>
                <a:lnTo>
                  <a:pt x="655920" y="330727"/>
                </a:lnTo>
                <a:lnTo>
                  <a:pt x="663999" y="324787"/>
                </a:lnTo>
                <a:lnTo>
                  <a:pt x="679917" y="313383"/>
                </a:lnTo>
                <a:lnTo>
                  <a:pt x="676354" y="311007"/>
                </a:lnTo>
                <a:lnTo>
                  <a:pt x="672790" y="308393"/>
                </a:lnTo>
                <a:lnTo>
                  <a:pt x="668988" y="306730"/>
                </a:lnTo>
                <a:lnTo>
                  <a:pt x="664949" y="304829"/>
                </a:lnTo>
                <a:lnTo>
                  <a:pt x="660910" y="303641"/>
                </a:lnTo>
                <a:lnTo>
                  <a:pt x="657346" y="302691"/>
                </a:lnTo>
                <a:close/>
                <a:moveTo>
                  <a:pt x="696549" y="252322"/>
                </a:moveTo>
                <a:lnTo>
                  <a:pt x="696786" y="259925"/>
                </a:lnTo>
                <a:lnTo>
                  <a:pt x="698212" y="266102"/>
                </a:lnTo>
                <a:lnTo>
                  <a:pt x="700113" y="272042"/>
                </a:lnTo>
                <a:lnTo>
                  <a:pt x="701776" y="276794"/>
                </a:lnTo>
                <a:lnTo>
                  <a:pt x="704389" y="280833"/>
                </a:lnTo>
                <a:lnTo>
                  <a:pt x="707240" y="284397"/>
                </a:lnTo>
                <a:lnTo>
                  <a:pt x="710329" y="287010"/>
                </a:lnTo>
                <a:lnTo>
                  <a:pt x="713418" y="289624"/>
                </a:lnTo>
                <a:lnTo>
                  <a:pt x="716506" y="291524"/>
                </a:lnTo>
                <a:lnTo>
                  <a:pt x="719595" y="293187"/>
                </a:lnTo>
                <a:lnTo>
                  <a:pt x="725772" y="295088"/>
                </a:lnTo>
                <a:lnTo>
                  <a:pt x="731237" y="296514"/>
                </a:lnTo>
                <a:lnTo>
                  <a:pt x="734801" y="296751"/>
                </a:lnTo>
                <a:lnTo>
                  <a:pt x="722209" y="303879"/>
                </a:lnTo>
                <a:lnTo>
                  <a:pt x="710804" y="311007"/>
                </a:lnTo>
                <a:lnTo>
                  <a:pt x="688471" y="324787"/>
                </a:lnTo>
                <a:lnTo>
                  <a:pt x="667563" y="339043"/>
                </a:lnTo>
                <a:lnTo>
                  <a:pt x="646179" y="352823"/>
                </a:lnTo>
                <a:lnTo>
                  <a:pt x="620044" y="313383"/>
                </a:lnTo>
                <a:lnTo>
                  <a:pt x="617668" y="312432"/>
                </a:lnTo>
                <a:lnTo>
                  <a:pt x="615055" y="312432"/>
                </a:lnTo>
                <a:lnTo>
                  <a:pt x="612441" y="313383"/>
                </a:lnTo>
                <a:lnTo>
                  <a:pt x="609353" y="314095"/>
                </a:lnTo>
                <a:lnTo>
                  <a:pt x="602938" y="316946"/>
                </a:lnTo>
                <a:lnTo>
                  <a:pt x="599849" y="317659"/>
                </a:lnTo>
                <a:lnTo>
                  <a:pt x="596760" y="318610"/>
                </a:lnTo>
                <a:lnTo>
                  <a:pt x="607927" y="307205"/>
                </a:lnTo>
                <a:lnTo>
                  <a:pt x="618619" y="295088"/>
                </a:lnTo>
                <a:lnTo>
                  <a:pt x="623846" y="289386"/>
                </a:lnTo>
                <a:lnTo>
                  <a:pt x="629786" y="283921"/>
                </a:lnTo>
                <a:lnTo>
                  <a:pt x="635963" y="278694"/>
                </a:lnTo>
                <a:lnTo>
                  <a:pt x="642140" y="273705"/>
                </a:lnTo>
                <a:lnTo>
                  <a:pt x="648793" y="269191"/>
                </a:lnTo>
                <a:lnTo>
                  <a:pt x="655446" y="265627"/>
                </a:lnTo>
                <a:lnTo>
                  <a:pt x="662098" y="263013"/>
                </a:lnTo>
                <a:lnTo>
                  <a:pt x="668988" y="260400"/>
                </a:lnTo>
                <a:lnTo>
                  <a:pt x="682768" y="256361"/>
                </a:lnTo>
                <a:close/>
                <a:moveTo>
                  <a:pt x="1030602" y="200289"/>
                </a:moveTo>
                <a:lnTo>
                  <a:pt x="1027513" y="207892"/>
                </a:lnTo>
                <a:lnTo>
                  <a:pt x="1023949" y="214545"/>
                </a:lnTo>
                <a:lnTo>
                  <a:pt x="1019910" y="221197"/>
                </a:lnTo>
                <a:lnTo>
                  <a:pt x="1015396" y="226899"/>
                </a:lnTo>
                <a:lnTo>
                  <a:pt x="1011119" y="232839"/>
                </a:lnTo>
                <a:lnTo>
                  <a:pt x="1006130" y="237591"/>
                </a:lnTo>
                <a:lnTo>
                  <a:pt x="1001140" y="242105"/>
                </a:lnTo>
                <a:lnTo>
                  <a:pt x="996388" y="246144"/>
                </a:lnTo>
                <a:lnTo>
                  <a:pt x="990924" y="249708"/>
                </a:lnTo>
                <a:lnTo>
                  <a:pt x="985697" y="252797"/>
                </a:lnTo>
                <a:lnTo>
                  <a:pt x="980232" y="254935"/>
                </a:lnTo>
                <a:lnTo>
                  <a:pt x="975005" y="256836"/>
                </a:lnTo>
                <a:lnTo>
                  <a:pt x="969541" y="258262"/>
                </a:lnTo>
                <a:lnTo>
                  <a:pt x="963839" y="258499"/>
                </a:lnTo>
                <a:lnTo>
                  <a:pt x="958612" y="258499"/>
                </a:lnTo>
                <a:lnTo>
                  <a:pt x="953622" y="257786"/>
                </a:lnTo>
                <a:lnTo>
                  <a:pt x="970966" y="244006"/>
                </a:lnTo>
                <a:lnTo>
                  <a:pt x="990211" y="229275"/>
                </a:lnTo>
                <a:lnTo>
                  <a:pt x="1010169" y="214069"/>
                </a:lnTo>
                <a:lnTo>
                  <a:pt x="1020385" y="206942"/>
                </a:lnTo>
                <a:close/>
                <a:moveTo>
                  <a:pt x="389581" y="176768"/>
                </a:moveTo>
                <a:lnTo>
                  <a:pt x="397422" y="177243"/>
                </a:lnTo>
                <a:lnTo>
                  <a:pt x="414766" y="178906"/>
                </a:lnTo>
                <a:lnTo>
                  <a:pt x="405500" y="179856"/>
                </a:lnTo>
                <a:lnTo>
                  <a:pt x="396946" y="181995"/>
                </a:lnTo>
                <a:lnTo>
                  <a:pt x="389581" y="184371"/>
                </a:lnTo>
                <a:lnTo>
                  <a:pt x="381978" y="186984"/>
                </a:lnTo>
                <a:lnTo>
                  <a:pt x="375326" y="190548"/>
                </a:lnTo>
                <a:lnTo>
                  <a:pt x="368911" y="194112"/>
                </a:lnTo>
                <a:lnTo>
                  <a:pt x="363208" y="198626"/>
                </a:lnTo>
                <a:lnTo>
                  <a:pt x="357981" y="202903"/>
                </a:lnTo>
                <a:lnTo>
                  <a:pt x="352517" y="208367"/>
                </a:lnTo>
                <a:lnTo>
                  <a:pt x="348003" y="214070"/>
                </a:lnTo>
                <a:lnTo>
                  <a:pt x="343726" y="220247"/>
                </a:lnTo>
                <a:lnTo>
                  <a:pt x="339687" y="226662"/>
                </a:lnTo>
                <a:lnTo>
                  <a:pt x="335648" y="233790"/>
                </a:lnTo>
                <a:lnTo>
                  <a:pt x="332559" y="240917"/>
                </a:lnTo>
                <a:lnTo>
                  <a:pt x="328995" y="248758"/>
                </a:lnTo>
                <a:lnTo>
                  <a:pt x="325907" y="256836"/>
                </a:lnTo>
                <a:lnTo>
                  <a:pt x="325432" y="252797"/>
                </a:lnTo>
                <a:lnTo>
                  <a:pt x="324956" y="248283"/>
                </a:lnTo>
                <a:lnTo>
                  <a:pt x="323056" y="239492"/>
                </a:lnTo>
                <a:lnTo>
                  <a:pt x="320917" y="229275"/>
                </a:lnTo>
                <a:lnTo>
                  <a:pt x="320442" y="223811"/>
                </a:lnTo>
                <a:lnTo>
                  <a:pt x="319967" y="217633"/>
                </a:lnTo>
                <a:lnTo>
                  <a:pt x="314740" y="217633"/>
                </a:lnTo>
                <a:lnTo>
                  <a:pt x="302148" y="243056"/>
                </a:lnTo>
                <a:lnTo>
                  <a:pt x="289793" y="267528"/>
                </a:lnTo>
                <a:lnTo>
                  <a:pt x="277438" y="291049"/>
                </a:lnTo>
                <a:lnTo>
                  <a:pt x="264371" y="312907"/>
                </a:lnTo>
                <a:lnTo>
                  <a:pt x="267459" y="295088"/>
                </a:lnTo>
                <a:lnTo>
                  <a:pt x="271023" y="279170"/>
                </a:lnTo>
                <a:lnTo>
                  <a:pt x="274587" y="263964"/>
                </a:lnTo>
                <a:lnTo>
                  <a:pt x="279101" y="250183"/>
                </a:lnTo>
                <a:lnTo>
                  <a:pt x="284091" y="238066"/>
                </a:lnTo>
                <a:lnTo>
                  <a:pt x="289318" y="226900"/>
                </a:lnTo>
                <a:lnTo>
                  <a:pt x="292406" y="221673"/>
                </a:lnTo>
                <a:lnTo>
                  <a:pt x="295495" y="217158"/>
                </a:lnTo>
                <a:lnTo>
                  <a:pt x="298584" y="212406"/>
                </a:lnTo>
                <a:lnTo>
                  <a:pt x="302148" y="208367"/>
                </a:lnTo>
                <a:lnTo>
                  <a:pt x="305711" y="204328"/>
                </a:lnTo>
                <a:lnTo>
                  <a:pt x="309275" y="200765"/>
                </a:lnTo>
                <a:lnTo>
                  <a:pt x="313314" y="197201"/>
                </a:lnTo>
                <a:lnTo>
                  <a:pt x="317354" y="194112"/>
                </a:lnTo>
                <a:lnTo>
                  <a:pt x="321868" y="191498"/>
                </a:lnTo>
                <a:lnTo>
                  <a:pt x="326382" y="188647"/>
                </a:lnTo>
                <a:lnTo>
                  <a:pt x="330659" y="186509"/>
                </a:lnTo>
                <a:lnTo>
                  <a:pt x="335648" y="184371"/>
                </a:lnTo>
                <a:lnTo>
                  <a:pt x="340637" y="182470"/>
                </a:lnTo>
                <a:lnTo>
                  <a:pt x="345864" y="181282"/>
                </a:lnTo>
                <a:lnTo>
                  <a:pt x="351091" y="179856"/>
                </a:lnTo>
                <a:lnTo>
                  <a:pt x="357031" y="178431"/>
                </a:lnTo>
                <a:lnTo>
                  <a:pt x="368911" y="177243"/>
                </a:lnTo>
                <a:lnTo>
                  <a:pt x="381978" y="176768"/>
                </a:lnTo>
                <a:close/>
                <a:moveTo>
                  <a:pt x="609353" y="174629"/>
                </a:moveTo>
                <a:lnTo>
                  <a:pt x="602463" y="180807"/>
                </a:lnTo>
                <a:lnTo>
                  <a:pt x="596285" y="187459"/>
                </a:lnTo>
                <a:lnTo>
                  <a:pt x="583931" y="201715"/>
                </a:lnTo>
                <a:lnTo>
                  <a:pt x="571101" y="215495"/>
                </a:lnTo>
                <a:lnTo>
                  <a:pt x="564686" y="222148"/>
                </a:lnTo>
                <a:lnTo>
                  <a:pt x="558508" y="228325"/>
                </a:lnTo>
                <a:lnTo>
                  <a:pt x="557558" y="223335"/>
                </a:lnTo>
                <a:lnTo>
                  <a:pt x="557083" y="219059"/>
                </a:lnTo>
                <a:lnTo>
                  <a:pt x="557083" y="215020"/>
                </a:lnTo>
                <a:lnTo>
                  <a:pt x="557558" y="210981"/>
                </a:lnTo>
                <a:lnTo>
                  <a:pt x="558508" y="207417"/>
                </a:lnTo>
                <a:lnTo>
                  <a:pt x="560409" y="203853"/>
                </a:lnTo>
                <a:lnTo>
                  <a:pt x="562072" y="200764"/>
                </a:lnTo>
                <a:lnTo>
                  <a:pt x="564686" y="197676"/>
                </a:lnTo>
                <a:lnTo>
                  <a:pt x="567774" y="194587"/>
                </a:lnTo>
                <a:lnTo>
                  <a:pt x="571813" y="191973"/>
                </a:lnTo>
                <a:lnTo>
                  <a:pt x="576328" y="188647"/>
                </a:lnTo>
                <a:lnTo>
                  <a:pt x="581317" y="186034"/>
                </a:lnTo>
                <a:lnTo>
                  <a:pt x="587019" y="183420"/>
                </a:lnTo>
                <a:lnTo>
                  <a:pt x="593672" y="180332"/>
                </a:lnTo>
                <a:close/>
                <a:moveTo>
                  <a:pt x="586544" y="0"/>
                </a:moveTo>
                <a:lnTo>
                  <a:pt x="570150" y="2851"/>
                </a:lnTo>
                <a:lnTo>
                  <a:pt x="553519" y="5940"/>
                </a:lnTo>
                <a:lnTo>
                  <a:pt x="536650" y="10454"/>
                </a:lnTo>
                <a:lnTo>
                  <a:pt x="520256" y="14731"/>
                </a:lnTo>
                <a:lnTo>
                  <a:pt x="486993" y="24472"/>
                </a:lnTo>
                <a:lnTo>
                  <a:pt x="469887" y="28986"/>
                </a:lnTo>
                <a:lnTo>
                  <a:pt x="453493" y="33500"/>
                </a:lnTo>
                <a:lnTo>
                  <a:pt x="438762" y="40153"/>
                </a:lnTo>
                <a:lnTo>
                  <a:pt x="424507" y="47281"/>
                </a:lnTo>
                <a:lnTo>
                  <a:pt x="417379" y="51320"/>
                </a:lnTo>
                <a:lnTo>
                  <a:pt x="410727" y="55834"/>
                </a:lnTo>
                <a:lnTo>
                  <a:pt x="403599" y="60111"/>
                </a:lnTo>
                <a:lnTo>
                  <a:pt x="397422" y="65100"/>
                </a:lnTo>
                <a:lnTo>
                  <a:pt x="390769" y="69852"/>
                </a:lnTo>
                <a:lnTo>
                  <a:pt x="384592" y="75792"/>
                </a:lnTo>
                <a:lnTo>
                  <a:pt x="378889" y="81494"/>
                </a:lnTo>
                <a:lnTo>
                  <a:pt x="372950" y="87671"/>
                </a:lnTo>
                <a:lnTo>
                  <a:pt x="367723" y="94324"/>
                </a:lnTo>
                <a:lnTo>
                  <a:pt x="362733" y="101452"/>
                </a:lnTo>
                <a:lnTo>
                  <a:pt x="357981" y="109055"/>
                </a:lnTo>
                <a:lnTo>
                  <a:pt x="353467" y="117608"/>
                </a:lnTo>
                <a:lnTo>
                  <a:pt x="409064" y="117608"/>
                </a:lnTo>
                <a:lnTo>
                  <a:pt x="406925" y="119271"/>
                </a:lnTo>
                <a:lnTo>
                  <a:pt x="404074" y="121647"/>
                </a:lnTo>
                <a:lnTo>
                  <a:pt x="400510" y="123310"/>
                </a:lnTo>
                <a:lnTo>
                  <a:pt x="397422" y="125211"/>
                </a:lnTo>
                <a:lnTo>
                  <a:pt x="393383" y="126399"/>
                </a:lnTo>
                <a:lnTo>
                  <a:pt x="389581" y="127824"/>
                </a:lnTo>
                <a:lnTo>
                  <a:pt x="385542" y="128299"/>
                </a:lnTo>
                <a:lnTo>
                  <a:pt x="381503" y="128774"/>
                </a:lnTo>
                <a:lnTo>
                  <a:pt x="375326" y="130438"/>
                </a:lnTo>
                <a:lnTo>
                  <a:pt x="368435" y="131863"/>
                </a:lnTo>
                <a:lnTo>
                  <a:pt x="361783" y="133051"/>
                </a:lnTo>
                <a:lnTo>
                  <a:pt x="355606" y="134001"/>
                </a:lnTo>
                <a:lnTo>
                  <a:pt x="342300" y="135427"/>
                </a:lnTo>
                <a:lnTo>
                  <a:pt x="329471" y="137090"/>
                </a:lnTo>
                <a:lnTo>
                  <a:pt x="322818" y="138040"/>
                </a:lnTo>
                <a:lnTo>
                  <a:pt x="316403" y="139704"/>
                </a:lnTo>
                <a:lnTo>
                  <a:pt x="310226" y="141604"/>
                </a:lnTo>
                <a:lnTo>
                  <a:pt x="304048" y="144218"/>
                </a:lnTo>
                <a:lnTo>
                  <a:pt x="298346" y="147307"/>
                </a:lnTo>
                <a:lnTo>
                  <a:pt x="292406" y="151346"/>
                </a:lnTo>
                <a:lnTo>
                  <a:pt x="286704" y="156335"/>
                </a:lnTo>
                <a:lnTo>
                  <a:pt x="281240" y="162037"/>
                </a:lnTo>
                <a:lnTo>
                  <a:pt x="262232" y="182945"/>
                </a:lnTo>
                <a:lnTo>
                  <a:pt x="242987" y="203378"/>
                </a:lnTo>
                <a:lnTo>
                  <a:pt x="203547" y="244006"/>
                </a:lnTo>
                <a:lnTo>
                  <a:pt x="183827" y="264439"/>
                </a:lnTo>
                <a:lnTo>
                  <a:pt x="164345" y="285822"/>
                </a:lnTo>
                <a:lnTo>
                  <a:pt x="144862" y="307443"/>
                </a:lnTo>
                <a:lnTo>
                  <a:pt x="126093" y="329777"/>
                </a:lnTo>
                <a:lnTo>
                  <a:pt x="122054" y="335004"/>
                </a:lnTo>
                <a:lnTo>
                  <a:pt x="118015" y="340468"/>
                </a:lnTo>
                <a:lnTo>
                  <a:pt x="110887" y="352110"/>
                </a:lnTo>
                <a:lnTo>
                  <a:pt x="104709" y="363514"/>
                </a:lnTo>
                <a:lnTo>
                  <a:pt x="99007" y="375156"/>
                </a:lnTo>
                <a:lnTo>
                  <a:pt x="87840" y="400103"/>
                </a:lnTo>
                <a:lnTo>
                  <a:pt x="82138" y="412458"/>
                </a:lnTo>
                <a:lnTo>
                  <a:pt x="75723" y="425050"/>
                </a:lnTo>
                <a:lnTo>
                  <a:pt x="75723" y="429802"/>
                </a:lnTo>
                <a:lnTo>
                  <a:pt x="76674" y="436217"/>
                </a:lnTo>
                <a:lnTo>
                  <a:pt x="77149" y="439306"/>
                </a:lnTo>
                <a:lnTo>
                  <a:pt x="78574" y="442395"/>
                </a:lnTo>
                <a:lnTo>
                  <a:pt x="79762" y="445008"/>
                </a:lnTo>
                <a:lnTo>
                  <a:pt x="81663" y="447147"/>
                </a:lnTo>
                <a:lnTo>
                  <a:pt x="94018" y="468055"/>
                </a:lnTo>
                <a:lnTo>
                  <a:pt x="106848" y="488963"/>
                </a:lnTo>
                <a:lnTo>
                  <a:pt x="113975" y="499654"/>
                </a:lnTo>
                <a:lnTo>
                  <a:pt x="121103" y="510346"/>
                </a:lnTo>
                <a:lnTo>
                  <a:pt x="128706" y="520562"/>
                </a:lnTo>
                <a:lnTo>
                  <a:pt x="137259" y="531254"/>
                </a:lnTo>
                <a:lnTo>
                  <a:pt x="149614" y="514385"/>
                </a:lnTo>
                <a:lnTo>
                  <a:pt x="162206" y="498466"/>
                </a:lnTo>
                <a:lnTo>
                  <a:pt x="174561" y="483260"/>
                </a:lnTo>
                <a:lnTo>
                  <a:pt x="180739" y="476133"/>
                </a:lnTo>
                <a:lnTo>
                  <a:pt x="186916" y="469480"/>
                </a:lnTo>
                <a:lnTo>
                  <a:pt x="182639" y="482310"/>
                </a:lnTo>
                <a:lnTo>
                  <a:pt x="178125" y="495615"/>
                </a:lnTo>
                <a:lnTo>
                  <a:pt x="172423" y="509871"/>
                </a:lnTo>
                <a:lnTo>
                  <a:pt x="164820" y="525552"/>
                </a:lnTo>
                <a:lnTo>
                  <a:pt x="156267" y="538381"/>
                </a:lnTo>
                <a:lnTo>
                  <a:pt x="152703" y="544559"/>
                </a:lnTo>
                <a:lnTo>
                  <a:pt x="148664" y="551449"/>
                </a:lnTo>
                <a:lnTo>
                  <a:pt x="145100" y="558339"/>
                </a:lnTo>
                <a:lnTo>
                  <a:pt x="142011" y="565467"/>
                </a:lnTo>
                <a:lnTo>
                  <a:pt x="139398" y="573070"/>
                </a:lnTo>
                <a:lnTo>
                  <a:pt x="137259" y="581623"/>
                </a:lnTo>
                <a:lnTo>
                  <a:pt x="136309" y="583761"/>
                </a:lnTo>
                <a:lnTo>
                  <a:pt x="135359" y="586137"/>
                </a:lnTo>
                <a:lnTo>
                  <a:pt x="134883" y="590889"/>
                </a:lnTo>
                <a:lnTo>
                  <a:pt x="134883" y="595879"/>
                </a:lnTo>
                <a:lnTo>
                  <a:pt x="135359" y="601106"/>
                </a:lnTo>
                <a:lnTo>
                  <a:pt x="136784" y="606095"/>
                </a:lnTo>
                <a:lnTo>
                  <a:pt x="138447" y="611322"/>
                </a:lnTo>
                <a:lnTo>
                  <a:pt x="140348" y="616311"/>
                </a:lnTo>
                <a:lnTo>
                  <a:pt x="142486" y="620826"/>
                </a:lnTo>
                <a:lnTo>
                  <a:pt x="148664" y="629616"/>
                </a:lnTo>
                <a:lnTo>
                  <a:pt x="155554" y="637219"/>
                </a:lnTo>
                <a:lnTo>
                  <a:pt x="162444" y="643872"/>
                </a:lnTo>
                <a:lnTo>
                  <a:pt x="169572" y="649099"/>
                </a:lnTo>
                <a:lnTo>
                  <a:pt x="177175" y="653613"/>
                </a:lnTo>
                <a:lnTo>
                  <a:pt x="184778" y="657177"/>
                </a:lnTo>
                <a:lnTo>
                  <a:pt x="192856" y="659553"/>
                </a:lnTo>
                <a:lnTo>
                  <a:pt x="200934" y="661216"/>
                </a:lnTo>
                <a:lnTo>
                  <a:pt x="209250" y="661691"/>
                </a:lnTo>
                <a:lnTo>
                  <a:pt x="218278" y="661691"/>
                </a:lnTo>
                <a:lnTo>
                  <a:pt x="227069" y="660266"/>
                </a:lnTo>
                <a:lnTo>
                  <a:pt x="236335" y="658603"/>
                </a:lnTo>
                <a:lnTo>
                  <a:pt x="245838" y="655514"/>
                </a:lnTo>
                <a:lnTo>
                  <a:pt x="255580" y="652425"/>
                </a:lnTo>
                <a:lnTo>
                  <a:pt x="265321" y="647911"/>
                </a:lnTo>
                <a:lnTo>
                  <a:pt x="276013" y="642922"/>
                </a:lnTo>
                <a:lnTo>
                  <a:pt x="288367" y="635081"/>
                </a:lnTo>
                <a:lnTo>
                  <a:pt x="301910" y="627478"/>
                </a:lnTo>
                <a:lnTo>
                  <a:pt x="315215" y="620350"/>
                </a:lnTo>
                <a:lnTo>
                  <a:pt x="329471" y="613698"/>
                </a:lnTo>
                <a:lnTo>
                  <a:pt x="343726" y="607283"/>
                </a:lnTo>
                <a:lnTo>
                  <a:pt x="357981" y="602056"/>
                </a:lnTo>
                <a:lnTo>
                  <a:pt x="371999" y="597066"/>
                </a:lnTo>
                <a:lnTo>
                  <a:pt x="386730" y="592790"/>
                </a:lnTo>
                <a:lnTo>
                  <a:pt x="394808" y="590414"/>
                </a:lnTo>
                <a:lnTo>
                  <a:pt x="402411" y="587325"/>
                </a:lnTo>
                <a:lnTo>
                  <a:pt x="409064" y="583761"/>
                </a:lnTo>
                <a:lnTo>
                  <a:pt x="411677" y="581623"/>
                </a:lnTo>
                <a:lnTo>
                  <a:pt x="414766" y="579247"/>
                </a:lnTo>
                <a:lnTo>
                  <a:pt x="417142" y="577109"/>
                </a:lnTo>
                <a:lnTo>
                  <a:pt x="419280" y="574495"/>
                </a:lnTo>
                <a:lnTo>
                  <a:pt x="420943" y="571407"/>
                </a:lnTo>
                <a:lnTo>
                  <a:pt x="422844" y="568318"/>
                </a:lnTo>
                <a:lnTo>
                  <a:pt x="424269" y="565229"/>
                </a:lnTo>
                <a:lnTo>
                  <a:pt x="424982" y="561665"/>
                </a:lnTo>
                <a:lnTo>
                  <a:pt x="425457" y="557626"/>
                </a:lnTo>
                <a:lnTo>
                  <a:pt x="425932" y="553587"/>
                </a:lnTo>
                <a:lnTo>
                  <a:pt x="425932" y="413884"/>
                </a:lnTo>
                <a:lnTo>
                  <a:pt x="425932" y="285347"/>
                </a:lnTo>
                <a:lnTo>
                  <a:pt x="429496" y="300078"/>
                </a:lnTo>
                <a:lnTo>
                  <a:pt x="433060" y="314096"/>
                </a:lnTo>
                <a:lnTo>
                  <a:pt x="436149" y="328826"/>
                </a:lnTo>
                <a:lnTo>
                  <a:pt x="438762" y="343082"/>
                </a:lnTo>
                <a:lnTo>
                  <a:pt x="443752" y="370642"/>
                </a:lnTo>
                <a:lnTo>
                  <a:pt x="447791" y="397015"/>
                </a:lnTo>
                <a:lnTo>
                  <a:pt x="451830" y="421962"/>
                </a:lnTo>
                <a:lnTo>
                  <a:pt x="454919" y="446434"/>
                </a:lnTo>
                <a:lnTo>
                  <a:pt x="456106" y="458313"/>
                </a:lnTo>
                <a:lnTo>
                  <a:pt x="457057" y="470430"/>
                </a:lnTo>
                <a:lnTo>
                  <a:pt x="457532" y="482310"/>
                </a:lnTo>
                <a:lnTo>
                  <a:pt x="457532" y="493952"/>
                </a:lnTo>
                <a:lnTo>
                  <a:pt x="457532" y="506069"/>
                </a:lnTo>
                <a:lnTo>
                  <a:pt x="456582" y="517473"/>
                </a:lnTo>
                <a:lnTo>
                  <a:pt x="455869" y="529116"/>
                </a:lnTo>
                <a:lnTo>
                  <a:pt x="453968" y="540757"/>
                </a:lnTo>
                <a:lnTo>
                  <a:pt x="452305" y="552162"/>
                </a:lnTo>
                <a:lnTo>
                  <a:pt x="449454" y="563804"/>
                </a:lnTo>
                <a:lnTo>
                  <a:pt x="446365" y="575446"/>
                </a:lnTo>
                <a:lnTo>
                  <a:pt x="442326" y="586850"/>
                </a:lnTo>
                <a:lnTo>
                  <a:pt x="440188" y="591364"/>
                </a:lnTo>
                <a:lnTo>
                  <a:pt x="437574" y="595403"/>
                </a:lnTo>
                <a:lnTo>
                  <a:pt x="434486" y="598967"/>
                </a:lnTo>
                <a:lnTo>
                  <a:pt x="431397" y="602531"/>
                </a:lnTo>
                <a:lnTo>
                  <a:pt x="428071" y="605145"/>
                </a:lnTo>
                <a:lnTo>
                  <a:pt x="424982" y="607283"/>
                </a:lnTo>
                <a:lnTo>
                  <a:pt x="422369" y="608708"/>
                </a:lnTo>
                <a:lnTo>
                  <a:pt x="420230" y="609659"/>
                </a:lnTo>
                <a:lnTo>
                  <a:pt x="410727" y="610847"/>
                </a:lnTo>
                <a:lnTo>
                  <a:pt x="401461" y="612748"/>
                </a:lnTo>
                <a:lnTo>
                  <a:pt x="392670" y="614886"/>
                </a:lnTo>
                <a:lnTo>
                  <a:pt x="383641" y="617262"/>
                </a:lnTo>
                <a:lnTo>
                  <a:pt x="374850" y="620350"/>
                </a:lnTo>
                <a:lnTo>
                  <a:pt x="365822" y="623914"/>
                </a:lnTo>
                <a:lnTo>
                  <a:pt x="348478" y="631042"/>
                </a:lnTo>
                <a:lnTo>
                  <a:pt x="331609" y="639358"/>
                </a:lnTo>
                <a:lnTo>
                  <a:pt x="314740" y="647911"/>
                </a:lnTo>
                <a:lnTo>
                  <a:pt x="281240" y="665255"/>
                </a:lnTo>
                <a:lnTo>
                  <a:pt x="274587" y="669294"/>
                </a:lnTo>
                <a:lnTo>
                  <a:pt x="267935" y="672858"/>
                </a:lnTo>
                <a:lnTo>
                  <a:pt x="261757" y="675947"/>
                </a:lnTo>
                <a:lnTo>
                  <a:pt x="255105" y="679035"/>
                </a:lnTo>
                <a:lnTo>
                  <a:pt x="248927" y="681174"/>
                </a:lnTo>
                <a:lnTo>
                  <a:pt x="242987" y="683075"/>
                </a:lnTo>
                <a:lnTo>
                  <a:pt x="236810" y="684738"/>
                </a:lnTo>
                <a:lnTo>
                  <a:pt x="231108" y="686163"/>
                </a:lnTo>
                <a:lnTo>
                  <a:pt x="225406" y="687114"/>
                </a:lnTo>
                <a:lnTo>
                  <a:pt x="219466" y="687589"/>
                </a:lnTo>
                <a:lnTo>
                  <a:pt x="213764" y="687589"/>
                </a:lnTo>
                <a:lnTo>
                  <a:pt x="208299" y="687589"/>
                </a:lnTo>
                <a:lnTo>
                  <a:pt x="203072" y="687114"/>
                </a:lnTo>
                <a:lnTo>
                  <a:pt x="197607" y="686163"/>
                </a:lnTo>
                <a:lnTo>
                  <a:pt x="192380" y="684738"/>
                </a:lnTo>
                <a:lnTo>
                  <a:pt x="186916" y="683550"/>
                </a:lnTo>
                <a:lnTo>
                  <a:pt x="181689" y="681649"/>
                </a:lnTo>
                <a:lnTo>
                  <a:pt x="176699" y="679986"/>
                </a:lnTo>
                <a:lnTo>
                  <a:pt x="171472" y="677610"/>
                </a:lnTo>
                <a:lnTo>
                  <a:pt x="166483" y="674996"/>
                </a:lnTo>
                <a:lnTo>
                  <a:pt x="156742" y="669294"/>
                </a:lnTo>
                <a:lnTo>
                  <a:pt x="147001" y="662167"/>
                </a:lnTo>
                <a:lnTo>
                  <a:pt x="137735" y="654564"/>
                </a:lnTo>
                <a:lnTo>
                  <a:pt x="127756" y="645535"/>
                </a:lnTo>
                <a:lnTo>
                  <a:pt x="118490" y="636269"/>
                </a:lnTo>
                <a:lnTo>
                  <a:pt x="109224" y="626053"/>
                </a:lnTo>
                <a:lnTo>
                  <a:pt x="107323" y="623914"/>
                </a:lnTo>
                <a:lnTo>
                  <a:pt x="106135" y="620350"/>
                </a:lnTo>
                <a:lnTo>
                  <a:pt x="105185" y="616311"/>
                </a:lnTo>
                <a:lnTo>
                  <a:pt x="105185" y="612272"/>
                </a:lnTo>
                <a:lnTo>
                  <a:pt x="105185" y="608233"/>
                </a:lnTo>
                <a:lnTo>
                  <a:pt x="106135" y="604194"/>
                </a:lnTo>
                <a:lnTo>
                  <a:pt x="107323" y="600630"/>
                </a:lnTo>
                <a:lnTo>
                  <a:pt x="109224" y="598017"/>
                </a:lnTo>
                <a:lnTo>
                  <a:pt x="111837" y="591840"/>
                </a:lnTo>
                <a:lnTo>
                  <a:pt x="113975" y="586137"/>
                </a:lnTo>
                <a:lnTo>
                  <a:pt x="115401" y="579722"/>
                </a:lnTo>
                <a:lnTo>
                  <a:pt x="115876" y="574020"/>
                </a:lnTo>
                <a:lnTo>
                  <a:pt x="115876" y="568318"/>
                </a:lnTo>
                <a:lnTo>
                  <a:pt x="115401" y="562378"/>
                </a:lnTo>
                <a:lnTo>
                  <a:pt x="114451" y="557151"/>
                </a:lnTo>
                <a:lnTo>
                  <a:pt x="112788" y="551449"/>
                </a:lnTo>
                <a:lnTo>
                  <a:pt x="110412" y="545984"/>
                </a:lnTo>
                <a:lnTo>
                  <a:pt x="108273" y="540757"/>
                </a:lnTo>
                <a:lnTo>
                  <a:pt x="105185" y="535293"/>
                </a:lnTo>
                <a:lnTo>
                  <a:pt x="102096" y="530066"/>
                </a:lnTo>
                <a:lnTo>
                  <a:pt x="94968" y="519374"/>
                </a:lnTo>
                <a:lnTo>
                  <a:pt x="86890" y="508683"/>
                </a:lnTo>
                <a:lnTo>
                  <a:pt x="78812" y="497991"/>
                </a:lnTo>
                <a:lnTo>
                  <a:pt x="70972" y="486824"/>
                </a:lnTo>
                <a:lnTo>
                  <a:pt x="67408" y="481122"/>
                </a:lnTo>
                <a:lnTo>
                  <a:pt x="64319" y="474707"/>
                </a:lnTo>
                <a:lnTo>
                  <a:pt x="61230" y="469005"/>
                </a:lnTo>
                <a:lnTo>
                  <a:pt x="58379" y="462828"/>
                </a:lnTo>
                <a:lnTo>
                  <a:pt x="56716" y="456175"/>
                </a:lnTo>
                <a:lnTo>
                  <a:pt x="54815" y="449998"/>
                </a:lnTo>
                <a:lnTo>
                  <a:pt x="54103" y="443345"/>
                </a:lnTo>
                <a:lnTo>
                  <a:pt x="53627" y="436455"/>
                </a:lnTo>
                <a:lnTo>
                  <a:pt x="53627" y="429327"/>
                </a:lnTo>
                <a:lnTo>
                  <a:pt x="54815" y="422675"/>
                </a:lnTo>
                <a:lnTo>
                  <a:pt x="56716" y="415547"/>
                </a:lnTo>
                <a:lnTo>
                  <a:pt x="59330" y="408182"/>
                </a:lnTo>
                <a:lnTo>
                  <a:pt x="60280" y="403192"/>
                </a:lnTo>
                <a:lnTo>
                  <a:pt x="61943" y="397965"/>
                </a:lnTo>
                <a:lnTo>
                  <a:pt x="65507" y="387986"/>
                </a:lnTo>
                <a:lnTo>
                  <a:pt x="69546" y="378720"/>
                </a:lnTo>
                <a:lnTo>
                  <a:pt x="74535" y="369929"/>
                </a:lnTo>
                <a:lnTo>
                  <a:pt x="79762" y="360901"/>
                </a:lnTo>
                <a:lnTo>
                  <a:pt x="85940" y="352585"/>
                </a:lnTo>
                <a:lnTo>
                  <a:pt x="98057" y="335479"/>
                </a:lnTo>
                <a:lnTo>
                  <a:pt x="102571" y="328113"/>
                </a:lnTo>
                <a:lnTo>
                  <a:pt x="106848" y="320986"/>
                </a:lnTo>
                <a:lnTo>
                  <a:pt x="116827" y="307205"/>
                </a:lnTo>
                <a:lnTo>
                  <a:pt x="127043" y="293188"/>
                </a:lnTo>
                <a:lnTo>
                  <a:pt x="137735" y="279407"/>
                </a:lnTo>
                <a:lnTo>
                  <a:pt x="159831" y="251847"/>
                </a:lnTo>
                <a:lnTo>
                  <a:pt x="170522" y="238066"/>
                </a:lnTo>
                <a:lnTo>
                  <a:pt x="181214" y="223336"/>
                </a:lnTo>
                <a:lnTo>
                  <a:pt x="164820" y="223336"/>
                </a:lnTo>
                <a:lnTo>
                  <a:pt x="137972" y="230226"/>
                </a:lnTo>
                <a:lnTo>
                  <a:pt x="125142" y="233790"/>
                </a:lnTo>
                <a:lnTo>
                  <a:pt x="112788" y="237591"/>
                </a:lnTo>
                <a:lnTo>
                  <a:pt x="100195" y="241630"/>
                </a:lnTo>
                <a:lnTo>
                  <a:pt x="87840" y="245669"/>
                </a:lnTo>
                <a:lnTo>
                  <a:pt x="75723" y="250183"/>
                </a:lnTo>
                <a:lnTo>
                  <a:pt x="64319" y="254935"/>
                </a:lnTo>
                <a:lnTo>
                  <a:pt x="52677" y="260400"/>
                </a:lnTo>
                <a:lnTo>
                  <a:pt x="41035" y="265627"/>
                </a:lnTo>
                <a:lnTo>
                  <a:pt x="29868" y="271567"/>
                </a:lnTo>
                <a:lnTo>
                  <a:pt x="18939" y="277744"/>
                </a:lnTo>
                <a:lnTo>
                  <a:pt x="7772" y="284397"/>
                </a:lnTo>
                <a:lnTo>
                  <a:pt x="0" y="289924"/>
                </a:lnTo>
                <a:lnTo>
                  <a:pt x="0" y="895572"/>
                </a:lnTo>
                <a:lnTo>
                  <a:pt x="125653" y="895572"/>
                </a:lnTo>
                <a:lnTo>
                  <a:pt x="127756" y="892155"/>
                </a:lnTo>
                <a:lnTo>
                  <a:pt x="131082" y="885502"/>
                </a:lnTo>
                <a:lnTo>
                  <a:pt x="133696" y="878374"/>
                </a:lnTo>
                <a:lnTo>
                  <a:pt x="135834" y="871722"/>
                </a:lnTo>
                <a:lnTo>
                  <a:pt x="137735" y="864594"/>
                </a:lnTo>
                <a:lnTo>
                  <a:pt x="138923" y="857466"/>
                </a:lnTo>
                <a:lnTo>
                  <a:pt x="140348" y="850339"/>
                </a:lnTo>
                <a:lnTo>
                  <a:pt x="141298" y="843211"/>
                </a:lnTo>
                <a:lnTo>
                  <a:pt x="142011" y="828955"/>
                </a:lnTo>
                <a:lnTo>
                  <a:pt x="142486" y="814225"/>
                </a:lnTo>
                <a:lnTo>
                  <a:pt x="142486" y="799494"/>
                </a:lnTo>
                <a:lnTo>
                  <a:pt x="142486" y="782625"/>
                </a:lnTo>
                <a:lnTo>
                  <a:pt x="142486" y="771458"/>
                </a:lnTo>
                <a:lnTo>
                  <a:pt x="143912" y="778586"/>
                </a:lnTo>
                <a:lnTo>
                  <a:pt x="145100" y="784526"/>
                </a:lnTo>
                <a:lnTo>
                  <a:pt x="147476" y="789753"/>
                </a:lnTo>
                <a:lnTo>
                  <a:pt x="149614" y="794267"/>
                </a:lnTo>
                <a:lnTo>
                  <a:pt x="152228" y="797831"/>
                </a:lnTo>
                <a:lnTo>
                  <a:pt x="155554" y="801395"/>
                </a:lnTo>
                <a:lnTo>
                  <a:pt x="158643" y="803533"/>
                </a:lnTo>
                <a:lnTo>
                  <a:pt x="162206" y="805909"/>
                </a:lnTo>
                <a:lnTo>
                  <a:pt x="165770" y="807572"/>
                </a:lnTo>
                <a:lnTo>
                  <a:pt x="169572" y="808523"/>
                </a:lnTo>
                <a:lnTo>
                  <a:pt x="174086" y="809473"/>
                </a:lnTo>
                <a:lnTo>
                  <a:pt x="178600" y="810186"/>
                </a:lnTo>
                <a:lnTo>
                  <a:pt x="187866" y="810661"/>
                </a:lnTo>
                <a:lnTo>
                  <a:pt x="198083" y="810661"/>
                </a:lnTo>
                <a:lnTo>
                  <a:pt x="236810" y="810661"/>
                </a:lnTo>
                <a:lnTo>
                  <a:pt x="249640" y="811136"/>
                </a:lnTo>
                <a:lnTo>
                  <a:pt x="263183" y="811611"/>
                </a:lnTo>
                <a:lnTo>
                  <a:pt x="270310" y="811611"/>
                </a:lnTo>
                <a:lnTo>
                  <a:pt x="276963" y="811136"/>
                </a:lnTo>
                <a:lnTo>
                  <a:pt x="283140" y="810186"/>
                </a:lnTo>
                <a:lnTo>
                  <a:pt x="289793" y="808523"/>
                </a:lnTo>
                <a:lnTo>
                  <a:pt x="295495" y="806147"/>
                </a:lnTo>
                <a:lnTo>
                  <a:pt x="301435" y="803058"/>
                </a:lnTo>
                <a:lnTo>
                  <a:pt x="304524" y="801395"/>
                </a:lnTo>
                <a:lnTo>
                  <a:pt x="307137" y="799256"/>
                </a:lnTo>
                <a:lnTo>
                  <a:pt x="309275" y="796881"/>
                </a:lnTo>
                <a:lnTo>
                  <a:pt x="312126" y="794267"/>
                </a:lnTo>
                <a:lnTo>
                  <a:pt x="314265" y="791178"/>
                </a:lnTo>
                <a:lnTo>
                  <a:pt x="316403" y="788090"/>
                </a:lnTo>
                <a:lnTo>
                  <a:pt x="318304" y="784051"/>
                </a:lnTo>
                <a:lnTo>
                  <a:pt x="319967" y="780012"/>
                </a:lnTo>
                <a:lnTo>
                  <a:pt x="321868" y="775973"/>
                </a:lnTo>
                <a:lnTo>
                  <a:pt x="323056" y="771221"/>
                </a:lnTo>
                <a:lnTo>
                  <a:pt x="324481" y="765756"/>
                </a:lnTo>
                <a:lnTo>
                  <a:pt x="325907" y="760529"/>
                </a:lnTo>
                <a:lnTo>
                  <a:pt x="325907" y="827530"/>
                </a:lnTo>
                <a:lnTo>
                  <a:pt x="310226" y="835608"/>
                </a:lnTo>
                <a:lnTo>
                  <a:pt x="295970" y="843686"/>
                </a:lnTo>
                <a:lnTo>
                  <a:pt x="282665" y="850339"/>
                </a:lnTo>
                <a:lnTo>
                  <a:pt x="276488" y="852952"/>
                </a:lnTo>
                <a:lnTo>
                  <a:pt x="270310" y="855565"/>
                </a:lnTo>
                <a:lnTo>
                  <a:pt x="266271" y="857942"/>
                </a:lnTo>
                <a:lnTo>
                  <a:pt x="262708" y="860080"/>
                </a:lnTo>
                <a:lnTo>
                  <a:pt x="259619" y="862693"/>
                </a:lnTo>
                <a:lnTo>
                  <a:pt x="256768" y="865544"/>
                </a:lnTo>
                <a:lnTo>
                  <a:pt x="254154" y="868633"/>
                </a:lnTo>
                <a:lnTo>
                  <a:pt x="252491" y="871722"/>
                </a:lnTo>
                <a:lnTo>
                  <a:pt x="250590" y="874810"/>
                </a:lnTo>
                <a:lnTo>
                  <a:pt x="249402" y="877899"/>
                </a:lnTo>
                <a:lnTo>
                  <a:pt x="248452" y="880988"/>
                </a:lnTo>
                <a:lnTo>
                  <a:pt x="247977" y="884076"/>
                </a:lnTo>
                <a:lnTo>
                  <a:pt x="247977" y="887165"/>
                </a:lnTo>
                <a:lnTo>
                  <a:pt x="248452" y="890016"/>
                </a:lnTo>
                <a:lnTo>
                  <a:pt x="249402" y="893105"/>
                </a:lnTo>
                <a:lnTo>
                  <a:pt x="250075" y="895572"/>
                </a:lnTo>
                <a:lnTo>
                  <a:pt x="474750" y="895572"/>
                </a:lnTo>
                <a:lnTo>
                  <a:pt x="475827" y="894768"/>
                </a:lnTo>
                <a:lnTo>
                  <a:pt x="486993" y="882889"/>
                </a:lnTo>
                <a:lnTo>
                  <a:pt x="497210" y="870296"/>
                </a:lnTo>
                <a:lnTo>
                  <a:pt x="506951" y="857942"/>
                </a:lnTo>
                <a:lnTo>
                  <a:pt x="515742" y="844636"/>
                </a:lnTo>
                <a:lnTo>
                  <a:pt x="523820" y="831094"/>
                </a:lnTo>
                <a:lnTo>
                  <a:pt x="531898" y="816838"/>
                </a:lnTo>
                <a:lnTo>
                  <a:pt x="539026" y="802583"/>
                </a:lnTo>
                <a:lnTo>
                  <a:pt x="545678" y="788565"/>
                </a:lnTo>
                <a:lnTo>
                  <a:pt x="552331" y="773359"/>
                </a:lnTo>
                <a:lnTo>
                  <a:pt x="558033" y="758628"/>
                </a:lnTo>
                <a:lnTo>
                  <a:pt x="563498" y="743185"/>
                </a:lnTo>
                <a:lnTo>
                  <a:pt x="568725" y="727979"/>
                </a:lnTo>
                <a:lnTo>
                  <a:pt x="573714" y="712298"/>
                </a:lnTo>
                <a:lnTo>
                  <a:pt x="577991" y="696855"/>
                </a:lnTo>
                <a:lnTo>
                  <a:pt x="586544" y="665255"/>
                </a:lnTo>
                <a:lnTo>
                  <a:pt x="586069" y="663117"/>
                </a:lnTo>
                <a:lnTo>
                  <a:pt x="584881" y="660266"/>
                </a:lnTo>
                <a:lnTo>
                  <a:pt x="582980" y="657177"/>
                </a:lnTo>
                <a:lnTo>
                  <a:pt x="580367" y="654088"/>
                </a:lnTo>
                <a:lnTo>
                  <a:pt x="574902" y="647911"/>
                </a:lnTo>
                <a:lnTo>
                  <a:pt x="570150" y="642922"/>
                </a:lnTo>
                <a:lnTo>
                  <a:pt x="565636" y="636744"/>
                </a:lnTo>
                <a:lnTo>
                  <a:pt x="560647" y="631517"/>
                </a:lnTo>
                <a:lnTo>
                  <a:pt x="555420" y="626053"/>
                </a:lnTo>
                <a:lnTo>
                  <a:pt x="550193" y="621301"/>
                </a:lnTo>
                <a:lnTo>
                  <a:pt x="544253" y="616787"/>
                </a:lnTo>
                <a:lnTo>
                  <a:pt x="538075" y="612272"/>
                </a:lnTo>
                <a:lnTo>
                  <a:pt x="525721" y="603719"/>
                </a:lnTo>
                <a:lnTo>
                  <a:pt x="563023" y="619875"/>
                </a:lnTo>
                <a:lnTo>
                  <a:pt x="581317" y="628191"/>
                </a:lnTo>
                <a:lnTo>
                  <a:pt x="599374" y="636744"/>
                </a:lnTo>
                <a:lnTo>
                  <a:pt x="607927" y="641259"/>
                </a:lnTo>
                <a:lnTo>
                  <a:pt x="616718" y="646010"/>
                </a:lnTo>
                <a:lnTo>
                  <a:pt x="625271" y="651000"/>
                </a:lnTo>
                <a:lnTo>
                  <a:pt x="633349" y="656227"/>
                </a:lnTo>
                <a:lnTo>
                  <a:pt x="641665" y="662167"/>
                </a:lnTo>
                <a:lnTo>
                  <a:pt x="649268" y="668344"/>
                </a:lnTo>
                <a:lnTo>
                  <a:pt x="656871" y="674996"/>
                </a:lnTo>
                <a:lnTo>
                  <a:pt x="664474" y="682124"/>
                </a:lnTo>
                <a:lnTo>
                  <a:pt x="668988" y="686163"/>
                </a:lnTo>
                <a:lnTo>
                  <a:pt x="672790" y="690202"/>
                </a:lnTo>
                <a:lnTo>
                  <a:pt x="677304" y="693291"/>
                </a:lnTo>
                <a:lnTo>
                  <a:pt x="682293" y="696855"/>
                </a:lnTo>
                <a:lnTo>
                  <a:pt x="686570" y="699468"/>
                </a:lnTo>
                <a:lnTo>
                  <a:pt x="691559" y="702082"/>
                </a:lnTo>
                <a:lnTo>
                  <a:pt x="696549" y="703983"/>
                </a:lnTo>
                <a:lnTo>
                  <a:pt x="701300" y="705646"/>
                </a:lnTo>
                <a:lnTo>
                  <a:pt x="706290" y="707071"/>
                </a:lnTo>
                <a:lnTo>
                  <a:pt x="711042" y="708497"/>
                </a:lnTo>
                <a:lnTo>
                  <a:pt x="716506" y="708734"/>
                </a:lnTo>
                <a:lnTo>
                  <a:pt x="721258" y="708734"/>
                </a:lnTo>
                <a:lnTo>
                  <a:pt x="726723" y="708497"/>
                </a:lnTo>
                <a:lnTo>
                  <a:pt x="731712" y="707546"/>
                </a:lnTo>
                <a:lnTo>
                  <a:pt x="736939" y="706121"/>
                </a:lnTo>
                <a:lnTo>
                  <a:pt x="742166" y="704458"/>
                </a:lnTo>
                <a:lnTo>
                  <a:pt x="749294" y="702082"/>
                </a:lnTo>
                <a:lnTo>
                  <a:pt x="756184" y="699468"/>
                </a:lnTo>
                <a:lnTo>
                  <a:pt x="762361" y="696380"/>
                </a:lnTo>
                <a:lnTo>
                  <a:pt x="768063" y="692816"/>
                </a:lnTo>
                <a:lnTo>
                  <a:pt x="773528" y="689252"/>
                </a:lnTo>
                <a:lnTo>
                  <a:pt x="778755" y="684738"/>
                </a:lnTo>
                <a:lnTo>
                  <a:pt x="783269" y="680461"/>
                </a:lnTo>
                <a:lnTo>
                  <a:pt x="787308" y="674996"/>
                </a:lnTo>
                <a:lnTo>
                  <a:pt x="791110" y="669769"/>
                </a:lnTo>
                <a:lnTo>
                  <a:pt x="794436" y="663830"/>
                </a:lnTo>
                <a:lnTo>
                  <a:pt x="797050" y="657652"/>
                </a:lnTo>
                <a:lnTo>
                  <a:pt x="799188" y="651000"/>
                </a:lnTo>
                <a:lnTo>
                  <a:pt x="801089" y="643872"/>
                </a:lnTo>
                <a:lnTo>
                  <a:pt x="802277" y="636744"/>
                </a:lnTo>
                <a:lnTo>
                  <a:pt x="803227" y="628666"/>
                </a:lnTo>
                <a:lnTo>
                  <a:pt x="803227" y="620826"/>
                </a:lnTo>
                <a:lnTo>
                  <a:pt x="801089" y="622489"/>
                </a:lnTo>
                <a:lnTo>
                  <a:pt x="798238" y="623914"/>
                </a:lnTo>
                <a:lnTo>
                  <a:pt x="793011" y="626053"/>
                </a:lnTo>
                <a:lnTo>
                  <a:pt x="790397" y="627478"/>
                </a:lnTo>
                <a:lnTo>
                  <a:pt x="788496" y="628191"/>
                </a:lnTo>
                <a:lnTo>
                  <a:pt x="787308" y="630092"/>
                </a:lnTo>
                <a:lnTo>
                  <a:pt x="786833" y="631755"/>
                </a:lnTo>
                <a:lnTo>
                  <a:pt x="785408" y="635794"/>
                </a:lnTo>
                <a:lnTo>
                  <a:pt x="784220" y="639833"/>
                </a:lnTo>
                <a:lnTo>
                  <a:pt x="780656" y="646485"/>
                </a:lnTo>
                <a:lnTo>
                  <a:pt x="776617" y="653138"/>
                </a:lnTo>
                <a:lnTo>
                  <a:pt x="772103" y="659078"/>
                </a:lnTo>
                <a:lnTo>
                  <a:pt x="762361" y="670007"/>
                </a:lnTo>
                <a:lnTo>
                  <a:pt x="757847" y="675947"/>
                </a:lnTo>
                <a:lnTo>
                  <a:pt x="753333" y="682124"/>
                </a:lnTo>
                <a:lnTo>
                  <a:pt x="750244" y="684738"/>
                </a:lnTo>
                <a:lnTo>
                  <a:pt x="747155" y="687589"/>
                </a:lnTo>
                <a:lnTo>
                  <a:pt x="744067" y="689252"/>
                </a:lnTo>
                <a:lnTo>
                  <a:pt x="740978" y="690915"/>
                </a:lnTo>
                <a:lnTo>
                  <a:pt x="737890" y="691865"/>
                </a:lnTo>
                <a:lnTo>
                  <a:pt x="734801" y="692816"/>
                </a:lnTo>
                <a:lnTo>
                  <a:pt x="731950" y="693291"/>
                </a:lnTo>
                <a:lnTo>
                  <a:pt x="728861" y="693291"/>
                </a:lnTo>
                <a:lnTo>
                  <a:pt x="723634" y="692816"/>
                </a:lnTo>
                <a:lnTo>
                  <a:pt x="718169" y="691390"/>
                </a:lnTo>
                <a:lnTo>
                  <a:pt x="713418" y="689727"/>
                </a:lnTo>
                <a:lnTo>
                  <a:pt x="708903" y="687826"/>
                </a:lnTo>
                <a:lnTo>
                  <a:pt x="706765" y="687589"/>
                </a:lnTo>
                <a:lnTo>
                  <a:pt x="704864" y="687114"/>
                </a:lnTo>
                <a:lnTo>
                  <a:pt x="703201" y="686163"/>
                </a:lnTo>
                <a:lnTo>
                  <a:pt x="701776" y="684738"/>
                </a:lnTo>
                <a:lnTo>
                  <a:pt x="698687" y="681649"/>
                </a:lnTo>
                <a:lnTo>
                  <a:pt x="696549" y="678085"/>
                </a:lnTo>
                <a:lnTo>
                  <a:pt x="694648" y="673571"/>
                </a:lnTo>
                <a:lnTo>
                  <a:pt x="693460" y="668819"/>
                </a:lnTo>
                <a:lnTo>
                  <a:pt x="692510" y="664305"/>
                </a:lnTo>
                <a:lnTo>
                  <a:pt x="692510" y="659790"/>
                </a:lnTo>
                <a:lnTo>
                  <a:pt x="692510" y="647436"/>
                </a:lnTo>
                <a:lnTo>
                  <a:pt x="693460" y="635319"/>
                </a:lnTo>
                <a:lnTo>
                  <a:pt x="694173" y="624389"/>
                </a:lnTo>
                <a:lnTo>
                  <a:pt x="695598" y="612748"/>
                </a:lnTo>
                <a:lnTo>
                  <a:pt x="699162" y="591364"/>
                </a:lnTo>
                <a:lnTo>
                  <a:pt x="703676" y="570456"/>
                </a:lnTo>
                <a:lnTo>
                  <a:pt x="720070" y="574971"/>
                </a:lnTo>
                <a:lnTo>
                  <a:pt x="736939" y="579247"/>
                </a:lnTo>
                <a:lnTo>
                  <a:pt x="770677" y="589226"/>
                </a:lnTo>
                <a:lnTo>
                  <a:pt x="788021" y="593503"/>
                </a:lnTo>
                <a:lnTo>
                  <a:pt x="805365" y="597542"/>
                </a:lnTo>
                <a:lnTo>
                  <a:pt x="823660" y="601106"/>
                </a:lnTo>
                <a:lnTo>
                  <a:pt x="841954" y="603719"/>
                </a:lnTo>
                <a:lnTo>
                  <a:pt x="861437" y="606570"/>
                </a:lnTo>
                <a:lnTo>
                  <a:pt x="880682" y="608233"/>
                </a:lnTo>
                <a:lnTo>
                  <a:pt x="889948" y="608708"/>
                </a:lnTo>
                <a:lnTo>
                  <a:pt x="898976" y="608708"/>
                </a:lnTo>
                <a:lnTo>
                  <a:pt x="908242" y="608708"/>
                </a:lnTo>
                <a:lnTo>
                  <a:pt x="916795" y="608233"/>
                </a:lnTo>
                <a:lnTo>
                  <a:pt x="925586" y="607283"/>
                </a:lnTo>
                <a:lnTo>
                  <a:pt x="934140" y="606095"/>
                </a:lnTo>
                <a:lnTo>
                  <a:pt x="942455" y="604669"/>
                </a:lnTo>
                <a:lnTo>
                  <a:pt x="950533" y="603006"/>
                </a:lnTo>
                <a:lnTo>
                  <a:pt x="958611" y="600630"/>
                </a:lnTo>
                <a:lnTo>
                  <a:pt x="966452" y="598017"/>
                </a:lnTo>
                <a:lnTo>
                  <a:pt x="974055" y="595403"/>
                </a:lnTo>
                <a:lnTo>
                  <a:pt x="981658" y="591840"/>
                </a:lnTo>
                <a:lnTo>
                  <a:pt x="989261" y="588276"/>
                </a:lnTo>
                <a:lnTo>
                  <a:pt x="996388" y="584237"/>
                </a:lnTo>
                <a:lnTo>
                  <a:pt x="1003041" y="579247"/>
                </a:lnTo>
                <a:lnTo>
                  <a:pt x="1009694" y="574495"/>
                </a:lnTo>
                <a:lnTo>
                  <a:pt x="1016346" y="569031"/>
                </a:lnTo>
                <a:lnTo>
                  <a:pt x="1022998" y="562853"/>
                </a:lnTo>
                <a:lnTo>
                  <a:pt x="1029176" y="556676"/>
                </a:lnTo>
                <a:lnTo>
                  <a:pt x="1035116" y="549548"/>
                </a:lnTo>
                <a:lnTo>
                  <a:pt x="1040818" y="541945"/>
                </a:lnTo>
                <a:lnTo>
                  <a:pt x="1046520" y="534342"/>
                </a:lnTo>
                <a:lnTo>
                  <a:pt x="1051985" y="526027"/>
                </a:lnTo>
                <a:lnTo>
                  <a:pt x="1056737" y="516523"/>
                </a:lnTo>
                <a:lnTo>
                  <a:pt x="1061726" y="507257"/>
                </a:lnTo>
                <a:lnTo>
                  <a:pt x="1066715" y="497041"/>
                </a:lnTo>
                <a:lnTo>
                  <a:pt x="1070992" y="486349"/>
                </a:lnTo>
                <a:lnTo>
                  <a:pt x="1075506" y="475182"/>
                </a:lnTo>
                <a:lnTo>
                  <a:pt x="1079070" y="462828"/>
                </a:lnTo>
                <a:lnTo>
                  <a:pt x="1082634" y="449998"/>
                </a:lnTo>
                <a:lnTo>
                  <a:pt x="1084772" y="437405"/>
                </a:lnTo>
                <a:lnTo>
                  <a:pt x="1087148" y="425050"/>
                </a:lnTo>
                <a:lnTo>
                  <a:pt x="1088811" y="411983"/>
                </a:lnTo>
                <a:lnTo>
                  <a:pt x="1089762" y="399628"/>
                </a:lnTo>
                <a:lnTo>
                  <a:pt x="1090712" y="386798"/>
                </a:lnTo>
                <a:lnTo>
                  <a:pt x="1090712" y="373731"/>
                </a:lnTo>
                <a:lnTo>
                  <a:pt x="1090712" y="360901"/>
                </a:lnTo>
                <a:lnTo>
                  <a:pt x="1089762" y="348071"/>
                </a:lnTo>
                <a:lnTo>
                  <a:pt x="1088811" y="335004"/>
                </a:lnTo>
                <a:lnTo>
                  <a:pt x="1088099" y="321698"/>
                </a:lnTo>
                <a:lnTo>
                  <a:pt x="1084772" y="295563"/>
                </a:lnTo>
                <a:lnTo>
                  <a:pt x="1080971" y="268478"/>
                </a:lnTo>
                <a:lnTo>
                  <a:pt x="1078595" y="258262"/>
                </a:lnTo>
                <a:lnTo>
                  <a:pt x="1075981" y="248283"/>
                </a:lnTo>
                <a:lnTo>
                  <a:pt x="1072417" y="238542"/>
                </a:lnTo>
                <a:lnTo>
                  <a:pt x="1069329" y="229275"/>
                </a:lnTo>
                <a:lnTo>
                  <a:pt x="1061251" y="210031"/>
                </a:lnTo>
                <a:lnTo>
                  <a:pt x="1053173" y="190073"/>
                </a:lnTo>
                <a:lnTo>
                  <a:pt x="1051034" y="186034"/>
                </a:lnTo>
                <a:lnTo>
                  <a:pt x="1048896" y="182470"/>
                </a:lnTo>
                <a:lnTo>
                  <a:pt x="1046045" y="179381"/>
                </a:lnTo>
                <a:lnTo>
                  <a:pt x="1043906" y="176768"/>
                </a:lnTo>
                <a:lnTo>
                  <a:pt x="1041293" y="174630"/>
                </a:lnTo>
                <a:lnTo>
                  <a:pt x="1038680" y="172729"/>
                </a:lnTo>
                <a:lnTo>
                  <a:pt x="1035828" y="171303"/>
                </a:lnTo>
                <a:lnTo>
                  <a:pt x="1032740" y="170591"/>
                </a:lnTo>
                <a:lnTo>
                  <a:pt x="1030126" y="170591"/>
                </a:lnTo>
                <a:lnTo>
                  <a:pt x="1027038" y="170591"/>
                </a:lnTo>
                <a:lnTo>
                  <a:pt x="1024424" y="171303"/>
                </a:lnTo>
                <a:lnTo>
                  <a:pt x="1021335" y="172729"/>
                </a:lnTo>
                <a:lnTo>
                  <a:pt x="1018247" y="174867"/>
                </a:lnTo>
                <a:lnTo>
                  <a:pt x="1014920" y="177718"/>
                </a:lnTo>
                <a:lnTo>
                  <a:pt x="1011832" y="180807"/>
                </a:lnTo>
                <a:lnTo>
                  <a:pt x="1008743" y="184846"/>
                </a:lnTo>
                <a:lnTo>
                  <a:pt x="991874" y="201240"/>
                </a:lnTo>
                <a:lnTo>
                  <a:pt x="983321" y="209318"/>
                </a:lnTo>
                <a:lnTo>
                  <a:pt x="974530" y="216683"/>
                </a:lnTo>
                <a:lnTo>
                  <a:pt x="965739" y="223811"/>
                </a:lnTo>
                <a:lnTo>
                  <a:pt x="956236" y="230226"/>
                </a:lnTo>
                <a:lnTo>
                  <a:pt x="946494" y="235928"/>
                </a:lnTo>
                <a:lnTo>
                  <a:pt x="941505" y="238066"/>
                </a:lnTo>
                <a:lnTo>
                  <a:pt x="936753" y="240442"/>
                </a:lnTo>
                <a:lnTo>
                  <a:pt x="932239" y="242581"/>
                </a:lnTo>
                <a:lnTo>
                  <a:pt x="928675" y="245669"/>
                </a:lnTo>
                <a:lnTo>
                  <a:pt x="925111" y="249233"/>
                </a:lnTo>
                <a:lnTo>
                  <a:pt x="922022" y="252797"/>
                </a:lnTo>
                <a:lnTo>
                  <a:pt x="919884" y="257311"/>
                </a:lnTo>
                <a:lnTo>
                  <a:pt x="918934" y="259925"/>
                </a:lnTo>
                <a:lnTo>
                  <a:pt x="918459" y="262538"/>
                </a:lnTo>
                <a:lnTo>
                  <a:pt x="918459" y="265389"/>
                </a:lnTo>
                <a:lnTo>
                  <a:pt x="918459" y="268003"/>
                </a:lnTo>
                <a:lnTo>
                  <a:pt x="918934" y="271091"/>
                </a:lnTo>
                <a:lnTo>
                  <a:pt x="919884" y="274180"/>
                </a:lnTo>
                <a:lnTo>
                  <a:pt x="921547" y="282258"/>
                </a:lnTo>
                <a:lnTo>
                  <a:pt x="922973" y="290574"/>
                </a:lnTo>
                <a:lnTo>
                  <a:pt x="923923" y="299127"/>
                </a:lnTo>
                <a:lnTo>
                  <a:pt x="924161" y="307443"/>
                </a:lnTo>
                <a:lnTo>
                  <a:pt x="924161" y="315996"/>
                </a:lnTo>
                <a:lnTo>
                  <a:pt x="923923" y="324550"/>
                </a:lnTo>
                <a:lnTo>
                  <a:pt x="922973" y="332865"/>
                </a:lnTo>
                <a:lnTo>
                  <a:pt x="922022" y="340943"/>
                </a:lnTo>
                <a:lnTo>
                  <a:pt x="920597" y="349259"/>
                </a:lnTo>
                <a:lnTo>
                  <a:pt x="918934" y="357812"/>
                </a:lnTo>
                <a:lnTo>
                  <a:pt x="914420" y="374681"/>
                </a:lnTo>
                <a:lnTo>
                  <a:pt x="909192" y="391075"/>
                </a:lnTo>
                <a:lnTo>
                  <a:pt x="903253" y="408182"/>
                </a:lnTo>
                <a:lnTo>
                  <a:pt x="903253" y="397965"/>
                </a:lnTo>
                <a:lnTo>
                  <a:pt x="904203" y="387274"/>
                </a:lnTo>
                <a:lnTo>
                  <a:pt x="906104" y="367078"/>
                </a:lnTo>
                <a:lnTo>
                  <a:pt x="907767" y="347596"/>
                </a:lnTo>
                <a:lnTo>
                  <a:pt x="908717" y="338567"/>
                </a:lnTo>
                <a:lnTo>
                  <a:pt x="908717" y="329777"/>
                </a:lnTo>
                <a:lnTo>
                  <a:pt x="908717" y="325738"/>
                </a:lnTo>
                <a:lnTo>
                  <a:pt x="907767" y="322649"/>
                </a:lnTo>
                <a:lnTo>
                  <a:pt x="906817" y="319560"/>
                </a:lnTo>
                <a:lnTo>
                  <a:pt x="905154" y="316471"/>
                </a:lnTo>
                <a:lnTo>
                  <a:pt x="903728" y="314096"/>
                </a:lnTo>
                <a:lnTo>
                  <a:pt x="901590" y="311957"/>
                </a:lnTo>
                <a:lnTo>
                  <a:pt x="897551" y="307443"/>
                </a:lnTo>
                <a:lnTo>
                  <a:pt x="895412" y="309344"/>
                </a:lnTo>
                <a:lnTo>
                  <a:pt x="892561" y="310769"/>
                </a:lnTo>
                <a:lnTo>
                  <a:pt x="887334" y="313383"/>
                </a:lnTo>
                <a:lnTo>
                  <a:pt x="884721" y="314096"/>
                </a:lnTo>
                <a:lnTo>
                  <a:pt x="882820" y="315521"/>
                </a:lnTo>
                <a:lnTo>
                  <a:pt x="881632" y="316947"/>
                </a:lnTo>
                <a:lnTo>
                  <a:pt x="881157" y="318610"/>
                </a:lnTo>
                <a:lnTo>
                  <a:pt x="872604" y="331915"/>
                </a:lnTo>
                <a:lnTo>
                  <a:pt x="864288" y="346646"/>
                </a:lnTo>
                <a:lnTo>
                  <a:pt x="856210" y="361376"/>
                </a:lnTo>
                <a:lnTo>
                  <a:pt x="847656" y="374681"/>
                </a:lnTo>
                <a:lnTo>
                  <a:pt x="841954" y="374681"/>
                </a:lnTo>
                <a:lnTo>
                  <a:pt x="846468" y="357812"/>
                </a:lnTo>
                <a:lnTo>
                  <a:pt x="850508" y="339518"/>
                </a:lnTo>
                <a:lnTo>
                  <a:pt x="854784" y="319560"/>
                </a:lnTo>
                <a:lnTo>
                  <a:pt x="858823" y="296514"/>
                </a:lnTo>
                <a:lnTo>
                  <a:pt x="848132" y="303879"/>
                </a:lnTo>
                <a:lnTo>
                  <a:pt x="840054" y="310294"/>
                </a:lnTo>
                <a:lnTo>
                  <a:pt x="833163" y="316947"/>
                </a:lnTo>
                <a:lnTo>
                  <a:pt x="825560" y="324550"/>
                </a:lnTo>
                <a:lnTo>
                  <a:pt x="823185" y="326688"/>
                </a:lnTo>
                <a:lnTo>
                  <a:pt x="821522" y="329301"/>
                </a:lnTo>
                <a:lnTo>
                  <a:pt x="817007" y="335954"/>
                </a:lnTo>
                <a:lnTo>
                  <a:pt x="812968" y="344032"/>
                </a:lnTo>
                <a:lnTo>
                  <a:pt x="808929" y="352585"/>
                </a:lnTo>
                <a:lnTo>
                  <a:pt x="809880" y="343557"/>
                </a:lnTo>
                <a:lnTo>
                  <a:pt x="811305" y="335479"/>
                </a:lnTo>
                <a:lnTo>
                  <a:pt x="812493" y="328826"/>
                </a:lnTo>
                <a:lnTo>
                  <a:pt x="814394" y="323124"/>
                </a:lnTo>
                <a:lnTo>
                  <a:pt x="816532" y="317659"/>
                </a:lnTo>
                <a:lnTo>
                  <a:pt x="819146" y="313383"/>
                </a:lnTo>
                <a:lnTo>
                  <a:pt x="822709" y="309344"/>
                </a:lnTo>
                <a:lnTo>
                  <a:pt x="826748" y="306255"/>
                </a:lnTo>
                <a:lnTo>
                  <a:pt x="832213" y="303166"/>
                </a:lnTo>
                <a:lnTo>
                  <a:pt x="838390" y="300315"/>
                </a:lnTo>
                <a:lnTo>
                  <a:pt x="845518" y="298177"/>
                </a:lnTo>
                <a:lnTo>
                  <a:pt x="854071" y="295563"/>
                </a:lnTo>
                <a:lnTo>
                  <a:pt x="875217" y="290574"/>
                </a:lnTo>
                <a:lnTo>
                  <a:pt x="903253" y="285347"/>
                </a:lnTo>
                <a:lnTo>
                  <a:pt x="886384" y="268478"/>
                </a:lnTo>
                <a:lnTo>
                  <a:pt x="879731" y="270141"/>
                </a:lnTo>
                <a:lnTo>
                  <a:pt x="873079" y="271091"/>
                </a:lnTo>
                <a:lnTo>
                  <a:pt x="867376" y="271567"/>
                </a:lnTo>
                <a:lnTo>
                  <a:pt x="862387" y="271091"/>
                </a:lnTo>
                <a:lnTo>
                  <a:pt x="857398" y="269666"/>
                </a:lnTo>
                <a:lnTo>
                  <a:pt x="853596" y="268003"/>
                </a:lnTo>
                <a:lnTo>
                  <a:pt x="849557" y="265627"/>
                </a:lnTo>
                <a:lnTo>
                  <a:pt x="846468" y="262538"/>
                </a:lnTo>
                <a:lnTo>
                  <a:pt x="843380" y="259450"/>
                </a:lnTo>
                <a:lnTo>
                  <a:pt x="840529" y="255411"/>
                </a:lnTo>
                <a:lnTo>
                  <a:pt x="838390" y="251134"/>
                </a:lnTo>
                <a:lnTo>
                  <a:pt x="836490" y="246620"/>
                </a:lnTo>
                <a:lnTo>
                  <a:pt x="834827" y="241155"/>
                </a:lnTo>
                <a:lnTo>
                  <a:pt x="833401" y="235453"/>
                </a:lnTo>
                <a:lnTo>
                  <a:pt x="831263" y="223336"/>
                </a:lnTo>
                <a:lnTo>
                  <a:pt x="897551" y="206942"/>
                </a:lnTo>
                <a:lnTo>
                  <a:pt x="888997" y="194112"/>
                </a:lnTo>
                <a:lnTo>
                  <a:pt x="880682" y="181282"/>
                </a:lnTo>
                <a:lnTo>
                  <a:pt x="871416" y="168690"/>
                </a:lnTo>
                <a:lnTo>
                  <a:pt x="866901" y="162988"/>
                </a:lnTo>
                <a:lnTo>
                  <a:pt x="861437" y="157048"/>
                </a:lnTo>
                <a:lnTo>
                  <a:pt x="856210" y="151821"/>
                </a:lnTo>
                <a:lnTo>
                  <a:pt x="850745" y="146831"/>
                </a:lnTo>
                <a:lnTo>
                  <a:pt x="844568" y="142555"/>
                </a:lnTo>
                <a:lnTo>
                  <a:pt x="838390" y="138516"/>
                </a:lnTo>
                <a:lnTo>
                  <a:pt x="831738" y="134952"/>
                </a:lnTo>
                <a:lnTo>
                  <a:pt x="824610" y="132338"/>
                </a:lnTo>
                <a:lnTo>
                  <a:pt x="817007" y="129963"/>
                </a:lnTo>
                <a:lnTo>
                  <a:pt x="808929" y="128774"/>
                </a:lnTo>
                <a:lnTo>
                  <a:pt x="806791" y="128299"/>
                </a:lnTo>
                <a:lnTo>
                  <a:pt x="804652" y="127824"/>
                </a:lnTo>
                <a:lnTo>
                  <a:pt x="802752" y="126399"/>
                </a:lnTo>
                <a:lnTo>
                  <a:pt x="801089" y="125211"/>
                </a:lnTo>
                <a:lnTo>
                  <a:pt x="799663" y="123310"/>
                </a:lnTo>
                <a:lnTo>
                  <a:pt x="798713" y="121647"/>
                </a:lnTo>
                <a:lnTo>
                  <a:pt x="798000" y="119271"/>
                </a:lnTo>
                <a:lnTo>
                  <a:pt x="798000" y="117608"/>
                </a:lnTo>
                <a:lnTo>
                  <a:pt x="785408" y="106916"/>
                </a:lnTo>
                <a:lnTo>
                  <a:pt x="772578" y="95749"/>
                </a:lnTo>
                <a:lnTo>
                  <a:pt x="747155" y="72703"/>
                </a:lnTo>
                <a:lnTo>
                  <a:pt x="733850" y="61061"/>
                </a:lnTo>
                <a:lnTo>
                  <a:pt x="720545" y="49894"/>
                </a:lnTo>
                <a:lnTo>
                  <a:pt x="706765" y="38728"/>
                </a:lnTo>
                <a:lnTo>
                  <a:pt x="692510" y="28036"/>
                </a:lnTo>
                <a:lnTo>
                  <a:pt x="679442" y="21859"/>
                </a:lnTo>
                <a:lnTo>
                  <a:pt x="666137" y="16632"/>
                </a:lnTo>
                <a:lnTo>
                  <a:pt x="652832" y="11642"/>
                </a:lnTo>
                <a:lnTo>
                  <a:pt x="639527" y="7603"/>
                </a:lnTo>
                <a:lnTo>
                  <a:pt x="626222" y="4514"/>
                </a:lnTo>
                <a:lnTo>
                  <a:pt x="612917" y="1901"/>
                </a:lnTo>
                <a:lnTo>
                  <a:pt x="599374" y="475"/>
                </a:lnTo>
                <a:close/>
              </a:path>
            </a:pathLst>
          </a:custGeom>
          <a:solidFill>
            <a:schemeClr val="bg1">
              <a:alpha val="25000"/>
            </a:schemeClr>
          </a:solidFill>
          <a:ln>
            <a:noFill/>
          </a:ln>
        </p:spPr>
        <p:txBody>
          <a:bodyPr vert="horz" wrap="square" lIns="89642" tIns="44821" rIns="89642" bIns="44821" numCol="1" anchor="t" anchorCtr="0" compatLnSpc="1">
            <a:prstTxWarp prst="textNoShape">
              <a:avLst/>
            </a:prstTxWarp>
            <a:noAutofit/>
          </a:bodyPr>
          <a:lstStyle/>
          <a:p>
            <a:endParaRPr lang="en-IN" sz="1765"/>
          </a:p>
        </p:txBody>
      </p:sp>
      <p:sp>
        <p:nvSpPr>
          <p:cNvPr id="7" name="Rectangle 6"/>
          <p:cNvSpPr/>
          <p:nvPr/>
        </p:nvSpPr>
        <p:spPr>
          <a:xfrm>
            <a:off x="8929" y="1213304"/>
            <a:ext cx="5220355" cy="825547"/>
          </a:xfrm>
          <a:prstGeom prst="rect">
            <a:avLst/>
          </a:prstGeom>
        </p:spPr>
        <p:txBody>
          <a:bodyPr wrap="square" lIns="268927">
            <a:spAutoFit/>
          </a:bodyPr>
          <a:lstStyle/>
          <a:p>
            <a:pPr defTabSz="914102" fontAlgn="base">
              <a:lnSpc>
                <a:spcPct val="90000"/>
              </a:lnSpc>
              <a:spcBef>
                <a:spcPct val="0"/>
              </a:spcBef>
              <a:spcAft>
                <a:spcPct val="0"/>
              </a:spcAft>
            </a:pPr>
            <a:r>
              <a:rPr lang="en-US" sz="5294" dirty="0">
                <a:solidFill>
                  <a:schemeClr val="bg1"/>
                </a:solidFill>
                <a:latin typeface="+mj-lt"/>
                <a:ea typeface="Segoe UI" pitchFamily="34" charset="0"/>
                <a:cs typeface="Segoe UI" pitchFamily="34" charset="0"/>
              </a:rPr>
              <a:t>Apache Storm</a:t>
            </a:r>
          </a:p>
        </p:txBody>
      </p:sp>
      <p:sp>
        <p:nvSpPr>
          <p:cNvPr id="2" name="Slide Number Placeholder 1"/>
          <p:cNvSpPr>
            <a:spLocks noGrp="1"/>
          </p:cNvSpPr>
          <p:nvPr>
            <p:ph type="sldNum" sz="quarter" idx="11"/>
          </p:nvPr>
        </p:nvSpPr>
        <p:spPr/>
        <p:txBody>
          <a:bodyPr/>
          <a:lstStyle/>
          <a:p>
            <a:pPr>
              <a:defRPr/>
            </a:pPr>
            <a:fld id="{F8A0AC42-AA1D-4944-8D96-660DE70C7E1B}" type="slidenum">
              <a:rPr lang="en-IN" smtClean="0"/>
              <a:pPr>
                <a:defRPr/>
              </a:pPr>
              <a:t>69</a:t>
            </a:fld>
            <a:endParaRPr lang="en-IN" dirty="0"/>
          </a:p>
        </p:txBody>
      </p:sp>
    </p:spTree>
    <p:extLst>
      <p:ext uri="{BB962C8B-B14F-4D97-AF65-F5344CB8AC3E}">
        <p14:creationId xmlns:p14="http://schemas.microsoft.com/office/powerpoint/2010/main" val="2611654303"/>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adoop MapReduce Concept</a:t>
            </a:r>
          </a:p>
        </p:txBody>
      </p:sp>
      <p:sp>
        <p:nvSpPr>
          <p:cNvPr id="6" name="Slide Number Placeholder 5"/>
          <p:cNvSpPr>
            <a:spLocks noGrp="1"/>
          </p:cNvSpPr>
          <p:nvPr>
            <p:ph type="sldNum" sz="quarter" idx="11"/>
          </p:nvPr>
        </p:nvSpPr>
        <p:spPr/>
        <p:txBody>
          <a:bodyPr/>
          <a:lstStyle/>
          <a:p>
            <a:pPr>
              <a:defRPr/>
            </a:pPr>
            <a:fld id="{F8A0AC42-AA1D-4944-8D96-660DE70C7E1B}" type="slidenum">
              <a:rPr lang="en-IN"/>
              <a:pPr>
                <a:defRPr/>
              </a:pPr>
              <a:t>7</a:t>
            </a:fld>
            <a:endParaRPr lang="en-IN" dirty="0"/>
          </a:p>
        </p:txBody>
      </p:sp>
      <p:grpSp>
        <p:nvGrpSpPr>
          <p:cNvPr id="66" name="Group 65"/>
          <p:cNvGrpSpPr/>
          <p:nvPr/>
        </p:nvGrpSpPr>
        <p:grpSpPr>
          <a:xfrm>
            <a:off x="6705994" y="5152100"/>
            <a:ext cx="4173333" cy="556995"/>
            <a:chOff x="7267499" y="4959199"/>
            <a:chExt cx="4257017" cy="568164"/>
          </a:xfrm>
        </p:grpSpPr>
        <p:sp>
          <p:nvSpPr>
            <p:cNvPr id="25" name="Isosceles Triangle 24"/>
            <p:cNvSpPr/>
            <p:nvPr/>
          </p:nvSpPr>
          <p:spPr bwMode="auto">
            <a:xfrm flipV="1">
              <a:off x="7267499" y="4959199"/>
              <a:ext cx="4257017" cy="568164"/>
            </a:xfrm>
            <a:prstGeom prst="triangle">
              <a:avLst/>
            </a:prstGeom>
            <a:noFill/>
            <a:ln w="19050" cap="rnd">
              <a:solidFill>
                <a:schemeClr val="bg1">
                  <a:lumMod val="75000"/>
                </a:schemeClr>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2353" dirty="0">
                <a:solidFill>
                  <a:srgbClr val="FFFFFF"/>
                </a:solidFill>
              </a:endParaRPr>
            </a:p>
          </p:txBody>
        </p:sp>
        <p:grpSp>
          <p:nvGrpSpPr>
            <p:cNvPr id="61" name="Group 60"/>
            <p:cNvGrpSpPr/>
            <p:nvPr/>
          </p:nvGrpSpPr>
          <p:grpSpPr>
            <a:xfrm>
              <a:off x="8445328" y="5004579"/>
              <a:ext cx="1901359" cy="409584"/>
              <a:chOff x="8412347" y="5004579"/>
              <a:chExt cx="1901359" cy="409584"/>
            </a:xfrm>
          </p:grpSpPr>
          <p:sp>
            <p:nvSpPr>
              <p:cNvPr id="26" name="Rectangle 25"/>
              <p:cNvSpPr/>
              <p:nvPr/>
            </p:nvSpPr>
            <p:spPr bwMode="auto">
              <a:xfrm>
                <a:off x="8412347" y="5016953"/>
                <a:ext cx="429805" cy="228108"/>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2353" dirty="0">
                  <a:gradFill>
                    <a:gsLst>
                      <a:gs pos="0">
                        <a:srgbClr val="FFFFFF"/>
                      </a:gs>
                      <a:gs pos="100000">
                        <a:srgbClr val="FFFFFF"/>
                      </a:gs>
                    </a:gsLst>
                    <a:lin ang="5400000" scaled="0"/>
                  </a:gradFill>
                </a:endParaRPr>
              </a:p>
            </p:txBody>
          </p:sp>
          <p:sp>
            <p:nvSpPr>
              <p:cNvPr id="27" name="Rectangle 26"/>
              <p:cNvSpPr/>
              <p:nvPr/>
            </p:nvSpPr>
            <p:spPr bwMode="auto">
              <a:xfrm>
                <a:off x="9148124" y="5186055"/>
                <a:ext cx="429805" cy="228108"/>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2353" dirty="0">
                  <a:gradFill>
                    <a:gsLst>
                      <a:gs pos="0">
                        <a:srgbClr val="FFFFFF"/>
                      </a:gs>
                      <a:gs pos="100000">
                        <a:srgbClr val="FFFFFF"/>
                      </a:gs>
                    </a:gsLst>
                    <a:lin ang="5400000" scaled="0"/>
                  </a:gradFill>
                </a:endParaRPr>
              </a:p>
            </p:txBody>
          </p:sp>
          <p:sp>
            <p:nvSpPr>
              <p:cNvPr id="28" name="Rectangle 27"/>
              <p:cNvSpPr/>
              <p:nvPr/>
            </p:nvSpPr>
            <p:spPr bwMode="auto">
              <a:xfrm>
                <a:off x="9883901" y="5004579"/>
                <a:ext cx="429805" cy="228108"/>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2353" dirty="0">
                  <a:gradFill>
                    <a:gsLst>
                      <a:gs pos="0">
                        <a:srgbClr val="FFFFFF"/>
                      </a:gs>
                      <a:gs pos="100000">
                        <a:srgbClr val="FFFFFF"/>
                      </a:gs>
                    </a:gsLst>
                    <a:lin ang="5400000" scaled="0"/>
                  </a:gradFill>
                </a:endParaRPr>
              </a:p>
            </p:txBody>
          </p:sp>
        </p:grpSp>
      </p:grpSp>
      <p:sp>
        <p:nvSpPr>
          <p:cNvPr id="29" name="Rectangle 28"/>
          <p:cNvSpPr/>
          <p:nvPr/>
        </p:nvSpPr>
        <p:spPr bwMode="auto">
          <a:xfrm>
            <a:off x="8211231" y="5814143"/>
            <a:ext cx="1162856" cy="539798"/>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2353" dirty="0">
                <a:gradFill>
                  <a:gsLst>
                    <a:gs pos="0">
                      <a:srgbClr val="FFFFFF"/>
                    </a:gs>
                    <a:gs pos="100000">
                      <a:srgbClr val="FFFFFF"/>
                    </a:gs>
                  </a:gsLst>
                  <a:lin ang="5400000" scaled="0"/>
                </a:gradFill>
              </a:rPr>
              <a:t>Output</a:t>
            </a:r>
          </a:p>
        </p:txBody>
      </p:sp>
      <p:sp>
        <p:nvSpPr>
          <p:cNvPr id="15" name="Left Brace 14"/>
          <p:cNvSpPr/>
          <p:nvPr/>
        </p:nvSpPr>
        <p:spPr>
          <a:xfrm>
            <a:off x="6030163" y="1278141"/>
            <a:ext cx="183846" cy="2868311"/>
          </a:xfrm>
          <a:prstGeom prst="leftBrace">
            <a:avLst>
              <a:gd name="adj1" fmla="val 47876"/>
              <a:gd name="adj2" fmla="val 50000"/>
            </a:avLst>
          </a:prstGeom>
          <a:solidFill>
            <a:schemeClr val="bg1"/>
          </a:solidFill>
          <a:ln w="15875">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961" dirty="0">
              <a:solidFill>
                <a:srgbClr val="000000"/>
              </a:solidFill>
            </a:endParaRPr>
          </a:p>
        </p:txBody>
      </p:sp>
      <p:sp>
        <p:nvSpPr>
          <p:cNvPr id="31" name="TextBox 30"/>
          <p:cNvSpPr txBox="1"/>
          <p:nvPr/>
        </p:nvSpPr>
        <p:spPr>
          <a:xfrm>
            <a:off x="5109897" y="2270315"/>
            <a:ext cx="888878" cy="883961"/>
          </a:xfrm>
          <a:prstGeom prst="ellipse">
            <a:avLst/>
          </a:prstGeom>
          <a:solidFill>
            <a:schemeClr val="bg1">
              <a:lumMod val="85000"/>
            </a:schemeClr>
          </a:solidFill>
        </p:spPr>
        <p:txBody>
          <a:bodyPr wrap="none" lIns="89642" tIns="44821" rIns="89642" bIns="44821" rtlCol="0" anchor="ctr">
            <a:noAutofit/>
          </a:bodyPr>
          <a:lstStyle/>
          <a:p>
            <a:pPr algn="ctr" defTabSz="914367"/>
            <a:r>
              <a:rPr lang="en-US" sz="1568" dirty="0">
                <a:solidFill>
                  <a:srgbClr val="505050"/>
                </a:solidFill>
                <a:latin typeface="Segoe UI Semibold" panose="020B0702040204020203" pitchFamily="34" charset="0"/>
                <a:cs typeface="Segoe UI Semibold" panose="020B0702040204020203" pitchFamily="34" charset="0"/>
              </a:rPr>
              <a:t>Map()</a:t>
            </a:r>
          </a:p>
        </p:txBody>
      </p:sp>
      <p:sp>
        <p:nvSpPr>
          <p:cNvPr id="32" name="TextBox 31"/>
          <p:cNvSpPr txBox="1"/>
          <p:nvPr/>
        </p:nvSpPr>
        <p:spPr>
          <a:xfrm>
            <a:off x="5109897" y="4938219"/>
            <a:ext cx="888878" cy="883961"/>
          </a:xfrm>
          <a:prstGeom prst="ellipse">
            <a:avLst/>
          </a:prstGeom>
          <a:solidFill>
            <a:schemeClr val="bg1">
              <a:lumMod val="85000"/>
            </a:schemeClr>
          </a:solidFill>
        </p:spPr>
        <p:txBody>
          <a:bodyPr wrap="none" lIns="89642" tIns="44821" rIns="89642" bIns="44821" rtlCol="0" anchor="ctr">
            <a:noAutofit/>
          </a:bodyPr>
          <a:lstStyle/>
          <a:p>
            <a:pPr algn="ctr" defTabSz="914367"/>
            <a:r>
              <a:rPr lang="en-US" sz="1568" dirty="0">
                <a:solidFill>
                  <a:srgbClr val="505050"/>
                </a:solidFill>
                <a:latin typeface="Segoe UI Semibold" panose="020B0702040204020203" pitchFamily="34" charset="0"/>
                <a:cs typeface="Segoe UI Semibold" panose="020B0702040204020203" pitchFamily="34" charset="0"/>
              </a:rPr>
              <a:t>Reduce()</a:t>
            </a:r>
          </a:p>
        </p:txBody>
      </p:sp>
      <p:grpSp>
        <p:nvGrpSpPr>
          <p:cNvPr id="34" name="Group 33"/>
          <p:cNvGrpSpPr/>
          <p:nvPr/>
        </p:nvGrpSpPr>
        <p:grpSpPr>
          <a:xfrm>
            <a:off x="479331" y="1744345"/>
            <a:ext cx="4312560" cy="1538804"/>
            <a:chOff x="603233" y="1238495"/>
            <a:chExt cx="4399036" cy="1569660"/>
          </a:xfrm>
        </p:grpSpPr>
        <p:sp>
          <p:nvSpPr>
            <p:cNvPr id="35" name="Rectangle 34"/>
            <p:cNvSpPr/>
            <p:nvPr/>
          </p:nvSpPr>
          <p:spPr>
            <a:xfrm>
              <a:off x="899886" y="1238495"/>
              <a:ext cx="4102383" cy="1569660"/>
            </a:xfrm>
            <a:prstGeom prst="rect">
              <a:avLst/>
            </a:prstGeom>
          </p:spPr>
          <p:txBody>
            <a:bodyPr wrap="square">
              <a:spAutoFit/>
            </a:bodyPr>
            <a:lstStyle/>
            <a:p>
              <a:pPr marL="52912" lvl="1" defTabSz="913770" fontAlgn="base">
                <a:spcBef>
                  <a:spcPts val="588"/>
                </a:spcBef>
                <a:spcAft>
                  <a:spcPts val="588"/>
                </a:spcAft>
                <a:buClr>
                  <a:srgbClr val="68217A">
                    <a:lumMod val="50000"/>
                  </a:srgbClr>
                </a:buClr>
                <a:tabLst>
                  <a:tab pos="645523" algn="l"/>
                </a:tabLst>
              </a:pPr>
              <a:r>
                <a:rPr lang="en-IN" sz="2353" dirty="0">
                  <a:ln>
                    <a:solidFill>
                      <a:srgbClr val="FFFFFF">
                        <a:alpha val="0"/>
                      </a:srgbClr>
                    </a:solidFill>
                  </a:ln>
                  <a:gradFill>
                    <a:gsLst>
                      <a:gs pos="85321">
                        <a:srgbClr val="505050"/>
                      </a:gs>
                      <a:gs pos="57000">
                        <a:srgbClr val="505050"/>
                      </a:gs>
                    </a:gsLst>
                  </a:gradFill>
                  <a:ea typeface="Segoe UI" pitchFamily="34" charset="0"/>
                  <a:cs typeface="Segoe UI" pitchFamily="34" charset="0"/>
                </a:rPr>
                <a:t>Programming framework (library and runtime) for analysing datasets stored in HDFS</a:t>
              </a:r>
            </a:p>
          </p:txBody>
        </p:sp>
        <p:sp>
          <p:nvSpPr>
            <p:cNvPr id="36" name="Freeform 35"/>
            <p:cNvSpPr>
              <a:spLocks/>
            </p:cNvSpPr>
            <p:nvPr/>
          </p:nvSpPr>
          <p:spPr bwMode="auto">
            <a:xfrm>
              <a:off x="603233" y="1369678"/>
              <a:ext cx="341433" cy="2589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lumMod val="50000"/>
              </a:schemeClr>
            </a:solidFill>
            <a:ln>
              <a:noFill/>
            </a:ln>
          </p:spPr>
          <p:txBody>
            <a:bodyPr vert="horz" wrap="square" lIns="89642" tIns="44821" rIns="89642" bIns="44821" numCol="1" anchor="t" anchorCtr="0" compatLnSpc="1">
              <a:prstTxWarp prst="textNoShape">
                <a:avLst/>
              </a:prstTxWarp>
            </a:bodyPr>
            <a:lstStyle/>
            <a:p>
              <a:pPr defTabSz="914367"/>
              <a:endParaRPr lang="en-IN" sz="1765">
                <a:solidFill>
                  <a:srgbClr val="000000"/>
                </a:solidFill>
              </a:endParaRPr>
            </a:p>
          </p:txBody>
        </p:sp>
      </p:grpSp>
      <p:grpSp>
        <p:nvGrpSpPr>
          <p:cNvPr id="37" name="Group 36"/>
          <p:cNvGrpSpPr/>
          <p:nvPr/>
        </p:nvGrpSpPr>
        <p:grpSpPr>
          <a:xfrm>
            <a:off x="479331" y="3484439"/>
            <a:ext cx="4266168" cy="814661"/>
            <a:chOff x="603233" y="2288574"/>
            <a:chExt cx="4351714" cy="830997"/>
          </a:xfrm>
        </p:grpSpPr>
        <p:sp>
          <p:nvSpPr>
            <p:cNvPr id="38" name="Rectangle 37"/>
            <p:cNvSpPr/>
            <p:nvPr/>
          </p:nvSpPr>
          <p:spPr>
            <a:xfrm>
              <a:off x="899887" y="2288574"/>
              <a:ext cx="4055060" cy="830997"/>
            </a:xfrm>
            <a:prstGeom prst="rect">
              <a:avLst/>
            </a:prstGeom>
          </p:spPr>
          <p:txBody>
            <a:bodyPr wrap="square">
              <a:spAutoFit/>
            </a:bodyPr>
            <a:lstStyle/>
            <a:p>
              <a:pPr marL="52912" lvl="1" defTabSz="913770" fontAlgn="base">
                <a:spcBef>
                  <a:spcPts val="588"/>
                </a:spcBef>
                <a:spcAft>
                  <a:spcPts val="588"/>
                </a:spcAft>
                <a:buClr>
                  <a:srgbClr val="68217A">
                    <a:lumMod val="50000"/>
                  </a:srgbClr>
                </a:buClr>
                <a:tabLst>
                  <a:tab pos="645523" algn="l"/>
                </a:tabLst>
              </a:pPr>
              <a:r>
                <a:rPr lang="en-IN" sz="2353" dirty="0">
                  <a:ln>
                    <a:solidFill>
                      <a:srgbClr val="FFFFFF">
                        <a:alpha val="0"/>
                      </a:srgbClr>
                    </a:solidFill>
                  </a:ln>
                  <a:gradFill>
                    <a:gsLst>
                      <a:gs pos="85321">
                        <a:srgbClr val="505050"/>
                      </a:gs>
                      <a:gs pos="57000">
                        <a:srgbClr val="505050"/>
                      </a:gs>
                    </a:gsLst>
                  </a:gradFill>
                  <a:ea typeface="Segoe UI" pitchFamily="34" charset="0"/>
                  <a:cs typeface="Segoe UI" pitchFamily="34" charset="0"/>
                </a:rPr>
                <a:t>Composed of user-supplied Map and Reduce functions:</a:t>
              </a:r>
            </a:p>
          </p:txBody>
        </p:sp>
        <p:sp>
          <p:nvSpPr>
            <p:cNvPr id="39" name="Freeform 38"/>
            <p:cNvSpPr>
              <a:spLocks/>
            </p:cNvSpPr>
            <p:nvPr/>
          </p:nvSpPr>
          <p:spPr bwMode="auto">
            <a:xfrm>
              <a:off x="603233" y="2398378"/>
              <a:ext cx="341433" cy="2589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lumMod val="50000"/>
              </a:schemeClr>
            </a:solidFill>
            <a:ln>
              <a:noFill/>
            </a:ln>
          </p:spPr>
          <p:txBody>
            <a:bodyPr vert="horz" wrap="square" lIns="89642" tIns="44821" rIns="89642" bIns="44821" numCol="1" anchor="t" anchorCtr="0" compatLnSpc="1">
              <a:prstTxWarp prst="textNoShape">
                <a:avLst/>
              </a:prstTxWarp>
            </a:bodyPr>
            <a:lstStyle/>
            <a:p>
              <a:pPr defTabSz="914367"/>
              <a:endParaRPr lang="en-IN" sz="1765">
                <a:solidFill>
                  <a:srgbClr val="000000"/>
                </a:solidFill>
              </a:endParaRPr>
            </a:p>
          </p:txBody>
        </p:sp>
      </p:grpSp>
      <p:grpSp>
        <p:nvGrpSpPr>
          <p:cNvPr id="40" name="Group 39"/>
          <p:cNvGrpSpPr/>
          <p:nvPr/>
        </p:nvGrpSpPr>
        <p:grpSpPr>
          <a:xfrm>
            <a:off x="891502" y="4351412"/>
            <a:ext cx="3702676" cy="693970"/>
            <a:chOff x="1293544" y="3338653"/>
            <a:chExt cx="3776922" cy="707886"/>
          </a:xfrm>
        </p:grpSpPr>
        <p:sp>
          <p:nvSpPr>
            <p:cNvPr id="41" name="Rectangle 40"/>
            <p:cNvSpPr/>
            <p:nvPr/>
          </p:nvSpPr>
          <p:spPr>
            <a:xfrm>
              <a:off x="1485892" y="3338653"/>
              <a:ext cx="3584574" cy="707886"/>
            </a:xfrm>
            <a:prstGeom prst="rect">
              <a:avLst/>
            </a:prstGeom>
          </p:spPr>
          <p:txBody>
            <a:bodyPr wrap="square">
              <a:spAutoFit/>
            </a:bodyPr>
            <a:lstStyle/>
            <a:p>
              <a:pPr marL="287902" lvl="1" indent="-287902" defTabSz="913770" fontAlgn="base">
                <a:spcBef>
                  <a:spcPts val="196"/>
                </a:spcBef>
                <a:spcAft>
                  <a:spcPts val="196"/>
                </a:spcAft>
                <a:buClr>
                  <a:srgbClr val="68217A">
                    <a:lumMod val="50000"/>
                  </a:srgbClr>
                </a:buClr>
                <a:buFont typeface="Segoe UI" panose="020B0502040204020203" pitchFamily="34" charset="0"/>
                <a:buChar char="–"/>
                <a:tabLst>
                  <a:tab pos="645523" algn="l"/>
                </a:tabLst>
              </a:pPr>
              <a:r>
                <a:rPr lang="en-IN" sz="1961" dirty="0">
                  <a:ln>
                    <a:solidFill>
                      <a:srgbClr val="FFFFFF">
                        <a:alpha val="0"/>
                      </a:srgbClr>
                    </a:solidFill>
                  </a:ln>
                  <a:solidFill>
                    <a:srgbClr val="505050"/>
                  </a:solidFill>
                  <a:ea typeface="Segoe UI" pitchFamily="34" charset="0"/>
                  <a:cs typeface="Segoe UI" pitchFamily="34" charset="0"/>
                </a:rPr>
                <a:t>Map() - subdivide and conquer</a:t>
              </a:r>
            </a:p>
          </p:txBody>
        </p:sp>
        <p:sp>
          <p:nvSpPr>
            <p:cNvPr id="42" name="Freeform 41"/>
            <p:cNvSpPr>
              <a:spLocks/>
            </p:cNvSpPr>
            <p:nvPr/>
          </p:nvSpPr>
          <p:spPr bwMode="auto">
            <a:xfrm>
              <a:off x="1293544" y="3494856"/>
              <a:ext cx="238068" cy="180578"/>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4367"/>
              <a:endParaRPr lang="en-IN" sz="1765">
                <a:solidFill>
                  <a:srgbClr val="000000"/>
                </a:solidFill>
              </a:endParaRPr>
            </a:p>
          </p:txBody>
        </p:sp>
      </p:grpSp>
      <p:grpSp>
        <p:nvGrpSpPr>
          <p:cNvPr id="43" name="Group 42"/>
          <p:cNvGrpSpPr/>
          <p:nvPr/>
        </p:nvGrpSpPr>
        <p:grpSpPr>
          <a:xfrm>
            <a:off x="891820" y="5094059"/>
            <a:ext cx="3726093" cy="693970"/>
            <a:chOff x="1293868" y="4388732"/>
            <a:chExt cx="3800809" cy="707886"/>
          </a:xfrm>
        </p:grpSpPr>
        <p:sp>
          <p:nvSpPr>
            <p:cNvPr id="44" name="Rectangle 43"/>
            <p:cNvSpPr/>
            <p:nvPr/>
          </p:nvSpPr>
          <p:spPr>
            <a:xfrm>
              <a:off x="1485893" y="4388732"/>
              <a:ext cx="3608784" cy="707886"/>
            </a:xfrm>
            <a:prstGeom prst="rect">
              <a:avLst/>
            </a:prstGeom>
          </p:spPr>
          <p:txBody>
            <a:bodyPr wrap="square">
              <a:spAutoFit/>
            </a:bodyPr>
            <a:lstStyle/>
            <a:p>
              <a:pPr marL="287902" lvl="1" indent="-287902" defTabSz="913770" fontAlgn="base">
                <a:spcBef>
                  <a:spcPts val="196"/>
                </a:spcBef>
                <a:spcAft>
                  <a:spcPts val="196"/>
                </a:spcAft>
                <a:buClr>
                  <a:srgbClr val="68217A">
                    <a:lumMod val="50000"/>
                  </a:srgbClr>
                </a:buClr>
                <a:buFont typeface="Segoe UI" panose="020B0502040204020203" pitchFamily="34" charset="0"/>
                <a:buChar char="–"/>
                <a:tabLst>
                  <a:tab pos="645523" algn="l"/>
                </a:tabLst>
              </a:pPr>
              <a:r>
                <a:rPr lang="en-IN" sz="1961" dirty="0">
                  <a:ln>
                    <a:solidFill>
                      <a:srgbClr val="FFFFFF">
                        <a:alpha val="0"/>
                      </a:srgbClr>
                    </a:solidFill>
                  </a:ln>
                  <a:solidFill>
                    <a:srgbClr val="505050"/>
                  </a:solidFill>
                  <a:ea typeface="Segoe UI" pitchFamily="34" charset="0"/>
                  <a:cs typeface="Segoe UI" pitchFamily="34" charset="0"/>
                </a:rPr>
                <a:t>Reduce() - combine and reduce cardinality</a:t>
              </a:r>
            </a:p>
          </p:txBody>
        </p:sp>
        <p:sp>
          <p:nvSpPr>
            <p:cNvPr id="45" name="Freeform 44"/>
            <p:cNvSpPr>
              <a:spLocks/>
            </p:cNvSpPr>
            <p:nvPr/>
          </p:nvSpPr>
          <p:spPr bwMode="auto">
            <a:xfrm>
              <a:off x="1293868" y="4503403"/>
              <a:ext cx="237744" cy="182880"/>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4367"/>
              <a:endParaRPr lang="en-IN" sz="1765">
                <a:solidFill>
                  <a:srgbClr val="000000"/>
                </a:solidFill>
              </a:endParaRPr>
            </a:p>
          </p:txBody>
        </p:sp>
      </p:grpSp>
      <p:sp>
        <p:nvSpPr>
          <p:cNvPr id="55" name="Left Brace 54"/>
          <p:cNvSpPr/>
          <p:nvPr/>
        </p:nvSpPr>
        <p:spPr>
          <a:xfrm>
            <a:off x="6030163" y="4406457"/>
            <a:ext cx="183846" cy="1947485"/>
          </a:xfrm>
          <a:prstGeom prst="leftBrace">
            <a:avLst>
              <a:gd name="adj1" fmla="val 47876"/>
              <a:gd name="adj2" fmla="val 50000"/>
            </a:avLst>
          </a:prstGeom>
          <a:solidFill>
            <a:schemeClr val="bg1"/>
          </a:solidFill>
          <a:ln w="15875">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961" dirty="0">
              <a:solidFill>
                <a:srgbClr val="000000"/>
              </a:solidFill>
            </a:endParaRPr>
          </a:p>
        </p:txBody>
      </p:sp>
      <p:grpSp>
        <p:nvGrpSpPr>
          <p:cNvPr id="65" name="Group 64"/>
          <p:cNvGrpSpPr/>
          <p:nvPr/>
        </p:nvGrpSpPr>
        <p:grpSpPr>
          <a:xfrm>
            <a:off x="6418965" y="3520315"/>
            <a:ext cx="4750107" cy="580975"/>
            <a:chOff x="6974714" y="3492630"/>
            <a:chExt cx="4845357" cy="592625"/>
          </a:xfrm>
        </p:grpSpPr>
        <p:grpSp>
          <p:nvGrpSpPr>
            <p:cNvPr id="5" name="Group 4"/>
            <p:cNvGrpSpPr/>
            <p:nvPr/>
          </p:nvGrpSpPr>
          <p:grpSpPr>
            <a:xfrm>
              <a:off x="6974714" y="3492630"/>
              <a:ext cx="1236395" cy="592625"/>
              <a:chOff x="6860414" y="3771242"/>
              <a:chExt cx="1236395" cy="592625"/>
            </a:xfrm>
          </p:grpSpPr>
          <p:sp>
            <p:nvSpPr>
              <p:cNvPr id="16" name="Rectangle 15"/>
              <p:cNvSpPr/>
              <p:nvPr/>
            </p:nvSpPr>
            <p:spPr bwMode="auto">
              <a:xfrm>
                <a:off x="7114341" y="3771242"/>
                <a:ext cx="858083" cy="228108"/>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2353" dirty="0">
                  <a:solidFill>
                    <a:srgbClr val="FFFFFF"/>
                  </a:solidFill>
                </a:endParaRPr>
              </a:p>
            </p:txBody>
          </p:sp>
          <p:sp>
            <p:nvSpPr>
              <p:cNvPr id="17" name="TextBox 16"/>
              <p:cNvSpPr txBox="1"/>
              <p:nvPr/>
            </p:nvSpPr>
            <p:spPr>
              <a:xfrm>
                <a:off x="7023054" y="4025313"/>
                <a:ext cx="1073755" cy="338554"/>
              </a:xfrm>
              <a:prstGeom prst="rect">
                <a:avLst/>
              </a:prstGeom>
              <a:solidFill>
                <a:schemeClr val="bg1"/>
              </a:solidFill>
            </p:spPr>
            <p:txBody>
              <a:bodyPr wrap="none" lIns="89642" tIns="44821" rIns="89642" bIns="44821" rtlCol="0">
                <a:noAutofit/>
              </a:bodyPr>
              <a:lstStyle/>
              <a:p>
                <a:pPr defTabSz="914367"/>
                <a:r>
                  <a:rPr lang="en-US" sz="1568" dirty="0">
                    <a:solidFill>
                      <a:srgbClr val="0072C6"/>
                    </a:solidFill>
                  </a:rPr>
                  <a:t>Do work()</a:t>
                </a:r>
              </a:p>
            </p:txBody>
          </p:sp>
          <p:sp>
            <p:nvSpPr>
              <p:cNvPr id="10" name="Curved Up Arrow 9"/>
              <p:cNvSpPr/>
              <p:nvPr/>
            </p:nvSpPr>
            <p:spPr bwMode="auto">
              <a:xfrm rot="5400000" flipH="1">
                <a:off x="6776799" y="3914855"/>
                <a:ext cx="393096" cy="225866"/>
              </a:xfrm>
              <a:prstGeom prst="curvedUpArrow">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2353" dirty="0">
                  <a:gradFill>
                    <a:gsLst>
                      <a:gs pos="0">
                        <a:srgbClr val="FFFFFF"/>
                      </a:gs>
                      <a:gs pos="100000">
                        <a:srgbClr val="FFFFFF"/>
                      </a:gs>
                    </a:gsLst>
                    <a:lin ang="5400000" scaled="0"/>
                  </a:gradFill>
                </a:endParaRPr>
              </a:p>
            </p:txBody>
          </p:sp>
        </p:grpSp>
        <p:grpSp>
          <p:nvGrpSpPr>
            <p:cNvPr id="46" name="Group 45"/>
            <p:cNvGrpSpPr/>
            <p:nvPr/>
          </p:nvGrpSpPr>
          <p:grpSpPr>
            <a:xfrm>
              <a:off x="8779195" y="3492630"/>
              <a:ext cx="1236395" cy="592625"/>
              <a:chOff x="6860414" y="3771242"/>
              <a:chExt cx="1236395" cy="592625"/>
            </a:xfrm>
          </p:grpSpPr>
          <p:sp>
            <p:nvSpPr>
              <p:cNvPr id="47" name="Rectangle 46"/>
              <p:cNvSpPr/>
              <p:nvPr/>
            </p:nvSpPr>
            <p:spPr bwMode="auto">
              <a:xfrm>
                <a:off x="7114341" y="3771242"/>
                <a:ext cx="858083" cy="228108"/>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2353" dirty="0">
                  <a:solidFill>
                    <a:srgbClr val="FFFFFF"/>
                  </a:solidFill>
                </a:endParaRPr>
              </a:p>
            </p:txBody>
          </p:sp>
          <p:sp>
            <p:nvSpPr>
              <p:cNvPr id="48" name="TextBox 47"/>
              <p:cNvSpPr txBox="1"/>
              <p:nvPr/>
            </p:nvSpPr>
            <p:spPr>
              <a:xfrm>
                <a:off x="7023054" y="4025313"/>
                <a:ext cx="1073755" cy="338554"/>
              </a:xfrm>
              <a:prstGeom prst="rect">
                <a:avLst/>
              </a:prstGeom>
              <a:solidFill>
                <a:schemeClr val="bg1"/>
              </a:solidFill>
            </p:spPr>
            <p:txBody>
              <a:bodyPr wrap="none" lIns="89642" tIns="44821" rIns="89642" bIns="44821" rtlCol="0">
                <a:noAutofit/>
              </a:bodyPr>
              <a:lstStyle/>
              <a:p>
                <a:pPr defTabSz="914367"/>
                <a:r>
                  <a:rPr lang="en-US" sz="1568" dirty="0">
                    <a:solidFill>
                      <a:srgbClr val="0072C6"/>
                    </a:solidFill>
                  </a:rPr>
                  <a:t>Do work()</a:t>
                </a:r>
              </a:p>
            </p:txBody>
          </p:sp>
          <p:sp>
            <p:nvSpPr>
              <p:cNvPr id="49" name="Curved Up Arrow 48"/>
              <p:cNvSpPr/>
              <p:nvPr/>
            </p:nvSpPr>
            <p:spPr bwMode="auto">
              <a:xfrm rot="5400000" flipH="1">
                <a:off x="6776799" y="3914855"/>
                <a:ext cx="393096" cy="225866"/>
              </a:xfrm>
              <a:prstGeom prst="curvedUpArrow">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2353" dirty="0">
                  <a:gradFill>
                    <a:gsLst>
                      <a:gs pos="0">
                        <a:srgbClr val="FFFFFF"/>
                      </a:gs>
                      <a:gs pos="100000">
                        <a:srgbClr val="FFFFFF"/>
                      </a:gs>
                    </a:gsLst>
                    <a:lin ang="5400000" scaled="0"/>
                  </a:gradFill>
                </a:endParaRPr>
              </a:p>
            </p:txBody>
          </p:sp>
        </p:grpSp>
        <p:grpSp>
          <p:nvGrpSpPr>
            <p:cNvPr id="50" name="Group 49"/>
            <p:cNvGrpSpPr/>
            <p:nvPr/>
          </p:nvGrpSpPr>
          <p:grpSpPr>
            <a:xfrm>
              <a:off x="10583676" y="3492630"/>
              <a:ext cx="1236395" cy="592625"/>
              <a:chOff x="6860414" y="3771242"/>
              <a:chExt cx="1236395" cy="592625"/>
            </a:xfrm>
          </p:grpSpPr>
          <p:sp>
            <p:nvSpPr>
              <p:cNvPr id="51" name="Rectangle 50"/>
              <p:cNvSpPr/>
              <p:nvPr/>
            </p:nvSpPr>
            <p:spPr bwMode="auto">
              <a:xfrm>
                <a:off x="7114341" y="3771242"/>
                <a:ext cx="858083" cy="228108"/>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2353" dirty="0">
                  <a:solidFill>
                    <a:srgbClr val="FFFFFF"/>
                  </a:solidFill>
                </a:endParaRPr>
              </a:p>
            </p:txBody>
          </p:sp>
          <p:sp>
            <p:nvSpPr>
              <p:cNvPr id="52" name="TextBox 51"/>
              <p:cNvSpPr txBox="1"/>
              <p:nvPr/>
            </p:nvSpPr>
            <p:spPr>
              <a:xfrm>
                <a:off x="7023054" y="4025313"/>
                <a:ext cx="1073755" cy="338554"/>
              </a:xfrm>
              <a:prstGeom prst="rect">
                <a:avLst/>
              </a:prstGeom>
              <a:solidFill>
                <a:schemeClr val="bg1"/>
              </a:solidFill>
            </p:spPr>
            <p:txBody>
              <a:bodyPr wrap="none" lIns="89642" tIns="44821" rIns="89642" bIns="44821" rtlCol="0">
                <a:noAutofit/>
              </a:bodyPr>
              <a:lstStyle/>
              <a:p>
                <a:pPr defTabSz="914367"/>
                <a:r>
                  <a:rPr lang="en-US" sz="1568" dirty="0">
                    <a:solidFill>
                      <a:srgbClr val="0072C6"/>
                    </a:solidFill>
                  </a:rPr>
                  <a:t>Do work()</a:t>
                </a:r>
              </a:p>
            </p:txBody>
          </p:sp>
          <p:sp>
            <p:nvSpPr>
              <p:cNvPr id="53" name="Curved Up Arrow 52"/>
              <p:cNvSpPr/>
              <p:nvPr/>
            </p:nvSpPr>
            <p:spPr bwMode="auto">
              <a:xfrm rot="5400000" flipH="1">
                <a:off x="6776799" y="3914855"/>
                <a:ext cx="393096" cy="225866"/>
              </a:xfrm>
              <a:prstGeom prst="curvedUpArrow">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2353" dirty="0">
                  <a:gradFill>
                    <a:gsLst>
                      <a:gs pos="0">
                        <a:srgbClr val="FFFFFF"/>
                      </a:gs>
                      <a:gs pos="100000">
                        <a:srgbClr val="FFFFFF"/>
                      </a:gs>
                    </a:gsLst>
                    <a:lin ang="5400000" scaled="0"/>
                  </a:gradFill>
                </a:endParaRPr>
              </a:p>
            </p:txBody>
          </p:sp>
        </p:grpSp>
      </p:grpSp>
      <p:grpSp>
        <p:nvGrpSpPr>
          <p:cNvPr id="63" name="Group 62"/>
          <p:cNvGrpSpPr/>
          <p:nvPr/>
        </p:nvGrpSpPr>
        <p:grpSpPr>
          <a:xfrm>
            <a:off x="6271441" y="2822900"/>
            <a:ext cx="5501918" cy="561211"/>
            <a:chOff x="6824232" y="2781232"/>
            <a:chExt cx="5612243" cy="572464"/>
          </a:xfrm>
        </p:grpSpPr>
        <p:sp>
          <p:nvSpPr>
            <p:cNvPr id="14" name="TextBox 13"/>
            <p:cNvSpPr txBox="1"/>
            <p:nvPr/>
          </p:nvSpPr>
          <p:spPr>
            <a:xfrm>
              <a:off x="7228640" y="2781232"/>
              <a:ext cx="5207835" cy="572464"/>
            </a:xfrm>
            <a:prstGeom prst="rect">
              <a:avLst/>
            </a:prstGeom>
            <a:solidFill>
              <a:schemeClr val="accent1"/>
            </a:solidFill>
            <a:ln>
              <a:noFill/>
            </a:ln>
          </p:spPr>
          <p:txBody>
            <a:bodyPr wrap="square" lIns="89642" tIns="143428" rIns="44821" bIns="143428" rtlCol="0">
              <a:spAutoFit/>
            </a:bodyPr>
            <a:lstStyle/>
            <a:p>
              <a:pPr defTabSz="914367"/>
              <a:r>
                <a:rPr lang="en-US" sz="1765" dirty="0">
                  <a:solidFill>
                    <a:srgbClr val="FFFFFF"/>
                  </a:solidFill>
                </a:rPr>
                <a:t>Perform the same function on all sub-problems.</a:t>
              </a:r>
            </a:p>
          </p:txBody>
        </p:sp>
        <p:sp>
          <p:nvSpPr>
            <p:cNvPr id="56" name="Freeform 55"/>
            <p:cNvSpPr>
              <a:spLocks/>
            </p:cNvSpPr>
            <p:nvPr/>
          </p:nvSpPr>
          <p:spPr bwMode="auto">
            <a:xfrm>
              <a:off x="6824232" y="2842985"/>
              <a:ext cx="273184" cy="448958"/>
            </a:xfrm>
            <a:custGeom>
              <a:avLst/>
              <a:gdLst>
                <a:gd name="T0" fmla="*/ 608 w 617"/>
                <a:gd name="T1" fmla="*/ 1014 h 1014"/>
                <a:gd name="T2" fmla="*/ 17 w 617"/>
                <a:gd name="T3" fmla="*/ 1014 h 1014"/>
                <a:gd name="T4" fmla="*/ 6 w 617"/>
                <a:gd name="T5" fmla="*/ 1014 h 1014"/>
                <a:gd name="T6" fmla="*/ 0 w 617"/>
                <a:gd name="T7" fmla="*/ 1009 h 1014"/>
                <a:gd name="T8" fmla="*/ 2 w 617"/>
                <a:gd name="T9" fmla="*/ 936 h 1014"/>
                <a:gd name="T10" fmla="*/ 11 w 617"/>
                <a:gd name="T11" fmla="*/ 862 h 1014"/>
                <a:gd name="T12" fmla="*/ 25 w 617"/>
                <a:gd name="T13" fmla="*/ 820 h 1014"/>
                <a:gd name="T14" fmla="*/ 56 w 617"/>
                <a:gd name="T15" fmla="*/ 764 h 1014"/>
                <a:gd name="T16" fmla="*/ 98 w 617"/>
                <a:gd name="T17" fmla="*/ 714 h 1014"/>
                <a:gd name="T18" fmla="*/ 167 w 617"/>
                <a:gd name="T19" fmla="*/ 651 h 1014"/>
                <a:gd name="T20" fmla="*/ 241 w 617"/>
                <a:gd name="T21" fmla="*/ 595 h 1014"/>
                <a:gd name="T22" fmla="*/ 361 w 617"/>
                <a:gd name="T23" fmla="*/ 498 h 1014"/>
                <a:gd name="T24" fmla="*/ 392 w 617"/>
                <a:gd name="T25" fmla="*/ 464 h 1014"/>
                <a:gd name="T26" fmla="*/ 431 w 617"/>
                <a:gd name="T27" fmla="*/ 409 h 1014"/>
                <a:gd name="T28" fmla="*/ 455 w 617"/>
                <a:gd name="T29" fmla="*/ 344 h 1014"/>
                <a:gd name="T30" fmla="*/ 461 w 617"/>
                <a:gd name="T31" fmla="*/ 287 h 1014"/>
                <a:gd name="T32" fmla="*/ 456 w 617"/>
                <a:gd name="T33" fmla="*/ 231 h 1014"/>
                <a:gd name="T34" fmla="*/ 440 w 617"/>
                <a:gd name="T35" fmla="*/ 184 h 1014"/>
                <a:gd name="T36" fmla="*/ 398 w 617"/>
                <a:gd name="T37" fmla="*/ 133 h 1014"/>
                <a:gd name="T38" fmla="*/ 333 w 617"/>
                <a:gd name="T39" fmla="*/ 103 h 1014"/>
                <a:gd name="T40" fmla="*/ 286 w 617"/>
                <a:gd name="T41" fmla="*/ 97 h 1014"/>
                <a:gd name="T42" fmla="*/ 219 w 617"/>
                <a:gd name="T43" fmla="*/ 103 h 1014"/>
                <a:gd name="T44" fmla="*/ 155 w 617"/>
                <a:gd name="T45" fmla="*/ 128 h 1014"/>
                <a:gd name="T46" fmla="*/ 98 w 617"/>
                <a:gd name="T47" fmla="*/ 164 h 1014"/>
                <a:gd name="T48" fmla="*/ 50 w 617"/>
                <a:gd name="T49" fmla="*/ 208 h 1014"/>
                <a:gd name="T50" fmla="*/ 39 w 617"/>
                <a:gd name="T51" fmla="*/ 214 h 1014"/>
                <a:gd name="T52" fmla="*/ 39 w 617"/>
                <a:gd name="T53" fmla="*/ 206 h 1014"/>
                <a:gd name="T54" fmla="*/ 41 w 617"/>
                <a:gd name="T55" fmla="*/ 95 h 1014"/>
                <a:gd name="T56" fmla="*/ 45 w 617"/>
                <a:gd name="T57" fmla="*/ 89 h 1014"/>
                <a:gd name="T58" fmla="*/ 108 w 617"/>
                <a:gd name="T59" fmla="*/ 44 h 1014"/>
                <a:gd name="T60" fmla="*/ 177 w 617"/>
                <a:gd name="T61" fmla="*/ 14 h 1014"/>
                <a:gd name="T62" fmla="*/ 226 w 617"/>
                <a:gd name="T63" fmla="*/ 3 h 1014"/>
                <a:gd name="T64" fmla="*/ 323 w 617"/>
                <a:gd name="T65" fmla="*/ 0 h 1014"/>
                <a:gd name="T66" fmla="*/ 381 w 617"/>
                <a:gd name="T67" fmla="*/ 9 h 1014"/>
                <a:gd name="T68" fmla="*/ 439 w 617"/>
                <a:gd name="T69" fmla="*/ 31 h 1014"/>
                <a:gd name="T70" fmla="*/ 500 w 617"/>
                <a:gd name="T71" fmla="*/ 72 h 1014"/>
                <a:gd name="T72" fmla="*/ 529 w 617"/>
                <a:gd name="T73" fmla="*/ 105 h 1014"/>
                <a:gd name="T74" fmla="*/ 553 w 617"/>
                <a:gd name="T75" fmla="*/ 145 h 1014"/>
                <a:gd name="T76" fmla="*/ 565 w 617"/>
                <a:gd name="T77" fmla="*/ 176 h 1014"/>
                <a:gd name="T78" fmla="*/ 576 w 617"/>
                <a:gd name="T79" fmla="*/ 228 h 1014"/>
                <a:gd name="T80" fmla="*/ 578 w 617"/>
                <a:gd name="T81" fmla="*/ 298 h 1014"/>
                <a:gd name="T82" fmla="*/ 570 w 617"/>
                <a:gd name="T83" fmla="*/ 355 h 1014"/>
                <a:gd name="T84" fmla="*/ 553 w 617"/>
                <a:gd name="T85" fmla="*/ 408 h 1014"/>
                <a:gd name="T86" fmla="*/ 520 w 617"/>
                <a:gd name="T87" fmla="*/ 472 h 1014"/>
                <a:gd name="T88" fmla="*/ 447 w 617"/>
                <a:gd name="T89" fmla="*/ 555 h 1014"/>
                <a:gd name="T90" fmla="*/ 381 w 617"/>
                <a:gd name="T91" fmla="*/ 608 h 1014"/>
                <a:gd name="T92" fmla="*/ 256 w 617"/>
                <a:gd name="T93" fmla="*/ 700 h 1014"/>
                <a:gd name="T94" fmla="*/ 203 w 617"/>
                <a:gd name="T95" fmla="*/ 744 h 1014"/>
                <a:gd name="T96" fmla="*/ 159 w 617"/>
                <a:gd name="T97" fmla="*/ 789 h 1014"/>
                <a:gd name="T98" fmla="*/ 141 w 617"/>
                <a:gd name="T99" fmla="*/ 817 h 1014"/>
                <a:gd name="T100" fmla="*/ 122 w 617"/>
                <a:gd name="T101" fmla="*/ 875 h 1014"/>
                <a:gd name="T102" fmla="*/ 120 w 617"/>
                <a:gd name="T103" fmla="*/ 906 h 1014"/>
                <a:gd name="T104" fmla="*/ 131 w 617"/>
                <a:gd name="T105" fmla="*/ 911 h 1014"/>
                <a:gd name="T106" fmla="*/ 142 w 617"/>
                <a:gd name="T107" fmla="*/ 911 h 1014"/>
                <a:gd name="T108" fmla="*/ 611 w 617"/>
                <a:gd name="T109" fmla="*/ 911 h 1014"/>
                <a:gd name="T110" fmla="*/ 617 w 617"/>
                <a:gd name="T111" fmla="*/ 926 h 1014"/>
                <a:gd name="T112" fmla="*/ 617 w 617"/>
                <a:gd name="T113" fmla="*/ 1000 h 1014"/>
                <a:gd name="T114" fmla="*/ 615 w 617"/>
                <a:gd name="T115" fmla="*/ 1014 h 10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17" h="1014">
                  <a:moveTo>
                    <a:pt x="615" y="1014"/>
                  </a:moveTo>
                  <a:lnTo>
                    <a:pt x="615" y="1014"/>
                  </a:lnTo>
                  <a:lnTo>
                    <a:pt x="608" y="1014"/>
                  </a:lnTo>
                  <a:lnTo>
                    <a:pt x="600" y="1014"/>
                  </a:lnTo>
                  <a:lnTo>
                    <a:pt x="600" y="1014"/>
                  </a:lnTo>
                  <a:lnTo>
                    <a:pt x="17" y="1014"/>
                  </a:lnTo>
                  <a:lnTo>
                    <a:pt x="17" y="1014"/>
                  </a:lnTo>
                  <a:lnTo>
                    <a:pt x="6" y="1014"/>
                  </a:lnTo>
                  <a:lnTo>
                    <a:pt x="6" y="1014"/>
                  </a:lnTo>
                  <a:lnTo>
                    <a:pt x="2" y="1014"/>
                  </a:lnTo>
                  <a:lnTo>
                    <a:pt x="0" y="1012"/>
                  </a:lnTo>
                  <a:lnTo>
                    <a:pt x="0" y="1009"/>
                  </a:lnTo>
                  <a:lnTo>
                    <a:pt x="0" y="1009"/>
                  </a:lnTo>
                  <a:lnTo>
                    <a:pt x="0" y="972"/>
                  </a:lnTo>
                  <a:lnTo>
                    <a:pt x="2" y="936"/>
                  </a:lnTo>
                  <a:lnTo>
                    <a:pt x="5" y="898"/>
                  </a:lnTo>
                  <a:lnTo>
                    <a:pt x="6" y="881"/>
                  </a:lnTo>
                  <a:lnTo>
                    <a:pt x="11" y="862"/>
                  </a:lnTo>
                  <a:lnTo>
                    <a:pt x="11" y="862"/>
                  </a:lnTo>
                  <a:lnTo>
                    <a:pt x="17" y="841"/>
                  </a:lnTo>
                  <a:lnTo>
                    <a:pt x="25" y="820"/>
                  </a:lnTo>
                  <a:lnTo>
                    <a:pt x="34" y="801"/>
                  </a:lnTo>
                  <a:lnTo>
                    <a:pt x="44" y="783"/>
                  </a:lnTo>
                  <a:lnTo>
                    <a:pt x="56" y="764"/>
                  </a:lnTo>
                  <a:lnTo>
                    <a:pt x="69" y="747"/>
                  </a:lnTo>
                  <a:lnTo>
                    <a:pt x="83" y="730"/>
                  </a:lnTo>
                  <a:lnTo>
                    <a:pt x="98" y="714"/>
                  </a:lnTo>
                  <a:lnTo>
                    <a:pt x="98" y="714"/>
                  </a:lnTo>
                  <a:lnTo>
                    <a:pt x="131" y="681"/>
                  </a:lnTo>
                  <a:lnTo>
                    <a:pt x="167" y="651"/>
                  </a:lnTo>
                  <a:lnTo>
                    <a:pt x="203" y="623"/>
                  </a:lnTo>
                  <a:lnTo>
                    <a:pt x="241" y="595"/>
                  </a:lnTo>
                  <a:lnTo>
                    <a:pt x="241" y="595"/>
                  </a:lnTo>
                  <a:lnTo>
                    <a:pt x="303" y="548"/>
                  </a:lnTo>
                  <a:lnTo>
                    <a:pt x="333" y="525"/>
                  </a:lnTo>
                  <a:lnTo>
                    <a:pt x="361" y="498"/>
                  </a:lnTo>
                  <a:lnTo>
                    <a:pt x="361" y="498"/>
                  </a:lnTo>
                  <a:lnTo>
                    <a:pt x="378" y="481"/>
                  </a:lnTo>
                  <a:lnTo>
                    <a:pt x="392" y="464"/>
                  </a:lnTo>
                  <a:lnTo>
                    <a:pt x="406" y="447"/>
                  </a:lnTo>
                  <a:lnTo>
                    <a:pt x="420" y="428"/>
                  </a:lnTo>
                  <a:lnTo>
                    <a:pt x="431" y="409"/>
                  </a:lnTo>
                  <a:lnTo>
                    <a:pt x="440" y="389"/>
                  </a:lnTo>
                  <a:lnTo>
                    <a:pt x="448" y="367"/>
                  </a:lnTo>
                  <a:lnTo>
                    <a:pt x="455" y="344"/>
                  </a:lnTo>
                  <a:lnTo>
                    <a:pt x="455" y="344"/>
                  </a:lnTo>
                  <a:lnTo>
                    <a:pt x="459" y="316"/>
                  </a:lnTo>
                  <a:lnTo>
                    <a:pt x="461" y="287"/>
                  </a:lnTo>
                  <a:lnTo>
                    <a:pt x="461" y="259"/>
                  </a:lnTo>
                  <a:lnTo>
                    <a:pt x="459" y="245"/>
                  </a:lnTo>
                  <a:lnTo>
                    <a:pt x="456" y="231"/>
                  </a:lnTo>
                  <a:lnTo>
                    <a:pt x="456" y="231"/>
                  </a:lnTo>
                  <a:lnTo>
                    <a:pt x="450" y="206"/>
                  </a:lnTo>
                  <a:lnTo>
                    <a:pt x="440" y="184"/>
                  </a:lnTo>
                  <a:lnTo>
                    <a:pt x="428" y="164"/>
                  </a:lnTo>
                  <a:lnTo>
                    <a:pt x="414" y="147"/>
                  </a:lnTo>
                  <a:lnTo>
                    <a:pt x="398" y="133"/>
                  </a:lnTo>
                  <a:lnTo>
                    <a:pt x="378" y="120"/>
                  </a:lnTo>
                  <a:lnTo>
                    <a:pt x="356" y="111"/>
                  </a:lnTo>
                  <a:lnTo>
                    <a:pt x="333" y="103"/>
                  </a:lnTo>
                  <a:lnTo>
                    <a:pt x="333" y="103"/>
                  </a:lnTo>
                  <a:lnTo>
                    <a:pt x="309" y="98"/>
                  </a:lnTo>
                  <a:lnTo>
                    <a:pt x="286" y="97"/>
                  </a:lnTo>
                  <a:lnTo>
                    <a:pt x="264" y="97"/>
                  </a:lnTo>
                  <a:lnTo>
                    <a:pt x="241" y="100"/>
                  </a:lnTo>
                  <a:lnTo>
                    <a:pt x="219" y="103"/>
                  </a:lnTo>
                  <a:lnTo>
                    <a:pt x="198" y="111"/>
                  </a:lnTo>
                  <a:lnTo>
                    <a:pt x="177" y="119"/>
                  </a:lnTo>
                  <a:lnTo>
                    <a:pt x="155" y="128"/>
                  </a:lnTo>
                  <a:lnTo>
                    <a:pt x="155" y="128"/>
                  </a:lnTo>
                  <a:lnTo>
                    <a:pt x="127" y="145"/>
                  </a:lnTo>
                  <a:lnTo>
                    <a:pt x="98" y="164"/>
                  </a:lnTo>
                  <a:lnTo>
                    <a:pt x="73" y="184"/>
                  </a:lnTo>
                  <a:lnTo>
                    <a:pt x="50" y="208"/>
                  </a:lnTo>
                  <a:lnTo>
                    <a:pt x="50" y="208"/>
                  </a:lnTo>
                  <a:lnTo>
                    <a:pt x="42" y="216"/>
                  </a:lnTo>
                  <a:lnTo>
                    <a:pt x="42" y="216"/>
                  </a:lnTo>
                  <a:lnTo>
                    <a:pt x="39" y="214"/>
                  </a:lnTo>
                  <a:lnTo>
                    <a:pt x="39" y="211"/>
                  </a:lnTo>
                  <a:lnTo>
                    <a:pt x="39" y="206"/>
                  </a:lnTo>
                  <a:lnTo>
                    <a:pt x="39" y="206"/>
                  </a:lnTo>
                  <a:lnTo>
                    <a:pt x="39" y="105"/>
                  </a:lnTo>
                  <a:lnTo>
                    <a:pt x="39" y="105"/>
                  </a:lnTo>
                  <a:lnTo>
                    <a:pt x="41" y="95"/>
                  </a:lnTo>
                  <a:lnTo>
                    <a:pt x="42" y="92"/>
                  </a:lnTo>
                  <a:lnTo>
                    <a:pt x="45" y="89"/>
                  </a:lnTo>
                  <a:lnTo>
                    <a:pt x="45" y="89"/>
                  </a:lnTo>
                  <a:lnTo>
                    <a:pt x="66" y="72"/>
                  </a:lnTo>
                  <a:lnTo>
                    <a:pt x="86" y="56"/>
                  </a:lnTo>
                  <a:lnTo>
                    <a:pt x="108" y="44"/>
                  </a:lnTo>
                  <a:lnTo>
                    <a:pt x="130" y="31"/>
                  </a:lnTo>
                  <a:lnTo>
                    <a:pt x="152" y="22"/>
                  </a:lnTo>
                  <a:lnTo>
                    <a:pt x="177" y="14"/>
                  </a:lnTo>
                  <a:lnTo>
                    <a:pt x="200" y="8"/>
                  </a:lnTo>
                  <a:lnTo>
                    <a:pt x="226" y="3"/>
                  </a:lnTo>
                  <a:lnTo>
                    <a:pt x="226" y="3"/>
                  </a:lnTo>
                  <a:lnTo>
                    <a:pt x="266" y="0"/>
                  </a:lnTo>
                  <a:lnTo>
                    <a:pt x="305" y="0"/>
                  </a:lnTo>
                  <a:lnTo>
                    <a:pt x="323" y="0"/>
                  </a:lnTo>
                  <a:lnTo>
                    <a:pt x="342" y="1"/>
                  </a:lnTo>
                  <a:lnTo>
                    <a:pt x="362" y="5"/>
                  </a:lnTo>
                  <a:lnTo>
                    <a:pt x="381" y="9"/>
                  </a:lnTo>
                  <a:lnTo>
                    <a:pt x="381" y="9"/>
                  </a:lnTo>
                  <a:lnTo>
                    <a:pt x="411" y="19"/>
                  </a:lnTo>
                  <a:lnTo>
                    <a:pt x="439" y="31"/>
                  </a:lnTo>
                  <a:lnTo>
                    <a:pt x="465" y="45"/>
                  </a:lnTo>
                  <a:lnTo>
                    <a:pt x="489" y="62"/>
                  </a:lnTo>
                  <a:lnTo>
                    <a:pt x="500" y="72"/>
                  </a:lnTo>
                  <a:lnTo>
                    <a:pt x="511" y="83"/>
                  </a:lnTo>
                  <a:lnTo>
                    <a:pt x="520" y="94"/>
                  </a:lnTo>
                  <a:lnTo>
                    <a:pt x="529" y="105"/>
                  </a:lnTo>
                  <a:lnTo>
                    <a:pt x="537" y="117"/>
                  </a:lnTo>
                  <a:lnTo>
                    <a:pt x="545" y="131"/>
                  </a:lnTo>
                  <a:lnTo>
                    <a:pt x="553" y="145"/>
                  </a:lnTo>
                  <a:lnTo>
                    <a:pt x="559" y="159"/>
                  </a:lnTo>
                  <a:lnTo>
                    <a:pt x="559" y="159"/>
                  </a:lnTo>
                  <a:lnTo>
                    <a:pt x="565" y="176"/>
                  </a:lnTo>
                  <a:lnTo>
                    <a:pt x="570" y="194"/>
                  </a:lnTo>
                  <a:lnTo>
                    <a:pt x="573" y="211"/>
                  </a:lnTo>
                  <a:lnTo>
                    <a:pt x="576" y="228"/>
                  </a:lnTo>
                  <a:lnTo>
                    <a:pt x="578" y="262"/>
                  </a:lnTo>
                  <a:lnTo>
                    <a:pt x="578" y="298"/>
                  </a:lnTo>
                  <a:lnTo>
                    <a:pt x="578" y="298"/>
                  </a:lnTo>
                  <a:lnTo>
                    <a:pt x="576" y="317"/>
                  </a:lnTo>
                  <a:lnTo>
                    <a:pt x="573" y="337"/>
                  </a:lnTo>
                  <a:lnTo>
                    <a:pt x="570" y="355"/>
                  </a:lnTo>
                  <a:lnTo>
                    <a:pt x="565" y="373"/>
                  </a:lnTo>
                  <a:lnTo>
                    <a:pt x="559" y="391"/>
                  </a:lnTo>
                  <a:lnTo>
                    <a:pt x="553" y="408"/>
                  </a:lnTo>
                  <a:lnTo>
                    <a:pt x="547" y="425"/>
                  </a:lnTo>
                  <a:lnTo>
                    <a:pt x="539" y="441"/>
                  </a:lnTo>
                  <a:lnTo>
                    <a:pt x="520" y="472"/>
                  </a:lnTo>
                  <a:lnTo>
                    <a:pt x="498" y="500"/>
                  </a:lnTo>
                  <a:lnTo>
                    <a:pt x="473" y="528"/>
                  </a:lnTo>
                  <a:lnTo>
                    <a:pt x="447" y="555"/>
                  </a:lnTo>
                  <a:lnTo>
                    <a:pt x="447" y="555"/>
                  </a:lnTo>
                  <a:lnTo>
                    <a:pt x="414" y="583"/>
                  </a:lnTo>
                  <a:lnTo>
                    <a:pt x="381" y="608"/>
                  </a:lnTo>
                  <a:lnTo>
                    <a:pt x="312" y="658"/>
                  </a:lnTo>
                  <a:lnTo>
                    <a:pt x="312" y="658"/>
                  </a:lnTo>
                  <a:lnTo>
                    <a:pt x="256" y="700"/>
                  </a:lnTo>
                  <a:lnTo>
                    <a:pt x="230" y="722"/>
                  </a:lnTo>
                  <a:lnTo>
                    <a:pt x="203" y="744"/>
                  </a:lnTo>
                  <a:lnTo>
                    <a:pt x="203" y="744"/>
                  </a:lnTo>
                  <a:lnTo>
                    <a:pt x="187" y="758"/>
                  </a:lnTo>
                  <a:lnTo>
                    <a:pt x="173" y="773"/>
                  </a:lnTo>
                  <a:lnTo>
                    <a:pt x="159" y="789"/>
                  </a:lnTo>
                  <a:lnTo>
                    <a:pt x="148" y="806"/>
                  </a:lnTo>
                  <a:lnTo>
                    <a:pt x="148" y="806"/>
                  </a:lnTo>
                  <a:lnTo>
                    <a:pt x="141" y="817"/>
                  </a:lnTo>
                  <a:lnTo>
                    <a:pt x="136" y="828"/>
                  </a:lnTo>
                  <a:lnTo>
                    <a:pt x="127" y="851"/>
                  </a:lnTo>
                  <a:lnTo>
                    <a:pt x="122" y="875"/>
                  </a:lnTo>
                  <a:lnTo>
                    <a:pt x="120" y="900"/>
                  </a:lnTo>
                  <a:lnTo>
                    <a:pt x="120" y="900"/>
                  </a:lnTo>
                  <a:lnTo>
                    <a:pt x="120" y="906"/>
                  </a:lnTo>
                  <a:lnTo>
                    <a:pt x="122" y="909"/>
                  </a:lnTo>
                  <a:lnTo>
                    <a:pt x="125" y="911"/>
                  </a:lnTo>
                  <a:lnTo>
                    <a:pt x="131" y="911"/>
                  </a:lnTo>
                  <a:lnTo>
                    <a:pt x="131" y="911"/>
                  </a:lnTo>
                  <a:lnTo>
                    <a:pt x="142" y="911"/>
                  </a:lnTo>
                  <a:lnTo>
                    <a:pt x="142" y="911"/>
                  </a:lnTo>
                  <a:lnTo>
                    <a:pt x="600" y="911"/>
                  </a:lnTo>
                  <a:lnTo>
                    <a:pt x="600" y="911"/>
                  </a:lnTo>
                  <a:lnTo>
                    <a:pt x="611" y="911"/>
                  </a:lnTo>
                  <a:lnTo>
                    <a:pt x="615" y="912"/>
                  </a:lnTo>
                  <a:lnTo>
                    <a:pt x="617" y="917"/>
                  </a:lnTo>
                  <a:lnTo>
                    <a:pt x="617" y="926"/>
                  </a:lnTo>
                  <a:lnTo>
                    <a:pt x="617" y="926"/>
                  </a:lnTo>
                  <a:lnTo>
                    <a:pt x="617" y="1000"/>
                  </a:lnTo>
                  <a:lnTo>
                    <a:pt x="617" y="1000"/>
                  </a:lnTo>
                  <a:lnTo>
                    <a:pt x="617" y="1008"/>
                  </a:lnTo>
                  <a:lnTo>
                    <a:pt x="617" y="1011"/>
                  </a:lnTo>
                  <a:lnTo>
                    <a:pt x="615" y="1014"/>
                  </a:lnTo>
                  <a:lnTo>
                    <a:pt x="615" y="1014"/>
                  </a:lnTo>
                  <a:close/>
                </a:path>
              </a:pathLst>
            </a:custGeom>
            <a:solidFill>
              <a:schemeClr val="accent1">
                <a:lumMod val="50000"/>
              </a:schemeClr>
            </a:solidFill>
            <a:ln>
              <a:noFill/>
            </a:ln>
            <a:extLst/>
          </p:spPr>
          <p:txBody>
            <a:bodyPr vert="horz" wrap="square" lIns="89642" tIns="44821" rIns="89642" bIns="44821"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IN" sz="1765">
                <a:solidFill>
                  <a:srgbClr val="000000"/>
                </a:solidFill>
              </a:endParaRPr>
            </a:p>
          </p:txBody>
        </p:sp>
      </p:grpSp>
      <p:grpSp>
        <p:nvGrpSpPr>
          <p:cNvPr id="20" name="Group 19"/>
          <p:cNvGrpSpPr/>
          <p:nvPr/>
        </p:nvGrpSpPr>
        <p:grpSpPr>
          <a:xfrm>
            <a:off x="6288368" y="4421889"/>
            <a:ext cx="5484989" cy="561211"/>
            <a:chOff x="6414463" y="4510061"/>
            <a:chExt cx="5594974" cy="572464"/>
          </a:xfrm>
        </p:grpSpPr>
        <p:sp>
          <p:nvSpPr>
            <p:cNvPr id="18" name="TextBox 17"/>
            <p:cNvSpPr txBox="1"/>
            <p:nvPr/>
          </p:nvSpPr>
          <p:spPr>
            <a:xfrm>
              <a:off x="6773543" y="4510061"/>
              <a:ext cx="5235894" cy="572464"/>
            </a:xfrm>
            <a:prstGeom prst="rect">
              <a:avLst/>
            </a:prstGeom>
            <a:solidFill>
              <a:schemeClr val="accent2"/>
            </a:solidFill>
            <a:ln>
              <a:noFill/>
            </a:ln>
          </p:spPr>
          <p:txBody>
            <a:bodyPr wrap="square" lIns="89642" tIns="143428" rIns="44821" bIns="143428" rtlCol="0">
              <a:spAutoFit/>
            </a:bodyPr>
            <a:lstStyle/>
            <a:p>
              <a:pPr defTabSz="914367"/>
              <a:r>
                <a:rPr lang="en-US" sz="1765" dirty="0">
                  <a:solidFill>
                    <a:srgbClr val="FFFFFF"/>
                  </a:solidFill>
                </a:rPr>
                <a:t>Combine the output from all sub-functions.</a:t>
              </a:r>
            </a:p>
          </p:txBody>
        </p:sp>
        <p:sp>
          <p:nvSpPr>
            <p:cNvPr id="57" name="Freeform 56"/>
            <p:cNvSpPr>
              <a:spLocks/>
            </p:cNvSpPr>
            <p:nvPr/>
          </p:nvSpPr>
          <p:spPr bwMode="auto">
            <a:xfrm>
              <a:off x="6414463" y="4567608"/>
              <a:ext cx="255916" cy="457370"/>
            </a:xfrm>
            <a:custGeom>
              <a:avLst/>
              <a:gdLst>
                <a:gd name="T0" fmla="*/ 37 w 578"/>
                <a:gd name="T1" fmla="*/ 63 h 1033"/>
                <a:gd name="T2" fmla="*/ 47 w 578"/>
                <a:gd name="T3" fmla="*/ 53 h 1033"/>
                <a:gd name="T4" fmla="*/ 151 w 578"/>
                <a:gd name="T5" fmla="*/ 13 h 1033"/>
                <a:gd name="T6" fmla="*/ 222 w 578"/>
                <a:gd name="T7" fmla="*/ 2 h 1033"/>
                <a:gd name="T8" fmla="*/ 317 w 578"/>
                <a:gd name="T9" fmla="*/ 5 h 1033"/>
                <a:gd name="T10" fmla="*/ 398 w 578"/>
                <a:gd name="T11" fmla="*/ 25 h 1033"/>
                <a:gd name="T12" fmla="*/ 470 w 578"/>
                <a:gd name="T13" fmla="*/ 71 h 1033"/>
                <a:gd name="T14" fmla="*/ 525 w 578"/>
                <a:gd name="T15" fmla="*/ 149 h 1033"/>
                <a:gd name="T16" fmla="*/ 540 w 578"/>
                <a:gd name="T17" fmla="*/ 222 h 1033"/>
                <a:gd name="T18" fmla="*/ 532 w 578"/>
                <a:gd name="T19" fmla="*/ 318 h 1033"/>
                <a:gd name="T20" fmla="*/ 512 w 578"/>
                <a:gd name="T21" fmla="*/ 371 h 1033"/>
                <a:gd name="T22" fmla="*/ 451 w 578"/>
                <a:gd name="T23" fmla="*/ 441 h 1033"/>
                <a:gd name="T24" fmla="*/ 390 w 578"/>
                <a:gd name="T25" fmla="*/ 477 h 1033"/>
                <a:gd name="T26" fmla="*/ 353 w 578"/>
                <a:gd name="T27" fmla="*/ 496 h 1033"/>
                <a:gd name="T28" fmla="*/ 395 w 578"/>
                <a:gd name="T29" fmla="*/ 505 h 1033"/>
                <a:gd name="T30" fmla="*/ 468 w 578"/>
                <a:gd name="T31" fmla="*/ 536 h 1033"/>
                <a:gd name="T32" fmla="*/ 514 w 578"/>
                <a:gd name="T33" fmla="*/ 574 h 1033"/>
                <a:gd name="T34" fmla="*/ 557 w 578"/>
                <a:gd name="T35" fmla="*/ 636 h 1033"/>
                <a:gd name="T36" fmla="*/ 576 w 578"/>
                <a:gd name="T37" fmla="*/ 711 h 1033"/>
                <a:gd name="T38" fmla="*/ 572 w 578"/>
                <a:gd name="T39" fmla="*/ 800 h 1033"/>
                <a:gd name="T40" fmla="*/ 522 w 578"/>
                <a:gd name="T41" fmla="*/ 907 h 1033"/>
                <a:gd name="T42" fmla="*/ 475 w 578"/>
                <a:gd name="T43" fmla="*/ 957 h 1033"/>
                <a:gd name="T44" fmla="*/ 411 w 578"/>
                <a:gd name="T45" fmla="*/ 996 h 1033"/>
                <a:gd name="T46" fmla="*/ 353 w 578"/>
                <a:gd name="T47" fmla="*/ 1018 h 1033"/>
                <a:gd name="T48" fmla="*/ 259 w 578"/>
                <a:gd name="T49" fmla="*/ 1033 h 1033"/>
                <a:gd name="T50" fmla="*/ 189 w 578"/>
                <a:gd name="T51" fmla="*/ 1033 h 1033"/>
                <a:gd name="T52" fmla="*/ 64 w 578"/>
                <a:gd name="T53" fmla="*/ 1010 h 1033"/>
                <a:gd name="T54" fmla="*/ 8 w 578"/>
                <a:gd name="T55" fmla="*/ 985 h 1033"/>
                <a:gd name="T56" fmla="*/ 0 w 578"/>
                <a:gd name="T57" fmla="*/ 971 h 1033"/>
                <a:gd name="T58" fmla="*/ 3 w 578"/>
                <a:gd name="T59" fmla="*/ 858 h 1033"/>
                <a:gd name="T60" fmla="*/ 36 w 578"/>
                <a:gd name="T61" fmla="*/ 882 h 1033"/>
                <a:gd name="T62" fmla="*/ 156 w 578"/>
                <a:gd name="T63" fmla="*/ 928 h 1033"/>
                <a:gd name="T64" fmla="*/ 253 w 578"/>
                <a:gd name="T65" fmla="*/ 935 h 1033"/>
                <a:gd name="T66" fmla="*/ 342 w 578"/>
                <a:gd name="T67" fmla="*/ 916 h 1033"/>
                <a:gd name="T68" fmla="*/ 392 w 578"/>
                <a:gd name="T69" fmla="*/ 888 h 1033"/>
                <a:gd name="T70" fmla="*/ 428 w 578"/>
                <a:gd name="T71" fmla="*/ 850 h 1033"/>
                <a:gd name="T72" fmla="*/ 457 w 578"/>
                <a:gd name="T73" fmla="*/ 782 h 1033"/>
                <a:gd name="T74" fmla="*/ 456 w 578"/>
                <a:gd name="T75" fmla="*/ 702 h 1033"/>
                <a:gd name="T76" fmla="*/ 443 w 578"/>
                <a:gd name="T77" fmla="*/ 660 h 1033"/>
                <a:gd name="T78" fmla="*/ 401 w 578"/>
                <a:gd name="T79" fmla="*/ 607 h 1033"/>
                <a:gd name="T80" fmla="*/ 358 w 578"/>
                <a:gd name="T81" fmla="*/ 578 h 1033"/>
                <a:gd name="T82" fmla="*/ 244 w 578"/>
                <a:gd name="T83" fmla="*/ 552 h 1033"/>
                <a:gd name="T84" fmla="*/ 114 w 578"/>
                <a:gd name="T85" fmla="*/ 549 h 1033"/>
                <a:gd name="T86" fmla="*/ 100 w 578"/>
                <a:gd name="T87" fmla="*/ 544 h 1033"/>
                <a:gd name="T88" fmla="*/ 100 w 578"/>
                <a:gd name="T89" fmla="*/ 461 h 1033"/>
                <a:gd name="T90" fmla="*/ 111 w 578"/>
                <a:gd name="T91" fmla="*/ 450 h 1033"/>
                <a:gd name="T92" fmla="*/ 222 w 578"/>
                <a:gd name="T93" fmla="*/ 450 h 1033"/>
                <a:gd name="T94" fmla="*/ 311 w 578"/>
                <a:gd name="T95" fmla="*/ 432 h 1033"/>
                <a:gd name="T96" fmla="*/ 389 w 578"/>
                <a:gd name="T97" fmla="*/ 380 h 1033"/>
                <a:gd name="T98" fmla="*/ 423 w 578"/>
                <a:gd name="T99" fmla="*/ 291 h 1033"/>
                <a:gd name="T100" fmla="*/ 422 w 578"/>
                <a:gd name="T101" fmla="*/ 235 h 1033"/>
                <a:gd name="T102" fmla="*/ 406 w 578"/>
                <a:gd name="T103" fmla="*/ 178 h 1033"/>
                <a:gd name="T104" fmla="*/ 358 w 578"/>
                <a:gd name="T105" fmla="*/ 127 h 1033"/>
                <a:gd name="T106" fmla="*/ 297 w 578"/>
                <a:gd name="T107" fmla="*/ 103 h 1033"/>
                <a:gd name="T108" fmla="*/ 192 w 578"/>
                <a:gd name="T109" fmla="*/ 102 h 1033"/>
                <a:gd name="T110" fmla="*/ 115 w 578"/>
                <a:gd name="T111" fmla="*/ 124 h 1033"/>
                <a:gd name="T112" fmla="*/ 37 w 578"/>
                <a:gd name="T113" fmla="*/ 169 h 10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8" h="1033">
                  <a:moveTo>
                    <a:pt x="37" y="169"/>
                  </a:moveTo>
                  <a:lnTo>
                    <a:pt x="37" y="169"/>
                  </a:lnTo>
                  <a:lnTo>
                    <a:pt x="37" y="63"/>
                  </a:lnTo>
                  <a:lnTo>
                    <a:pt x="37" y="63"/>
                  </a:lnTo>
                  <a:lnTo>
                    <a:pt x="39" y="60"/>
                  </a:lnTo>
                  <a:lnTo>
                    <a:pt x="40" y="57"/>
                  </a:lnTo>
                  <a:lnTo>
                    <a:pt x="47" y="53"/>
                  </a:lnTo>
                  <a:lnTo>
                    <a:pt x="47" y="53"/>
                  </a:lnTo>
                  <a:lnTo>
                    <a:pt x="72" y="41"/>
                  </a:lnTo>
                  <a:lnTo>
                    <a:pt x="97" y="30"/>
                  </a:lnTo>
                  <a:lnTo>
                    <a:pt x="123" y="21"/>
                  </a:lnTo>
                  <a:lnTo>
                    <a:pt x="151" y="13"/>
                  </a:lnTo>
                  <a:lnTo>
                    <a:pt x="151" y="13"/>
                  </a:lnTo>
                  <a:lnTo>
                    <a:pt x="175" y="8"/>
                  </a:lnTo>
                  <a:lnTo>
                    <a:pt x="198" y="5"/>
                  </a:lnTo>
                  <a:lnTo>
                    <a:pt x="222" y="2"/>
                  </a:lnTo>
                  <a:lnTo>
                    <a:pt x="245" y="0"/>
                  </a:lnTo>
                  <a:lnTo>
                    <a:pt x="270" y="0"/>
                  </a:lnTo>
                  <a:lnTo>
                    <a:pt x="293" y="2"/>
                  </a:lnTo>
                  <a:lnTo>
                    <a:pt x="317" y="5"/>
                  </a:lnTo>
                  <a:lnTo>
                    <a:pt x="342" y="8"/>
                  </a:lnTo>
                  <a:lnTo>
                    <a:pt x="342" y="8"/>
                  </a:lnTo>
                  <a:lnTo>
                    <a:pt x="370" y="16"/>
                  </a:lnTo>
                  <a:lnTo>
                    <a:pt x="398" y="25"/>
                  </a:lnTo>
                  <a:lnTo>
                    <a:pt x="425" y="39"/>
                  </a:lnTo>
                  <a:lnTo>
                    <a:pt x="450" y="55"/>
                  </a:lnTo>
                  <a:lnTo>
                    <a:pt x="450" y="55"/>
                  </a:lnTo>
                  <a:lnTo>
                    <a:pt x="470" y="71"/>
                  </a:lnTo>
                  <a:lnTo>
                    <a:pt x="487" y="89"/>
                  </a:lnTo>
                  <a:lnTo>
                    <a:pt x="503" y="108"/>
                  </a:lnTo>
                  <a:lnTo>
                    <a:pt x="515" y="128"/>
                  </a:lnTo>
                  <a:lnTo>
                    <a:pt x="525" y="149"/>
                  </a:lnTo>
                  <a:lnTo>
                    <a:pt x="532" y="172"/>
                  </a:lnTo>
                  <a:lnTo>
                    <a:pt x="539" y="196"/>
                  </a:lnTo>
                  <a:lnTo>
                    <a:pt x="540" y="222"/>
                  </a:lnTo>
                  <a:lnTo>
                    <a:pt x="540" y="222"/>
                  </a:lnTo>
                  <a:lnTo>
                    <a:pt x="542" y="253"/>
                  </a:lnTo>
                  <a:lnTo>
                    <a:pt x="539" y="286"/>
                  </a:lnTo>
                  <a:lnTo>
                    <a:pt x="536" y="302"/>
                  </a:lnTo>
                  <a:lnTo>
                    <a:pt x="532" y="318"/>
                  </a:lnTo>
                  <a:lnTo>
                    <a:pt x="528" y="333"/>
                  </a:lnTo>
                  <a:lnTo>
                    <a:pt x="523" y="349"/>
                  </a:lnTo>
                  <a:lnTo>
                    <a:pt x="523" y="349"/>
                  </a:lnTo>
                  <a:lnTo>
                    <a:pt x="512" y="371"/>
                  </a:lnTo>
                  <a:lnTo>
                    <a:pt x="500" y="391"/>
                  </a:lnTo>
                  <a:lnTo>
                    <a:pt x="486" y="410"/>
                  </a:lnTo>
                  <a:lnTo>
                    <a:pt x="470" y="425"/>
                  </a:lnTo>
                  <a:lnTo>
                    <a:pt x="451" y="441"/>
                  </a:lnTo>
                  <a:lnTo>
                    <a:pt x="432" y="455"/>
                  </a:lnTo>
                  <a:lnTo>
                    <a:pt x="412" y="466"/>
                  </a:lnTo>
                  <a:lnTo>
                    <a:pt x="390" y="477"/>
                  </a:lnTo>
                  <a:lnTo>
                    <a:pt x="390" y="477"/>
                  </a:lnTo>
                  <a:lnTo>
                    <a:pt x="367" y="485"/>
                  </a:lnTo>
                  <a:lnTo>
                    <a:pt x="343" y="494"/>
                  </a:lnTo>
                  <a:lnTo>
                    <a:pt x="343" y="494"/>
                  </a:lnTo>
                  <a:lnTo>
                    <a:pt x="353" y="496"/>
                  </a:lnTo>
                  <a:lnTo>
                    <a:pt x="361" y="497"/>
                  </a:lnTo>
                  <a:lnTo>
                    <a:pt x="376" y="500"/>
                  </a:lnTo>
                  <a:lnTo>
                    <a:pt x="376" y="500"/>
                  </a:lnTo>
                  <a:lnTo>
                    <a:pt x="395" y="505"/>
                  </a:lnTo>
                  <a:lnTo>
                    <a:pt x="415" y="511"/>
                  </a:lnTo>
                  <a:lnTo>
                    <a:pt x="432" y="518"/>
                  </a:lnTo>
                  <a:lnTo>
                    <a:pt x="451" y="527"/>
                  </a:lnTo>
                  <a:lnTo>
                    <a:pt x="468" y="536"/>
                  </a:lnTo>
                  <a:lnTo>
                    <a:pt x="484" y="547"/>
                  </a:lnTo>
                  <a:lnTo>
                    <a:pt x="500" y="560"/>
                  </a:lnTo>
                  <a:lnTo>
                    <a:pt x="514" y="574"/>
                  </a:lnTo>
                  <a:lnTo>
                    <a:pt x="514" y="574"/>
                  </a:lnTo>
                  <a:lnTo>
                    <a:pt x="528" y="588"/>
                  </a:lnTo>
                  <a:lnTo>
                    <a:pt x="539" y="603"/>
                  </a:lnTo>
                  <a:lnTo>
                    <a:pt x="550" y="619"/>
                  </a:lnTo>
                  <a:lnTo>
                    <a:pt x="557" y="636"/>
                  </a:lnTo>
                  <a:lnTo>
                    <a:pt x="565" y="653"/>
                  </a:lnTo>
                  <a:lnTo>
                    <a:pt x="570" y="672"/>
                  </a:lnTo>
                  <a:lnTo>
                    <a:pt x="575" y="691"/>
                  </a:lnTo>
                  <a:lnTo>
                    <a:pt x="576" y="711"/>
                  </a:lnTo>
                  <a:lnTo>
                    <a:pt x="576" y="711"/>
                  </a:lnTo>
                  <a:lnTo>
                    <a:pt x="578" y="743"/>
                  </a:lnTo>
                  <a:lnTo>
                    <a:pt x="576" y="772"/>
                  </a:lnTo>
                  <a:lnTo>
                    <a:pt x="572" y="800"/>
                  </a:lnTo>
                  <a:lnTo>
                    <a:pt x="564" y="828"/>
                  </a:lnTo>
                  <a:lnTo>
                    <a:pt x="553" y="857"/>
                  </a:lnTo>
                  <a:lnTo>
                    <a:pt x="539" y="882"/>
                  </a:lnTo>
                  <a:lnTo>
                    <a:pt x="522" y="907"/>
                  </a:lnTo>
                  <a:lnTo>
                    <a:pt x="503" y="932"/>
                  </a:lnTo>
                  <a:lnTo>
                    <a:pt x="503" y="932"/>
                  </a:lnTo>
                  <a:lnTo>
                    <a:pt x="489" y="944"/>
                  </a:lnTo>
                  <a:lnTo>
                    <a:pt x="475" y="957"/>
                  </a:lnTo>
                  <a:lnTo>
                    <a:pt x="459" y="968"/>
                  </a:lnTo>
                  <a:lnTo>
                    <a:pt x="443" y="978"/>
                  </a:lnTo>
                  <a:lnTo>
                    <a:pt x="428" y="988"/>
                  </a:lnTo>
                  <a:lnTo>
                    <a:pt x="411" y="996"/>
                  </a:lnTo>
                  <a:lnTo>
                    <a:pt x="393" y="1003"/>
                  </a:lnTo>
                  <a:lnTo>
                    <a:pt x="375" y="1010"/>
                  </a:lnTo>
                  <a:lnTo>
                    <a:pt x="375" y="1010"/>
                  </a:lnTo>
                  <a:lnTo>
                    <a:pt x="353" y="1018"/>
                  </a:lnTo>
                  <a:lnTo>
                    <a:pt x="329" y="1024"/>
                  </a:lnTo>
                  <a:lnTo>
                    <a:pt x="306" y="1027"/>
                  </a:lnTo>
                  <a:lnTo>
                    <a:pt x="283" y="1030"/>
                  </a:lnTo>
                  <a:lnTo>
                    <a:pt x="259" y="1033"/>
                  </a:lnTo>
                  <a:lnTo>
                    <a:pt x="236" y="1033"/>
                  </a:lnTo>
                  <a:lnTo>
                    <a:pt x="212" y="1033"/>
                  </a:lnTo>
                  <a:lnTo>
                    <a:pt x="189" y="1033"/>
                  </a:lnTo>
                  <a:lnTo>
                    <a:pt x="189" y="1033"/>
                  </a:lnTo>
                  <a:lnTo>
                    <a:pt x="158" y="1030"/>
                  </a:lnTo>
                  <a:lnTo>
                    <a:pt x="126" y="1025"/>
                  </a:lnTo>
                  <a:lnTo>
                    <a:pt x="95" y="1019"/>
                  </a:lnTo>
                  <a:lnTo>
                    <a:pt x="64" y="1010"/>
                  </a:lnTo>
                  <a:lnTo>
                    <a:pt x="64" y="1010"/>
                  </a:lnTo>
                  <a:lnTo>
                    <a:pt x="36" y="999"/>
                  </a:lnTo>
                  <a:lnTo>
                    <a:pt x="8" y="985"/>
                  </a:lnTo>
                  <a:lnTo>
                    <a:pt x="8" y="985"/>
                  </a:lnTo>
                  <a:lnTo>
                    <a:pt x="3" y="982"/>
                  </a:lnTo>
                  <a:lnTo>
                    <a:pt x="1" y="978"/>
                  </a:lnTo>
                  <a:lnTo>
                    <a:pt x="0" y="975"/>
                  </a:lnTo>
                  <a:lnTo>
                    <a:pt x="0" y="971"/>
                  </a:lnTo>
                  <a:lnTo>
                    <a:pt x="0" y="971"/>
                  </a:lnTo>
                  <a:lnTo>
                    <a:pt x="0" y="860"/>
                  </a:lnTo>
                  <a:lnTo>
                    <a:pt x="0" y="860"/>
                  </a:lnTo>
                  <a:lnTo>
                    <a:pt x="3" y="858"/>
                  </a:lnTo>
                  <a:lnTo>
                    <a:pt x="5" y="860"/>
                  </a:lnTo>
                  <a:lnTo>
                    <a:pt x="9" y="863"/>
                  </a:lnTo>
                  <a:lnTo>
                    <a:pt x="9" y="863"/>
                  </a:lnTo>
                  <a:lnTo>
                    <a:pt x="36" y="882"/>
                  </a:lnTo>
                  <a:lnTo>
                    <a:pt x="65" y="897"/>
                  </a:lnTo>
                  <a:lnTo>
                    <a:pt x="94" y="910"/>
                  </a:lnTo>
                  <a:lnTo>
                    <a:pt x="125" y="921"/>
                  </a:lnTo>
                  <a:lnTo>
                    <a:pt x="156" y="928"/>
                  </a:lnTo>
                  <a:lnTo>
                    <a:pt x="187" y="933"/>
                  </a:lnTo>
                  <a:lnTo>
                    <a:pt x="220" y="935"/>
                  </a:lnTo>
                  <a:lnTo>
                    <a:pt x="253" y="935"/>
                  </a:lnTo>
                  <a:lnTo>
                    <a:pt x="253" y="935"/>
                  </a:lnTo>
                  <a:lnTo>
                    <a:pt x="283" y="932"/>
                  </a:lnTo>
                  <a:lnTo>
                    <a:pt x="312" y="925"/>
                  </a:lnTo>
                  <a:lnTo>
                    <a:pt x="328" y="922"/>
                  </a:lnTo>
                  <a:lnTo>
                    <a:pt x="342" y="916"/>
                  </a:lnTo>
                  <a:lnTo>
                    <a:pt x="356" y="910"/>
                  </a:lnTo>
                  <a:lnTo>
                    <a:pt x="368" y="903"/>
                  </a:lnTo>
                  <a:lnTo>
                    <a:pt x="368" y="903"/>
                  </a:lnTo>
                  <a:lnTo>
                    <a:pt x="392" y="888"/>
                  </a:lnTo>
                  <a:lnTo>
                    <a:pt x="403" y="878"/>
                  </a:lnTo>
                  <a:lnTo>
                    <a:pt x="412" y="871"/>
                  </a:lnTo>
                  <a:lnTo>
                    <a:pt x="420" y="861"/>
                  </a:lnTo>
                  <a:lnTo>
                    <a:pt x="428" y="850"/>
                  </a:lnTo>
                  <a:lnTo>
                    <a:pt x="436" y="841"/>
                  </a:lnTo>
                  <a:lnTo>
                    <a:pt x="442" y="830"/>
                  </a:lnTo>
                  <a:lnTo>
                    <a:pt x="451" y="807"/>
                  </a:lnTo>
                  <a:lnTo>
                    <a:pt x="457" y="782"/>
                  </a:lnTo>
                  <a:lnTo>
                    <a:pt x="459" y="755"/>
                  </a:lnTo>
                  <a:lnTo>
                    <a:pt x="459" y="727"/>
                  </a:lnTo>
                  <a:lnTo>
                    <a:pt x="459" y="727"/>
                  </a:lnTo>
                  <a:lnTo>
                    <a:pt x="456" y="702"/>
                  </a:lnTo>
                  <a:lnTo>
                    <a:pt x="454" y="689"/>
                  </a:lnTo>
                  <a:lnTo>
                    <a:pt x="450" y="677"/>
                  </a:lnTo>
                  <a:lnTo>
                    <a:pt x="450" y="677"/>
                  </a:lnTo>
                  <a:lnTo>
                    <a:pt x="443" y="660"/>
                  </a:lnTo>
                  <a:lnTo>
                    <a:pt x="436" y="644"/>
                  </a:lnTo>
                  <a:lnTo>
                    <a:pt x="425" y="630"/>
                  </a:lnTo>
                  <a:lnTo>
                    <a:pt x="414" y="618"/>
                  </a:lnTo>
                  <a:lnTo>
                    <a:pt x="401" y="607"/>
                  </a:lnTo>
                  <a:lnTo>
                    <a:pt x="389" y="596"/>
                  </a:lnTo>
                  <a:lnTo>
                    <a:pt x="373" y="586"/>
                  </a:lnTo>
                  <a:lnTo>
                    <a:pt x="358" y="578"/>
                  </a:lnTo>
                  <a:lnTo>
                    <a:pt x="358" y="578"/>
                  </a:lnTo>
                  <a:lnTo>
                    <a:pt x="331" y="569"/>
                  </a:lnTo>
                  <a:lnTo>
                    <a:pt x="301" y="561"/>
                  </a:lnTo>
                  <a:lnTo>
                    <a:pt x="273" y="555"/>
                  </a:lnTo>
                  <a:lnTo>
                    <a:pt x="244" y="552"/>
                  </a:lnTo>
                  <a:lnTo>
                    <a:pt x="244" y="552"/>
                  </a:lnTo>
                  <a:lnTo>
                    <a:pt x="211" y="549"/>
                  </a:lnTo>
                  <a:lnTo>
                    <a:pt x="178" y="549"/>
                  </a:lnTo>
                  <a:lnTo>
                    <a:pt x="114" y="549"/>
                  </a:lnTo>
                  <a:lnTo>
                    <a:pt x="114" y="549"/>
                  </a:lnTo>
                  <a:lnTo>
                    <a:pt x="104" y="549"/>
                  </a:lnTo>
                  <a:lnTo>
                    <a:pt x="101" y="547"/>
                  </a:lnTo>
                  <a:lnTo>
                    <a:pt x="100" y="544"/>
                  </a:lnTo>
                  <a:lnTo>
                    <a:pt x="100" y="535"/>
                  </a:lnTo>
                  <a:lnTo>
                    <a:pt x="100" y="535"/>
                  </a:lnTo>
                  <a:lnTo>
                    <a:pt x="100" y="461"/>
                  </a:lnTo>
                  <a:lnTo>
                    <a:pt x="100" y="461"/>
                  </a:lnTo>
                  <a:lnTo>
                    <a:pt x="100" y="455"/>
                  </a:lnTo>
                  <a:lnTo>
                    <a:pt x="101" y="452"/>
                  </a:lnTo>
                  <a:lnTo>
                    <a:pt x="104" y="452"/>
                  </a:lnTo>
                  <a:lnTo>
                    <a:pt x="111" y="450"/>
                  </a:lnTo>
                  <a:lnTo>
                    <a:pt x="111" y="450"/>
                  </a:lnTo>
                  <a:lnTo>
                    <a:pt x="192" y="450"/>
                  </a:lnTo>
                  <a:lnTo>
                    <a:pt x="192" y="450"/>
                  </a:lnTo>
                  <a:lnTo>
                    <a:pt x="222" y="450"/>
                  </a:lnTo>
                  <a:lnTo>
                    <a:pt x="251" y="446"/>
                  </a:lnTo>
                  <a:lnTo>
                    <a:pt x="281" y="441"/>
                  </a:lnTo>
                  <a:lnTo>
                    <a:pt x="311" y="432"/>
                  </a:lnTo>
                  <a:lnTo>
                    <a:pt x="311" y="432"/>
                  </a:lnTo>
                  <a:lnTo>
                    <a:pt x="334" y="422"/>
                  </a:lnTo>
                  <a:lnTo>
                    <a:pt x="354" y="410"/>
                  </a:lnTo>
                  <a:lnTo>
                    <a:pt x="373" y="396"/>
                  </a:lnTo>
                  <a:lnTo>
                    <a:pt x="389" y="380"/>
                  </a:lnTo>
                  <a:lnTo>
                    <a:pt x="401" y="361"/>
                  </a:lnTo>
                  <a:lnTo>
                    <a:pt x="412" y="341"/>
                  </a:lnTo>
                  <a:lnTo>
                    <a:pt x="418" y="318"/>
                  </a:lnTo>
                  <a:lnTo>
                    <a:pt x="423" y="291"/>
                  </a:lnTo>
                  <a:lnTo>
                    <a:pt x="423" y="291"/>
                  </a:lnTo>
                  <a:lnTo>
                    <a:pt x="425" y="272"/>
                  </a:lnTo>
                  <a:lnTo>
                    <a:pt x="423" y="253"/>
                  </a:lnTo>
                  <a:lnTo>
                    <a:pt x="422" y="235"/>
                  </a:lnTo>
                  <a:lnTo>
                    <a:pt x="418" y="216"/>
                  </a:lnTo>
                  <a:lnTo>
                    <a:pt x="418" y="216"/>
                  </a:lnTo>
                  <a:lnTo>
                    <a:pt x="414" y="197"/>
                  </a:lnTo>
                  <a:lnTo>
                    <a:pt x="406" y="178"/>
                  </a:lnTo>
                  <a:lnTo>
                    <a:pt x="397" y="163"/>
                  </a:lnTo>
                  <a:lnTo>
                    <a:pt x="386" y="149"/>
                  </a:lnTo>
                  <a:lnTo>
                    <a:pt x="373" y="136"/>
                  </a:lnTo>
                  <a:lnTo>
                    <a:pt x="358" y="127"/>
                  </a:lnTo>
                  <a:lnTo>
                    <a:pt x="342" y="118"/>
                  </a:lnTo>
                  <a:lnTo>
                    <a:pt x="323" y="111"/>
                  </a:lnTo>
                  <a:lnTo>
                    <a:pt x="323" y="111"/>
                  </a:lnTo>
                  <a:lnTo>
                    <a:pt x="297" y="103"/>
                  </a:lnTo>
                  <a:lnTo>
                    <a:pt x="270" y="100"/>
                  </a:lnTo>
                  <a:lnTo>
                    <a:pt x="244" y="99"/>
                  </a:lnTo>
                  <a:lnTo>
                    <a:pt x="217" y="99"/>
                  </a:lnTo>
                  <a:lnTo>
                    <a:pt x="192" y="102"/>
                  </a:lnTo>
                  <a:lnTo>
                    <a:pt x="165" y="107"/>
                  </a:lnTo>
                  <a:lnTo>
                    <a:pt x="140" y="114"/>
                  </a:lnTo>
                  <a:lnTo>
                    <a:pt x="115" y="124"/>
                  </a:lnTo>
                  <a:lnTo>
                    <a:pt x="115" y="124"/>
                  </a:lnTo>
                  <a:lnTo>
                    <a:pt x="95" y="133"/>
                  </a:lnTo>
                  <a:lnTo>
                    <a:pt x="76" y="144"/>
                  </a:lnTo>
                  <a:lnTo>
                    <a:pt x="58" y="157"/>
                  </a:lnTo>
                  <a:lnTo>
                    <a:pt x="37" y="169"/>
                  </a:lnTo>
                  <a:lnTo>
                    <a:pt x="37" y="169"/>
                  </a:lnTo>
                  <a:close/>
                </a:path>
              </a:pathLst>
            </a:custGeom>
            <a:solidFill>
              <a:schemeClr val="accent2">
                <a:lumMod val="50000"/>
              </a:schemeClr>
            </a:solidFill>
            <a:ln>
              <a:noFill/>
            </a:ln>
            <a:extLst/>
          </p:spPr>
          <p:txBody>
            <a:bodyPr vert="horz" wrap="square" lIns="89642" tIns="44821" rIns="89642" bIns="44821"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IN" sz="1765">
                <a:solidFill>
                  <a:srgbClr val="FFFFFF"/>
                </a:solidFill>
              </a:endParaRPr>
            </a:p>
          </p:txBody>
        </p:sp>
      </p:grpSp>
      <p:grpSp>
        <p:nvGrpSpPr>
          <p:cNvPr id="7" name="Group 6"/>
          <p:cNvGrpSpPr/>
          <p:nvPr/>
        </p:nvGrpSpPr>
        <p:grpSpPr>
          <a:xfrm>
            <a:off x="6640390" y="1905226"/>
            <a:ext cx="4080758" cy="543108"/>
            <a:chOff x="7200580" y="2009338"/>
            <a:chExt cx="4162586" cy="553998"/>
          </a:xfrm>
        </p:grpSpPr>
        <p:sp>
          <p:nvSpPr>
            <p:cNvPr id="4" name="Rectangle 3"/>
            <p:cNvSpPr/>
            <p:nvPr/>
          </p:nvSpPr>
          <p:spPr bwMode="auto">
            <a:xfrm>
              <a:off x="7200580" y="2140594"/>
              <a:ext cx="746306" cy="422742"/>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2353" dirty="0">
                <a:solidFill>
                  <a:srgbClr val="FFFFFF"/>
                </a:solidFill>
              </a:endParaRPr>
            </a:p>
          </p:txBody>
        </p:sp>
        <p:sp>
          <p:nvSpPr>
            <p:cNvPr id="8" name="Right Arrow 7"/>
            <p:cNvSpPr/>
            <p:nvPr/>
          </p:nvSpPr>
          <p:spPr bwMode="auto">
            <a:xfrm>
              <a:off x="8049228" y="2259553"/>
              <a:ext cx="616585" cy="203935"/>
            </a:xfrm>
            <a:prstGeom prst="rightArrow">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2353" dirty="0">
                <a:solidFill>
                  <a:srgbClr val="FFFFFF"/>
                </a:solidFill>
              </a:endParaRPr>
            </a:p>
          </p:txBody>
        </p:sp>
        <p:sp>
          <p:nvSpPr>
            <p:cNvPr id="9" name="Rectangle 8"/>
            <p:cNvSpPr/>
            <p:nvPr/>
          </p:nvSpPr>
          <p:spPr bwMode="auto">
            <a:xfrm>
              <a:off x="8768155" y="2247466"/>
              <a:ext cx="429805" cy="228108"/>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2353" dirty="0">
                <a:solidFill>
                  <a:srgbClr val="FFFFFF"/>
                </a:solidFill>
              </a:endParaRPr>
            </a:p>
          </p:txBody>
        </p:sp>
        <p:sp>
          <p:nvSpPr>
            <p:cNvPr id="11" name="Rectangle 10"/>
            <p:cNvSpPr/>
            <p:nvPr/>
          </p:nvSpPr>
          <p:spPr bwMode="auto">
            <a:xfrm>
              <a:off x="9300302" y="2247466"/>
              <a:ext cx="429805" cy="228108"/>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2353" dirty="0">
                <a:solidFill>
                  <a:srgbClr val="FFFFFF"/>
                </a:solidFill>
              </a:endParaRPr>
            </a:p>
          </p:txBody>
        </p:sp>
        <p:sp>
          <p:nvSpPr>
            <p:cNvPr id="12" name="Rectangle 11"/>
            <p:cNvSpPr/>
            <p:nvPr/>
          </p:nvSpPr>
          <p:spPr bwMode="auto">
            <a:xfrm>
              <a:off x="9832450" y="2247466"/>
              <a:ext cx="429805" cy="228108"/>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2353" dirty="0">
                <a:solidFill>
                  <a:srgbClr val="FFFFFF"/>
                </a:solidFill>
              </a:endParaRPr>
            </a:p>
          </p:txBody>
        </p:sp>
        <p:sp>
          <p:nvSpPr>
            <p:cNvPr id="13" name="TextBox 12"/>
            <p:cNvSpPr txBox="1"/>
            <p:nvPr/>
          </p:nvSpPr>
          <p:spPr>
            <a:xfrm>
              <a:off x="10348465" y="2009338"/>
              <a:ext cx="1014701" cy="553998"/>
            </a:xfrm>
            <a:prstGeom prst="rect">
              <a:avLst/>
            </a:prstGeom>
            <a:noFill/>
          </p:spPr>
          <p:txBody>
            <a:bodyPr wrap="none" lIns="0" tIns="0" rIns="0" bIns="0" rtlCol="0">
              <a:spAutoFit/>
            </a:bodyPr>
            <a:lstStyle/>
            <a:p>
              <a:pPr defTabSz="914367"/>
              <a:r>
                <a:rPr lang="en-US" sz="3529" dirty="0">
                  <a:solidFill>
                    <a:srgbClr val="68217A"/>
                  </a:solidFill>
                </a:rPr>
                <a:t>………</a:t>
              </a:r>
            </a:p>
          </p:txBody>
        </p:sp>
      </p:grpSp>
      <p:grpSp>
        <p:nvGrpSpPr>
          <p:cNvPr id="62" name="Group 61"/>
          <p:cNvGrpSpPr/>
          <p:nvPr/>
        </p:nvGrpSpPr>
        <p:grpSpPr>
          <a:xfrm>
            <a:off x="6388636" y="1278915"/>
            <a:ext cx="5384721" cy="561211"/>
            <a:chOff x="6943778" y="1370469"/>
            <a:chExt cx="5492696" cy="572464"/>
          </a:xfrm>
        </p:grpSpPr>
        <p:sp>
          <p:nvSpPr>
            <p:cNvPr id="3" name="TextBox 2"/>
            <p:cNvSpPr txBox="1"/>
            <p:nvPr/>
          </p:nvSpPr>
          <p:spPr>
            <a:xfrm>
              <a:off x="7200579" y="1370469"/>
              <a:ext cx="5235895" cy="572464"/>
            </a:xfrm>
            <a:prstGeom prst="rect">
              <a:avLst/>
            </a:prstGeom>
            <a:solidFill>
              <a:schemeClr val="accent3"/>
            </a:solidFill>
            <a:ln>
              <a:noFill/>
            </a:ln>
          </p:spPr>
          <p:txBody>
            <a:bodyPr wrap="square" lIns="89642" tIns="143428" rIns="44821" bIns="143428" rtlCol="0">
              <a:spAutoFit/>
            </a:bodyPr>
            <a:lstStyle/>
            <a:p>
              <a:pPr marL="230321" indent="-230321" defTabSz="914367"/>
              <a:r>
                <a:rPr lang="en-US" sz="1765" dirty="0">
                  <a:solidFill>
                    <a:srgbClr val="FFFFFF"/>
                  </a:solidFill>
                </a:rPr>
                <a:t>Divide a large problem into sub-problems.</a:t>
              </a:r>
            </a:p>
          </p:txBody>
        </p:sp>
        <p:sp>
          <p:nvSpPr>
            <p:cNvPr id="58" name="Freeform 57"/>
            <p:cNvSpPr>
              <a:spLocks/>
            </p:cNvSpPr>
            <p:nvPr/>
          </p:nvSpPr>
          <p:spPr bwMode="auto">
            <a:xfrm>
              <a:off x="6943778" y="1430894"/>
              <a:ext cx="153638" cy="451614"/>
            </a:xfrm>
            <a:custGeom>
              <a:avLst/>
              <a:gdLst>
                <a:gd name="T0" fmla="*/ 231 w 347"/>
                <a:gd name="T1" fmla="*/ 161 h 1020"/>
                <a:gd name="T2" fmla="*/ 178 w 347"/>
                <a:gd name="T3" fmla="*/ 198 h 1020"/>
                <a:gd name="T4" fmla="*/ 122 w 347"/>
                <a:gd name="T5" fmla="*/ 229 h 1020"/>
                <a:gd name="T6" fmla="*/ 64 w 347"/>
                <a:gd name="T7" fmla="*/ 256 h 1020"/>
                <a:gd name="T8" fmla="*/ 3 w 347"/>
                <a:gd name="T9" fmla="*/ 276 h 1020"/>
                <a:gd name="T10" fmla="*/ 2 w 347"/>
                <a:gd name="T11" fmla="*/ 273 h 1020"/>
                <a:gd name="T12" fmla="*/ 0 w 347"/>
                <a:gd name="T13" fmla="*/ 264 h 1020"/>
                <a:gd name="T14" fmla="*/ 0 w 347"/>
                <a:gd name="T15" fmla="*/ 172 h 1020"/>
                <a:gd name="T16" fmla="*/ 0 w 347"/>
                <a:gd name="T17" fmla="*/ 165 h 1020"/>
                <a:gd name="T18" fmla="*/ 7 w 347"/>
                <a:gd name="T19" fmla="*/ 159 h 1020"/>
                <a:gd name="T20" fmla="*/ 11 w 347"/>
                <a:gd name="T21" fmla="*/ 157 h 1020"/>
                <a:gd name="T22" fmla="*/ 78 w 347"/>
                <a:gd name="T23" fmla="*/ 132 h 1020"/>
                <a:gd name="T24" fmla="*/ 144 w 347"/>
                <a:gd name="T25" fmla="*/ 103 h 1020"/>
                <a:gd name="T26" fmla="*/ 205 w 347"/>
                <a:gd name="T27" fmla="*/ 68 h 1020"/>
                <a:gd name="T28" fmla="*/ 266 w 347"/>
                <a:gd name="T29" fmla="*/ 29 h 1020"/>
                <a:gd name="T30" fmla="*/ 296 w 347"/>
                <a:gd name="T31" fmla="*/ 4 h 1020"/>
                <a:gd name="T32" fmla="*/ 302 w 347"/>
                <a:gd name="T33" fmla="*/ 1 h 1020"/>
                <a:gd name="T34" fmla="*/ 308 w 347"/>
                <a:gd name="T35" fmla="*/ 0 h 1020"/>
                <a:gd name="T36" fmla="*/ 339 w 347"/>
                <a:gd name="T37" fmla="*/ 0 h 1020"/>
                <a:gd name="T38" fmla="*/ 346 w 347"/>
                <a:gd name="T39" fmla="*/ 1 h 1020"/>
                <a:gd name="T40" fmla="*/ 347 w 347"/>
                <a:gd name="T41" fmla="*/ 7 h 1020"/>
                <a:gd name="T42" fmla="*/ 347 w 347"/>
                <a:gd name="T43" fmla="*/ 18 h 1020"/>
                <a:gd name="T44" fmla="*/ 347 w 347"/>
                <a:gd name="T45" fmla="*/ 1003 h 1020"/>
                <a:gd name="T46" fmla="*/ 347 w 347"/>
                <a:gd name="T47" fmla="*/ 1012 h 1020"/>
                <a:gd name="T48" fmla="*/ 344 w 347"/>
                <a:gd name="T49" fmla="*/ 1018 h 1020"/>
                <a:gd name="T50" fmla="*/ 339 w 347"/>
                <a:gd name="T51" fmla="*/ 1020 h 1020"/>
                <a:gd name="T52" fmla="*/ 328 w 347"/>
                <a:gd name="T53" fmla="*/ 1020 h 1020"/>
                <a:gd name="T54" fmla="*/ 242 w 347"/>
                <a:gd name="T55" fmla="*/ 1020 h 1020"/>
                <a:gd name="T56" fmla="*/ 233 w 347"/>
                <a:gd name="T57" fmla="*/ 1018 h 1020"/>
                <a:gd name="T58" fmla="*/ 231 w 347"/>
                <a:gd name="T59" fmla="*/ 1011 h 1020"/>
                <a:gd name="T60" fmla="*/ 231 w 347"/>
                <a:gd name="T61" fmla="*/ 1000 h 1020"/>
                <a:gd name="T62" fmla="*/ 231 w 347"/>
                <a:gd name="T63" fmla="*/ 181 h 1020"/>
                <a:gd name="T64" fmla="*/ 231 w 347"/>
                <a:gd name="T65" fmla="*/ 161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7" h="1020">
                  <a:moveTo>
                    <a:pt x="231" y="161"/>
                  </a:moveTo>
                  <a:lnTo>
                    <a:pt x="231" y="161"/>
                  </a:lnTo>
                  <a:lnTo>
                    <a:pt x="205" y="181"/>
                  </a:lnTo>
                  <a:lnTo>
                    <a:pt x="178" y="198"/>
                  </a:lnTo>
                  <a:lnTo>
                    <a:pt x="150" y="215"/>
                  </a:lnTo>
                  <a:lnTo>
                    <a:pt x="122" y="229"/>
                  </a:lnTo>
                  <a:lnTo>
                    <a:pt x="92" y="243"/>
                  </a:lnTo>
                  <a:lnTo>
                    <a:pt x="64" y="256"/>
                  </a:lnTo>
                  <a:lnTo>
                    <a:pt x="33" y="267"/>
                  </a:lnTo>
                  <a:lnTo>
                    <a:pt x="3" y="276"/>
                  </a:lnTo>
                  <a:lnTo>
                    <a:pt x="3" y="276"/>
                  </a:lnTo>
                  <a:lnTo>
                    <a:pt x="2" y="273"/>
                  </a:lnTo>
                  <a:lnTo>
                    <a:pt x="0" y="270"/>
                  </a:lnTo>
                  <a:lnTo>
                    <a:pt x="0" y="264"/>
                  </a:lnTo>
                  <a:lnTo>
                    <a:pt x="0" y="264"/>
                  </a:lnTo>
                  <a:lnTo>
                    <a:pt x="0" y="172"/>
                  </a:lnTo>
                  <a:lnTo>
                    <a:pt x="0" y="172"/>
                  </a:lnTo>
                  <a:lnTo>
                    <a:pt x="0" y="165"/>
                  </a:lnTo>
                  <a:lnTo>
                    <a:pt x="3" y="162"/>
                  </a:lnTo>
                  <a:lnTo>
                    <a:pt x="7" y="159"/>
                  </a:lnTo>
                  <a:lnTo>
                    <a:pt x="11" y="157"/>
                  </a:lnTo>
                  <a:lnTo>
                    <a:pt x="11" y="157"/>
                  </a:lnTo>
                  <a:lnTo>
                    <a:pt x="46" y="145"/>
                  </a:lnTo>
                  <a:lnTo>
                    <a:pt x="78" y="132"/>
                  </a:lnTo>
                  <a:lnTo>
                    <a:pt x="111" y="118"/>
                  </a:lnTo>
                  <a:lnTo>
                    <a:pt x="144" y="103"/>
                  </a:lnTo>
                  <a:lnTo>
                    <a:pt x="175" y="86"/>
                  </a:lnTo>
                  <a:lnTo>
                    <a:pt x="205" y="68"/>
                  </a:lnTo>
                  <a:lnTo>
                    <a:pt x="236" y="50"/>
                  </a:lnTo>
                  <a:lnTo>
                    <a:pt x="266" y="29"/>
                  </a:lnTo>
                  <a:lnTo>
                    <a:pt x="266" y="29"/>
                  </a:lnTo>
                  <a:lnTo>
                    <a:pt x="296" y="4"/>
                  </a:lnTo>
                  <a:lnTo>
                    <a:pt x="296" y="4"/>
                  </a:lnTo>
                  <a:lnTo>
                    <a:pt x="302" y="1"/>
                  </a:lnTo>
                  <a:lnTo>
                    <a:pt x="308" y="0"/>
                  </a:lnTo>
                  <a:lnTo>
                    <a:pt x="308" y="0"/>
                  </a:lnTo>
                  <a:lnTo>
                    <a:pt x="339" y="0"/>
                  </a:lnTo>
                  <a:lnTo>
                    <a:pt x="339" y="0"/>
                  </a:lnTo>
                  <a:lnTo>
                    <a:pt x="344" y="0"/>
                  </a:lnTo>
                  <a:lnTo>
                    <a:pt x="346" y="1"/>
                  </a:lnTo>
                  <a:lnTo>
                    <a:pt x="347" y="4"/>
                  </a:lnTo>
                  <a:lnTo>
                    <a:pt x="347" y="7"/>
                  </a:lnTo>
                  <a:lnTo>
                    <a:pt x="347" y="7"/>
                  </a:lnTo>
                  <a:lnTo>
                    <a:pt x="347" y="18"/>
                  </a:lnTo>
                  <a:lnTo>
                    <a:pt x="347" y="18"/>
                  </a:lnTo>
                  <a:lnTo>
                    <a:pt x="347" y="1003"/>
                  </a:lnTo>
                  <a:lnTo>
                    <a:pt x="347" y="1003"/>
                  </a:lnTo>
                  <a:lnTo>
                    <a:pt x="347" y="1012"/>
                  </a:lnTo>
                  <a:lnTo>
                    <a:pt x="346" y="1017"/>
                  </a:lnTo>
                  <a:lnTo>
                    <a:pt x="344" y="1018"/>
                  </a:lnTo>
                  <a:lnTo>
                    <a:pt x="342" y="1020"/>
                  </a:lnTo>
                  <a:lnTo>
                    <a:pt x="339" y="1020"/>
                  </a:lnTo>
                  <a:lnTo>
                    <a:pt x="328" y="1020"/>
                  </a:lnTo>
                  <a:lnTo>
                    <a:pt x="328" y="1020"/>
                  </a:lnTo>
                  <a:lnTo>
                    <a:pt x="242" y="1020"/>
                  </a:lnTo>
                  <a:lnTo>
                    <a:pt x="242" y="1020"/>
                  </a:lnTo>
                  <a:lnTo>
                    <a:pt x="236" y="1020"/>
                  </a:lnTo>
                  <a:lnTo>
                    <a:pt x="233" y="1018"/>
                  </a:lnTo>
                  <a:lnTo>
                    <a:pt x="231" y="1015"/>
                  </a:lnTo>
                  <a:lnTo>
                    <a:pt x="231" y="1011"/>
                  </a:lnTo>
                  <a:lnTo>
                    <a:pt x="231" y="1011"/>
                  </a:lnTo>
                  <a:lnTo>
                    <a:pt x="231" y="1000"/>
                  </a:lnTo>
                  <a:lnTo>
                    <a:pt x="231" y="1000"/>
                  </a:lnTo>
                  <a:lnTo>
                    <a:pt x="231" y="181"/>
                  </a:lnTo>
                  <a:lnTo>
                    <a:pt x="231" y="181"/>
                  </a:lnTo>
                  <a:lnTo>
                    <a:pt x="231" y="161"/>
                  </a:lnTo>
                  <a:lnTo>
                    <a:pt x="231" y="161"/>
                  </a:lnTo>
                  <a:close/>
                </a:path>
              </a:pathLst>
            </a:custGeom>
            <a:solidFill>
              <a:schemeClr val="accent3">
                <a:lumMod val="50000"/>
              </a:schemeClr>
            </a:solidFill>
            <a:ln>
              <a:noFill/>
            </a:ln>
            <a:extLst/>
          </p:spPr>
          <p:txBody>
            <a:bodyPr vert="horz" wrap="square" lIns="89642" tIns="44821" rIns="89642" bIns="44821"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IN" sz="1765">
                <a:solidFill>
                  <a:srgbClr val="000000"/>
                </a:solidFill>
              </a:endParaRPr>
            </a:p>
          </p:txBody>
        </p:sp>
      </p:grpSp>
    </p:spTree>
    <p:extLst>
      <p:ext uri="{BB962C8B-B14F-4D97-AF65-F5344CB8AC3E}">
        <p14:creationId xmlns:p14="http://schemas.microsoft.com/office/powerpoint/2010/main" val="1299872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1000"/>
                                        <p:tgtEl>
                                          <p:spTgt spid="34"/>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62"/>
                                        </p:tgtEl>
                                        <p:attrNameLst>
                                          <p:attrName>style.visibility</p:attrName>
                                        </p:attrNameLst>
                                      </p:cBhvr>
                                      <p:to>
                                        <p:strVal val="visible"/>
                                      </p:to>
                                    </p:set>
                                    <p:animEffect transition="in" filter="fade">
                                      <p:cBhvr>
                                        <p:cTn id="11" dur="500"/>
                                        <p:tgtEl>
                                          <p:spTgt spid="62"/>
                                        </p:tgtEl>
                                      </p:cBhvr>
                                    </p:animEffect>
                                  </p:childTnLst>
                                </p:cTn>
                              </p:par>
                            </p:childTnLst>
                          </p:cTn>
                        </p:par>
                        <p:par>
                          <p:cTn id="12" fill="hold">
                            <p:stCondLst>
                              <p:cond delay="1500"/>
                            </p:stCondLst>
                            <p:childTnLst>
                              <p:par>
                                <p:cTn id="13" presetID="47" presetClass="entr" presetSubtype="0" fill="hold" nodeType="after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anim calcmode="lin" valueType="num">
                                      <p:cBhvr>
                                        <p:cTn id="16" dur="500" fill="hold"/>
                                        <p:tgtEl>
                                          <p:spTgt spid="7"/>
                                        </p:tgtEl>
                                        <p:attrNameLst>
                                          <p:attrName>ppt_x</p:attrName>
                                        </p:attrNameLst>
                                      </p:cBhvr>
                                      <p:tavLst>
                                        <p:tav tm="0">
                                          <p:val>
                                            <p:strVal val="#ppt_x"/>
                                          </p:val>
                                        </p:tav>
                                        <p:tav tm="100000">
                                          <p:val>
                                            <p:strVal val="#ppt_x"/>
                                          </p:val>
                                        </p:tav>
                                      </p:tavLst>
                                    </p:anim>
                                    <p:anim calcmode="lin" valueType="num">
                                      <p:cBhvr>
                                        <p:cTn id="17" dur="5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7"/>
                                        </p:tgtEl>
                                        <p:attrNameLst>
                                          <p:attrName>style.visibility</p:attrName>
                                        </p:attrNameLst>
                                      </p:cBhvr>
                                      <p:to>
                                        <p:strVal val="visible"/>
                                      </p:to>
                                    </p:set>
                                    <p:animEffect transition="in" filter="fade">
                                      <p:cBhvr>
                                        <p:cTn id="22" dur="1000"/>
                                        <p:tgtEl>
                                          <p:spTgt spid="37"/>
                                        </p:tgtEl>
                                      </p:cBhvr>
                                    </p:animEffect>
                                  </p:childTnLst>
                                </p:cTn>
                              </p:par>
                            </p:childTnLst>
                          </p:cTn>
                        </p:par>
                        <p:par>
                          <p:cTn id="23" fill="hold">
                            <p:stCondLst>
                              <p:cond delay="1000"/>
                            </p:stCondLst>
                            <p:childTnLst>
                              <p:par>
                                <p:cTn id="24" presetID="10" presetClass="entr" presetSubtype="0" fill="hold" nodeType="afterEffect">
                                  <p:stCondLst>
                                    <p:cond delay="0"/>
                                  </p:stCondLst>
                                  <p:childTnLst>
                                    <p:set>
                                      <p:cBhvr>
                                        <p:cTn id="25" dur="1" fill="hold">
                                          <p:stCondLst>
                                            <p:cond delay="0"/>
                                          </p:stCondLst>
                                        </p:cTn>
                                        <p:tgtEl>
                                          <p:spTgt spid="40"/>
                                        </p:tgtEl>
                                        <p:attrNameLst>
                                          <p:attrName>style.visibility</p:attrName>
                                        </p:attrNameLst>
                                      </p:cBhvr>
                                      <p:to>
                                        <p:strVal val="visible"/>
                                      </p:to>
                                    </p:set>
                                    <p:animEffect transition="in" filter="fade">
                                      <p:cBhvr>
                                        <p:cTn id="26" dur="1000"/>
                                        <p:tgtEl>
                                          <p:spTgt spid="40"/>
                                        </p:tgtEl>
                                      </p:cBhvr>
                                    </p:animEffect>
                                  </p:childTnLst>
                                </p:cTn>
                              </p:par>
                            </p:childTnLst>
                          </p:cTn>
                        </p:par>
                        <p:par>
                          <p:cTn id="27" fill="hold">
                            <p:stCondLst>
                              <p:cond delay="2000"/>
                            </p:stCondLst>
                            <p:childTnLst>
                              <p:par>
                                <p:cTn id="28" presetID="10" presetClass="entr" presetSubtype="0" fill="hold" nodeType="afterEffect">
                                  <p:stCondLst>
                                    <p:cond delay="0"/>
                                  </p:stCondLst>
                                  <p:childTnLst>
                                    <p:set>
                                      <p:cBhvr>
                                        <p:cTn id="29" dur="1" fill="hold">
                                          <p:stCondLst>
                                            <p:cond delay="0"/>
                                          </p:stCondLst>
                                        </p:cTn>
                                        <p:tgtEl>
                                          <p:spTgt spid="63"/>
                                        </p:tgtEl>
                                        <p:attrNameLst>
                                          <p:attrName>style.visibility</p:attrName>
                                        </p:attrNameLst>
                                      </p:cBhvr>
                                      <p:to>
                                        <p:strVal val="visible"/>
                                      </p:to>
                                    </p:set>
                                    <p:animEffect transition="in" filter="fade">
                                      <p:cBhvr>
                                        <p:cTn id="30" dur="500"/>
                                        <p:tgtEl>
                                          <p:spTgt spid="63"/>
                                        </p:tgtEl>
                                      </p:cBhvr>
                                    </p:animEffect>
                                  </p:childTnLst>
                                </p:cTn>
                              </p:par>
                            </p:childTnLst>
                          </p:cTn>
                        </p:par>
                        <p:par>
                          <p:cTn id="31" fill="hold">
                            <p:stCondLst>
                              <p:cond delay="2500"/>
                            </p:stCondLst>
                            <p:childTnLst>
                              <p:par>
                                <p:cTn id="32" presetID="47" presetClass="entr" presetSubtype="0" fill="hold" nodeType="afterEffect">
                                  <p:stCondLst>
                                    <p:cond delay="0"/>
                                  </p:stCondLst>
                                  <p:childTnLst>
                                    <p:set>
                                      <p:cBhvr>
                                        <p:cTn id="33" dur="1" fill="hold">
                                          <p:stCondLst>
                                            <p:cond delay="0"/>
                                          </p:stCondLst>
                                        </p:cTn>
                                        <p:tgtEl>
                                          <p:spTgt spid="65"/>
                                        </p:tgtEl>
                                        <p:attrNameLst>
                                          <p:attrName>style.visibility</p:attrName>
                                        </p:attrNameLst>
                                      </p:cBhvr>
                                      <p:to>
                                        <p:strVal val="visible"/>
                                      </p:to>
                                    </p:set>
                                    <p:animEffect transition="in" filter="fade">
                                      <p:cBhvr>
                                        <p:cTn id="34" dur="500"/>
                                        <p:tgtEl>
                                          <p:spTgt spid="65"/>
                                        </p:tgtEl>
                                      </p:cBhvr>
                                    </p:animEffect>
                                    <p:anim calcmode="lin" valueType="num">
                                      <p:cBhvr>
                                        <p:cTn id="35" dur="500" fill="hold"/>
                                        <p:tgtEl>
                                          <p:spTgt spid="65"/>
                                        </p:tgtEl>
                                        <p:attrNameLst>
                                          <p:attrName>ppt_x</p:attrName>
                                        </p:attrNameLst>
                                      </p:cBhvr>
                                      <p:tavLst>
                                        <p:tav tm="0">
                                          <p:val>
                                            <p:strVal val="#ppt_x"/>
                                          </p:val>
                                        </p:tav>
                                        <p:tav tm="100000">
                                          <p:val>
                                            <p:strVal val="#ppt_x"/>
                                          </p:val>
                                        </p:tav>
                                      </p:tavLst>
                                    </p:anim>
                                    <p:anim calcmode="lin" valueType="num">
                                      <p:cBhvr>
                                        <p:cTn id="36" dur="500" fill="hold"/>
                                        <p:tgtEl>
                                          <p:spTgt spid="65"/>
                                        </p:tgtEl>
                                        <p:attrNameLst>
                                          <p:attrName>ppt_y</p:attrName>
                                        </p:attrNameLst>
                                      </p:cBhvr>
                                      <p:tavLst>
                                        <p:tav tm="0">
                                          <p:val>
                                            <p:strVal val="#ppt_y-.1"/>
                                          </p:val>
                                        </p:tav>
                                        <p:tav tm="100000">
                                          <p:val>
                                            <p:strVal val="#ppt_y"/>
                                          </p:val>
                                        </p:tav>
                                      </p:tavLst>
                                    </p:anim>
                                  </p:childTnLst>
                                </p:cTn>
                              </p:par>
                            </p:childTnLst>
                          </p:cTn>
                        </p:par>
                        <p:par>
                          <p:cTn id="37" fill="hold">
                            <p:stCondLst>
                              <p:cond delay="3000"/>
                            </p:stCondLst>
                            <p:childTnLst>
                              <p:par>
                                <p:cTn id="38" presetID="16" presetClass="entr" presetSubtype="42" fill="hold" grpId="0" nodeType="afterEffect">
                                  <p:stCondLst>
                                    <p:cond delay="0"/>
                                  </p:stCondLst>
                                  <p:childTnLst>
                                    <p:set>
                                      <p:cBhvr>
                                        <p:cTn id="39" dur="1" fill="hold">
                                          <p:stCondLst>
                                            <p:cond delay="0"/>
                                          </p:stCondLst>
                                        </p:cTn>
                                        <p:tgtEl>
                                          <p:spTgt spid="15"/>
                                        </p:tgtEl>
                                        <p:attrNameLst>
                                          <p:attrName>style.visibility</p:attrName>
                                        </p:attrNameLst>
                                      </p:cBhvr>
                                      <p:to>
                                        <p:strVal val="visible"/>
                                      </p:to>
                                    </p:set>
                                    <p:animEffect transition="in" filter="barn(outHorizontal)">
                                      <p:cBhvr>
                                        <p:cTn id="40" dur="1000"/>
                                        <p:tgtEl>
                                          <p:spTgt spid="15"/>
                                        </p:tgtEl>
                                      </p:cBhvr>
                                    </p:animEffect>
                                  </p:childTnLst>
                                </p:cTn>
                              </p:par>
                            </p:childTnLst>
                          </p:cTn>
                        </p:par>
                        <p:par>
                          <p:cTn id="41" fill="hold">
                            <p:stCondLst>
                              <p:cond delay="4000"/>
                            </p:stCondLst>
                            <p:childTnLst>
                              <p:par>
                                <p:cTn id="42" presetID="10" presetClass="entr" presetSubtype="0" fill="hold" grpId="0" nodeType="afterEffect">
                                  <p:stCondLst>
                                    <p:cond delay="0"/>
                                  </p:stCondLst>
                                  <p:childTnLst>
                                    <p:set>
                                      <p:cBhvr>
                                        <p:cTn id="43" dur="1" fill="hold">
                                          <p:stCondLst>
                                            <p:cond delay="0"/>
                                          </p:stCondLst>
                                        </p:cTn>
                                        <p:tgtEl>
                                          <p:spTgt spid="31"/>
                                        </p:tgtEl>
                                        <p:attrNameLst>
                                          <p:attrName>style.visibility</p:attrName>
                                        </p:attrNameLst>
                                      </p:cBhvr>
                                      <p:to>
                                        <p:strVal val="visible"/>
                                      </p:to>
                                    </p:set>
                                    <p:animEffect transition="in" filter="fade">
                                      <p:cBhvr>
                                        <p:cTn id="44" dur="500"/>
                                        <p:tgtEl>
                                          <p:spTgt spid="31"/>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nodeType="clickEffect">
                                  <p:stCondLst>
                                    <p:cond delay="0"/>
                                  </p:stCondLst>
                                  <p:childTnLst>
                                    <p:set>
                                      <p:cBhvr>
                                        <p:cTn id="48" dur="1" fill="hold">
                                          <p:stCondLst>
                                            <p:cond delay="0"/>
                                          </p:stCondLst>
                                        </p:cTn>
                                        <p:tgtEl>
                                          <p:spTgt spid="43"/>
                                        </p:tgtEl>
                                        <p:attrNameLst>
                                          <p:attrName>style.visibility</p:attrName>
                                        </p:attrNameLst>
                                      </p:cBhvr>
                                      <p:to>
                                        <p:strVal val="visible"/>
                                      </p:to>
                                    </p:set>
                                    <p:animEffect transition="in" filter="fade">
                                      <p:cBhvr>
                                        <p:cTn id="49" dur="1000"/>
                                        <p:tgtEl>
                                          <p:spTgt spid="43"/>
                                        </p:tgtEl>
                                      </p:cBhvr>
                                    </p:animEffect>
                                  </p:childTnLst>
                                </p:cTn>
                              </p:par>
                            </p:childTnLst>
                          </p:cTn>
                        </p:par>
                        <p:par>
                          <p:cTn id="50" fill="hold">
                            <p:stCondLst>
                              <p:cond delay="1000"/>
                            </p:stCondLst>
                            <p:childTnLst>
                              <p:par>
                                <p:cTn id="51" presetID="10" presetClass="entr" presetSubtype="0" fill="hold" nodeType="afterEffect">
                                  <p:stCondLst>
                                    <p:cond delay="0"/>
                                  </p:stCondLst>
                                  <p:childTnLst>
                                    <p:set>
                                      <p:cBhvr>
                                        <p:cTn id="52" dur="1" fill="hold">
                                          <p:stCondLst>
                                            <p:cond delay="0"/>
                                          </p:stCondLst>
                                        </p:cTn>
                                        <p:tgtEl>
                                          <p:spTgt spid="20"/>
                                        </p:tgtEl>
                                        <p:attrNameLst>
                                          <p:attrName>style.visibility</p:attrName>
                                        </p:attrNameLst>
                                      </p:cBhvr>
                                      <p:to>
                                        <p:strVal val="visible"/>
                                      </p:to>
                                    </p:set>
                                    <p:animEffect transition="in" filter="fade">
                                      <p:cBhvr>
                                        <p:cTn id="53" dur="500"/>
                                        <p:tgtEl>
                                          <p:spTgt spid="20"/>
                                        </p:tgtEl>
                                      </p:cBhvr>
                                    </p:animEffect>
                                  </p:childTnLst>
                                </p:cTn>
                              </p:par>
                            </p:childTnLst>
                          </p:cTn>
                        </p:par>
                        <p:par>
                          <p:cTn id="54" fill="hold">
                            <p:stCondLst>
                              <p:cond delay="1500"/>
                            </p:stCondLst>
                            <p:childTnLst>
                              <p:par>
                                <p:cTn id="55" presetID="47" presetClass="entr" presetSubtype="0" fill="hold" nodeType="afterEffect">
                                  <p:stCondLst>
                                    <p:cond delay="0"/>
                                  </p:stCondLst>
                                  <p:childTnLst>
                                    <p:set>
                                      <p:cBhvr>
                                        <p:cTn id="56" dur="1" fill="hold">
                                          <p:stCondLst>
                                            <p:cond delay="0"/>
                                          </p:stCondLst>
                                        </p:cTn>
                                        <p:tgtEl>
                                          <p:spTgt spid="66"/>
                                        </p:tgtEl>
                                        <p:attrNameLst>
                                          <p:attrName>style.visibility</p:attrName>
                                        </p:attrNameLst>
                                      </p:cBhvr>
                                      <p:to>
                                        <p:strVal val="visible"/>
                                      </p:to>
                                    </p:set>
                                    <p:animEffect transition="in" filter="fade">
                                      <p:cBhvr>
                                        <p:cTn id="57" dur="500"/>
                                        <p:tgtEl>
                                          <p:spTgt spid="66"/>
                                        </p:tgtEl>
                                      </p:cBhvr>
                                    </p:animEffect>
                                    <p:anim calcmode="lin" valueType="num">
                                      <p:cBhvr>
                                        <p:cTn id="58" dur="500" fill="hold"/>
                                        <p:tgtEl>
                                          <p:spTgt spid="66"/>
                                        </p:tgtEl>
                                        <p:attrNameLst>
                                          <p:attrName>ppt_x</p:attrName>
                                        </p:attrNameLst>
                                      </p:cBhvr>
                                      <p:tavLst>
                                        <p:tav tm="0">
                                          <p:val>
                                            <p:strVal val="#ppt_x"/>
                                          </p:val>
                                        </p:tav>
                                        <p:tav tm="100000">
                                          <p:val>
                                            <p:strVal val="#ppt_x"/>
                                          </p:val>
                                        </p:tav>
                                      </p:tavLst>
                                    </p:anim>
                                    <p:anim calcmode="lin" valueType="num">
                                      <p:cBhvr>
                                        <p:cTn id="59" dur="500" fill="hold"/>
                                        <p:tgtEl>
                                          <p:spTgt spid="66"/>
                                        </p:tgtEl>
                                        <p:attrNameLst>
                                          <p:attrName>ppt_y</p:attrName>
                                        </p:attrNameLst>
                                      </p:cBhvr>
                                      <p:tavLst>
                                        <p:tav tm="0">
                                          <p:val>
                                            <p:strVal val="#ppt_y-.1"/>
                                          </p:val>
                                        </p:tav>
                                        <p:tav tm="100000">
                                          <p:val>
                                            <p:strVal val="#ppt_y"/>
                                          </p:val>
                                        </p:tav>
                                      </p:tavLst>
                                    </p:anim>
                                  </p:childTnLst>
                                </p:cTn>
                              </p:par>
                            </p:childTnLst>
                          </p:cTn>
                        </p:par>
                        <p:par>
                          <p:cTn id="60" fill="hold">
                            <p:stCondLst>
                              <p:cond delay="2000"/>
                            </p:stCondLst>
                            <p:childTnLst>
                              <p:par>
                                <p:cTn id="61" presetID="10" presetClass="entr" presetSubtype="0" fill="hold" grpId="0" nodeType="afterEffect">
                                  <p:stCondLst>
                                    <p:cond delay="0"/>
                                  </p:stCondLst>
                                  <p:childTnLst>
                                    <p:set>
                                      <p:cBhvr>
                                        <p:cTn id="62" dur="1" fill="hold">
                                          <p:stCondLst>
                                            <p:cond delay="0"/>
                                          </p:stCondLst>
                                        </p:cTn>
                                        <p:tgtEl>
                                          <p:spTgt spid="29"/>
                                        </p:tgtEl>
                                        <p:attrNameLst>
                                          <p:attrName>style.visibility</p:attrName>
                                        </p:attrNameLst>
                                      </p:cBhvr>
                                      <p:to>
                                        <p:strVal val="visible"/>
                                      </p:to>
                                    </p:set>
                                    <p:animEffect transition="in" filter="fade">
                                      <p:cBhvr>
                                        <p:cTn id="63" dur="500"/>
                                        <p:tgtEl>
                                          <p:spTgt spid="29"/>
                                        </p:tgtEl>
                                      </p:cBhvr>
                                    </p:animEffect>
                                  </p:childTnLst>
                                </p:cTn>
                              </p:par>
                            </p:childTnLst>
                          </p:cTn>
                        </p:par>
                        <p:par>
                          <p:cTn id="64" fill="hold">
                            <p:stCondLst>
                              <p:cond delay="2500"/>
                            </p:stCondLst>
                            <p:childTnLst>
                              <p:par>
                                <p:cTn id="65" presetID="16" presetClass="entr" presetSubtype="42" fill="hold" grpId="0" nodeType="afterEffect">
                                  <p:stCondLst>
                                    <p:cond delay="0"/>
                                  </p:stCondLst>
                                  <p:childTnLst>
                                    <p:set>
                                      <p:cBhvr>
                                        <p:cTn id="66" dur="1" fill="hold">
                                          <p:stCondLst>
                                            <p:cond delay="0"/>
                                          </p:stCondLst>
                                        </p:cTn>
                                        <p:tgtEl>
                                          <p:spTgt spid="55"/>
                                        </p:tgtEl>
                                        <p:attrNameLst>
                                          <p:attrName>style.visibility</p:attrName>
                                        </p:attrNameLst>
                                      </p:cBhvr>
                                      <p:to>
                                        <p:strVal val="visible"/>
                                      </p:to>
                                    </p:set>
                                    <p:animEffect transition="in" filter="barn(outHorizontal)">
                                      <p:cBhvr>
                                        <p:cTn id="67" dur="1000"/>
                                        <p:tgtEl>
                                          <p:spTgt spid="55"/>
                                        </p:tgtEl>
                                      </p:cBhvr>
                                    </p:animEffect>
                                  </p:childTnLst>
                                </p:cTn>
                              </p:par>
                            </p:childTnLst>
                          </p:cTn>
                        </p:par>
                        <p:par>
                          <p:cTn id="68" fill="hold">
                            <p:stCondLst>
                              <p:cond delay="3500"/>
                            </p:stCondLst>
                            <p:childTnLst>
                              <p:par>
                                <p:cTn id="69" presetID="10" presetClass="entr" presetSubtype="0" fill="hold" grpId="0" nodeType="afterEffect">
                                  <p:stCondLst>
                                    <p:cond delay="0"/>
                                  </p:stCondLst>
                                  <p:childTnLst>
                                    <p:set>
                                      <p:cBhvr>
                                        <p:cTn id="70" dur="1" fill="hold">
                                          <p:stCondLst>
                                            <p:cond delay="0"/>
                                          </p:stCondLst>
                                        </p:cTn>
                                        <p:tgtEl>
                                          <p:spTgt spid="32"/>
                                        </p:tgtEl>
                                        <p:attrNameLst>
                                          <p:attrName>style.visibility</p:attrName>
                                        </p:attrNameLst>
                                      </p:cBhvr>
                                      <p:to>
                                        <p:strVal val="visible"/>
                                      </p:to>
                                    </p:set>
                                    <p:animEffect transition="in" filter="fade">
                                      <p:cBhvr>
                                        <p:cTn id="71"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15" grpId="0" animBg="1"/>
      <p:bldP spid="31" grpId="0" animBg="1"/>
      <p:bldP spid="32" grpId="0" animBg="1"/>
      <p:bldP spid="55" grpId="0" animBg="1"/>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Freeform 68"/>
          <p:cNvSpPr/>
          <p:nvPr/>
        </p:nvSpPr>
        <p:spPr bwMode="auto">
          <a:xfrm rot="5400000">
            <a:off x="4040754" y="742614"/>
            <a:ext cx="5158162" cy="5975152"/>
          </a:xfrm>
          <a:custGeom>
            <a:avLst/>
            <a:gdLst>
              <a:gd name="connsiteX0" fmla="*/ 1367130 w 4869855"/>
              <a:gd name="connsiteY0" fmla="*/ 279962 h 5641180"/>
              <a:gd name="connsiteX1" fmla="*/ 1367130 w 4869855"/>
              <a:gd name="connsiteY1" fmla="*/ 207581 h 5641180"/>
              <a:gd name="connsiteX2" fmla="*/ 1474567 w 4869855"/>
              <a:gd name="connsiteY2" fmla="*/ 139981 h 5641180"/>
              <a:gd name="connsiteX3" fmla="*/ 1367130 w 4869855"/>
              <a:gd name="connsiteY3" fmla="*/ 72382 h 5641180"/>
              <a:gd name="connsiteX4" fmla="*/ 1367130 w 4869855"/>
              <a:gd name="connsiteY4" fmla="*/ 0 h 5641180"/>
              <a:gd name="connsiteX5" fmla="*/ 1640858 w 4869855"/>
              <a:gd name="connsiteY5" fmla="*/ 0 h 5641180"/>
              <a:gd name="connsiteX6" fmla="*/ 1640858 w 4869855"/>
              <a:gd name="connsiteY6" fmla="*/ 35961 h 5641180"/>
              <a:gd name="connsiteX7" fmla="*/ 1640858 w 4869855"/>
              <a:gd name="connsiteY7" fmla="*/ 59892 h 5641180"/>
              <a:gd name="connsiteX8" fmla="*/ 1475330 w 4869855"/>
              <a:gd name="connsiteY8" fmla="*/ 59892 h 5641180"/>
              <a:gd name="connsiteX9" fmla="*/ 1591847 w 4869855"/>
              <a:gd name="connsiteY9" fmla="*/ 133204 h 5641180"/>
              <a:gd name="connsiteX10" fmla="*/ 1596267 w 4869855"/>
              <a:gd name="connsiteY10" fmla="*/ 139918 h 5641180"/>
              <a:gd name="connsiteX11" fmla="*/ 1596225 w 4869855"/>
              <a:gd name="connsiteY11" fmla="*/ 139981 h 5641180"/>
              <a:gd name="connsiteX12" fmla="*/ 1596267 w 4869855"/>
              <a:gd name="connsiteY12" fmla="*/ 140044 h 5641180"/>
              <a:gd name="connsiteX13" fmla="*/ 1591847 w 4869855"/>
              <a:gd name="connsiteY13" fmla="*/ 146759 h 5641180"/>
              <a:gd name="connsiteX14" fmla="*/ 1475331 w 4869855"/>
              <a:gd name="connsiteY14" fmla="*/ 220070 h 5641180"/>
              <a:gd name="connsiteX15" fmla="*/ 1640858 w 4869855"/>
              <a:gd name="connsiteY15" fmla="*/ 220070 h 5641180"/>
              <a:gd name="connsiteX16" fmla="*/ 1640858 w 4869855"/>
              <a:gd name="connsiteY16" fmla="*/ 279962 h 5641180"/>
              <a:gd name="connsiteX17" fmla="*/ 1362021 w 4869855"/>
              <a:gd name="connsiteY17" fmla="*/ 529582 h 5641180"/>
              <a:gd name="connsiteX18" fmla="*/ 1362021 w 4869855"/>
              <a:gd name="connsiteY18" fmla="*/ 315224 h 5641180"/>
              <a:gd name="connsiteX19" fmla="*/ 1370965 w 4869855"/>
              <a:gd name="connsiteY19" fmla="*/ 306645 h 5641180"/>
              <a:gd name="connsiteX20" fmla="*/ 1406741 w 4869855"/>
              <a:gd name="connsiteY20" fmla="*/ 306645 h 5641180"/>
              <a:gd name="connsiteX21" fmla="*/ 1415685 w 4869855"/>
              <a:gd name="connsiteY21" fmla="*/ 315224 h 5641180"/>
              <a:gd name="connsiteX22" fmla="*/ 1415685 w 4869855"/>
              <a:gd name="connsiteY22" fmla="*/ 393113 h 5641180"/>
              <a:gd name="connsiteX23" fmla="*/ 1636258 w 4869855"/>
              <a:gd name="connsiteY23" fmla="*/ 393113 h 5641180"/>
              <a:gd name="connsiteX24" fmla="*/ 1646437 w 4869855"/>
              <a:gd name="connsiteY24" fmla="*/ 402877 h 5641180"/>
              <a:gd name="connsiteX25" fmla="*/ 1646437 w 4869855"/>
              <a:gd name="connsiteY25" fmla="*/ 441930 h 5641180"/>
              <a:gd name="connsiteX26" fmla="*/ 1636258 w 4869855"/>
              <a:gd name="connsiteY26" fmla="*/ 451693 h 5641180"/>
              <a:gd name="connsiteX27" fmla="*/ 1415685 w 4869855"/>
              <a:gd name="connsiteY27" fmla="*/ 451693 h 5641180"/>
              <a:gd name="connsiteX28" fmla="*/ 1415685 w 4869855"/>
              <a:gd name="connsiteY28" fmla="*/ 529582 h 5641180"/>
              <a:gd name="connsiteX29" fmla="*/ 1406741 w 4869855"/>
              <a:gd name="connsiteY29" fmla="*/ 538161 h 5641180"/>
              <a:gd name="connsiteX30" fmla="*/ 1370965 w 4869855"/>
              <a:gd name="connsiteY30" fmla="*/ 538161 h 5641180"/>
              <a:gd name="connsiteX31" fmla="*/ 1362021 w 4869855"/>
              <a:gd name="connsiteY31" fmla="*/ 529582 h 5641180"/>
              <a:gd name="connsiteX32" fmla="*/ 1148 w 4869855"/>
              <a:gd name="connsiteY32" fmla="*/ 2756264 h 5641180"/>
              <a:gd name="connsiteX33" fmla="*/ 1286143 w 4869855"/>
              <a:gd name="connsiteY33" fmla="*/ 1512229 h 5641180"/>
              <a:gd name="connsiteX34" fmla="*/ 1911847 w 4869855"/>
              <a:gd name="connsiteY34" fmla="*/ 589120 h 5641180"/>
              <a:gd name="connsiteX35" fmla="*/ 2867870 w 4869855"/>
              <a:gd name="connsiteY35" fmla="*/ 1472574 h 5641180"/>
              <a:gd name="connsiteX36" fmla="*/ 2871755 w 4869855"/>
              <a:gd name="connsiteY36" fmla="*/ 1551358 h 5641180"/>
              <a:gd name="connsiteX37" fmla="*/ 2872832 w 4869855"/>
              <a:gd name="connsiteY37" fmla="*/ 1551358 h 5641180"/>
              <a:gd name="connsiteX38" fmla="*/ 2872832 w 4869855"/>
              <a:gd name="connsiteY38" fmla="*/ 1573189 h 5641180"/>
              <a:gd name="connsiteX39" fmla="*/ 2872832 w 4869855"/>
              <a:gd name="connsiteY39" fmla="*/ 2352764 h 5641180"/>
              <a:gd name="connsiteX40" fmla="*/ 2905442 w 4869855"/>
              <a:gd name="connsiteY40" fmla="*/ 2394776 h 5641180"/>
              <a:gd name="connsiteX41" fmla="*/ 2905442 w 4869855"/>
              <a:gd name="connsiteY41" fmla="*/ 2394333 h 5641180"/>
              <a:gd name="connsiteX42" fmla="*/ 3322904 w 4869855"/>
              <a:gd name="connsiteY42" fmla="*/ 2932155 h 5641180"/>
              <a:gd name="connsiteX43" fmla="*/ 3322904 w 4869855"/>
              <a:gd name="connsiteY43" fmla="*/ 1925803 h 5641180"/>
              <a:gd name="connsiteX44" fmla="*/ 3322599 w 4869855"/>
              <a:gd name="connsiteY44" fmla="*/ 1925410 h 5641180"/>
              <a:gd name="connsiteX45" fmla="*/ 3322598 w 4869855"/>
              <a:gd name="connsiteY45" fmla="*/ 1464338 h 5641180"/>
              <a:gd name="connsiteX46" fmla="*/ 3758365 w 4869855"/>
              <a:gd name="connsiteY46" fmla="*/ 2025743 h 5641180"/>
              <a:gd name="connsiteX47" fmla="*/ 3758365 w 4869855"/>
              <a:gd name="connsiteY47" fmla="*/ 2025614 h 5641180"/>
              <a:gd name="connsiteX48" fmla="*/ 4869855 w 4869855"/>
              <a:gd name="connsiteY48" fmla="*/ 3457564 h 5641180"/>
              <a:gd name="connsiteX49" fmla="*/ 4869855 w 4869855"/>
              <a:gd name="connsiteY49" fmla="*/ 3918636 h 5641180"/>
              <a:gd name="connsiteX50" fmla="*/ 4434088 w 4869855"/>
              <a:gd name="connsiteY50" fmla="*/ 3357231 h 5641180"/>
              <a:gd name="connsiteX51" fmla="*/ 4434089 w 4869855"/>
              <a:gd name="connsiteY51" fmla="*/ 3357360 h 5641180"/>
              <a:gd name="connsiteX52" fmla="*/ 3605617 w 4869855"/>
              <a:gd name="connsiteY52" fmla="*/ 2290027 h 5641180"/>
              <a:gd name="connsiteX53" fmla="*/ 3605617 w 4869855"/>
              <a:gd name="connsiteY53" fmla="*/ 3296379 h 5641180"/>
              <a:gd name="connsiteX54" fmla="*/ 3606205 w 4869855"/>
              <a:gd name="connsiteY54" fmla="*/ 3297137 h 5641180"/>
              <a:gd name="connsiteX55" fmla="*/ 3606206 w 4869855"/>
              <a:gd name="connsiteY55" fmla="*/ 3758209 h 5641180"/>
              <a:gd name="connsiteX56" fmla="*/ 3313674 w 4869855"/>
              <a:gd name="connsiteY56" fmla="*/ 3381335 h 5641180"/>
              <a:gd name="connsiteX57" fmla="*/ 3313674 w 4869855"/>
              <a:gd name="connsiteY57" fmla="*/ 3381780 h 5641180"/>
              <a:gd name="connsiteX58" fmla="*/ 2872832 w 4869855"/>
              <a:gd name="connsiteY58" fmla="*/ 2813836 h 5641180"/>
              <a:gd name="connsiteX59" fmla="*/ 2872832 w 4869855"/>
              <a:gd name="connsiteY59" fmla="*/ 2816079 h 5641180"/>
              <a:gd name="connsiteX60" fmla="*/ 2612723 w 4869855"/>
              <a:gd name="connsiteY60" fmla="*/ 2480976 h 5641180"/>
              <a:gd name="connsiteX61" fmla="*/ 2612723 w 4869855"/>
              <a:gd name="connsiteY61" fmla="*/ 1839290 h 5641180"/>
              <a:gd name="connsiteX62" fmla="*/ 2612723 w 4869855"/>
              <a:gd name="connsiteY62" fmla="*/ 1821412 h 5641180"/>
              <a:gd name="connsiteX63" fmla="*/ 2611841 w 4869855"/>
              <a:gd name="connsiteY63" fmla="*/ 1821412 h 5641180"/>
              <a:gd name="connsiteX64" fmla="*/ 2608660 w 4869855"/>
              <a:gd name="connsiteY64" fmla="*/ 1756895 h 5641180"/>
              <a:gd name="connsiteX65" fmla="*/ 1968630 w 4869855"/>
              <a:gd name="connsiteY65" fmla="*/ 852443 h 5641180"/>
              <a:gd name="connsiteX66" fmla="*/ 1551479 w 4869855"/>
              <a:gd name="connsiteY66" fmla="*/ 1979869 h 5641180"/>
              <a:gd name="connsiteX67" fmla="*/ 280216 w 4869855"/>
              <a:gd name="connsiteY67" fmla="*/ 2883829 h 5641180"/>
              <a:gd name="connsiteX68" fmla="*/ 531302 w 4869855"/>
              <a:gd name="connsiteY68" fmla="*/ 3584951 h 5641180"/>
              <a:gd name="connsiteX69" fmla="*/ 777438 w 4869855"/>
              <a:gd name="connsiteY69" fmla="*/ 3871956 h 5641180"/>
              <a:gd name="connsiteX70" fmla="*/ 864532 w 4869855"/>
              <a:gd name="connsiteY70" fmla="*/ 3965977 h 5641180"/>
              <a:gd name="connsiteX71" fmla="*/ 847305 w 4869855"/>
              <a:gd name="connsiteY71" fmla="*/ 3809874 h 5641180"/>
              <a:gd name="connsiteX72" fmla="*/ 1608640 w 4869855"/>
              <a:gd name="connsiteY72" fmla="*/ 2419404 h 5641180"/>
              <a:gd name="connsiteX73" fmla="*/ 2728827 w 4869855"/>
              <a:gd name="connsiteY73" fmla="*/ 3749869 h 5641180"/>
              <a:gd name="connsiteX74" fmla="*/ 2739068 w 4869855"/>
              <a:gd name="connsiteY74" fmla="*/ 5147802 h 5641180"/>
              <a:gd name="connsiteX75" fmla="*/ 2739428 w 4869855"/>
              <a:gd name="connsiteY75" fmla="*/ 5148257 h 5641180"/>
              <a:gd name="connsiteX76" fmla="*/ 2739428 w 4869855"/>
              <a:gd name="connsiteY76" fmla="*/ 5196920 h 5641180"/>
              <a:gd name="connsiteX77" fmla="*/ 2739428 w 4869855"/>
              <a:gd name="connsiteY77" fmla="*/ 5641180 h 5641180"/>
              <a:gd name="connsiteX78" fmla="*/ 1320203 w 4869855"/>
              <a:gd name="connsiteY78" fmla="*/ 3848103 h 5641180"/>
              <a:gd name="connsiteX79" fmla="*/ 1320203 w 4869855"/>
              <a:gd name="connsiteY79" fmla="*/ 3355180 h 5641180"/>
              <a:gd name="connsiteX80" fmla="*/ 2459905 w 4869855"/>
              <a:gd name="connsiteY80" fmla="*/ 4795101 h 5641180"/>
              <a:gd name="connsiteX81" fmla="*/ 2452390 w 4869855"/>
              <a:gd name="connsiteY81" fmla="*/ 3880643 h 5641180"/>
              <a:gd name="connsiteX82" fmla="*/ 1642119 w 4869855"/>
              <a:gd name="connsiteY82" fmla="*/ 2690677 h 5641180"/>
              <a:gd name="connsiteX83" fmla="*/ 1251676 w 4869855"/>
              <a:gd name="connsiteY83" fmla="*/ 4328692 h 5641180"/>
              <a:gd name="connsiteX84" fmla="*/ 1270579 w 4869855"/>
              <a:gd name="connsiteY84" fmla="*/ 4392841 h 5641180"/>
              <a:gd name="connsiteX85" fmla="*/ 1271054 w 4869855"/>
              <a:gd name="connsiteY85" fmla="*/ 4393328 h 5641180"/>
              <a:gd name="connsiteX86" fmla="*/ 1294367 w 4869855"/>
              <a:gd name="connsiteY86" fmla="*/ 4455666 h 5641180"/>
              <a:gd name="connsiteX87" fmla="*/ 1507890 w 4869855"/>
              <a:gd name="connsiteY87" fmla="*/ 4956404 h 5641180"/>
              <a:gd name="connsiteX88" fmla="*/ 1588380 w 4869855"/>
              <a:gd name="connsiteY88" fmla="*/ 5131051 h 5641180"/>
              <a:gd name="connsiteX89" fmla="*/ 1562103 w 4869855"/>
              <a:gd name="connsiteY89" fmla="*/ 5117128 h 5641180"/>
              <a:gd name="connsiteX90" fmla="*/ 296268 w 4869855"/>
              <a:gd name="connsiteY90" fmla="*/ 3739747 h 5641180"/>
              <a:gd name="connsiteX91" fmla="*/ 2837 w 4869855"/>
              <a:gd name="connsiteY91" fmla="*/ 2916214 h 5641180"/>
              <a:gd name="connsiteX92" fmla="*/ 1148 w 4869855"/>
              <a:gd name="connsiteY92" fmla="*/ 2756264 h 5641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4869855" h="5641180">
                <a:moveTo>
                  <a:pt x="1367130" y="279962"/>
                </a:moveTo>
                <a:lnTo>
                  <a:pt x="1367130" y="207581"/>
                </a:lnTo>
                <a:lnTo>
                  <a:pt x="1474567" y="139981"/>
                </a:lnTo>
                <a:lnTo>
                  <a:pt x="1367130" y="72382"/>
                </a:lnTo>
                <a:lnTo>
                  <a:pt x="1367130" y="0"/>
                </a:lnTo>
                <a:lnTo>
                  <a:pt x="1640858" y="0"/>
                </a:lnTo>
                <a:lnTo>
                  <a:pt x="1640858" y="35961"/>
                </a:lnTo>
                <a:lnTo>
                  <a:pt x="1640858" y="59892"/>
                </a:lnTo>
                <a:lnTo>
                  <a:pt x="1475330" y="59892"/>
                </a:lnTo>
                <a:lnTo>
                  <a:pt x="1591847" y="133204"/>
                </a:lnTo>
                <a:cubicBezTo>
                  <a:pt x="1594793" y="135058"/>
                  <a:pt x="1596267" y="137488"/>
                  <a:pt x="1596267" y="139918"/>
                </a:cubicBezTo>
                <a:lnTo>
                  <a:pt x="1596225" y="139981"/>
                </a:lnTo>
                <a:lnTo>
                  <a:pt x="1596267" y="140044"/>
                </a:lnTo>
                <a:cubicBezTo>
                  <a:pt x="1596267" y="142474"/>
                  <a:pt x="1594794" y="144904"/>
                  <a:pt x="1591847" y="146759"/>
                </a:cubicBezTo>
                <a:lnTo>
                  <a:pt x="1475331" y="220070"/>
                </a:lnTo>
                <a:lnTo>
                  <a:pt x="1640858" y="220070"/>
                </a:lnTo>
                <a:lnTo>
                  <a:pt x="1640858" y="279962"/>
                </a:lnTo>
                <a:close/>
                <a:moveTo>
                  <a:pt x="1362021" y="529582"/>
                </a:moveTo>
                <a:lnTo>
                  <a:pt x="1362021" y="315224"/>
                </a:lnTo>
                <a:cubicBezTo>
                  <a:pt x="1362021" y="310486"/>
                  <a:pt x="1366026" y="306645"/>
                  <a:pt x="1370965" y="306645"/>
                </a:cubicBezTo>
                <a:lnTo>
                  <a:pt x="1406741" y="306645"/>
                </a:lnTo>
                <a:cubicBezTo>
                  <a:pt x="1411681" y="306645"/>
                  <a:pt x="1415685" y="310486"/>
                  <a:pt x="1415685" y="315224"/>
                </a:cubicBezTo>
                <a:lnTo>
                  <a:pt x="1415685" y="393113"/>
                </a:lnTo>
                <a:lnTo>
                  <a:pt x="1636258" y="393113"/>
                </a:lnTo>
                <a:cubicBezTo>
                  <a:pt x="1641880" y="393113"/>
                  <a:pt x="1646437" y="397485"/>
                  <a:pt x="1646437" y="402877"/>
                </a:cubicBezTo>
                <a:lnTo>
                  <a:pt x="1646437" y="441930"/>
                </a:lnTo>
                <a:cubicBezTo>
                  <a:pt x="1646437" y="447322"/>
                  <a:pt x="1641880" y="451693"/>
                  <a:pt x="1636258" y="451693"/>
                </a:cubicBezTo>
                <a:lnTo>
                  <a:pt x="1415685" y="451693"/>
                </a:lnTo>
                <a:lnTo>
                  <a:pt x="1415685" y="529582"/>
                </a:lnTo>
                <a:cubicBezTo>
                  <a:pt x="1415685" y="534320"/>
                  <a:pt x="1411681" y="538161"/>
                  <a:pt x="1406741" y="538161"/>
                </a:cubicBezTo>
                <a:lnTo>
                  <a:pt x="1370965" y="538161"/>
                </a:lnTo>
                <a:cubicBezTo>
                  <a:pt x="1366026" y="538161"/>
                  <a:pt x="1362021" y="534320"/>
                  <a:pt x="1362021" y="529582"/>
                </a:cubicBezTo>
                <a:close/>
                <a:moveTo>
                  <a:pt x="1148" y="2756264"/>
                </a:moveTo>
                <a:cubicBezTo>
                  <a:pt x="30411" y="1960582"/>
                  <a:pt x="614876" y="1245959"/>
                  <a:pt x="1286143" y="1512229"/>
                </a:cubicBezTo>
                <a:cubicBezTo>
                  <a:pt x="1301384" y="1220202"/>
                  <a:pt x="1350630" y="703420"/>
                  <a:pt x="1911847" y="589120"/>
                </a:cubicBezTo>
                <a:cubicBezTo>
                  <a:pt x="2417035" y="543400"/>
                  <a:pt x="2803418" y="762990"/>
                  <a:pt x="2867870" y="1472574"/>
                </a:cubicBezTo>
                <a:lnTo>
                  <a:pt x="2871755" y="1551358"/>
                </a:lnTo>
                <a:lnTo>
                  <a:pt x="2872832" y="1551358"/>
                </a:lnTo>
                <a:lnTo>
                  <a:pt x="2872832" y="1573189"/>
                </a:lnTo>
                <a:lnTo>
                  <a:pt x="2872832" y="2352764"/>
                </a:lnTo>
                <a:lnTo>
                  <a:pt x="2905442" y="2394776"/>
                </a:lnTo>
                <a:lnTo>
                  <a:pt x="2905442" y="2394333"/>
                </a:lnTo>
                <a:lnTo>
                  <a:pt x="3322904" y="2932155"/>
                </a:lnTo>
                <a:lnTo>
                  <a:pt x="3322904" y="1925803"/>
                </a:lnTo>
                <a:lnTo>
                  <a:pt x="3322599" y="1925410"/>
                </a:lnTo>
                <a:lnTo>
                  <a:pt x="3322598" y="1464338"/>
                </a:lnTo>
                <a:lnTo>
                  <a:pt x="3758365" y="2025743"/>
                </a:lnTo>
                <a:lnTo>
                  <a:pt x="3758365" y="2025614"/>
                </a:lnTo>
                <a:lnTo>
                  <a:pt x="4869855" y="3457564"/>
                </a:lnTo>
                <a:lnTo>
                  <a:pt x="4869855" y="3918636"/>
                </a:lnTo>
                <a:lnTo>
                  <a:pt x="4434088" y="3357231"/>
                </a:lnTo>
                <a:lnTo>
                  <a:pt x="4434089" y="3357360"/>
                </a:lnTo>
                <a:lnTo>
                  <a:pt x="3605617" y="2290027"/>
                </a:lnTo>
                <a:lnTo>
                  <a:pt x="3605617" y="3296379"/>
                </a:lnTo>
                <a:lnTo>
                  <a:pt x="3606205" y="3297137"/>
                </a:lnTo>
                <a:lnTo>
                  <a:pt x="3606206" y="3758209"/>
                </a:lnTo>
                <a:lnTo>
                  <a:pt x="3313674" y="3381335"/>
                </a:lnTo>
                <a:lnTo>
                  <a:pt x="3313674" y="3381780"/>
                </a:lnTo>
                <a:lnTo>
                  <a:pt x="2872832" y="2813836"/>
                </a:lnTo>
                <a:lnTo>
                  <a:pt x="2872832" y="2816079"/>
                </a:lnTo>
                <a:lnTo>
                  <a:pt x="2612723" y="2480976"/>
                </a:lnTo>
                <a:lnTo>
                  <a:pt x="2612723" y="1839290"/>
                </a:lnTo>
                <a:lnTo>
                  <a:pt x="2612723" y="1821412"/>
                </a:lnTo>
                <a:lnTo>
                  <a:pt x="2611841" y="1821412"/>
                </a:lnTo>
                <a:lnTo>
                  <a:pt x="2608660" y="1756895"/>
                </a:lnTo>
                <a:cubicBezTo>
                  <a:pt x="2608267" y="1090078"/>
                  <a:pt x="2382337" y="815002"/>
                  <a:pt x="1968630" y="852443"/>
                </a:cubicBezTo>
                <a:cubicBezTo>
                  <a:pt x="1447127" y="960333"/>
                  <a:pt x="1563960" y="1740723"/>
                  <a:pt x="1551479" y="1979869"/>
                </a:cubicBezTo>
                <a:cubicBezTo>
                  <a:pt x="818671" y="1390091"/>
                  <a:pt x="247109" y="2134846"/>
                  <a:pt x="280216" y="2883829"/>
                </a:cubicBezTo>
                <a:cubicBezTo>
                  <a:pt x="291251" y="3133490"/>
                  <a:pt x="369472" y="3383621"/>
                  <a:pt x="531302" y="3584951"/>
                </a:cubicBezTo>
                <a:cubicBezTo>
                  <a:pt x="605287" y="3676214"/>
                  <a:pt x="688920" y="3773222"/>
                  <a:pt x="777438" y="3871956"/>
                </a:cubicBezTo>
                <a:lnTo>
                  <a:pt x="864532" y="3965977"/>
                </a:lnTo>
                <a:lnTo>
                  <a:pt x="847305" y="3809874"/>
                </a:lnTo>
                <a:cubicBezTo>
                  <a:pt x="772937" y="2987673"/>
                  <a:pt x="989531" y="2553052"/>
                  <a:pt x="1608640" y="2419404"/>
                </a:cubicBezTo>
                <a:cubicBezTo>
                  <a:pt x="2203093" y="2362381"/>
                  <a:pt x="2662512" y="2726746"/>
                  <a:pt x="2728827" y="3749869"/>
                </a:cubicBezTo>
                <a:lnTo>
                  <a:pt x="2739068" y="5147802"/>
                </a:lnTo>
                <a:lnTo>
                  <a:pt x="2739428" y="5148257"/>
                </a:lnTo>
                <a:lnTo>
                  <a:pt x="2739428" y="5196920"/>
                </a:lnTo>
                <a:lnTo>
                  <a:pt x="2739428" y="5641180"/>
                </a:lnTo>
                <a:lnTo>
                  <a:pt x="1320203" y="3848103"/>
                </a:lnTo>
                <a:lnTo>
                  <a:pt x="1320203" y="3355180"/>
                </a:lnTo>
                <a:lnTo>
                  <a:pt x="2459905" y="4795101"/>
                </a:lnTo>
                <a:lnTo>
                  <a:pt x="2452390" y="3880643"/>
                </a:lnTo>
                <a:cubicBezTo>
                  <a:pt x="2404302" y="3058498"/>
                  <a:pt x="2128927" y="2643980"/>
                  <a:pt x="1642119" y="2690677"/>
                </a:cubicBezTo>
                <a:cubicBezTo>
                  <a:pt x="870368" y="2885291"/>
                  <a:pt x="1134355" y="3928230"/>
                  <a:pt x="1251676" y="4328692"/>
                </a:cubicBezTo>
                <a:lnTo>
                  <a:pt x="1270579" y="4392841"/>
                </a:lnTo>
                <a:lnTo>
                  <a:pt x="1271054" y="4393328"/>
                </a:lnTo>
                <a:lnTo>
                  <a:pt x="1294367" y="4455666"/>
                </a:lnTo>
                <a:cubicBezTo>
                  <a:pt x="1343879" y="4583104"/>
                  <a:pt x="1412426" y="4745689"/>
                  <a:pt x="1507890" y="4956404"/>
                </a:cubicBezTo>
                <a:lnTo>
                  <a:pt x="1588380" y="5131051"/>
                </a:lnTo>
                <a:lnTo>
                  <a:pt x="1562103" y="5117128"/>
                </a:lnTo>
                <a:cubicBezTo>
                  <a:pt x="1195890" y="4760989"/>
                  <a:pt x="657646" y="4185518"/>
                  <a:pt x="296268" y="3739747"/>
                </a:cubicBezTo>
                <a:cubicBezTo>
                  <a:pt x="110286" y="3489537"/>
                  <a:pt x="19493" y="3201543"/>
                  <a:pt x="2837" y="2916214"/>
                </a:cubicBezTo>
                <a:cubicBezTo>
                  <a:pt x="-286" y="2862715"/>
                  <a:pt x="-803" y="2809309"/>
                  <a:pt x="1148" y="2756264"/>
                </a:cubicBezTo>
                <a:close/>
              </a:path>
            </a:pathLst>
          </a:custGeom>
          <a:solidFill>
            <a:schemeClr val="bg1">
              <a:lumMod val="95000"/>
              <a:alpha val="90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spcBef>
                <a:spcPts val="392"/>
              </a:spcBef>
              <a:spcAft>
                <a:spcPct val="0"/>
              </a:spcAft>
            </a:pPr>
            <a:endParaRPr lang="en-IN" sz="1372" dirty="0">
              <a:solidFill>
                <a:srgbClr val="505050"/>
              </a:soli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a:t>Apache Storm: What is it?</a:t>
            </a:r>
          </a:p>
        </p:txBody>
      </p:sp>
      <p:sp>
        <p:nvSpPr>
          <p:cNvPr id="3" name="Slide Number Placeholder 2"/>
          <p:cNvSpPr>
            <a:spLocks noGrp="1"/>
          </p:cNvSpPr>
          <p:nvPr>
            <p:ph type="sldNum" sz="quarter" idx="11"/>
          </p:nvPr>
        </p:nvSpPr>
        <p:spPr/>
        <p:txBody>
          <a:bodyPr/>
          <a:lstStyle/>
          <a:p>
            <a:fld id="{F8A0AC42-AA1D-4944-8D96-660DE70C7E1B}" type="slidenum">
              <a:rPr lang="en-IN"/>
              <a:pPr/>
              <a:t>70</a:t>
            </a:fld>
            <a:endParaRPr lang="en-IN" dirty="0"/>
          </a:p>
        </p:txBody>
      </p:sp>
      <p:grpSp>
        <p:nvGrpSpPr>
          <p:cNvPr id="13" name="Group 12"/>
          <p:cNvGrpSpPr/>
          <p:nvPr/>
        </p:nvGrpSpPr>
        <p:grpSpPr>
          <a:xfrm>
            <a:off x="4285045" y="1964814"/>
            <a:ext cx="3659262" cy="1264377"/>
            <a:chOff x="8276798" y="1293814"/>
            <a:chExt cx="3732638" cy="1289730"/>
          </a:xfrm>
        </p:grpSpPr>
        <p:sp>
          <p:nvSpPr>
            <p:cNvPr id="43" name="TextBox 42"/>
            <p:cNvSpPr txBox="1"/>
            <p:nvPr/>
          </p:nvSpPr>
          <p:spPr>
            <a:xfrm>
              <a:off x="8276798" y="1293814"/>
              <a:ext cx="3732638" cy="1289730"/>
            </a:xfrm>
            <a:prstGeom prst="rect">
              <a:avLst/>
            </a:prstGeom>
            <a:noFill/>
            <a:ln w="3175">
              <a:noFill/>
            </a:ln>
          </p:spPr>
          <p:txBody>
            <a:bodyPr wrap="square" lIns="986067" tIns="44821" rIns="89642" bIns="44821" rtlCol="0" anchor="ctr">
              <a:noAutofit/>
            </a:bodyPr>
            <a:lstStyle/>
            <a:p>
              <a:pPr marL="0" lvl="1" defTabSz="913770" fontAlgn="base">
                <a:spcBef>
                  <a:spcPts val="588"/>
                </a:spcBef>
                <a:buClr>
                  <a:srgbClr val="68217A">
                    <a:lumMod val="50000"/>
                  </a:srgbClr>
                </a:buClr>
                <a:tabLst>
                  <a:tab pos="645523" algn="l"/>
                </a:tabLst>
              </a:pPr>
              <a:r>
                <a:rPr lang="en-IN" sz="2353" dirty="0">
                  <a:solidFill>
                    <a:srgbClr val="505050"/>
                  </a:solidFill>
                  <a:latin typeface="Segoe UI Semibold" panose="020B0702040204020203" pitchFamily="34" charset="0"/>
                  <a:ea typeface="Segoe UI" pitchFamily="34" charset="0"/>
                  <a:cs typeface="Segoe UI Semibold" panose="020B0702040204020203" pitchFamily="34" charset="0"/>
                </a:rPr>
                <a:t>Easy to program</a:t>
              </a:r>
            </a:p>
            <a:p>
              <a:pPr marL="0" lvl="1" defTabSz="913770" fontAlgn="base">
                <a:spcBef>
                  <a:spcPts val="196"/>
                </a:spcBef>
                <a:spcAft>
                  <a:spcPts val="196"/>
                </a:spcAft>
                <a:buClr>
                  <a:srgbClr val="68217A">
                    <a:lumMod val="50000"/>
                  </a:srgbClr>
                </a:buClr>
                <a:tabLst>
                  <a:tab pos="645523" algn="l"/>
                </a:tabLst>
              </a:pPr>
              <a:r>
                <a:rPr lang="en-US" sz="1765" dirty="0">
                  <a:solidFill>
                    <a:srgbClr val="505050"/>
                  </a:solidFill>
                  <a:ea typeface="Segoe UI" pitchFamily="34" charset="0"/>
                  <a:cs typeface="Segoe UI" pitchFamily="34" charset="0"/>
                </a:rPr>
                <a:t> Hides complexity of distributing computing</a:t>
              </a:r>
            </a:p>
          </p:txBody>
        </p:sp>
        <p:sp>
          <p:nvSpPr>
            <p:cNvPr id="125" name="Freeform 124"/>
            <p:cNvSpPr/>
            <p:nvPr/>
          </p:nvSpPr>
          <p:spPr bwMode="auto">
            <a:xfrm>
              <a:off x="8361425" y="1716875"/>
              <a:ext cx="659968" cy="443608"/>
            </a:xfrm>
            <a:custGeom>
              <a:avLst/>
              <a:gdLst>
                <a:gd name="connsiteX0" fmla="*/ 7482335 w 8229978"/>
                <a:gd name="connsiteY0" fmla="*/ 4330779 h 5345688"/>
                <a:gd name="connsiteX1" fmla="*/ 7220497 w 8229978"/>
                <a:gd name="connsiteY1" fmla="*/ 4544183 h 5345688"/>
                <a:gd name="connsiteX2" fmla="*/ 7216574 w 8229978"/>
                <a:gd name="connsiteY2" fmla="*/ 4583097 h 5345688"/>
                <a:gd name="connsiteX3" fmla="*/ 7216574 w 8229978"/>
                <a:gd name="connsiteY3" fmla="*/ 4612996 h 5345688"/>
                <a:gd name="connsiteX4" fmla="*/ 7220497 w 8229978"/>
                <a:gd name="connsiteY4" fmla="*/ 4651910 h 5345688"/>
                <a:gd name="connsiteX5" fmla="*/ 7482335 w 8229978"/>
                <a:gd name="connsiteY5" fmla="*/ 4865313 h 5345688"/>
                <a:gd name="connsiteX6" fmla="*/ 7749603 w 8229978"/>
                <a:gd name="connsiteY6" fmla="*/ 4598046 h 5345688"/>
                <a:gd name="connsiteX7" fmla="*/ 7482335 w 8229978"/>
                <a:gd name="connsiteY7" fmla="*/ 4330779 h 5345688"/>
                <a:gd name="connsiteX8" fmla="*/ 747643 w 8229978"/>
                <a:gd name="connsiteY8" fmla="*/ 4330779 h 5345688"/>
                <a:gd name="connsiteX9" fmla="*/ 480375 w 8229978"/>
                <a:gd name="connsiteY9" fmla="*/ 4598046 h 5345688"/>
                <a:gd name="connsiteX10" fmla="*/ 747643 w 8229978"/>
                <a:gd name="connsiteY10" fmla="*/ 4865313 h 5345688"/>
                <a:gd name="connsiteX11" fmla="*/ 1014911 w 8229978"/>
                <a:gd name="connsiteY11" fmla="*/ 4598046 h 5345688"/>
                <a:gd name="connsiteX12" fmla="*/ 747643 w 8229978"/>
                <a:gd name="connsiteY12" fmla="*/ 4330779 h 5345688"/>
                <a:gd name="connsiteX13" fmla="*/ 3761865 w 8229978"/>
                <a:gd name="connsiteY13" fmla="*/ 1402819 h 5345688"/>
                <a:gd name="connsiteX14" fmla="*/ 1331010 w 8229978"/>
                <a:gd name="connsiteY14" fmla="*/ 4135684 h 5345688"/>
                <a:gd name="connsiteX15" fmla="*/ 1367600 w 8229978"/>
                <a:gd name="connsiteY15" fmla="*/ 4180033 h 5345688"/>
                <a:gd name="connsiteX16" fmla="*/ 1436533 w 8229978"/>
                <a:gd name="connsiteY16" fmla="*/ 4307030 h 5345688"/>
                <a:gd name="connsiteX17" fmla="*/ 1457741 w 8229978"/>
                <a:gd name="connsiteY17" fmla="*/ 4375352 h 5345688"/>
                <a:gd name="connsiteX18" fmla="*/ 6772237 w 8229978"/>
                <a:gd name="connsiteY18" fmla="*/ 4375352 h 5345688"/>
                <a:gd name="connsiteX19" fmla="*/ 6793445 w 8229978"/>
                <a:gd name="connsiteY19" fmla="*/ 4307030 h 5345688"/>
                <a:gd name="connsiteX20" fmla="*/ 6842930 w 8229978"/>
                <a:gd name="connsiteY20" fmla="*/ 4210367 h 5345688"/>
                <a:gd name="connsiteX21" fmla="*/ 6863242 w 8229978"/>
                <a:gd name="connsiteY21" fmla="*/ 4181798 h 5345688"/>
                <a:gd name="connsiteX22" fmla="*/ 4416358 w 8229978"/>
                <a:gd name="connsiteY22" fmla="*/ 1430911 h 5345688"/>
                <a:gd name="connsiteX23" fmla="*/ 4406006 w 8229978"/>
                <a:gd name="connsiteY23" fmla="*/ 1436530 h 5345688"/>
                <a:gd name="connsiteX24" fmla="*/ 4114989 w 8229978"/>
                <a:gd name="connsiteY24" fmla="*/ 1495283 h 5345688"/>
                <a:gd name="connsiteX25" fmla="*/ 3823973 w 8229978"/>
                <a:gd name="connsiteY25" fmla="*/ 1436530 h 5345688"/>
                <a:gd name="connsiteX26" fmla="*/ 4114989 w 8229978"/>
                <a:gd name="connsiteY26" fmla="*/ 480375 h 5345688"/>
                <a:gd name="connsiteX27" fmla="*/ 3847721 w 8229978"/>
                <a:gd name="connsiteY27" fmla="*/ 747642 h 5345688"/>
                <a:gd name="connsiteX28" fmla="*/ 4114989 w 8229978"/>
                <a:gd name="connsiteY28" fmla="*/ 1014908 h 5345688"/>
                <a:gd name="connsiteX29" fmla="*/ 4382257 w 8229978"/>
                <a:gd name="connsiteY29" fmla="*/ 747642 h 5345688"/>
                <a:gd name="connsiteX30" fmla="*/ 4114989 w 8229978"/>
                <a:gd name="connsiteY30" fmla="*/ 480375 h 5345688"/>
                <a:gd name="connsiteX31" fmla="*/ 4114989 w 8229978"/>
                <a:gd name="connsiteY31" fmla="*/ 0 h 5345688"/>
                <a:gd name="connsiteX32" fmla="*/ 4862632 w 8229978"/>
                <a:gd name="connsiteY32" fmla="*/ 747642 h 5345688"/>
                <a:gd name="connsiteX33" fmla="*/ 4803879 w 8229978"/>
                <a:gd name="connsiteY33" fmla="*/ 1038657 h 5345688"/>
                <a:gd name="connsiteX34" fmla="*/ 4756686 w 8229978"/>
                <a:gd name="connsiteY34" fmla="*/ 1125604 h 5345688"/>
                <a:gd name="connsiteX35" fmla="*/ 7221202 w 8229978"/>
                <a:gd name="connsiteY35" fmla="*/ 3896314 h 5345688"/>
                <a:gd name="connsiteX36" fmla="*/ 7215162 w 8229978"/>
                <a:gd name="connsiteY36" fmla="*/ 3901687 h 5345688"/>
                <a:gd name="connsiteX37" fmla="*/ 7260009 w 8229978"/>
                <a:gd name="connsiteY37" fmla="*/ 3884017 h 5345688"/>
                <a:gd name="connsiteX38" fmla="*/ 7482335 w 8229978"/>
                <a:gd name="connsiteY38" fmla="*/ 3850404 h 5345688"/>
                <a:gd name="connsiteX39" fmla="*/ 8229978 w 8229978"/>
                <a:gd name="connsiteY39" fmla="*/ 4598046 h 5345688"/>
                <a:gd name="connsiteX40" fmla="*/ 7482335 w 8229978"/>
                <a:gd name="connsiteY40" fmla="*/ 5345688 h 5345688"/>
                <a:gd name="connsiteX41" fmla="*/ 6793445 w 8229978"/>
                <a:gd name="connsiteY41" fmla="*/ 4889062 h 5345688"/>
                <a:gd name="connsiteX42" fmla="*/ 6775904 w 8229978"/>
                <a:gd name="connsiteY42" fmla="*/ 4832552 h 5345688"/>
                <a:gd name="connsiteX43" fmla="*/ 1454074 w 8229978"/>
                <a:gd name="connsiteY43" fmla="*/ 4832552 h 5345688"/>
                <a:gd name="connsiteX44" fmla="*/ 1436533 w 8229978"/>
                <a:gd name="connsiteY44" fmla="*/ 4889062 h 5345688"/>
                <a:gd name="connsiteX45" fmla="*/ 747643 w 8229978"/>
                <a:gd name="connsiteY45" fmla="*/ 5345688 h 5345688"/>
                <a:gd name="connsiteX46" fmla="*/ 0 w 8229978"/>
                <a:gd name="connsiteY46" fmla="*/ 4598046 h 5345688"/>
                <a:gd name="connsiteX47" fmla="*/ 747643 w 8229978"/>
                <a:gd name="connsiteY47" fmla="*/ 3850404 h 5345688"/>
                <a:gd name="connsiteX48" fmla="*/ 898319 w 8229978"/>
                <a:gd name="connsiteY48" fmla="*/ 3865594 h 5345688"/>
                <a:gd name="connsiteX49" fmla="*/ 946150 w 8229978"/>
                <a:gd name="connsiteY49" fmla="*/ 3880441 h 5345688"/>
                <a:gd name="connsiteX50" fmla="*/ 3444209 w 8229978"/>
                <a:gd name="connsiteY50" fmla="*/ 1072022 h 5345688"/>
                <a:gd name="connsiteX51" fmla="*/ 3426100 w 8229978"/>
                <a:gd name="connsiteY51" fmla="*/ 1038657 h 5345688"/>
                <a:gd name="connsiteX52" fmla="*/ 3367346 w 8229978"/>
                <a:gd name="connsiteY52" fmla="*/ 747642 h 5345688"/>
                <a:gd name="connsiteX53" fmla="*/ 4114989 w 8229978"/>
                <a:gd name="connsiteY53" fmla="*/ 0 h 5345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8229978" h="5345688">
                  <a:moveTo>
                    <a:pt x="7482335" y="4330779"/>
                  </a:moveTo>
                  <a:cubicBezTo>
                    <a:pt x="7353178" y="4330779"/>
                    <a:pt x="7245419" y="4422394"/>
                    <a:pt x="7220497" y="4544183"/>
                  </a:cubicBezTo>
                  <a:lnTo>
                    <a:pt x="7216574" y="4583097"/>
                  </a:lnTo>
                  <a:lnTo>
                    <a:pt x="7216574" y="4612996"/>
                  </a:lnTo>
                  <a:lnTo>
                    <a:pt x="7220497" y="4651910"/>
                  </a:lnTo>
                  <a:cubicBezTo>
                    <a:pt x="7245419" y="4773699"/>
                    <a:pt x="7353178" y="4865313"/>
                    <a:pt x="7482335" y="4865313"/>
                  </a:cubicBezTo>
                  <a:cubicBezTo>
                    <a:pt x="7629943" y="4865313"/>
                    <a:pt x="7749603" y="4745653"/>
                    <a:pt x="7749603" y="4598046"/>
                  </a:cubicBezTo>
                  <a:cubicBezTo>
                    <a:pt x="7749603" y="4450439"/>
                    <a:pt x="7629943" y="4330779"/>
                    <a:pt x="7482335" y="4330779"/>
                  </a:cubicBezTo>
                  <a:close/>
                  <a:moveTo>
                    <a:pt x="747643" y="4330779"/>
                  </a:moveTo>
                  <a:cubicBezTo>
                    <a:pt x="600035" y="4330779"/>
                    <a:pt x="480375" y="4450439"/>
                    <a:pt x="480375" y="4598046"/>
                  </a:cubicBezTo>
                  <a:cubicBezTo>
                    <a:pt x="480375" y="4745653"/>
                    <a:pt x="600035" y="4865313"/>
                    <a:pt x="747643" y="4865313"/>
                  </a:cubicBezTo>
                  <a:cubicBezTo>
                    <a:pt x="895251" y="4865313"/>
                    <a:pt x="1014911" y="4745653"/>
                    <a:pt x="1014911" y="4598046"/>
                  </a:cubicBezTo>
                  <a:cubicBezTo>
                    <a:pt x="1014911" y="4450439"/>
                    <a:pt x="895251" y="4330779"/>
                    <a:pt x="747643" y="4330779"/>
                  </a:cubicBezTo>
                  <a:close/>
                  <a:moveTo>
                    <a:pt x="3761865" y="1402819"/>
                  </a:moveTo>
                  <a:lnTo>
                    <a:pt x="1331010" y="4135684"/>
                  </a:lnTo>
                  <a:lnTo>
                    <a:pt x="1367600" y="4180033"/>
                  </a:lnTo>
                  <a:cubicBezTo>
                    <a:pt x="1394472" y="4219807"/>
                    <a:pt x="1417616" y="4262307"/>
                    <a:pt x="1436533" y="4307030"/>
                  </a:cubicBezTo>
                  <a:lnTo>
                    <a:pt x="1457741" y="4375352"/>
                  </a:lnTo>
                  <a:lnTo>
                    <a:pt x="6772237" y="4375352"/>
                  </a:lnTo>
                  <a:lnTo>
                    <a:pt x="6793445" y="4307030"/>
                  </a:lnTo>
                  <a:cubicBezTo>
                    <a:pt x="6807632" y="4273488"/>
                    <a:pt x="6824198" y="4241196"/>
                    <a:pt x="6842930" y="4210367"/>
                  </a:cubicBezTo>
                  <a:lnTo>
                    <a:pt x="6863242" y="4181798"/>
                  </a:lnTo>
                  <a:lnTo>
                    <a:pt x="4416358" y="1430911"/>
                  </a:lnTo>
                  <a:lnTo>
                    <a:pt x="4406006" y="1436530"/>
                  </a:lnTo>
                  <a:cubicBezTo>
                    <a:pt x="4316559" y="1474363"/>
                    <a:pt x="4218217" y="1495283"/>
                    <a:pt x="4114989" y="1495283"/>
                  </a:cubicBezTo>
                  <a:cubicBezTo>
                    <a:pt x="4011761" y="1495283"/>
                    <a:pt x="3913420" y="1474363"/>
                    <a:pt x="3823973" y="1436530"/>
                  </a:cubicBezTo>
                  <a:close/>
                  <a:moveTo>
                    <a:pt x="4114989" y="480375"/>
                  </a:moveTo>
                  <a:cubicBezTo>
                    <a:pt x="3967381" y="480375"/>
                    <a:pt x="3847721" y="600035"/>
                    <a:pt x="3847721" y="747642"/>
                  </a:cubicBezTo>
                  <a:cubicBezTo>
                    <a:pt x="3847721" y="895249"/>
                    <a:pt x="3967381" y="1014908"/>
                    <a:pt x="4114989" y="1014908"/>
                  </a:cubicBezTo>
                  <a:cubicBezTo>
                    <a:pt x="4262597" y="1014908"/>
                    <a:pt x="4382257" y="895249"/>
                    <a:pt x="4382257" y="747642"/>
                  </a:cubicBezTo>
                  <a:cubicBezTo>
                    <a:pt x="4382257" y="600035"/>
                    <a:pt x="4262597" y="480375"/>
                    <a:pt x="4114989" y="480375"/>
                  </a:cubicBezTo>
                  <a:close/>
                  <a:moveTo>
                    <a:pt x="4114989" y="0"/>
                  </a:moveTo>
                  <a:cubicBezTo>
                    <a:pt x="4527901" y="0"/>
                    <a:pt x="4862632" y="334731"/>
                    <a:pt x="4862632" y="747642"/>
                  </a:cubicBezTo>
                  <a:cubicBezTo>
                    <a:pt x="4862632" y="850869"/>
                    <a:pt x="4841712" y="949211"/>
                    <a:pt x="4803879" y="1038657"/>
                  </a:cubicBezTo>
                  <a:lnTo>
                    <a:pt x="4756686" y="1125604"/>
                  </a:lnTo>
                  <a:lnTo>
                    <a:pt x="7221202" y="3896314"/>
                  </a:lnTo>
                  <a:lnTo>
                    <a:pt x="7215162" y="3901687"/>
                  </a:lnTo>
                  <a:lnTo>
                    <a:pt x="7260009" y="3884017"/>
                  </a:lnTo>
                  <a:cubicBezTo>
                    <a:pt x="7330242" y="3862172"/>
                    <a:pt x="7404914" y="3850404"/>
                    <a:pt x="7482335" y="3850404"/>
                  </a:cubicBezTo>
                  <a:cubicBezTo>
                    <a:pt x="7895247" y="3850404"/>
                    <a:pt x="8229978" y="4185135"/>
                    <a:pt x="8229978" y="4598046"/>
                  </a:cubicBezTo>
                  <a:cubicBezTo>
                    <a:pt x="8229978" y="5010957"/>
                    <a:pt x="7895247" y="5345688"/>
                    <a:pt x="7482335" y="5345688"/>
                  </a:cubicBezTo>
                  <a:cubicBezTo>
                    <a:pt x="7172651" y="5345688"/>
                    <a:pt x="6906944" y="5157402"/>
                    <a:pt x="6793445" y="4889062"/>
                  </a:cubicBezTo>
                  <a:lnTo>
                    <a:pt x="6775904" y="4832552"/>
                  </a:lnTo>
                  <a:lnTo>
                    <a:pt x="1454074" y="4832552"/>
                  </a:lnTo>
                  <a:lnTo>
                    <a:pt x="1436533" y="4889062"/>
                  </a:lnTo>
                  <a:cubicBezTo>
                    <a:pt x="1323034" y="5157402"/>
                    <a:pt x="1057327" y="5345688"/>
                    <a:pt x="747643" y="5345688"/>
                  </a:cubicBezTo>
                  <a:cubicBezTo>
                    <a:pt x="334731" y="5345688"/>
                    <a:pt x="0" y="5010957"/>
                    <a:pt x="0" y="4598046"/>
                  </a:cubicBezTo>
                  <a:cubicBezTo>
                    <a:pt x="0" y="4185135"/>
                    <a:pt x="334731" y="3850404"/>
                    <a:pt x="747643" y="3850404"/>
                  </a:cubicBezTo>
                  <a:cubicBezTo>
                    <a:pt x="799257" y="3850404"/>
                    <a:pt x="849649" y="3855634"/>
                    <a:pt x="898319" y="3865594"/>
                  </a:cubicBezTo>
                  <a:lnTo>
                    <a:pt x="946150" y="3880441"/>
                  </a:lnTo>
                  <a:lnTo>
                    <a:pt x="3444209" y="1072022"/>
                  </a:lnTo>
                  <a:lnTo>
                    <a:pt x="3426100" y="1038657"/>
                  </a:lnTo>
                  <a:cubicBezTo>
                    <a:pt x="3388267" y="949211"/>
                    <a:pt x="3367346" y="850869"/>
                    <a:pt x="3367346" y="747642"/>
                  </a:cubicBezTo>
                  <a:cubicBezTo>
                    <a:pt x="3367346" y="334731"/>
                    <a:pt x="3702077" y="0"/>
                    <a:pt x="4114989" y="0"/>
                  </a:cubicBezTo>
                  <a:close/>
                </a:path>
              </a:pathLst>
            </a:custGeom>
            <a:solidFill>
              <a:schemeClr val="accent3"/>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spcBef>
                  <a:spcPts val="392"/>
                </a:spcBef>
                <a:spcAft>
                  <a:spcPct val="0"/>
                </a:spcAft>
              </a:pPr>
              <a:endParaRPr lang="en-IN" sz="1372" dirty="0">
                <a:solidFill>
                  <a:srgbClr val="505050"/>
                </a:solidFill>
                <a:ea typeface="Segoe UI" pitchFamily="34" charset="0"/>
                <a:cs typeface="Segoe UI" pitchFamily="34" charset="0"/>
              </a:endParaRPr>
            </a:p>
          </p:txBody>
        </p:sp>
        <p:cxnSp>
          <p:nvCxnSpPr>
            <p:cNvPr id="78" name="Straight Connector 77"/>
            <p:cNvCxnSpPr/>
            <p:nvPr/>
          </p:nvCxnSpPr>
          <p:spPr>
            <a:xfrm>
              <a:off x="9127698" y="1455454"/>
              <a:ext cx="0" cy="966450"/>
            </a:xfrm>
            <a:prstGeom prst="line">
              <a:avLst/>
            </a:prstGeom>
            <a:ln w="3175">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6" name="Group 15"/>
          <p:cNvGrpSpPr/>
          <p:nvPr/>
        </p:nvGrpSpPr>
        <p:grpSpPr>
          <a:xfrm>
            <a:off x="4285045" y="4607174"/>
            <a:ext cx="3659262" cy="1264377"/>
            <a:chOff x="465139" y="2736625"/>
            <a:chExt cx="3732638" cy="1289730"/>
          </a:xfrm>
        </p:grpSpPr>
        <p:grpSp>
          <p:nvGrpSpPr>
            <p:cNvPr id="187" name="Group 186"/>
            <p:cNvGrpSpPr/>
            <p:nvPr/>
          </p:nvGrpSpPr>
          <p:grpSpPr>
            <a:xfrm>
              <a:off x="520342" y="3037947"/>
              <a:ext cx="726712" cy="687086"/>
              <a:chOff x="-5715000" y="236220"/>
              <a:chExt cx="4846320" cy="4582064"/>
            </a:xfrm>
            <a:solidFill>
              <a:schemeClr val="accent3"/>
            </a:solidFill>
          </p:grpSpPr>
          <p:sp>
            <p:nvSpPr>
              <p:cNvPr id="188" name="Freeform 187"/>
              <p:cNvSpPr/>
              <p:nvPr/>
            </p:nvSpPr>
            <p:spPr bwMode="auto">
              <a:xfrm>
                <a:off x="-4062044" y="746230"/>
                <a:ext cx="3193364" cy="4069610"/>
              </a:xfrm>
              <a:custGeom>
                <a:avLst/>
                <a:gdLst>
                  <a:gd name="connsiteX0" fmla="*/ 99158 w 3174271"/>
                  <a:gd name="connsiteY0" fmla="*/ 424286 h 4077082"/>
                  <a:gd name="connsiteX1" fmla="*/ 670658 w 3174271"/>
                  <a:gd name="connsiteY1" fmla="*/ 43286 h 4077082"/>
                  <a:gd name="connsiteX2" fmla="*/ 1600298 w 3174271"/>
                  <a:gd name="connsiteY2" fmla="*/ 89006 h 4077082"/>
                  <a:gd name="connsiteX3" fmla="*/ 2263238 w 3174271"/>
                  <a:gd name="connsiteY3" fmla="*/ 759566 h 4077082"/>
                  <a:gd name="connsiteX4" fmla="*/ 2568038 w 3174271"/>
                  <a:gd name="connsiteY4" fmla="*/ 1856846 h 4077082"/>
                  <a:gd name="connsiteX5" fmla="*/ 2834738 w 3174271"/>
                  <a:gd name="connsiteY5" fmla="*/ 2519786 h 4077082"/>
                  <a:gd name="connsiteX6" fmla="*/ 3154778 w 3174271"/>
                  <a:gd name="connsiteY6" fmla="*/ 2877926 h 4077082"/>
                  <a:gd name="connsiteX7" fmla="*/ 2225138 w 3174271"/>
                  <a:gd name="connsiteY7" fmla="*/ 4066646 h 4077082"/>
                  <a:gd name="connsiteX8" fmla="*/ 2019398 w 3174271"/>
                  <a:gd name="connsiteY8" fmla="*/ 3479906 h 4077082"/>
                  <a:gd name="connsiteX9" fmla="*/ 1607918 w 3174271"/>
                  <a:gd name="connsiteY9" fmla="*/ 3876146 h 4077082"/>
                  <a:gd name="connsiteX10" fmla="*/ 1165958 w 3174271"/>
                  <a:gd name="connsiteY10" fmla="*/ 4028546 h 4077082"/>
                  <a:gd name="connsiteX11" fmla="*/ 602078 w 3174271"/>
                  <a:gd name="connsiteY11" fmla="*/ 3548486 h 4077082"/>
                  <a:gd name="connsiteX12" fmla="*/ 144878 w 3174271"/>
                  <a:gd name="connsiteY12" fmla="*/ 2420726 h 4077082"/>
                  <a:gd name="connsiteX13" fmla="*/ 68678 w 3174271"/>
                  <a:gd name="connsiteY13" fmla="*/ 1399646 h 4077082"/>
                  <a:gd name="connsiteX14" fmla="*/ 98 w 3174271"/>
                  <a:gd name="connsiteY14" fmla="*/ 630026 h 4077082"/>
                  <a:gd name="connsiteX15" fmla="*/ 99158 w 3174271"/>
                  <a:gd name="connsiteY15" fmla="*/ 424286 h 4077082"/>
                  <a:gd name="connsiteX0" fmla="*/ 99158 w 3174271"/>
                  <a:gd name="connsiteY0" fmla="*/ 411110 h 4063906"/>
                  <a:gd name="connsiteX1" fmla="*/ 670658 w 3174271"/>
                  <a:gd name="connsiteY1" fmla="*/ 52970 h 4063906"/>
                  <a:gd name="connsiteX2" fmla="*/ 1600298 w 3174271"/>
                  <a:gd name="connsiteY2" fmla="*/ 75830 h 4063906"/>
                  <a:gd name="connsiteX3" fmla="*/ 2263238 w 3174271"/>
                  <a:gd name="connsiteY3" fmla="*/ 746390 h 4063906"/>
                  <a:gd name="connsiteX4" fmla="*/ 2568038 w 3174271"/>
                  <a:gd name="connsiteY4" fmla="*/ 1843670 h 4063906"/>
                  <a:gd name="connsiteX5" fmla="*/ 2834738 w 3174271"/>
                  <a:gd name="connsiteY5" fmla="*/ 2506610 h 4063906"/>
                  <a:gd name="connsiteX6" fmla="*/ 3154778 w 3174271"/>
                  <a:gd name="connsiteY6" fmla="*/ 2864750 h 4063906"/>
                  <a:gd name="connsiteX7" fmla="*/ 2225138 w 3174271"/>
                  <a:gd name="connsiteY7" fmla="*/ 4053470 h 4063906"/>
                  <a:gd name="connsiteX8" fmla="*/ 2019398 w 3174271"/>
                  <a:gd name="connsiteY8" fmla="*/ 3466730 h 4063906"/>
                  <a:gd name="connsiteX9" fmla="*/ 1607918 w 3174271"/>
                  <a:gd name="connsiteY9" fmla="*/ 3862970 h 4063906"/>
                  <a:gd name="connsiteX10" fmla="*/ 1165958 w 3174271"/>
                  <a:gd name="connsiteY10" fmla="*/ 4015370 h 4063906"/>
                  <a:gd name="connsiteX11" fmla="*/ 602078 w 3174271"/>
                  <a:gd name="connsiteY11" fmla="*/ 3535310 h 4063906"/>
                  <a:gd name="connsiteX12" fmla="*/ 144878 w 3174271"/>
                  <a:gd name="connsiteY12" fmla="*/ 2407550 h 4063906"/>
                  <a:gd name="connsiteX13" fmla="*/ 68678 w 3174271"/>
                  <a:gd name="connsiteY13" fmla="*/ 1386470 h 4063906"/>
                  <a:gd name="connsiteX14" fmla="*/ 98 w 3174271"/>
                  <a:gd name="connsiteY14" fmla="*/ 616850 h 4063906"/>
                  <a:gd name="connsiteX15" fmla="*/ 99158 w 3174271"/>
                  <a:gd name="connsiteY15" fmla="*/ 411110 h 4063906"/>
                  <a:gd name="connsiteX0" fmla="*/ 99158 w 3174040"/>
                  <a:gd name="connsiteY0" fmla="*/ 411110 h 4063906"/>
                  <a:gd name="connsiteX1" fmla="*/ 670658 w 3174040"/>
                  <a:gd name="connsiteY1" fmla="*/ 52970 h 4063906"/>
                  <a:gd name="connsiteX2" fmla="*/ 1600298 w 3174040"/>
                  <a:gd name="connsiteY2" fmla="*/ 75830 h 4063906"/>
                  <a:gd name="connsiteX3" fmla="*/ 2263238 w 3174040"/>
                  <a:gd name="connsiteY3" fmla="*/ 746390 h 4063906"/>
                  <a:gd name="connsiteX4" fmla="*/ 2598518 w 3174040"/>
                  <a:gd name="connsiteY4" fmla="*/ 1836050 h 4063906"/>
                  <a:gd name="connsiteX5" fmla="*/ 2834738 w 3174040"/>
                  <a:gd name="connsiteY5" fmla="*/ 2506610 h 4063906"/>
                  <a:gd name="connsiteX6" fmla="*/ 3154778 w 3174040"/>
                  <a:gd name="connsiteY6" fmla="*/ 2864750 h 4063906"/>
                  <a:gd name="connsiteX7" fmla="*/ 2225138 w 3174040"/>
                  <a:gd name="connsiteY7" fmla="*/ 4053470 h 4063906"/>
                  <a:gd name="connsiteX8" fmla="*/ 2019398 w 3174040"/>
                  <a:gd name="connsiteY8" fmla="*/ 3466730 h 4063906"/>
                  <a:gd name="connsiteX9" fmla="*/ 1607918 w 3174040"/>
                  <a:gd name="connsiteY9" fmla="*/ 3862970 h 4063906"/>
                  <a:gd name="connsiteX10" fmla="*/ 1165958 w 3174040"/>
                  <a:gd name="connsiteY10" fmla="*/ 4015370 h 4063906"/>
                  <a:gd name="connsiteX11" fmla="*/ 602078 w 3174040"/>
                  <a:gd name="connsiteY11" fmla="*/ 3535310 h 4063906"/>
                  <a:gd name="connsiteX12" fmla="*/ 144878 w 3174040"/>
                  <a:gd name="connsiteY12" fmla="*/ 2407550 h 4063906"/>
                  <a:gd name="connsiteX13" fmla="*/ 68678 w 3174040"/>
                  <a:gd name="connsiteY13" fmla="*/ 1386470 h 4063906"/>
                  <a:gd name="connsiteX14" fmla="*/ 98 w 3174040"/>
                  <a:gd name="connsiteY14" fmla="*/ 616850 h 4063906"/>
                  <a:gd name="connsiteX15" fmla="*/ 99158 w 3174040"/>
                  <a:gd name="connsiteY15" fmla="*/ 411110 h 4063906"/>
                  <a:gd name="connsiteX0" fmla="*/ 99158 w 3174040"/>
                  <a:gd name="connsiteY0" fmla="*/ 411110 h 4063906"/>
                  <a:gd name="connsiteX1" fmla="*/ 670658 w 3174040"/>
                  <a:gd name="connsiteY1" fmla="*/ 52970 h 4063906"/>
                  <a:gd name="connsiteX2" fmla="*/ 1600298 w 3174040"/>
                  <a:gd name="connsiteY2" fmla="*/ 75830 h 4063906"/>
                  <a:gd name="connsiteX3" fmla="*/ 2263238 w 3174040"/>
                  <a:gd name="connsiteY3" fmla="*/ 746390 h 4063906"/>
                  <a:gd name="connsiteX4" fmla="*/ 2598518 w 3174040"/>
                  <a:gd name="connsiteY4" fmla="*/ 1836050 h 4063906"/>
                  <a:gd name="connsiteX5" fmla="*/ 2834738 w 3174040"/>
                  <a:gd name="connsiteY5" fmla="*/ 2506610 h 4063906"/>
                  <a:gd name="connsiteX6" fmla="*/ 3154778 w 3174040"/>
                  <a:gd name="connsiteY6" fmla="*/ 2864750 h 4063906"/>
                  <a:gd name="connsiteX7" fmla="*/ 2225138 w 3174040"/>
                  <a:gd name="connsiteY7" fmla="*/ 4053470 h 4063906"/>
                  <a:gd name="connsiteX8" fmla="*/ 2019398 w 3174040"/>
                  <a:gd name="connsiteY8" fmla="*/ 3466730 h 4063906"/>
                  <a:gd name="connsiteX9" fmla="*/ 1607918 w 3174040"/>
                  <a:gd name="connsiteY9" fmla="*/ 3862970 h 4063906"/>
                  <a:gd name="connsiteX10" fmla="*/ 1165958 w 3174040"/>
                  <a:gd name="connsiteY10" fmla="*/ 4015370 h 4063906"/>
                  <a:gd name="connsiteX11" fmla="*/ 602078 w 3174040"/>
                  <a:gd name="connsiteY11" fmla="*/ 3535310 h 4063906"/>
                  <a:gd name="connsiteX12" fmla="*/ 144878 w 3174040"/>
                  <a:gd name="connsiteY12" fmla="*/ 2407550 h 4063906"/>
                  <a:gd name="connsiteX13" fmla="*/ 68678 w 3174040"/>
                  <a:gd name="connsiteY13" fmla="*/ 1386470 h 4063906"/>
                  <a:gd name="connsiteX14" fmla="*/ 98 w 3174040"/>
                  <a:gd name="connsiteY14" fmla="*/ 616850 h 4063906"/>
                  <a:gd name="connsiteX15" fmla="*/ 99158 w 3174040"/>
                  <a:gd name="connsiteY15" fmla="*/ 411110 h 4063906"/>
                  <a:gd name="connsiteX0" fmla="*/ 99158 w 3154778"/>
                  <a:gd name="connsiteY0" fmla="*/ 411110 h 4063906"/>
                  <a:gd name="connsiteX1" fmla="*/ 670658 w 3154778"/>
                  <a:gd name="connsiteY1" fmla="*/ 52970 h 4063906"/>
                  <a:gd name="connsiteX2" fmla="*/ 1600298 w 3154778"/>
                  <a:gd name="connsiteY2" fmla="*/ 75830 h 4063906"/>
                  <a:gd name="connsiteX3" fmla="*/ 2263238 w 3154778"/>
                  <a:gd name="connsiteY3" fmla="*/ 746390 h 4063906"/>
                  <a:gd name="connsiteX4" fmla="*/ 2598518 w 3154778"/>
                  <a:gd name="connsiteY4" fmla="*/ 1836050 h 4063906"/>
                  <a:gd name="connsiteX5" fmla="*/ 2834738 w 3154778"/>
                  <a:gd name="connsiteY5" fmla="*/ 2506610 h 4063906"/>
                  <a:gd name="connsiteX6" fmla="*/ 3154778 w 3154778"/>
                  <a:gd name="connsiteY6" fmla="*/ 2864750 h 4063906"/>
                  <a:gd name="connsiteX7" fmla="*/ 2225138 w 3154778"/>
                  <a:gd name="connsiteY7" fmla="*/ 4053470 h 4063906"/>
                  <a:gd name="connsiteX8" fmla="*/ 2019398 w 3154778"/>
                  <a:gd name="connsiteY8" fmla="*/ 3466730 h 4063906"/>
                  <a:gd name="connsiteX9" fmla="*/ 1607918 w 3154778"/>
                  <a:gd name="connsiteY9" fmla="*/ 3862970 h 4063906"/>
                  <a:gd name="connsiteX10" fmla="*/ 1165958 w 3154778"/>
                  <a:gd name="connsiteY10" fmla="*/ 4015370 h 4063906"/>
                  <a:gd name="connsiteX11" fmla="*/ 602078 w 3154778"/>
                  <a:gd name="connsiteY11" fmla="*/ 3535310 h 4063906"/>
                  <a:gd name="connsiteX12" fmla="*/ 144878 w 3154778"/>
                  <a:gd name="connsiteY12" fmla="*/ 2407550 h 4063906"/>
                  <a:gd name="connsiteX13" fmla="*/ 68678 w 3154778"/>
                  <a:gd name="connsiteY13" fmla="*/ 1386470 h 4063906"/>
                  <a:gd name="connsiteX14" fmla="*/ 98 w 3154778"/>
                  <a:gd name="connsiteY14" fmla="*/ 616850 h 4063906"/>
                  <a:gd name="connsiteX15" fmla="*/ 99158 w 3154778"/>
                  <a:gd name="connsiteY15" fmla="*/ 411110 h 4063906"/>
                  <a:gd name="connsiteX0" fmla="*/ 99158 w 3154778"/>
                  <a:gd name="connsiteY0" fmla="*/ 411110 h 4063906"/>
                  <a:gd name="connsiteX1" fmla="*/ 670658 w 3154778"/>
                  <a:gd name="connsiteY1" fmla="*/ 52970 h 4063906"/>
                  <a:gd name="connsiteX2" fmla="*/ 1600298 w 3154778"/>
                  <a:gd name="connsiteY2" fmla="*/ 75830 h 4063906"/>
                  <a:gd name="connsiteX3" fmla="*/ 2263238 w 3154778"/>
                  <a:gd name="connsiteY3" fmla="*/ 746390 h 4063906"/>
                  <a:gd name="connsiteX4" fmla="*/ 2598518 w 3154778"/>
                  <a:gd name="connsiteY4" fmla="*/ 1836050 h 4063906"/>
                  <a:gd name="connsiteX5" fmla="*/ 2834738 w 3154778"/>
                  <a:gd name="connsiteY5" fmla="*/ 2506610 h 4063906"/>
                  <a:gd name="connsiteX6" fmla="*/ 3154778 w 3154778"/>
                  <a:gd name="connsiteY6" fmla="*/ 2864750 h 4063906"/>
                  <a:gd name="connsiteX7" fmla="*/ 2225138 w 3154778"/>
                  <a:gd name="connsiteY7" fmla="*/ 4053470 h 4063906"/>
                  <a:gd name="connsiteX8" fmla="*/ 2019398 w 3154778"/>
                  <a:gd name="connsiteY8" fmla="*/ 3466730 h 4063906"/>
                  <a:gd name="connsiteX9" fmla="*/ 1607918 w 3154778"/>
                  <a:gd name="connsiteY9" fmla="*/ 3862970 h 4063906"/>
                  <a:gd name="connsiteX10" fmla="*/ 1165958 w 3154778"/>
                  <a:gd name="connsiteY10" fmla="*/ 4015370 h 4063906"/>
                  <a:gd name="connsiteX11" fmla="*/ 602078 w 3154778"/>
                  <a:gd name="connsiteY11" fmla="*/ 3535310 h 4063906"/>
                  <a:gd name="connsiteX12" fmla="*/ 144878 w 3154778"/>
                  <a:gd name="connsiteY12" fmla="*/ 2407550 h 4063906"/>
                  <a:gd name="connsiteX13" fmla="*/ 68678 w 3154778"/>
                  <a:gd name="connsiteY13" fmla="*/ 1386470 h 4063906"/>
                  <a:gd name="connsiteX14" fmla="*/ 98 w 3154778"/>
                  <a:gd name="connsiteY14" fmla="*/ 616850 h 4063906"/>
                  <a:gd name="connsiteX15" fmla="*/ 99158 w 3154778"/>
                  <a:gd name="connsiteY15" fmla="*/ 411110 h 4063906"/>
                  <a:gd name="connsiteX0" fmla="*/ 99158 w 3185258"/>
                  <a:gd name="connsiteY0" fmla="*/ 411110 h 4065097"/>
                  <a:gd name="connsiteX1" fmla="*/ 670658 w 3185258"/>
                  <a:gd name="connsiteY1" fmla="*/ 52970 h 4065097"/>
                  <a:gd name="connsiteX2" fmla="*/ 1600298 w 3185258"/>
                  <a:gd name="connsiteY2" fmla="*/ 75830 h 4065097"/>
                  <a:gd name="connsiteX3" fmla="*/ 2263238 w 3185258"/>
                  <a:gd name="connsiteY3" fmla="*/ 746390 h 4065097"/>
                  <a:gd name="connsiteX4" fmla="*/ 2598518 w 3185258"/>
                  <a:gd name="connsiteY4" fmla="*/ 1836050 h 4065097"/>
                  <a:gd name="connsiteX5" fmla="*/ 2834738 w 3185258"/>
                  <a:gd name="connsiteY5" fmla="*/ 2506610 h 4065097"/>
                  <a:gd name="connsiteX6" fmla="*/ 3185258 w 3185258"/>
                  <a:gd name="connsiteY6" fmla="*/ 2826650 h 4065097"/>
                  <a:gd name="connsiteX7" fmla="*/ 2225138 w 3185258"/>
                  <a:gd name="connsiteY7" fmla="*/ 4053470 h 4065097"/>
                  <a:gd name="connsiteX8" fmla="*/ 2019398 w 3185258"/>
                  <a:gd name="connsiteY8" fmla="*/ 3466730 h 4065097"/>
                  <a:gd name="connsiteX9" fmla="*/ 1607918 w 3185258"/>
                  <a:gd name="connsiteY9" fmla="*/ 3862970 h 4065097"/>
                  <a:gd name="connsiteX10" fmla="*/ 1165958 w 3185258"/>
                  <a:gd name="connsiteY10" fmla="*/ 4015370 h 4065097"/>
                  <a:gd name="connsiteX11" fmla="*/ 602078 w 3185258"/>
                  <a:gd name="connsiteY11" fmla="*/ 3535310 h 4065097"/>
                  <a:gd name="connsiteX12" fmla="*/ 144878 w 3185258"/>
                  <a:gd name="connsiteY12" fmla="*/ 2407550 h 4065097"/>
                  <a:gd name="connsiteX13" fmla="*/ 68678 w 3185258"/>
                  <a:gd name="connsiteY13" fmla="*/ 1386470 h 4065097"/>
                  <a:gd name="connsiteX14" fmla="*/ 98 w 3185258"/>
                  <a:gd name="connsiteY14" fmla="*/ 616850 h 4065097"/>
                  <a:gd name="connsiteX15" fmla="*/ 99158 w 3185258"/>
                  <a:gd name="connsiteY15" fmla="*/ 411110 h 4065097"/>
                  <a:gd name="connsiteX0" fmla="*/ 99158 w 3185258"/>
                  <a:gd name="connsiteY0" fmla="*/ 411110 h 4065097"/>
                  <a:gd name="connsiteX1" fmla="*/ 670658 w 3185258"/>
                  <a:gd name="connsiteY1" fmla="*/ 52970 h 4065097"/>
                  <a:gd name="connsiteX2" fmla="*/ 1600298 w 3185258"/>
                  <a:gd name="connsiteY2" fmla="*/ 75830 h 4065097"/>
                  <a:gd name="connsiteX3" fmla="*/ 2263238 w 3185258"/>
                  <a:gd name="connsiteY3" fmla="*/ 746390 h 4065097"/>
                  <a:gd name="connsiteX4" fmla="*/ 2598518 w 3185258"/>
                  <a:gd name="connsiteY4" fmla="*/ 1836050 h 4065097"/>
                  <a:gd name="connsiteX5" fmla="*/ 2834738 w 3185258"/>
                  <a:gd name="connsiteY5" fmla="*/ 2506610 h 4065097"/>
                  <a:gd name="connsiteX6" fmla="*/ 3185258 w 3185258"/>
                  <a:gd name="connsiteY6" fmla="*/ 2826650 h 4065097"/>
                  <a:gd name="connsiteX7" fmla="*/ 2225138 w 3185258"/>
                  <a:gd name="connsiteY7" fmla="*/ 4053470 h 4065097"/>
                  <a:gd name="connsiteX8" fmla="*/ 2019398 w 3185258"/>
                  <a:gd name="connsiteY8" fmla="*/ 3466730 h 4065097"/>
                  <a:gd name="connsiteX9" fmla="*/ 1607918 w 3185258"/>
                  <a:gd name="connsiteY9" fmla="*/ 3862970 h 4065097"/>
                  <a:gd name="connsiteX10" fmla="*/ 1165958 w 3185258"/>
                  <a:gd name="connsiteY10" fmla="*/ 4015370 h 4065097"/>
                  <a:gd name="connsiteX11" fmla="*/ 602078 w 3185258"/>
                  <a:gd name="connsiteY11" fmla="*/ 3535310 h 4065097"/>
                  <a:gd name="connsiteX12" fmla="*/ 144878 w 3185258"/>
                  <a:gd name="connsiteY12" fmla="*/ 2407550 h 4065097"/>
                  <a:gd name="connsiteX13" fmla="*/ 68678 w 3185258"/>
                  <a:gd name="connsiteY13" fmla="*/ 1386470 h 4065097"/>
                  <a:gd name="connsiteX14" fmla="*/ 98 w 3185258"/>
                  <a:gd name="connsiteY14" fmla="*/ 616850 h 4065097"/>
                  <a:gd name="connsiteX15" fmla="*/ 99158 w 3185258"/>
                  <a:gd name="connsiteY15" fmla="*/ 411110 h 4065097"/>
                  <a:gd name="connsiteX0" fmla="*/ 99158 w 3185258"/>
                  <a:gd name="connsiteY0" fmla="*/ 411110 h 4065097"/>
                  <a:gd name="connsiteX1" fmla="*/ 670658 w 3185258"/>
                  <a:gd name="connsiteY1" fmla="*/ 52970 h 4065097"/>
                  <a:gd name="connsiteX2" fmla="*/ 1600298 w 3185258"/>
                  <a:gd name="connsiteY2" fmla="*/ 75830 h 4065097"/>
                  <a:gd name="connsiteX3" fmla="*/ 2263238 w 3185258"/>
                  <a:gd name="connsiteY3" fmla="*/ 746390 h 4065097"/>
                  <a:gd name="connsiteX4" fmla="*/ 2598518 w 3185258"/>
                  <a:gd name="connsiteY4" fmla="*/ 1836050 h 4065097"/>
                  <a:gd name="connsiteX5" fmla="*/ 2834738 w 3185258"/>
                  <a:gd name="connsiteY5" fmla="*/ 2506610 h 4065097"/>
                  <a:gd name="connsiteX6" fmla="*/ 3185258 w 3185258"/>
                  <a:gd name="connsiteY6" fmla="*/ 2826650 h 4065097"/>
                  <a:gd name="connsiteX7" fmla="*/ 2225138 w 3185258"/>
                  <a:gd name="connsiteY7" fmla="*/ 4053470 h 4065097"/>
                  <a:gd name="connsiteX8" fmla="*/ 2019398 w 3185258"/>
                  <a:gd name="connsiteY8" fmla="*/ 3466730 h 4065097"/>
                  <a:gd name="connsiteX9" fmla="*/ 1607918 w 3185258"/>
                  <a:gd name="connsiteY9" fmla="*/ 3862970 h 4065097"/>
                  <a:gd name="connsiteX10" fmla="*/ 1165958 w 3185258"/>
                  <a:gd name="connsiteY10" fmla="*/ 4015370 h 4065097"/>
                  <a:gd name="connsiteX11" fmla="*/ 602078 w 3185258"/>
                  <a:gd name="connsiteY11" fmla="*/ 3535310 h 4065097"/>
                  <a:gd name="connsiteX12" fmla="*/ 144878 w 3185258"/>
                  <a:gd name="connsiteY12" fmla="*/ 2407550 h 4065097"/>
                  <a:gd name="connsiteX13" fmla="*/ 68678 w 3185258"/>
                  <a:gd name="connsiteY13" fmla="*/ 1386470 h 4065097"/>
                  <a:gd name="connsiteX14" fmla="*/ 98 w 3185258"/>
                  <a:gd name="connsiteY14" fmla="*/ 616850 h 4065097"/>
                  <a:gd name="connsiteX15" fmla="*/ 99158 w 3185258"/>
                  <a:gd name="connsiteY15" fmla="*/ 411110 h 4065097"/>
                  <a:gd name="connsiteX0" fmla="*/ 99158 w 3185258"/>
                  <a:gd name="connsiteY0" fmla="*/ 411110 h 4066691"/>
                  <a:gd name="connsiteX1" fmla="*/ 670658 w 3185258"/>
                  <a:gd name="connsiteY1" fmla="*/ 52970 h 4066691"/>
                  <a:gd name="connsiteX2" fmla="*/ 1600298 w 3185258"/>
                  <a:gd name="connsiteY2" fmla="*/ 75830 h 4066691"/>
                  <a:gd name="connsiteX3" fmla="*/ 2263238 w 3185258"/>
                  <a:gd name="connsiteY3" fmla="*/ 746390 h 4066691"/>
                  <a:gd name="connsiteX4" fmla="*/ 2598518 w 3185258"/>
                  <a:gd name="connsiteY4" fmla="*/ 1836050 h 4066691"/>
                  <a:gd name="connsiteX5" fmla="*/ 2834738 w 3185258"/>
                  <a:gd name="connsiteY5" fmla="*/ 2506610 h 4066691"/>
                  <a:gd name="connsiteX6" fmla="*/ 3185258 w 3185258"/>
                  <a:gd name="connsiteY6" fmla="*/ 2826650 h 4066691"/>
                  <a:gd name="connsiteX7" fmla="*/ 2225138 w 3185258"/>
                  <a:gd name="connsiteY7" fmla="*/ 4053470 h 4066691"/>
                  <a:gd name="connsiteX8" fmla="*/ 2019398 w 3185258"/>
                  <a:gd name="connsiteY8" fmla="*/ 3466730 h 4066691"/>
                  <a:gd name="connsiteX9" fmla="*/ 1607918 w 3185258"/>
                  <a:gd name="connsiteY9" fmla="*/ 3862970 h 4066691"/>
                  <a:gd name="connsiteX10" fmla="*/ 1165958 w 3185258"/>
                  <a:gd name="connsiteY10" fmla="*/ 4015370 h 4066691"/>
                  <a:gd name="connsiteX11" fmla="*/ 602078 w 3185258"/>
                  <a:gd name="connsiteY11" fmla="*/ 3535310 h 4066691"/>
                  <a:gd name="connsiteX12" fmla="*/ 144878 w 3185258"/>
                  <a:gd name="connsiteY12" fmla="*/ 2407550 h 4066691"/>
                  <a:gd name="connsiteX13" fmla="*/ 68678 w 3185258"/>
                  <a:gd name="connsiteY13" fmla="*/ 1386470 h 4066691"/>
                  <a:gd name="connsiteX14" fmla="*/ 98 w 3185258"/>
                  <a:gd name="connsiteY14" fmla="*/ 616850 h 4066691"/>
                  <a:gd name="connsiteX15" fmla="*/ 99158 w 3185258"/>
                  <a:gd name="connsiteY15" fmla="*/ 411110 h 4066691"/>
                  <a:gd name="connsiteX0" fmla="*/ 99158 w 3185258"/>
                  <a:gd name="connsiteY0" fmla="*/ 411110 h 4066691"/>
                  <a:gd name="connsiteX1" fmla="*/ 670658 w 3185258"/>
                  <a:gd name="connsiteY1" fmla="*/ 52970 h 4066691"/>
                  <a:gd name="connsiteX2" fmla="*/ 1600298 w 3185258"/>
                  <a:gd name="connsiteY2" fmla="*/ 75830 h 4066691"/>
                  <a:gd name="connsiteX3" fmla="*/ 2263238 w 3185258"/>
                  <a:gd name="connsiteY3" fmla="*/ 746390 h 4066691"/>
                  <a:gd name="connsiteX4" fmla="*/ 2598518 w 3185258"/>
                  <a:gd name="connsiteY4" fmla="*/ 1836050 h 4066691"/>
                  <a:gd name="connsiteX5" fmla="*/ 2834738 w 3185258"/>
                  <a:gd name="connsiteY5" fmla="*/ 2506610 h 4066691"/>
                  <a:gd name="connsiteX6" fmla="*/ 3185258 w 3185258"/>
                  <a:gd name="connsiteY6" fmla="*/ 2826650 h 4066691"/>
                  <a:gd name="connsiteX7" fmla="*/ 2225138 w 3185258"/>
                  <a:gd name="connsiteY7" fmla="*/ 4053470 h 4066691"/>
                  <a:gd name="connsiteX8" fmla="*/ 2019398 w 3185258"/>
                  <a:gd name="connsiteY8" fmla="*/ 3466730 h 4066691"/>
                  <a:gd name="connsiteX9" fmla="*/ 1607918 w 3185258"/>
                  <a:gd name="connsiteY9" fmla="*/ 3862970 h 4066691"/>
                  <a:gd name="connsiteX10" fmla="*/ 1165958 w 3185258"/>
                  <a:gd name="connsiteY10" fmla="*/ 4015370 h 4066691"/>
                  <a:gd name="connsiteX11" fmla="*/ 602078 w 3185258"/>
                  <a:gd name="connsiteY11" fmla="*/ 3535310 h 4066691"/>
                  <a:gd name="connsiteX12" fmla="*/ 144878 w 3185258"/>
                  <a:gd name="connsiteY12" fmla="*/ 2407550 h 4066691"/>
                  <a:gd name="connsiteX13" fmla="*/ 68678 w 3185258"/>
                  <a:gd name="connsiteY13" fmla="*/ 1386470 h 4066691"/>
                  <a:gd name="connsiteX14" fmla="*/ 98 w 3185258"/>
                  <a:gd name="connsiteY14" fmla="*/ 616850 h 4066691"/>
                  <a:gd name="connsiteX15" fmla="*/ 99158 w 3185258"/>
                  <a:gd name="connsiteY15" fmla="*/ 411110 h 4066691"/>
                  <a:gd name="connsiteX0" fmla="*/ 99158 w 3185258"/>
                  <a:gd name="connsiteY0" fmla="*/ 411110 h 4053470"/>
                  <a:gd name="connsiteX1" fmla="*/ 670658 w 3185258"/>
                  <a:gd name="connsiteY1" fmla="*/ 52970 h 4053470"/>
                  <a:gd name="connsiteX2" fmla="*/ 1600298 w 3185258"/>
                  <a:gd name="connsiteY2" fmla="*/ 75830 h 4053470"/>
                  <a:gd name="connsiteX3" fmla="*/ 2263238 w 3185258"/>
                  <a:gd name="connsiteY3" fmla="*/ 746390 h 4053470"/>
                  <a:gd name="connsiteX4" fmla="*/ 2598518 w 3185258"/>
                  <a:gd name="connsiteY4" fmla="*/ 1836050 h 4053470"/>
                  <a:gd name="connsiteX5" fmla="*/ 2834738 w 3185258"/>
                  <a:gd name="connsiteY5" fmla="*/ 2506610 h 4053470"/>
                  <a:gd name="connsiteX6" fmla="*/ 3185258 w 3185258"/>
                  <a:gd name="connsiteY6" fmla="*/ 2826650 h 4053470"/>
                  <a:gd name="connsiteX7" fmla="*/ 2225138 w 3185258"/>
                  <a:gd name="connsiteY7" fmla="*/ 4053470 h 4053470"/>
                  <a:gd name="connsiteX8" fmla="*/ 2019398 w 3185258"/>
                  <a:gd name="connsiteY8" fmla="*/ 3466730 h 4053470"/>
                  <a:gd name="connsiteX9" fmla="*/ 1607918 w 3185258"/>
                  <a:gd name="connsiteY9" fmla="*/ 3862970 h 4053470"/>
                  <a:gd name="connsiteX10" fmla="*/ 1165958 w 3185258"/>
                  <a:gd name="connsiteY10" fmla="*/ 4015370 h 4053470"/>
                  <a:gd name="connsiteX11" fmla="*/ 602078 w 3185258"/>
                  <a:gd name="connsiteY11" fmla="*/ 3535310 h 4053470"/>
                  <a:gd name="connsiteX12" fmla="*/ 144878 w 3185258"/>
                  <a:gd name="connsiteY12" fmla="*/ 2407550 h 4053470"/>
                  <a:gd name="connsiteX13" fmla="*/ 68678 w 3185258"/>
                  <a:gd name="connsiteY13" fmla="*/ 1386470 h 4053470"/>
                  <a:gd name="connsiteX14" fmla="*/ 98 w 3185258"/>
                  <a:gd name="connsiteY14" fmla="*/ 616850 h 4053470"/>
                  <a:gd name="connsiteX15" fmla="*/ 99158 w 3185258"/>
                  <a:gd name="connsiteY15" fmla="*/ 411110 h 4053470"/>
                  <a:gd name="connsiteX0" fmla="*/ 99158 w 3185258"/>
                  <a:gd name="connsiteY0" fmla="*/ 411110 h 4053470"/>
                  <a:gd name="connsiteX1" fmla="*/ 670658 w 3185258"/>
                  <a:gd name="connsiteY1" fmla="*/ 52970 h 4053470"/>
                  <a:gd name="connsiteX2" fmla="*/ 1600298 w 3185258"/>
                  <a:gd name="connsiteY2" fmla="*/ 75830 h 4053470"/>
                  <a:gd name="connsiteX3" fmla="*/ 2263238 w 3185258"/>
                  <a:gd name="connsiteY3" fmla="*/ 746390 h 4053470"/>
                  <a:gd name="connsiteX4" fmla="*/ 2598518 w 3185258"/>
                  <a:gd name="connsiteY4" fmla="*/ 1836050 h 4053470"/>
                  <a:gd name="connsiteX5" fmla="*/ 2834738 w 3185258"/>
                  <a:gd name="connsiteY5" fmla="*/ 2506610 h 4053470"/>
                  <a:gd name="connsiteX6" fmla="*/ 3185258 w 3185258"/>
                  <a:gd name="connsiteY6" fmla="*/ 2826650 h 4053470"/>
                  <a:gd name="connsiteX7" fmla="*/ 2225138 w 3185258"/>
                  <a:gd name="connsiteY7" fmla="*/ 4053470 h 4053470"/>
                  <a:gd name="connsiteX8" fmla="*/ 1996538 w 3185258"/>
                  <a:gd name="connsiteY8" fmla="*/ 3497210 h 4053470"/>
                  <a:gd name="connsiteX9" fmla="*/ 1607918 w 3185258"/>
                  <a:gd name="connsiteY9" fmla="*/ 3862970 h 4053470"/>
                  <a:gd name="connsiteX10" fmla="*/ 1165958 w 3185258"/>
                  <a:gd name="connsiteY10" fmla="*/ 4015370 h 4053470"/>
                  <a:gd name="connsiteX11" fmla="*/ 602078 w 3185258"/>
                  <a:gd name="connsiteY11" fmla="*/ 3535310 h 4053470"/>
                  <a:gd name="connsiteX12" fmla="*/ 144878 w 3185258"/>
                  <a:gd name="connsiteY12" fmla="*/ 2407550 h 4053470"/>
                  <a:gd name="connsiteX13" fmla="*/ 68678 w 3185258"/>
                  <a:gd name="connsiteY13" fmla="*/ 1386470 h 4053470"/>
                  <a:gd name="connsiteX14" fmla="*/ 98 w 3185258"/>
                  <a:gd name="connsiteY14" fmla="*/ 616850 h 4053470"/>
                  <a:gd name="connsiteX15" fmla="*/ 99158 w 3185258"/>
                  <a:gd name="connsiteY15" fmla="*/ 411110 h 4053470"/>
                  <a:gd name="connsiteX0" fmla="*/ 99158 w 3185258"/>
                  <a:gd name="connsiteY0" fmla="*/ 411110 h 4053470"/>
                  <a:gd name="connsiteX1" fmla="*/ 670658 w 3185258"/>
                  <a:gd name="connsiteY1" fmla="*/ 52970 h 4053470"/>
                  <a:gd name="connsiteX2" fmla="*/ 1600298 w 3185258"/>
                  <a:gd name="connsiteY2" fmla="*/ 75830 h 4053470"/>
                  <a:gd name="connsiteX3" fmla="*/ 2263238 w 3185258"/>
                  <a:gd name="connsiteY3" fmla="*/ 746390 h 4053470"/>
                  <a:gd name="connsiteX4" fmla="*/ 2598518 w 3185258"/>
                  <a:gd name="connsiteY4" fmla="*/ 1836050 h 4053470"/>
                  <a:gd name="connsiteX5" fmla="*/ 2834738 w 3185258"/>
                  <a:gd name="connsiteY5" fmla="*/ 2506610 h 4053470"/>
                  <a:gd name="connsiteX6" fmla="*/ 3185258 w 3185258"/>
                  <a:gd name="connsiteY6" fmla="*/ 2826650 h 4053470"/>
                  <a:gd name="connsiteX7" fmla="*/ 2187038 w 3185258"/>
                  <a:gd name="connsiteY7" fmla="*/ 4053470 h 4053470"/>
                  <a:gd name="connsiteX8" fmla="*/ 1996538 w 3185258"/>
                  <a:gd name="connsiteY8" fmla="*/ 3497210 h 4053470"/>
                  <a:gd name="connsiteX9" fmla="*/ 1607918 w 3185258"/>
                  <a:gd name="connsiteY9" fmla="*/ 3862970 h 4053470"/>
                  <a:gd name="connsiteX10" fmla="*/ 1165958 w 3185258"/>
                  <a:gd name="connsiteY10" fmla="*/ 4015370 h 4053470"/>
                  <a:gd name="connsiteX11" fmla="*/ 602078 w 3185258"/>
                  <a:gd name="connsiteY11" fmla="*/ 3535310 h 4053470"/>
                  <a:gd name="connsiteX12" fmla="*/ 144878 w 3185258"/>
                  <a:gd name="connsiteY12" fmla="*/ 2407550 h 4053470"/>
                  <a:gd name="connsiteX13" fmla="*/ 68678 w 3185258"/>
                  <a:gd name="connsiteY13" fmla="*/ 1386470 h 4053470"/>
                  <a:gd name="connsiteX14" fmla="*/ 98 w 3185258"/>
                  <a:gd name="connsiteY14" fmla="*/ 616850 h 4053470"/>
                  <a:gd name="connsiteX15" fmla="*/ 99158 w 3185258"/>
                  <a:gd name="connsiteY15" fmla="*/ 411110 h 4053470"/>
                  <a:gd name="connsiteX0" fmla="*/ 99158 w 3185258"/>
                  <a:gd name="connsiteY0" fmla="*/ 411110 h 4053470"/>
                  <a:gd name="connsiteX1" fmla="*/ 670658 w 3185258"/>
                  <a:gd name="connsiteY1" fmla="*/ 52970 h 4053470"/>
                  <a:gd name="connsiteX2" fmla="*/ 1600298 w 3185258"/>
                  <a:gd name="connsiteY2" fmla="*/ 75830 h 4053470"/>
                  <a:gd name="connsiteX3" fmla="*/ 2263238 w 3185258"/>
                  <a:gd name="connsiteY3" fmla="*/ 746390 h 4053470"/>
                  <a:gd name="connsiteX4" fmla="*/ 2598518 w 3185258"/>
                  <a:gd name="connsiteY4" fmla="*/ 1836050 h 4053470"/>
                  <a:gd name="connsiteX5" fmla="*/ 2834738 w 3185258"/>
                  <a:gd name="connsiteY5" fmla="*/ 2506610 h 4053470"/>
                  <a:gd name="connsiteX6" fmla="*/ 3185258 w 3185258"/>
                  <a:gd name="connsiteY6" fmla="*/ 2826650 h 4053470"/>
                  <a:gd name="connsiteX7" fmla="*/ 2187038 w 3185258"/>
                  <a:gd name="connsiteY7" fmla="*/ 4053470 h 4053470"/>
                  <a:gd name="connsiteX8" fmla="*/ 1996538 w 3185258"/>
                  <a:gd name="connsiteY8" fmla="*/ 3497210 h 4053470"/>
                  <a:gd name="connsiteX9" fmla="*/ 1607918 w 3185258"/>
                  <a:gd name="connsiteY9" fmla="*/ 3862970 h 4053470"/>
                  <a:gd name="connsiteX10" fmla="*/ 1165958 w 3185258"/>
                  <a:gd name="connsiteY10" fmla="*/ 4015370 h 4053470"/>
                  <a:gd name="connsiteX11" fmla="*/ 602078 w 3185258"/>
                  <a:gd name="connsiteY11" fmla="*/ 3535310 h 4053470"/>
                  <a:gd name="connsiteX12" fmla="*/ 144878 w 3185258"/>
                  <a:gd name="connsiteY12" fmla="*/ 2407550 h 4053470"/>
                  <a:gd name="connsiteX13" fmla="*/ 68678 w 3185258"/>
                  <a:gd name="connsiteY13" fmla="*/ 1386470 h 4053470"/>
                  <a:gd name="connsiteX14" fmla="*/ 98 w 3185258"/>
                  <a:gd name="connsiteY14" fmla="*/ 616850 h 4053470"/>
                  <a:gd name="connsiteX15" fmla="*/ 99158 w 3185258"/>
                  <a:gd name="connsiteY15" fmla="*/ 411110 h 4053470"/>
                  <a:gd name="connsiteX0" fmla="*/ 99158 w 3185258"/>
                  <a:gd name="connsiteY0" fmla="*/ 411110 h 4053470"/>
                  <a:gd name="connsiteX1" fmla="*/ 670658 w 3185258"/>
                  <a:gd name="connsiteY1" fmla="*/ 52970 h 4053470"/>
                  <a:gd name="connsiteX2" fmla="*/ 1600298 w 3185258"/>
                  <a:gd name="connsiteY2" fmla="*/ 75830 h 4053470"/>
                  <a:gd name="connsiteX3" fmla="*/ 2263238 w 3185258"/>
                  <a:gd name="connsiteY3" fmla="*/ 746390 h 4053470"/>
                  <a:gd name="connsiteX4" fmla="*/ 2598518 w 3185258"/>
                  <a:gd name="connsiteY4" fmla="*/ 1836050 h 4053470"/>
                  <a:gd name="connsiteX5" fmla="*/ 2834738 w 3185258"/>
                  <a:gd name="connsiteY5" fmla="*/ 2506610 h 4053470"/>
                  <a:gd name="connsiteX6" fmla="*/ 3185258 w 3185258"/>
                  <a:gd name="connsiteY6" fmla="*/ 2826650 h 4053470"/>
                  <a:gd name="connsiteX7" fmla="*/ 2187038 w 3185258"/>
                  <a:gd name="connsiteY7" fmla="*/ 4053470 h 4053470"/>
                  <a:gd name="connsiteX8" fmla="*/ 1996538 w 3185258"/>
                  <a:gd name="connsiteY8" fmla="*/ 3497210 h 4053470"/>
                  <a:gd name="connsiteX9" fmla="*/ 1607918 w 3185258"/>
                  <a:gd name="connsiteY9" fmla="*/ 3862970 h 4053470"/>
                  <a:gd name="connsiteX10" fmla="*/ 1165958 w 3185258"/>
                  <a:gd name="connsiteY10" fmla="*/ 4015370 h 4053470"/>
                  <a:gd name="connsiteX11" fmla="*/ 602078 w 3185258"/>
                  <a:gd name="connsiteY11" fmla="*/ 3535310 h 4053470"/>
                  <a:gd name="connsiteX12" fmla="*/ 144878 w 3185258"/>
                  <a:gd name="connsiteY12" fmla="*/ 2407550 h 4053470"/>
                  <a:gd name="connsiteX13" fmla="*/ 68678 w 3185258"/>
                  <a:gd name="connsiteY13" fmla="*/ 1386470 h 4053470"/>
                  <a:gd name="connsiteX14" fmla="*/ 98 w 3185258"/>
                  <a:gd name="connsiteY14" fmla="*/ 616850 h 4053470"/>
                  <a:gd name="connsiteX15" fmla="*/ 99158 w 3185258"/>
                  <a:gd name="connsiteY15" fmla="*/ 411110 h 4053470"/>
                  <a:gd name="connsiteX0" fmla="*/ 99158 w 3185258"/>
                  <a:gd name="connsiteY0" fmla="*/ 411110 h 4053470"/>
                  <a:gd name="connsiteX1" fmla="*/ 670658 w 3185258"/>
                  <a:gd name="connsiteY1" fmla="*/ 52970 h 4053470"/>
                  <a:gd name="connsiteX2" fmla="*/ 1600298 w 3185258"/>
                  <a:gd name="connsiteY2" fmla="*/ 75830 h 4053470"/>
                  <a:gd name="connsiteX3" fmla="*/ 2263238 w 3185258"/>
                  <a:gd name="connsiteY3" fmla="*/ 746390 h 4053470"/>
                  <a:gd name="connsiteX4" fmla="*/ 2598518 w 3185258"/>
                  <a:gd name="connsiteY4" fmla="*/ 1836050 h 4053470"/>
                  <a:gd name="connsiteX5" fmla="*/ 2834738 w 3185258"/>
                  <a:gd name="connsiteY5" fmla="*/ 2506610 h 4053470"/>
                  <a:gd name="connsiteX6" fmla="*/ 3185258 w 3185258"/>
                  <a:gd name="connsiteY6" fmla="*/ 2826650 h 4053470"/>
                  <a:gd name="connsiteX7" fmla="*/ 2187038 w 3185258"/>
                  <a:gd name="connsiteY7" fmla="*/ 4053470 h 4053470"/>
                  <a:gd name="connsiteX8" fmla="*/ 1996538 w 3185258"/>
                  <a:gd name="connsiteY8" fmla="*/ 3497210 h 4053470"/>
                  <a:gd name="connsiteX9" fmla="*/ 1607918 w 3185258"/>
                  <a:gd name="connsiteY9" fmla="*/ 3862970 h 4053470"/>
                  <a:gd name="connsiteX10" fmla="*/ 1165958 w 3185258"/>
                  <a:gd name="connsiteY10" fmla="*/ 4015370 h 4053470"/>
                  <a:gd name="connsiteX11" fmla="*/ 602078 w 3185258"/>
                  <a:gd name="connsiteY11" fmla="*/ 3535310 h 4053470"/>
                  <a:gd name="connsiteX12" fmla="*/ 144878 w 3185258"/>
                  <a:gd name="connsiteY12" fmla="*/ 2407550 h 4053470"/>
                  <a:gd name="connsiteX13" fmla="*/ 68678 w 3185258"/>
                  <a:gd name="connsiteY13" fmla="*/ 1386470 h 4053470"/>
                  <a:gd name="connsiteX14" fmla="*/ 98 w 3185258"/>
                  <a:gd name="connsiteY14" fmla="*/ 616850 h 4053470"/>
                  <a:gd name="connsiteX15" fmla="*/ 99158 w 3185258"/>
                  <a:gd name="connsiteY15" fmla="*/ 411110 h 4053470"/>
                  <a:gd name="connsiteX0" fmla="*/ 76784 w 3193364"/>
                  <a:gd name="connsiteY0" fmla="*/ 394961 h 4052561"/>
                  <a:gd name="connsiteX1" fmla="*/ 678764 w 3193364"/>
                  <a:gd name="connsiteY1" fmla="*/ 52061 h 4052561"/>
                  <a:gd name="connsiteX2" fmla="*/ 1608404 w 3193364"/>
                  <a:gd name="connsiteY2" fmla="*/ 74921 h 4052561"/>
                  <a:gd name="connsiteX3" fmla="*/ 2271344 w 3193364"/>
                  <a:gd name="connsiteY3" fmla="*/ 745481 h 4052561"/>
                  <a:gd name="connsiteX4" fmla="*/ 2606624 w 3193364"/>
                  <a:gd name="connsiteY4" fmla="*/ 1835141 h 4052561"/>
                  <a:gd name="connsiteX5" fmla="*/ 2842844 w 3193364"/>
                  <a:gd name="connsiteY5" fmla="*/ 2505701 h 4052561"/>
                  <a:gd name="connsiteX6" fmla="*/ 3193364 w 3193364"/>
                  <a:gd name="connsiteY6" fmla="*/ 2825741 h 4052561"/>
                  <a:gd name="connsiteX7" fmla="*/ 2195144 w 3193364"/>
                  <a:gd name="connsiteY7" fmla="*/ 4052561 h 4052561"/>
                  <a:gd name="connsiteX8" fmla="*/ 2004644 w 3193364"/>
                  <a:gd name="connsiteY8" fmla="*/ 3496301 h 4052561"/>
                  <a:gd name="connsiteX9" fmla="*/ 1616024 w 3193364"/>
                  <a:gd name="connsiteY9" fmla="*/ 3862061 h 4052561"/>
                  <a:gd name="connsiteX10" fmla="*/ 1174064 w 3193364"/>
                  <a:gd name="connsiteY10" fmla="*/ 4014461 h 4052561"/>
                  <a:gd name="connsiteX11" fmla="*/ 610184 w 3193364"/>
                  <a:gd name="connsiteY11" fmla="*/ 3534401 h 4052561"/>
                  <a:gd name="connsiteX12" fmla="*/ 152984 w 3193364"/>
                  <a:gd name="connsiteY12" fmla="*/ 2406641 h 4052561"/>
                  <a:gd name="connsiteX13" fmla="*/ 76784 w 3193364"/>
                  <a:gd name="connsiteY13" fmla="*/ 1385561 h 4052561"/>
                  <a:gd name="connsiteX14" fmla="*/ 8204 w 3193364"/>
                  <a:gd name="connsiteY14" fmla="*/ 615941 h 4052561"/>
                  <a:gd name="connsiteX15" fmla="*/ 76784 w 3193364"/>
                  <a:gd name="connsiteY15" fmla="*/ 394961 h 4052561"/>
                  <a:gd name="connsiteX0" fmla="*/ 76784 w 3193364"/>
                  <a:gd name="connsiteY0" fmla="*/ 409428 h 4067028"/>
                  <a:gd name="connsiteX1" fmla="*/ 678764 w 3193364"/>
                  <a:gd name="connsiteY1" fmla="*/ 66528 h 4067028"/>
                  <a:gd name="connsiteX2" fmla="*/ 1616024 w 3193364"/>
                  <a:gd name="connsiteY2" fmla="*/ 66528 h 4067028"/>
                  <a:gd name="connsiteX3" fmla="*/ 2271344 w 3193364"/>
                  <a:gd name="connsiteY3" fmla="*/ 759948 h 4067028"/>
                  <a:gd name="connsiteX4" fmla="*/ 2606624 w 3193364"/>
                  <a:gd name="connsiteY4" fmla="*/ 1849608 h 4067028"/>
                  <a:gd name="connsiteX5" fmla="*/ 2842844 w 3193364"/>
                  <a:gd name="connsiteY5" fmla="*/ 2520168 h 4067028"/>
                  <a:gd name="connsiteX6" fmla="*/ 3193364 w 3193364"/>
                  <a:gd name="connsiteY6" fmla="*/ 2840208 h 4067028"/>
                  <a:gd name="connsiteX7" fmla="*/ 2195144 w 3193364"/>
                  <a:gd name="connsiteY7" fmla="*/ 4067028 h 4067028"/>
                  <a:gd name="connsiteX8" fmla="*/ 2004644 w 3193364"/>
                  <a:gd name="connsiteY8" fmla="*/ 3510768 h 4067028"/>
                  <a:gd name="connsiteX9" fmla="*/ 1616024 w 3193364"/>
                  <a:gd name="connsiteY9" fmla="*/ 3876528 h 4067028"/>
                  <a:gd name="connsiteX10" fmla="*/ 1174064 w 3193364"/>
                  <a:gd name="connsiteY10" fmla="*/ 4028928 h 4067028"/>
                  <a:gd name="connsiteX11" fmla="*/ 610184 w 3193364"/>
                  <a:gd name="connsiteY11" fmla="*/ 3548868 h 4067028"/>
                  <a:gd name="connsiteX12" fmla="*/ 152984 w 3193364"/>
                  <a:gd name="connsiteY12" fmla="*/ 2421108 h 4067028"/>
                  <a:gd name="connsiteX13" fmla="*/ 76784 w 3193364"/>
                  <a:gd name="connsiteY13" fmla="*/ 1400028 h 4067028"/>
                  <a:gd name="connsiteX14" fmla="*/ 8204 w 3193364"/>
                  <a:gd name="connsiteY14" fmla="*/ 630408 h 4067028"/>
                  <a:gd name="connsiteX15" fmla="*/ 76784 w 3193364"/>
                  <a:gd name="connsiteY15" fmla="*/ 409428 h 4067028"/>
                  <a:gd name="connsiteX0" fmla="*/ 76784 w 3193364"/>
                  <a:gd name="connsiteY0" fmla="*/ 409428 h 4067028"/>
                  <a:gd name="connsiteX1" fmla="*/ 678764 w 3193364"/>
                  <a:gd name="connsiteY1" fmla="*/ 66528 h 4067028"/>
                  <a:gd name="connsiteX2" fmla="*/ 1616024 w 3193364"/>
                  <a:gd name="connsiteY2" fmla="*/ 66528 h 4067028"/>
                  <a:gd name="connsiteX3" fmla="*/ 2271344 w 3193364"/>
                  <a:gd name="connsiteY3" fmla="*/ 759948 h 4067028"/>
                  <a:gd name="connsiteX4" fmla="*/ 2606624 w 3193364"/>
                  <a:gd name="connsiteY4" fmla="*/ 1849608 h 4067028"/>
                  <a:gd name="connsiteX5" fmla="*/ 2842844 w 3193364"/>
                  <a:gd name="connsiteY5" fmla="*/ 2520168 h 4067028"/>
                  <a:gd name="connsiteX6" fmla="*/ 3193364 w 3193364"/>
                  <a:gd name="connsiteY6" fmla="*/ 2840208 h 4067028"/>
                  <a:gd name="connsiteX7" fmla="*/ 2195144 w 3193364"/>
                  <a:gd name="connsiteY7" fmla="*/ 4067028 h 4067028"/>
                  <a:gd name="connsiteX8" fmla="*/ 2004644 w 3193364"/>
                  <a:gd name="connsiteY8" fmla="*/ 3510768 h 4067028"/>
                  <a:gd name="connsiteX9" fmla="*/ 1616024 w 3193364"/>
                  <a:gd name="connsiteY9" fmla="*/ 3876528 h 4067028"/>
                  <a:gd name="connsiteX10" fmla="*/ 1174064 w 3193364"/>
                  <a:gd name="connsiteY10" fmla="*/ 4028928 h 4067028"/>
                  <a:gd name="connsiteX11" fmla="*/ 610184 w 3193364"/>
                  <a:gd name="connsiteY11" fmla="*/ 3548868 h 4067028"/>
                  <a:gd name="connsiteX12" fmla="*/ 152984 w 3193364"/>
                  <a:gd name="connsiteY12" fmla="*/ 2421108 h 4067028"/>
                  <a:gd name="connsiteX13" fmla="*/ 76784 w 3193364"/>
                  <a:gd name="connsiteY13" fmla="*/ 1400028 h 4067028"/>
                  <a:gd name="connsiteX14" fmla="*/ 8204 w 3193364"/>
                  <a:gd name="connsiteY14" fmla="*/ 630408 h 4067028"/>
                  <a:gd name="connsiteX15" fmla="*/ 76784 w 3193364"/>
                  <a:gd name="connsiteY15" fmla="*/ 409428 h 4067028"/>
                  <a:gd name="connsiteX0" fmla="*/ 76784 w 3193364"/>
                  <a:gd name="connsiteY0" fmla="*/ 386313 h 4043913"/>
                  <a:gd name="connsiteX1" fmla="*/ 678764 w 3193364"/>
                  <a:gd name="connsiteY1" fmla="*/ 43413 h 4043913"/>
                  <a:gd name="connsiteX2" fmla="*/ 1600784 w 3193364"/>
                  <a:gd name="connsiteY2" fmla="*/ 81513 h 4043913"/>
                  <a:gd name="connsiteX3" fmla="*/ 2271344 w 3193364"/>
                  <a:gd name="connsiteY3" fmla="*/ 736833 h 4043913"/>
                  <a:gd name="connsiteX4" fmla="*/ 2606624 w 3193364"/>
                  <a:gd name="connsiteY4" fmla="*/ 1826493 h 4043913"/>
                  <a:gd name="connsiteX5" fmla="*/ 2842844 w 3193364"/>
                  <a:gd name="connsiteY5" fmla="*/ 2497053 h 4043913"/>
                  <a:gd name="connsiteX6" fmla="*/ 3193364 w 3193364"/>
                  <a:gd name="connsiteY6" fmla="*/ 2817093 h 4043913"/>
                  <a:gd name="connsiteX7" fmla="*/ 2195144 w 3193364"/>
                  <a:gd name="connsiteY7" fmla="*/ 4043913 h 4043913"/>
                  <a:gd name="connsiteX8" fmla="*/ 2004644 w 3193364"/>
                  <a:gd name="connsiteY8" fmla="*/ 3487653 h 4043913"/>
                  <a:gd name="connsiteX9" fmla="*/ 1616024 w 3193364"/>
                  <a:gd name="connsiteY9" fmla="*/ 3853413 h 4043913"/>
                  <a:gd name="connsiteX10" fmla="*/ 1174064 w 3193364"/>
                  <a:gd name="connsiteY10" fmla="*/ 4005813 h 4043913"/>
                  <a:gd name="connsiteX11" fmla="*/ 610184 w 3193364"/>
                  <a:gd name="connsiteY11" fmla="*/ 3525753 h 4043913"/>
                  <a:gd name="connsiteX12" fmla="*/ 152984 w 3193364"/>
                  <a:gd name="connsiteY12" fmla="*/ 2397993 h 4043913"/>
                  <a:gd name="connsiteX13" fmla="*/ 76784 w 3193364"/>
                  <a:gd name="connsiteY13" fmla="*/ 1376913 h 4043913"/>
                  <a:gd name="connsiteX14" fmla="*/ 8204 w 3193364"/>
                  <a:gd name="connsiteY14" fmla="*/ 607293 h 4043913"/>
                  <a:gd name="connsiteX15" fmla="*/ 76784 w 3193364"/>
                  <a:gd name="connsiteY15" fmla="*/ 386313 h 4043913"/>
                  <a:gd name="connsiteX0" fmla="*/ 76784 w 3193364"/>
                  <a:gd name="connsiteY0" fmla="*/ 403887 h 4061487"/>
                  <a:gd name="connsiteX1" fmla="*/ 678764 w 3193364"/>
                  <a:gd name="connsiteY1" fmla="*/ 60987 h 4061487"/>
                  <a:gd name="connsiteX2" fmla="*/ 1600784 w 3193364"/>
                  <a:gd name="connsiteY2" fmla="*/ 99087 h 4061487"/>
                  <a:gd name="connsiteX3" fmla="*/ 2271344 w 3193364"/>
                  <a:gd name="connsiteY3" fmla="*/ 754407 h 4061487"/>
                  <a:gd name="connsiteX4" fmla="*/ 2606624 w 3193364"/>
                  <a:gd name="connsiteY4" fmla="*/ 1844067 h 4061487"/>
                  <a:gd name="connsiteX5" fmla="*/ 2842844 w 3193364"/>
                  <a:gd name="connsiteY5" fmla="*/ 2514627 h 4061487"/>
                  <a:gd name="connsiteX6" fmla="*/ 3193364 w 3193364"/>
                  <a:gd name="connsiteY6" fmla="*/ 2834667 h 4061487"/>
                  <a:gd name="connsiteX7" fmla="*/ 2195144 w 3193364"/>
                  <a:gd name="connsiteY7" fmla="*/ 4061487 h 4061487"/>
                  <a:gd name="connsiteX8" fmla="*/ 2004644 w 3193364"/>
                  <a:gd name="connsiteY8" fmla="*/ 3505227 h 4061487"/>
                  <a:gd name="connsiteX9" fmla="*/ 1616024 w 3193364"/>
                  <a:gd name="connsiteY9" fmla="*/ 3870987 h 4061487"/>
                  <a:gd name="connsiteX10" fmla="*/ 1174064 w 3193364"/>
                  <a:gd name="connsiteY10" fmla="*/ 4023387 h 4061487"/>
                  <a:gd name="connsiteX11" fmla="*/ 610184 w 3193364"/>
                  <a:gd name="connsiteY11" fmla="*/ 3543327 h 4061487"/>
                  <a:gd name="connsiteX12" fmla="*/ 152984 w 3193364"/>
                  <a:gd name="connsiteY12" fmla="*/ 2415567 h 4061487"/>
                  <a:gd name="connsiteX13" fmla="*/ 76784 w 3193364"/>
                  <a:gd name="connsiteY13" fmla="*/ 1394487 h 4061487"/>
                  <a:gd name="connsiteX14" fmla="*/ 8204 w 3193364"/>
                  <a:gd name="connsiteY14" fmla="*/ 624867 h 4061487"/>
                  <a:gd name="connsiteX15" fmla="*/ 76784 w 3193364"/>
                  <a:gd name="connsiteY15" fmla="*/ 403887 h 4061487"/>
                  <a:gd name="connsiteX0" fmla="*/ 76784 w 3193364"/>
                  <a:gd name="connsiteY0" fmla="*/ 412008 h 4069608"/>
                  <a:gd name="connsiteX1" fmla="*/ 678764 w 3193364"/>
                  <a:gd name="connsiteY1" fmla="*/ 69108 h 4069608"/>
                  <a:gd name="connsiteX2" fmla="*/ 1600784 w 3193364"/>
                  <a:gd name="connsiteY2" fmla="*/ 107208 h 4069608"/>
                  <a:gd name="connsiteX3" fmla="*/ 2271344 w 3193364"/>
                  <a:gd name="connsiteY3" fmla="*/ 762528 h 4069608"/>
                  <a:gd name="connsiteX4" fmla="*/ 2606624 w 3193364"/>
                  <a:gd name="connsiteY4" fmla="*/ 1852188 h 4069608"/>
                  <a:gd name="connsiteX5" fmla="*/ 2842844 w 3193364"/>
                  <a:gd name="connsiteY5" fmla="*/ 2522748 h 4069608"/>
                  <a:gd name="connsiteX6" fmla="*/ 3193364 w 3193364"/>
                  <a:gd name="connsiteY6" fmla="*/ 2842788 h 4069608"/>
                  <a:gd name="connsiteX7" fmla="*/ 2195144 w 3193364"/>
                  <a:gd name="connsiteY7" fmla="*/ 4069608 h 4069608"/>
                  <a:gd name="connsiteX8" fmla="*/ 2004644 w 3193364"/>
                  <a:gd name="connsiteY8" fmla="*/ 3513348 h 4069608"/>
                  <a:gd name="connsiteX9" fmla="*/ 1616024 w 3193364"/>
                  <a:gd name="connsiteY9" fmla="*/ 3879108 h 4069608"/>
                  <a:gd name="connsiteX10" fmla="*/ 1174064 w 3193364"/>
                  <a:gd name="connsiteY10" fmla="*/ 4031508 h 4069608"/>
                  <a:gd name="connsiteX11" fmla="*/ 610184 w 3193364"/>
                  <a:gd name="connsiteY11" fmla="*/ 3551448 h 4069608"/>
                  <a:gd name="connsiteX12" fmla="*/ 152984 w 3193364"/>
                  <a:gd name="connsiteY12" fmla="*/ 2423688 h 4069608"/>
                  <a:gd name="connsiteX13" fmla="*/ 76784 w 3193364"/>
                  <a:gd name="connsiteY13" fmla="*/ 1402608 h 4069608"/>
                  <a:gd name="connsiteX14" fmla="*/ 8204 w 3193364"/>
                  <a:gd name="connsiteY14" fmla="*/ 632988 h 4069608"/>
                  <a:gd name="connsiteX15" fmla="*/ 76784 w 3193364"/>
                  <a:gd name="connsiteY15" fmla="*/ 412008 h 4069608"/>
                  <a:gd name="connsiteX0" fmla="*/ 76784 w 3193364"/>
                  <a:gd name="connsiteY0" fmla="*/ 412008 h 4069608"/>
                  <a:gd name="connsiteX1" fmla="*/ 678764 w 3193364"/>
                  <a:gd name="connsiteY1" fmla="*/ 69108 h 4069608"/>
                  <a:gd name="connsiteX2" fmla="*/ 1600784 w 3193364"/>
                  <a:gd name="connsiteY2" fmla="*/ 107208 h 4069608"/>
                  <a:gd name="connsiteX3" fmla="*/ 2271344 w 3193364"/>
                  <a:gd name="connsiteY3" fmla="*/ 762528 h 4069608"/>
                  <a:gd name="connsiteX4" fmla="*/ 2606624 w 3193364"/>
                  <a:gd name="connsiteY4" fmla="*/ 1852188 h 4069608"/>
                  <a:gd name="connsiteX5" fmla="*/ 2842844 w 3193364"/>
                  <a:gd name="connsiteY5" fmla="*/ 2522748 h 4069608"/>
                  <a:gd name="connsiteX6" fmla="*/ 3193364 w 3193364"/>
                  <a:gd name="connsiteY6" fmla="*/ 2842788 h 4069608"/>
                  <a:gd name="connsiteX7" fmla="*/ 2195144 w 3193364"/>
                  <a:gd name="connsiteY7" fmla="*/ 4069608 h 4069608"/>
                  <a:gd name="connsiteX8" fmla="*/ 2004644 w 3193364"/>
                  <a:gd name="connsiteY8" fmla="*/ 3513348 h 4069608"/>
                  <a:gd name="connsiteX9" fmla="*/ 1631264 w 3193364"/>
                  <a:gd name="connsiteY9" fmla="*/ 3901968 h 4069608"/>
                  <a:gd name="connsiteX10" fmla="*/ 1174064 w 3193364"/>
                  <a:gd name="connsiteY10" fmla="*/ 4031508 h 4069608"/>
                  <a:gd name="connsiteX11" fmla="*/ 610184 w 3193364"/>
                  <a:gd name="connsiteY11" fmla="*/ 3551448 h 4069608"/>
                  <a:gd name="connsiteX12" fmla="*/ 152984 w 3193364"/>
                  <a:gd name="connsiteY12" fmla="*/ 2423688 h 4069608"/>
                  <a:gd name="connsiteX13" fmla="*/ 76784 w 3193364"/>
                  <a:gd name="connsiteY13" fmla="*/ 1402608 h 4069608"/>
                  <a:gd name="connsiteX14" fmla="*/ 8204 w 3193364"/>
                  <a:gd name="connsiteY14" fmla="*/ 632988 h 4069608"/>
                  <a:gd name="connsiteX15" fmla="*/ 76784 w 3193364"/>
                  <a:gd name="connsiteY15" fmla="*/ 412008 h 4069608"/>
                  <a:gd name="connsiteX0" fmla="*/ 2195144 w 3193364"/>
                  <a:gd name="connsiteY0" fmla="*/ 4069608 h 4161048"/>
                  <a:gd name="connsiteX1" fmla="*/ 2004644 w 3193364"/>
                  <a:gd name="connsiteY1" fmla="*/ 3513348 h 4161048"/>
                  <a:gd name="connsiteX2" fmla="*/ 1631264 w 3193364"/>
                  <a:gd name="connsiteY2" fmla="*/ 3901968 h 4161048"/>
                  <a:gd name="connsiteX3" fmla="*/ 1174064 w 3193364"/>
                  <a:gd name="connsiteY3" fmla="*/ 4031508 h 4161048"/>
                  <a:gd name="connsiteX4" fmla="*/ 610184 w 3193364"/>
                  <a:gd name="connsiteY4" fmla="*/ 3551448 h 4161048"/>
                  <a:gd name="connsiteX5" fmla="*/ 152984 w 3193364"/>
                  <a:gd name="connsiteY5" fmla="*/ 2423688 h 4161048"/>
                  <a:gd name="connsiteX6" fmla="*/ 76784 w 3193364"/>
                  <a:gd name="connsiteY6" fmla="*/ 1402608 h 4161048"/>
                  <a:gd name="connsiteX7" fmla="*/ 8204 w 3193364"/>
                  <a:gd name="connsiteY7" fmla="*/ 632988 h 4161048"/>
                  <a:gd name="connsiteX8" fmla="*/ 76784 w 3193364"/>
                  <a:gd name="connsiteY8" fmla="*/ 412008 h 4161048"/>
                  <a:gd name="connsiteX9" fmla="*/ 678764 w 3193364"/>
                  <a:gd name="connsiteY9" fmla="*/ 69108 h 4161048"/>
                  <a:gd name="connsiteX10" fmla="*/ 1600784 w 3193364"/>
                  <a:gd name="connsiteY10" fmla="*/ 107208 h 4161048"/>
                  <a:gd name="connsiteX11" fmla="*/ 2271344 w 3193364"/>
                  <a:gd name="connsiteY11" fmla="*/ 762528 h 4161048"/>
                  <a:gd name="connsiteX12" fmla="*/ 2606624 w 3193364"/>
                  <a:gd name="connsiteY12" fmla="*/ 1852188 h 4161048"/>
                  <a:gd name="connsiteX13" fmla="*/ 2842844 w 3193364"/>
                  <a:gd name="connsiteY13" fmla="*/ 2522748 h 4161048"/>
                  <a:gd name="connsiteX14" fmla="*/ 3193364 w 3193364"/>
                  <a:gd name="connsiteY14" fmla="*/ 2842788 h 4161048"/>
                  <a:gd name="connsiteX15" fmla="*/ 2286584 w 3193364"/>
                  <a:gd name="connsiteY15" fmla="*/ 4161048 h 4161048"/>
                  <a:gd name="connsiteX0" fmla="*/ 2195144 w 3193364"/>
                  <a:gd name="connsiteY0" fmla="*/ 4069608 h 4069608"/>
                  <a:gd name="connsiteX1" fmla="*/ 2004644 w 3193364"/>
                  <a:gd name="connsiteY1" fmla="*/ 3513348 h 4069608"/>
                  <a:gd name="connsiteX2" fmla="*/ 1631264 w 3193364"/>
                  <a:gd name="connsiteY2" fmla="*/ 3901968 h 4069608"/>
                  <a:gd name="connsiteX3" fmla="*/ 1174064 w 3193364"/>
                  <a:gd name="connsiteY3" fmla="*/ 4031508 h 4069608"/>
                  <a:gd name="connsiteX4" fmla="*/ 610184 w 3193364"/>
                  <a:gd name="connsiteY4" fmla="*/ 3551448 h 4069608"/>
                  <a:gd name="connsiteX5" fmla="*/ 152984 w 3193364"/>
                  <a:gd name="connsiteY5" fmla="*/ 2423688 h 4069608"/>
                  <a:gd name="connsiteX6" fmla="*/ 76784 w 3193364"/>
                  <a:gd name="connsiteY6" fmla="*/ 1402608 h 4069608"/>
                  <a:gd name="connsiteX7" fmla="*/ 8204 w 3193364"/>
                  <a:gd name="connsiteY7" fmla="*/ 632988 h 4069608"/>
                  <a:gd name="connsiteX8" fmla="*/ 76784 w 3193364"/>
                  <a:gd name="connsiteY8" fmla="*/ 412008 h 4069608"/>
                  <a:gd name="connsiteX9" fmla="*/ 678764 w 3193364"/>
                  <a:gd name="connsiteY9" fmla="*/ 69108 h 4069608"/>
                  <a:gd name="connsiteX10" fmla="*/ 1600784 w 3193364"/>
                  <a:gd name="connsiteY10" fmla="*/ 107208 h 4069608"/>
                  <a:gd name="connsiteX11" fmla="*/ 2271344 w 3193364"/>
                  <a:gd name="connsiteY11" fmla="*/ 762528 h 4069608"/>
                  <a:gd name="connsiteX12" fmla="*/ 2606624 w 3193364"/>
                  <a:gd name="connsiteY12" fmla="*/ 1852188 h 4069608"/>
                  <a:gd name="connsiteX13" fmla="*/ 2842844 w 3193364"/>
                  <a:gd name="connsiteY13" fmla="*/ 2522748 h 4069608"/>
                  <a:gd name="connsiteX14" fmla="*/ 3193364 w 3193364"/>
                  <a:gd name="connsiteY14" fmla="*/ 2842788 h 4069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193364" h="4069608">
                    <a:moveTo>
                      <a:pt x="2195144" y="4069608"/>
                    </a:moveTo>
                    <a:cubicBezTo>
                      <a:pt x="2183714" y="3802908"/>
                      <a:pt x="2092274" y="3651778"/>
                      <a:pt x="2004644" y="3513348"/>
                    </a:cubicBezTo>
                    <a:cubicBezTo>
                      <a:pt x="1863674" y="3740678"/>
                      <a:pt x="1769694" y="3815608"/>
                      <a:pt x="1631264" y="3901968"/>
                    </a:cubicBezTo>
                    <a:cubicBezTo>
                      <a:pt x="1492834" y="3988328"/>
                      <a:pt x="1344244" y="4089928"/>
                      <a:pt x="1174064" y="4031508"/>
                    </a:cubicBezTo>
                    <a:cubicBezTo>
                      <a:pt x="1003884" y="3973088"/>
                      <a:pt x="780364" y="3819418"/>
                      <a:pt x="610184" y="3551448"/>
                    </a:cubicBezTo>
                    <a:cubicBezTo>
                      <a:pt x="440004" y="3283478"/>
                      <a:pt x="241884" y="2781828"/>
                      <a:pt x="152984" y="2423688"/>
                    </a:cubicBezTo>
                    <a:cubicBezTo>
                      <a:pt x="64084" y="2065548"/>
                      <a:pt x="100914" y="1701058"/>
                      <a:pt x="76784" y="1402608"/>
                    </a:cubicBezTo>
                    <a:cubicBezTo>
                      <a:pt x="52654" y="1104158"/>
                      <a:pt x="8204" y="798088"/>
                      <a:pt x="8204" y="632988"/>
                    </a:cubicBezTo>
                    <a:cubicBezTo>
                      <a:pt x="8204" y="467888"/>
                      <a:pt x="-34976" y="505988"/>
                      <a:pt x="76784" y="412008"/>
                    </a:cubicBezTo>
                    <a:cubicBezTo>
                      <a:pt x="188544" y="318028"/>
                      <a:pt x="371424" y="142768"/>
                      <a:pt x="678764" y="69108"/>
                    </a:cubicBezTo>
                    <a:cubicBezTo>
                      <a:pt x="986104" y="-4552"/>
                      <a:pt x="1228674" y="-54082"/>
                      <a:pt x="1600784" y="107208"/>
                    </a:cubicBezTo>
                    <a:cubicBezTo>
                      <a:pt x="1972894" y="268498"/>
                      <a:pt x="2103704" y="471698"/>
                      <a:pt x="2271344" y="762528"/>
                    </a:cubicBezTo>
                    <a:cubicBezTo>
                      <a:pt x="2438984" y="1053358"/>
                      <a:pt x="2511374" y="1558818"/>
                      <a:pt x="2606624" y="1852188"/>
                    </a:cubicBezTo>
                    <a:cubicBezTo>
                      <a:pt x="2701874" y="2145558"/>
                      <a:pt x="2745054" y="2357648"/>
                      <a:pt x="2842844" y="2522748"/>
                    </a:cubicBezTo>
                    <a:cubicBezTo>
                      <a:pt x="2940634" y="2687848"/>
                      <a:pt x="2944444" y="2684038"/>
                      <a:pt x="3193364" y="2842788"/>
                    </a:cubicBezTo>
                  </a:path>
                </a:pathLst>
              </a:custGeom>
              <a:solidFill>
                <a:schemeClr val="bg1"/>
              </a:solidFill>
              <a:ln w="952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spcBef>
                    <a:spcPts val="392"/>
                  </a:spcBef>
                  <a:spcAft>
                    <a:spcPct val="0"/>
                  </a:spcAft>
                </a:pPr>
                <a:endParaRPr lang="en-IN" sz="1372" dirty="0">
                  <a:solidFill>
                    <a:srgbClr val="505050"/>
                  </a:solidFill>
                  <a:ea typeface="Segoe UI" pitchFamily="34" charset="0"/>
                  <a:cs typeface="Segoe UI" pitchFamily="34" charset="0"/>
                </a:endParaRPr>
              </a:p>
            </p:txBody>
          </p:sp>
          <p:sp>
            <p:nvSpPr>
              <p:cNvPr id="189" name="Freeform 188"/>
              <p:cNvSpPr/>
              <p:nvPr/>
            </p:nvSpPr>
            <p:spPr bwMode="auto">
              <a:xfrm>
                <a:off x="-4916957" y="1104922"/>
                <a:ext cx="2146010" cy="3713362"/>
              </a:xfrm>
              <a:custGeom>
                <a:avLst/>
                <a:gdLst>
                  <a:gd name="connsiteX0" fmla="*/ 351283 w 2186959"/>
                  <a:gd name="connsiteY0" fmla="*/ 3750985 h 3909091"/>
                  <a:gd name="connsiteX1" fmla="*/ 526543 w 2186959"/>
                  <a:gd name="connsiteY1" fmla="*/ 2684185 h 3909091"/>
                  <a:gd name="connsiteX2" fmla="*/ 84583 w 2186959"/>
                  <a:gd name="connsiteY2" fmla="*/ 1457365 h 3909091"/>
                  <a:gd name="connsiteX3" fmla="*/ 763 w 2186959"/>
                  <a:gd name="connsiteY3" fmla="*/ 718225 h 3909091"/>
                  <a:gd name="connsiteX4" fmla="*/ 99823 w 2186959"/>
                  <a:gd name="connsiteY4" fmla="*/ 619165 h 3909091"/>
                  <a:gd name="connsiteX5" fmla="*/ 191263 w 2186959"/>
                  <a:gd name="connsiteY5" fmla="*/ 695365 h 3909091"/>
                  <a:gd name="connsiteX6" fmla="*/ 366523 w 2186959"/>
                  <a:gd name="connsiteY6" fmla="*/ 1579285 h 3909091"/>
                  <a:gd name="connsiteX7" fmla="*/ 168403 w 2186959"/>
                  <a:gd name="connsiteY7" fmla="*/ 428665 h 3909091"/>
                  <a:gd name="connsiteX8" fmla="*/ 183643 w 2186959"/>
                  <a:gd name="connsiteY8" fmla="*/ 200065 h 3909091"/>
                  <a:gd name="connsiteX9" fmla="*/ 397003 w 2186959"/>
                  <a:gd name="connsiteY9" fmla="*/ 314365 h 3909091"/>
                  <a:gd name="connsiteX10" fmla="*/ 465583 w 2186959"/>
                  <a:gd name="connsiteY10" fmla="*/ 1106845 h 3909091"/>
                  <a:gd name="connsiteX11" fmla="*/ 633223 w 2186959"/>
                  <a:gd name="connsiteY11" fmla="*/ 1556425 h 3909091"/>
                  <a:gd name="connsiteX12" fmla="*/ 488443 w 2186959"/>
                  <a:gd name="connsiteY12" fmla="*/ 1000165 h 3909091"/>
                  <a:gd name="connsiteX13" fmla="*/ 427483 w 2186959"/>
                  <a:gd name="connsiteY13" fmla="*/ 192445 h 3909091"/>
                  <a:gd name="connsiteX14" fmla="*/ 442723 w 2186959"/>
                  <a:gd name="connsiteY14" fmla="*/ 47665 h 3909091"/>
                  <a:gd name="connsiteX15" fmla="*/ 602743 w 2186959"/>
                  <a:gd name="connsiteY15" fmla="*/ 47665 h 3909091"/>
                  <a:gd name="connsiteX16" fmla="*/ 694183 w 2186959"/>
                  <a:gd name="connsiteY16" fmla="*/ 611545 h 3909091"/>
                  <a:gd name="connsiteX17" fmla="*/ 793243 w 2186959"/>
                  <a:gd name="connsiteY17" fmla="*/ 885865 h 3909091"/>
                  <a:gd name="connsiteX18" fmla="*/ 907543 w 2186959"/>
                  <a:gd name="connsiteY18" fmla="*/ 1541185 h 3909091"/>
                  <a:gd name="connsiteX19" fmla="*/ 808483 w 2186959"/>
                  <a:gd name="connsiteY19" fmla="*/ 634405 h 3909091"/>
                  <a:gd name="connsiteX20" fmla="*/ 816103 w 2186959"/>
                  <a:gd name="connsiteY20" fmla="*/ 184825 h 3909091"/>
                  <a:gd name="connsiteX21" fmla="*/ 953263 w 2186959"/>
                  <a:gd name="connsiteY21" fmla="*/ 123865 h 3909091"/>
                  <a:gd name="connsiteX22" fmla="*/ 1037083 w 2186959"/>
                  <a:gd name="connsiteY22" fmla="*/ 222925 h 3909091"/>
                  <a:gd name="connsiteX23" fmla="*/ 1098043 w 2186959"/>
                  <a:gd name="connsiteY23" fmla="*/ 1091605 h 3909091"/>
                  <a:gd name="connsiteX24" fmla="*/ 1532383 w 2186959"/>
                  <a:gd name="connsiteY24" fmla="*/ 1990765 h 3909091"/>
                  <a:gd name="connsiteX25" fmla="*/ 1677163 w 2186959"/>
                  <a:gd name="connsiteY25" fmla="*/ 2066965 h 3909091"/>
                  <a:gd name="connsiteX26" fmla="*/ 1905763 w 2186959"/>
                  <a:gd name="connsiteY26" fmla="*/ 1510705 h 3909091"/>
                  <a:gd name="connsiteX27" fmla="*/ 1989583 w 2186959"/>
                  <a:gd name="connsiteY27" fmla="*/ 1335445 h 3909091"/>
                  <a:gd name="connsiteX28" fmla="*/ 2172463 w 2186959"/>
                  <a:gd name="connsiteY28" fmla="*/ 1426885 h 3909091"/>
                  <a:gd name="connsiteX29" fmla="*/ 2157223 w 2186959"/>
                  <a:gd name="connsiteY29" fmla="*/ 1632625 h 3909091"/>
                  <a:gd name="connsiteX30" fmla="*/ 2012443 w 2186959"/>
                  <a:gd name="connsiteY30" fmla="*/ 2265085 h 3909091"/>
                  <a:gd name="connsiteX31" fmla="*/ 1631443 w 2186959"/>
                  <a:gd name="connsiteY31" fmla="*/ 2707045 h 3909091"/>
                  <a:gd name="connsiteX32" fmla="*/ 1402843 w 2186959"/>
                  <a:gd name="connsiteY32" fmla="*/ 3232825 h 3909091"/>
                  <a:gd name="connsiteX33" fmla="*/ 1357123 w 2186959"/>
                  <a:gd name="connsiteY33" fmla="*/ 3850045 h 3909091"/>
                  <a:gd name="connsiteX34" fmla="*/ 351283 w 2186959"/>
                  <a:gd name="connsiteY34" fmla="*/ 3750985 h 3909091"/>
                  <a:gd name="connsiteX0" fmla="*/ 351283 w 2186959"/>
                  <a:gd name="connsiteY0" fmla="*/ 3750985 h 3909091"/>
                  <a:gd name="connsiteX1" fmla="*/ 526543 w 2186959"/>
                  <a:gd name="connsiteY1" fmla="*/ 2684185 h 3909091"/>
                  <a:gd name="connsiteX2" fmla="*/ 84583 w 2186959"/>
                  <a:gd name="connsiteY2" fmla="*/ 1457365 h 3909091"/>
                  <a:gd name="connsiteX3" fmla="*/ 763 w 2186959"/>
                  <a:gd name="connsiteY3" fmla="*/ 718225 h 3909091"/>
                  <a:gd name="connsiteX4" fmla="*/ 99823 w 2186959"/>
                  <a:gd name="connsiteY4" fmla="*/ 619165 h 3909091"/>
                  <a:gd name="connsiteX5" fmla="*/ 191263 w 2186959"/>
                  <a:gd name="connsiteY5" fmla="*/ 695365 h 3909091"/>
                  <a:gd name="connsiteX6" fmla="*/ 366523 w 2186959"/>
                  <a:gd name="connsiteY6" fmla="*/ 1579285 h 3909091"/>
                  <a:gd name="connsiteX7" fmla="*/ 168403 w 2186959"/>
                  <a:gd name="connsiteY7" fmla="*/ 428665 h 3909091"/>
                  <a:gd name="connsiteX8" fmla="*/ 183643 w 2186959"/>
                  <a:gd name="connsiteY8" fmla="*/ 200065 h 3909091"/>
                  <a:gd name="connsiteX9" fmla="*/ 397003 w 2186959"/>
                  <a:gd name="connsiteY9" fmla="*/ 314365 h 3909091"/>
                  <a:gd name="connsiteX10" fmla="*/ 479871 w 2186959"/>
                  <a:gd name="connsiteY10" fmla="*/ 1106845 h 3909091"/>
                  <a:gd name="connsiteX11" fmla="*/ 633223 w 2186959"/>
                  <a:gd name="connsiteY11" fmla="*/ 1556425 h 3909091"/>
                  <a:gd name="connsiteX12" fmla="*/ 488443 w 2186959"/>
                  <a:gd name="connsiteY12" fmla="*/ 1000165 h 3909091"/>
                  <a:gd name="connsiteX13" fmla="*/ 427483 w 2186959"/>
                  <a:gd name="connsiteY13" fmla="*/ 192445 h 3909091"/>
                  <a:gd name="connsiteX14" fmla="*/ 442723 w 2186959"/>
                  <a:gd name="connsiteY14" fmla="*/ 47665 h 3909091"/>
                  <a:gd name="connsiteX15" fmla="*/ 602743 w 2186959"/>
                  <a:gd name="connsiteY15" fmla="*/ 47665 h 3909091"/>
                  <a:gd name="connsiteX16" fmla="*/ 694183 w 2186959"/>
                  <a:gd name="connsiteY16" fmla="*/ 611545 h 3909091"/>
                  <a:gd name="connsiteX17" fmla="*/ 793243 w 2186959"/>
                  <a:gd name="connsiteY17" fmla="*/ 885865 h 3909091"/>
                  <a:gd name="connsiteX18" fmla="*/ 907543 w 2186959"/>
                  <a:gd name="connsiteY18" fmla="*/ 1541185 h 3909091"/>
                  <a:gd name="connsiteX19" fmla="*/ 808483 w 2186959"/>
                  <a:gd name="connsiteY19" fmla="*/ 634405 h 3909091"/>
                  <a:gd name="connsiteX20" fmla="*/ 816103 w 2186959"/>
                  <a:gd name="connsiteY20" fmla="*/ 184825 h 3909091"/>
                  <a:gd name="connsiteX21" fmla="*/ 953263 w 2186959"/>
                  <a:gd name="connsiteY21" fmla="*/ 123865 h 3909091"/>
                  <a:gd name="connsiteX22" fmla="*/ 1037083 w 2186959"/>
                  <a:gd name="connsiteY22" fmla="*/ 222925 h 3909091"/>
                  <a:gd name="connsiteX23" fmla="*/ 1098043 w 2186959"/>
                  <a:gd name="connsiteY23" fmla="*/ 1091605 h 3909091"/>
                  <a:gd name="connsiteX24" fmla="*/ 1532383 w 2186959"/>
                  <a:gd name="connsiteY24" fmla="*/ 1990765 h 3909091"/>
                  <a:gd name="connsiteX25" fmla="*/ 1677163 w 2186959"/>
                  <a:gd name="connsiteY25" fmla="*/ 2066965 h 3909091"/>
                  <a:gd name="connsiteX26" fmla="*/ 1905763 w 2186959"/>
                  <a:gd name="connsiteY26" fmla="*/ 1510705 h 3909091"/>
                  <a:gd name="connsiteX27" fmla="*/ 1989583 w 2186959"/>
                  <a:gd name="connsiteY27" fmla="*/ 1335445 h 3909091"/>
                  <a:gd name="connsiteX28" fmla="*/ 2172463 w 2186959"/>
                  <a:gd name="connsiteY28" fmla="*/ 1426885 h 3909091"/>
                  <a:gd name="connsiteX29" fmla="*/ 2157223 w 2186959"/>
                  <a:gd name="connsiteY29" fmla="*/ 1632625 h 3909091"/>
                  <a:gd name="connsiteX30" fmla="*/ 2012443 w 2186959"/>
                  <a:gd name="connsiteY30" fmla="*/ 2265085 h 3909091"/>
                  <a:gd name="connsiteX31" fmla="*/ 1631443 w 2186959"/>
                  <a:gd name="connsiteY31" fmla="*/ 2707045 h 3909091"/>
                  <a:gd name="connsiteX32" fmla="*/ 1402843 w 2186959"/>
                  <a:gd name="connsiteY32" fmla="*/ 3232825 h 3909091"/>
                  <a:gd name="connsiteX33" fmla="*/ 1357123 w 2186959"/>
                  <a:gd name="connsiteY33" fmla="*/ 3850045 h 3909091"/>
                  <a:gd name="connsiteX34" fmla="*/ 351283 w 2186959"/>
                  <a:gd name="connsiteY34" fmla="*/ 3750985 h 3909091"/>
                  <a:gd name="connsiteX0" fmla="*/ 351283 w 2186959"/>
                  <a:gd name="connsiteY0" fmla="*/ 3726180 h 3884286"/>
                  <a:gd name="connsiteX1" fmla="*/ 526543 w 2186959"/>
                  <a:gd name="connsiteY1" fmla="*/ 2659380 h 3884286"/>
                  <a:gd name="connsiteX2" fmla="*/ 84583 w 2186959"/>
                  <a:gd name="connsiteY2" fmla="*/ 1432560 h 3884286"/>
                  <a:gd name="connsiteX3" fmla="*/ 763 w 2186959"/>
                  <a:gd name="connsiteY3" fmla="*/ 693420 h 3884286"/>
                  <a:gd name="connsiteX4" fmla="*/ 99823 w 2186959"/>
                  <a:gd name="connsiteY4" fmla="*/ 594360 h 3884286"/>
                  <a:gd name="connsiteX5" fmla="*/ 191263 w 2186959"/>
                  <a:gd name="connsiteY5" fmla="*/ 670560 h 3884286"/>
                  <a:gd name="connsiteX6" fmla="*/ 366523 w 2186959"/>
                  <a:gd name="connsiteY6" fmla="*/ 1554480 h 3884286"/>
                  <a:gd name="connsiteX7" fmla="*/ 168403 w 2186959"/>
                  <a:gd name="connsiteY7" fmla="*/ 403860 h 3884286"/>
                  <a:gd name="connsiteX8" fmla="*/ 183643 w 2186959"/>
                  <a:gd name="connsiteY8" fmla="*/ 175260 h 3884286"/>
                  <a:gd name="connsiteX9" fmla="*/ 397003 w 2186959"/>
                  <a:gd name="connsiteY9" fmla="*/ 289560 h 3884286"/>
                  <a:gd name="connsiteX10" fmla="*/ 479871 w 2186959"/>
                  <a:gd name="connsiteY10" fmla="*/ 1082040 h 3884286"/>
                  <a:gd name="connsiteX11" fmla="*/ 633223 w 2186959"/>
                  <a:gd name="connsiteY11" fmla="*/ 1531620 h 3884286"/>
                  <a:gd name="connsiteX12" fmla="*/ 488443 w 2186959"/>
                  <a:gd name="connsiteY12" fmla="*/ 975360 h 3884286"/>
                  <a:gd name="connsiteX13" fmla="*/ 427483 w 2186959"/>
                  <a:gd name="connsiteY13" fmla="*/ 167640 h 3884286"/>
                  <a:gd name="connsiteX14" fmla="*/ 442723 w 2186959"/>
                  <a:gd name="connsiteY14" fmla="*/ 22860 h 3884286"/>
                  <a:gd name="connsiteX15" fmla="*/ 633223 w 2186959"/>
                  <a:gd name="connsiteY15" fmla="*/ 60960 h 3884286"/>
                  <a:gd name="connsiteX16" fmla="*/ 694183 w 2186959"/>
                  <a:gd name="connsiteY16" fmla="*/ 586740 h 3884286"/>
                  <a:gd name="connsiteX17" fmla="*/ 793243 w 2186959"/>
                  <a:gd name="connsiteY17" fmla="*/ 861060 h 3884286"/>
                  <a:gd name="connsiteX18" fmla="*/ 907543 w 2186959"/>
                  <a:gd name="connsiteY18" fmla="*/ 1516380 h 3884286"/>
                  <a:gd name="connsiteX19" fmla="*/ 808483 w 2186959"/>
                  <a:gd name="connsiteY19" fmla="*/ 609600 h 3884286"/>
                  <a:gd name="connsiteX20" fmla="*/ 816103 w 2186959"/>
                  <a:gd name="connsiteY20" fmla="*/ 160020 h 3884286"/>
                  <a:gd name="connsiteX21" fmla="*/ 953263 w 2186959"/>
                  <a:gd name="connsiteY21" fmla="*/ 99060 h 3884286"/>
                  <a:gd name="connsiteX22" fmla="*/ 1037083 w 2186959"/>
                  <a:gd name="connsiteY22" fmla="*/ 198120 h 3884286"/>
                  <a:gd name="connsiteX23" fmla="*/ 1098043 w 2186959"/>
                  <a:gd name="connsiteY23" fmla="*/ 1066800 h 3884286"/>
                  <a:gd name="connsiteX24" fmla="*/ 1532383 w 2186959"/>
                  <a:gd name="connsiteY24" fmla="*/ 1965960 h 3884286"/>
                  <a:gd name="connsiteX25" fmla="*/ 1677163 w 2186959"/>
                  <a:gd name="connsiteY25" fmla="*/ 2042160 h 3884286"/>
                  <a:gd name="connsiteX26" fmla="*/ 1905763 w 2186959"/>
                  <a:gd name="connsiteY26" fmla="*/ 1485900 h 3884286"/>
                  <a:gd name="connsiteX27" fmla="*/ 1989583 w 2186959"/>
                  <a:gd name="connsiteY27" fmla="*/ 1310640 h 3884286"/>
                  <a:gd name="connsiteX28" fmla="*/ 2172463 w 2186959"/>
                  <a:gd name="connsiteY28" fmla="*/ 1402080 h 3884286"/>
                  <a:gd name="connsiteX29" fmla="*/ 2157223 w 2186959"/>
                  <a:gd name="connsiteY29" fmla="*/ 1607820 h 3884286"/>
                  <a:gd name="connsiteX30" fmla="*/ 2012443 w 2186959"/>
                  <a:gd name="connsiteY30" fmla="*/ 2240280 h 3884286"/>
                  <a:gd name="connsiteX31" fmla="*/ 1631443 w 2186959"/>
                  <a:gd name="connsiteY31" fmla="*/ 2682240 h 3884286"/>
                  <a:gd name="connsiteX32" fmla="*/ 1402843 w 2186959"/>
                  <a:gd name="connsiteY32" fmla="*/ 3208020 h 3884286"/>
                  <a:gd name="connsiteX33" fmla="*/ 1357123 w 2186959"/>
                  <a:gd name="connsiteY33" fmla="*/ 3825240 h 3884286"/>
                  <a:gd name="connsiteX34" fmla="*/ 351283 w 2186959"/>
                  <a:gd name="connsiteY34" fmla="*/ 3726180 h 3884286"/>
                  <a:gd name="connsiteX0" fmla="*/ 381177 w 2216853"/>
                  <a:gd name="connsiteY0" fmla="*/ 3726180 h 3884286"/>
                  <a:gd name="connsiteX1" fmla="*/ 556437 w 2216853"/>
                  <a:gd name="connsiteY1" fmla="*/ 2659380 h 3884286"/>
                  <a:gd name="connsiteX2" fmla="*/ 114477 w 2216853"/>
                  <a:gd name="connsiteY2" fmla="*/ 1432560 h 3884286"/>
                  <a:gd name="connsiteX3" fmla="*/ 177 w 2216853"/>
                  <a:gd name="connsiteY3" fmla="*/ 693420 h 3884286"/>
                  <a:gd name="connsiteX4" fmla="*/ 129717 w 2216853"/>
                  <a:gd name="connsiteY4" fmla="*/ 594360 h 3884286"/>
                  <a:gd name="connsiteX5" fmla="*/ 221157 w 2216853"/>
                  <a:gd name="connsiteY5" fmla="*/ 670560 h 3884286"/>
                  <a:gd name="connsiteX6" fmla="*/ 396417 w 2216853"/>
                  <a:gd name="connsiteY6" fmla="*/ 1554480 h 3884286"/>
                  <a:gd name="connsiteX7" fmla="*/ 198297 w 2216853"/>
                  <a:gd name="connsiteY7" fmla="*/ 403860 h 3884286"/>
                  <a:gd name="connsiteX8" fmla="*/ 213537 w 2216853"/>
                  <a:gd name="connsiteY8" fmla="*/ 175260 h 3884286"/>
                  <a:gd name="connsiteX9" fmla="*/ 426897 w 2216853"/>
                  <a:gd name="connsiteY9" fmla="*/ 289560 h 3884286"/>
                  <a:gd name="connsiteX10" fmla="*/ 509765 w 2216853"/>
                  <a:gd name="connsiteY10" fmla="*/ 1082040 h 3884286"/>
                  <a:gd name="connsiteX11" fmla="*/ 663117 w 2216853"/>
                  <a:gd name="connsiteY11" fmla="*/ 1531620 h 3884286"/>
                  <a:gd name="connsiteX12" fmla="*/ 518337 w 2216853"/>
                  <a:gd name="connsiteY12" fmla="*/ 975360 h 3884286"/>
                  <a:gd name="connsiteX13" fmla="*/ 457377 w 2216853"/>
                  <a:gd name="connsiteY13" fmla="*/ 167640 h 3884286"/>
                  <a:gd name="connsiteX14" fmla="*/ 472617 w 2216853"/>
                  <a:gd name="connsiteY14" fmla="*/ 22860 h 3884286"/>
                  <a:gd name="connsiteX15" fmla="*/ 663117 w 2216853"/>
                  <a:gd name="connsiteY15" fmla="*/ 60960 h 3884286"/>
                  <a:gd name="connsiteX16" fmla="*/ 724077 w 2216853"/>
                  <a:gd name="connsiteY16" fmla="*/ 586740 h 3884286"/>
                  <a:gd name="connsiteX17" fmla="*/ 823137 w 2216853"/>
                  <a:gd name="connsiteY17" fmla="*/ 861060 h 3884286"/>
                  <a:gd name="connsiteX18" fmla="*/ 937437 w 2216853"/>
                  <a:gd name="connsiteY18" fmla="*/ 1516380 h 3884286"/>
                  <a:gd name="connsiteX19" fmla="*/ 838377 w 2216853"/>
                  <a:gd name="connsiteY19" fmla="*/ 609600 h 3884286"/>
                  <a:gd name="connsiteX20" fmla="*/ 845997 w 2216853"/>
                  <a:gd name="connsiteY20" fmla="*/ 160020 h 3884286"/>
                  <a:gd name="connsiteX21" fmla="*/ 983157 w 2216853"/>
                  <a:gd name="connsiteY21" fmla="*/ 99060 h 3884286"/>
                  <a:gd name="connsiteX22" fmla="*/ 1066977 w 2216853"/>
                  <a:gd name="connsiteY22" fmla="*/ 198120 h 3884286"/>
                  <a:gd name="connsiteX23" fmla="*/ 1127937 w 2216853"/>
                  <a:gd name="connsiteY23" fmla="*/ 1066800 h 3884286"/>
                  <a:gd name="connsiteX24" fmla="*/ 1562277 w 2216853"/>
                  <a:gd name="connsiteY24" fmla="*/ 1965960 h 3884286"/>
                  <a:gd name="connsiteX25" fmla="*/ 1707057 w 2216853"/>
                  <a:gd name="connsiteY25" fmla="*/ 2042160 h 3884286"/>
                  <a:gd name="connsiteX26" fmla="*/ 1935657 w 2216853"/>
                  <a:gd name="connsiteY26" fmla="*/ 1485900 h 3884286"/>
                  <a:gd name="connsiteX27" fmla="*/ 2019477 w 2216853"/>
                  <a:gd name="connsiteY27" fmla="*/ 1310640 h 3884286"/>
                  <a:gd name="connsiteX28" fmla="*/ 2202357 w 2216853"/>
                  <a:gd name="connsiteY28" fmla="*/ 1402080 h 3884286"/>
                  <a:gd name="connsiteX29" fmla="*/ 2187117 w 2216853"/>
                  <a:gd name="connsiteY29" fmla="*/ 1607820 h 3884286"/>
                  <a:gd name="connsiteX30" fmla="*/ 2042337 w 2216853"/>
                  <a:gd name="connsiteY30" fmla="*/ 2240280 h 3884286"/>
                  <a:gd name="connsiteX31" fmla="*/ 1661337 w 2216853"/>
                  <a:gd name="connsiteY31" fmla="*/ 2682240 h 3884286"/>
                  <a:gd name="connsiteX32" fmla="*/ 1432737 w 2216853"/>
                  <a:gd name="connsiteY32" fmla="*/ 3208020 h 3884286"/>
                  <a:gd name="connsiteX33" fmla="*/ 1387017 w 2216853"/>
                  <a:gd name="connsiteY33" fmla="*/ 3825240 h 3884286"/>
                  <a:gd name="connsiteX34" fmla="*/ 381177 w 2216853"/>
                  <a:gd name="connsiteY34" fmla="*/ 3726180 h 3884286"/>
                  <a:gd name="connsiteX0" fmla="*/ 381073 w 2216749"/>
                  <a:gd name="connsiteY0" fmla="*/ 3726180 h 3884286"/>
                  <a:gd name="connsiteX1" fmla="*/ 556333 w 2216749"/>
                  <a:gd name="connsiteY1" fmla="*/ 2659380 h 3884286"/>
                  <a:gd name="connsiteX2" fmla="*/ 114373 w 2216749"/>
                  <a:gd name="connsiteY2" fmla="*/ 1432560 h 3884286"/>
                  <a:gd name="connsiteX3" fmla="*/ 73 w 2216749"/>
                  <a:gd name="connsiteY3" fmla="*/ 693420 h 3884286"/>
                  <a:gd name="connsiteX4" fmla="*/ 99133 w 2216749"/>
                  <a:gd name="connsiteY4" fmla="*/ 586740 h 3884286"/>
                  <a:gd name="connsiteX5" fmla="*/ 221053 w 2216749"/>
                  <a:gd name="connsiteY5" fmla="*/ 670560 h 3884286"/>
                  <a:gd name="connsiteX6" fmla="*/ 396313 w 2216749"/>
                  <a:gd name="connsiteY6" fmla="*/ 1554480 h 3884286"/>
                  <a:gd name="connsiteX7" fmla="*/ 198193 w 2216749"/>
                  <a:gd name="connsiteY7" fmla="*/ 403860 h 3884286"/>
                  <a:gd name="connsiteX8" fmla="*/ 213433 w 2216749"/>
                  <a:gd name="connsiteY8" fmla="*/ 175260 h 3884286"/>
                  <a:gd name="connsiteX9" fmla="*/ 426793 w 2216749"/>
                  <a:gd name="connsiteY9" fmla="*/ 289560 h 3884286"/>
                  <a:gd name="connsiteX10" fmla="*/ 509661 w 2216749"/>
                  <a:gd name="connsiteY10" fmla="*/ 1082040 h 3884286"/>
                  <a:gd name="connsiteX11" fmla="*/ 663013 w 2216749"/>
                  <a:gd name="connsiteY11" fmla="*/ 1531620 h 3884286"/>
                  <a:gd name="connsiteX12" fmla="*/ 518233 w 2216749"/>
                  <a:gd name="connsiteY12" fmla="*/ 975360 h 3884286"/>
                  <a:gd name="connsiteX13" fmla="*/ 457273 w 2216749"/>
                  <a:gd name="connsiteY13" fmla="*/ 167640 h 3884286"/>
                  <a:gd name="connsiteX14" fmla="*/ 472513 w 2216749"/>
                  <a:gd name="connsiteY14" fmla="*/ 22860 h 3884286"/>
                  <a:gd name="connsiteX15" fmla="*/ 663013 w 2216749"/>
                  <a:gd name="connsiteY15" fmla="*/ 60960 h 3884286"/>
                  <a:gd name="connsiteX16" fmla="*/ 723973 w 2216749"/>
                  <a:gd name="connsiteY16" fmla="*/ 586740 h 3884286"/>
                  <a:gd name="connsiteX17" fmla="*/ 823033 w 2216749"/>
                  <a:gd name="connsiteY17" fmla="*/ 861060 h 3884286"/>
                  <a:gd name="connsiteX18" fmla="*/ 937333 w 2216749"/>
                  <a:gd name="connsiteY18" fmla="*/ 1516380 h 3884286"/>
                  <a:gd name="connsiteX19" fmla="*/ 838273 w 2216749"/>
                  <a:gd name="connsiteY19" fmla="*/ 609600 h 3884286"/>
                  <a:gd name="connsiteX20" fmla="*/ 845893 w 2216749"/>
                  <a:gd name="connsiteY20" fmla="*/ 160020 h 3884286"/>
                  <a:gd name="connsiteX21" fmla="*/ 983053 w 2216749"/>
                  <a:gd name="connsiteY21" fmla="*/ 99060 h 3884286"/>
                  <a:gd name="connsiteX22" fmla="*/ 1066873 w 2216749"/>
                  <a:gd name="connsiteY22" fmla="*/ 198120 h 3884286"/>
                  <a:gd name="connsiteX23" fmla="*/ 1127833 w 2216749"/>
                  <a:gd name="connsiteY23" fmla="*/ 1066800 h 3884286"/>
                  <a:gd name="connsiteX24" fmla="*/ 1562173 w 2216749"/>
                  <a:gd name="connsiteY24" fmla="*/ 1965960 h 3884286"/>
                  <a:gd name="connsiteX25" fmla="*/ 1706953 w 2216749"/>
                  <a:gd name="connsiteY25" fmla="*/ 2042160 h 3884286"/>
                  <a:gd name="connsiteX26" fmla="*/ 1935553 w 2216749"/>
                  <a:gd name="connsiteY26" fmla="*/ 1485900 h 3884286"/>
                  <a:gd name="connsiteX27" fmla="*/ 2019373 w 2216749"/>
                  <a:gd name="connsiteY27" fmla="*/ 1310640 h 3884286"/>
                  <a:gd name="connsiteX28" fmla="*/ 2202253 w 2216749"/>
                  <a:gd name="connsiteY28" fmla="*/ 1402080 h 3884286"/>
                  <a:gd name="connsiteX29" fmla="*/ 2187013 w 2216749"/>
                  <a:gd name="connsiteY29" fmla="*/ 1607820 h 3884286"/>
                  <a:gd name="connsiteX30" fmla="*/ 2042233 w 2216749"/>
                  <a:gd name="connsiteY30" fmla="*/ 2240280 h 3884286"/>
                  <a:gd name="connsiteX31" fmla="*/ 1661233 w 2216749"/>
                  <a:gd name="connsiteY31" fmla="*/ 2682240 h 3884286"/>
                  <a:gd name="connsiteX32" fmla="*/ 1432633 w 2216749"/>
                  <a:gd name="connsiteY32" fmla="*/ 3208020 h 3884286"/>
                  <a:gd name="connsiteX33" fmla="*/ 1386913 w 2216749"/>
                  <a:gd name="connsiteY33" fmla="*/ 3825240 h 3884286"/>
                  <a:gd name="connsiteX34" fmla="*/ 381073 w 2216749"/>
                  <a:gd name="connsiteY34" fmla="*/ 3726180 h 3884286"/>
                  <a:gd name="connsiteX0" fmla="*/ 385163 w 2220839"/>
                  <a:gd name="connsiteY0" fmla="*/ 3726180 h 3884286"/>
                  <a:gd name="connsiteX1" fmla="*/ 560423 w 2220839"/>
                  <a:gd name="connsiteY1" fmla="*/ 2659380 h 3884286"/>
                  <a:gd name="connsiteX2" fmla="*/ 118463 w 2220839"/>
                  <a:gd name="connsiteY2" fmla="*/ 1432560 h 3884286"/>
                  <a:gd name="connsiteX3" fmla="*/ 4163 w 2220839"/>
                  <a:gd name="connsiteY3" fmla="*/ 693420 h 3884286"/>
                  <a:gd name="connsiteX4" fmla="*/ 225143 w 2220839"/>
                  <a:gd name="connsiteY4" fmla="*/ 670560 h 3884286"/>
                  <a:gd name="connsiteX5" fmla="*/ 400403 w 2220839"/>
                  <a:gd name="connsiteY5" fmla="*/ 1554480 h 3884286"/>
                  <a:gd name="connsiteX6" fmla="*/ 202283 w 2220839"/>
                  <a:gd name="connsiteY6" fmla="*/ 403860 h 3884286"/>
                  <a:gd name="connsiteX7" fmla="*/ 217523 w 2220839"/>
                  <a:gd name="connsiteY7" fmla="*/ 175260 h 3884286"/>
                  <a:gd name="connsiteX8" fmla="*/ 430883 w 2220839"/>
                  <a:gd name="connsiteY8" fmla="*/ 289560 h 3884286"/>
                  <a:gd name="connsiteX9" fmla="*/ 513751 w 2220839"/>
                  <a:gd name="connsiteY9" fmla="*/ 1082040 h 3884286"/>
                  <a:gd name="connsiteX10" fmla="*/ 667103 w 2220839"/>
                  <a:gd name="connsiteY10" fmla="*/ 1531620 h 3884286"/>
                  <a:gd name="connsiteX11" fmla="*/ 522323 w 2220839"/>
                  <a:gd name="connsiteY11" fmla="*/ 975360 h 3884286"/>
                  <a:gd name="connsiteX12" fmla="*/ 461363 w 2220839"/>
                  <a:gd name="connsiteY12" fmla="*/ 167640 h 3884286"/>
                  <a:gd name="connsiteX13" fmla="*/ 476603 w 2220839"/>
                  <a:gd name="connsiteY13" fmla="*/ 22860 h 3884286"/>
                  <a:gd name="connsiteX14" fmla="*/ 667103 w 2220839"/>
                  <a:gd name="connsiteY14" fmla="*/ 60960 h 3884286"/>
                  <a:gd name="connsiteX15" fmla="*/ 728063 w 2220839"/>
                  <a:gd name="connsiteY15" fmla="*/ 586740 h 3884286"/>
                  <a:gd name="connsiteX16" fmla="*/ 827123 w 2220839"/>
                  <a:gd name="connsiteY16" fmla="*/ 861060 h 3884286"/>
                  <a:gd name="connsiteX17" fmla="*/ 941423 w 2220839"/>
                  <a:gd name="connsiteY17" fmla="*/ 1516380 h 3884286"/>
                  <a:gd name="connsiteX18" fmla="*/ 842363 w 2220839"/>
                  <a:gd name="connsiteY18" fmla="*/ 609600 h 3884286"/>
                  <a:gd name="connsiteX19" fmla="*/ 849983 w 2220839"/>
                  <a:gd name="connsiteY19" fmla="*/ 160020 h 3884286"/>
                  <a:gd name="connsiteX20" fmla="*/ 987143 w 2220839"/>
                  <a:gd name="connsiteY20" fmla="*/ 99060 h 3884286"/>
                  <a:gd name="connsiteX21" fmla="*/ 1070963 w 2220839"/>
                  <a:gd name="connsiteY21" fmla="*/ 198120 h 3884286"/>
                  <a:gd name="connsiteX22" fmla="*/ 1131923 w 2220839"/>
                  <a:gd name="connsiteY22" fmla="*/ 1066800 h 3884286"/>
                  <a:gd name="connsiteX23" fmla="*/ 1566263 w 2220839"/>
                  <a:gd name="connsiteY23" fmla="*/ 1965960 h 3884286"/>
                  <a:gd name="connsiteX24" fmla="*/ 1711043 w 2220839"/>
                  <a:gd name="connsiteY24" fmla="*/ 2042160 h 3884286"/>
                  <a:gd name="connsiteX25" fmla="*/ 1939643 w 2220839"/>
                  <a:gd name="connsiteY25" fmla="*/ 1485900 h 3884286"/>
                  <a:gd name="connsiteX26" fmla="*/ 2023463 w 2220839"/>
                  <a:gd name="connsiteY26" fmla="*/ 1310640 h 3884286"/>
                  <a:gd name="connsiteX27" fmla="*/ 2206343 w 2220839"/>
                  <a:gd name="connsiteY27" fmla="*/ 1402080 h 3884286"/>
                  <a:gd name="connsiteX28" fmla="*/ 2191103 w 2220839"/>
                  <a:gd name="connsiteY28" fmla="*/ 1607820 h 3884286"/>
                  <a:gd name="connsiteX29" fmla="*/ 2046323 w 2220839"/>
                  <a:gd name="connsiteY29" fmla="*/ 2240280 h 3884286"/>
                  <a:gd name="connsiteX30" fmla="*/ 1665323 w 2220839"/>
                  <a:gd name="connsiteY30" fmla="*/ 2682240 h 3884286"/>
                  <a:gd name="connsiteX31" fmla="*/ 1436723 w 2220839"/>
                  <a:gd name="connsiteY31" fmla="*/ 3208020 h 3884286"/>
                  <a:gd name="connsiteX32" fmla="*/ 1391003 w 2220839"/>
                  <a:gd name="connsiteY32" fmla="*/ 3825240 h 3884286"/>
                  <a:gd name="connsiteX33" fmla="*/ 385163 w 2220839"/>
                  <a:gd name="connsiteY33" fmla="*/ 3726180 h 3884286"/>
                  <a:gd name="connsiteX0" fmla="*/ 383173 w 2218849"/>
                  <a:gd name="connsiteY0" fmla="*/ 3726180 h 3884286"/>
                  <a:gd name="connsiteX1" fmla="*/ 558433 w 2218849"/>
                  <a:gd name="connsiteY1" fmla="*/ 2659380 h 3884286"/>
                  <a:gd name="connsiteX2" fmla="*/ 116473 w 2218849"/>
                  <a:gd name="connsiteY2" fmla="*/ 1432560 h 3884286"/>
                  <a:gd name="connsiteX3" fmla="*/ 2173 w 2218849"/>
                  <a:gd name="connsiteY3" fmla="*/ 693420 h 3884286"/>
                  <a:gd name="connsiteX4" fmla="*/ 185053 w 2218849"/>
                  <a:gd name="connsiteY4" fmla="*/ 685800 h 3884286"/>
                  <a:gd name="connsiteX5" fmla="*/ 398413 w 2218849"/>
                  <a:gd name="connsiteY5" fmla="*/ 1554480 h 3884286"/>
                  <a:gd name="connsiteX6" fmla="*/ 200293 w 2218849"/>
                  <a:gd name="connsiteY6" fmla="*/ 403860 h 3884286"/>
                  <a:gd name="connsiteX7" fmla="*/ 215533 w 2218849"/>
                  <a:gd name="connsiteY7" fmla="*/ 175260 h 3884286"/>
                  <a:gd name="connsiteX8" fmla="*/ 428893 w 2218849"/>
                  <a:gd name="connsiteY8" fmla="*/ 289560 h 3884286"/>
                  <a:gd name="connsiteX9" fmla="*/ 511761 w 2218849"/>
                  <a:gd name="connsiteY9" fmla="*/ 1082040 h 3884286"/>
                  <a:gd name="connsiteX10" fmla="*/ 665113 w 2218849"/>
                  <a:gd name="connsiteY10" fmla="*/ 1531620 h 3884286"/>
                  <a:gd name="connsiteX11" fmla="*/ 520333 w 2218849"/>
                  <a:gd name="connsiteY11" fmla="*/ 975360 h 3884286"/>
                  <a:gd name="connsiteX12" fmla="*/ 459373 w 2218849"/>
                  <a:gd name="connsiteY12" fmla="*/ 167640 h 3884286"/>
                  <a:gd name="connsiteX13" fmla="*/ 474613 w 2218849"/>
                  <a:gd name="connsiteY13" fmla="*/ 22860 h 3884286"/>
                  <a:gd name="connsiteX14" fmla="*/ 665113 w 2218849"/>
                  <a:gd name="connsiteY14" fmla="*/ 60960 h 3884286"/>
                  <a:gd name="connsiteX15" fmla="*/ 726073 w 2218849"/>
                  <a:gd name="connsiteY15" fmla="*/ 586740 h 3884286"/>
                  <a:gd name="connsiteX16" fmla="*/ 825133 w 2218849"/>
                  <a:gd name="connsiteY16" fmla="*/ 861060 h 3884286"/>
                  <a:gd name="connsiteX17" fmla="*/ 939433 w 2218849"/>
                  <a:gd name="connsiteY17" fmla="*/ 1516380 h 3884286"/>
                  <a:gd name="connsiteX18" fmla="*/ 840373 w 2218849"/>
                  <a:gd name="connsiteY18" fmla="*/ 609600 h 3884286"/>
                  <a:gd name="connsiteX19" fmla="*/ 847993 w 2218849"/>
                  <a:gd name="connsiteY19" fmla="*/ 160020 h 3884286"/>
                  <a:gd name="connsiteX20" fmla="*/ 985153 w 2218849"/>
                  <a:gd name="connsiteY20" fmla="*/ 99060 h 3884286"/>
                  <a:gd name="connsiteX21" fmla="*/ 1068973 w 2218849"/>
                  <a:gd name="connsiteY21" fmla="*/ 198120 h 3884286"/>
                  <a:gd name="connsiteX22" fmla="*/ 1129933 w 2218849"/>
                  <a:gd name="connsiteY22" fmla="*/ 1066800 h 3884286"/>
                  <a:gd name="connsiteX23" fmla="*/ 1564273 w 2218849"/>
                  <a:gd name="connsiteY23" fmla="*/ 1965960 h 3884286"/>
                  <a:gd name="connsiteX24" fmla="*/ 1709053 w 2218849"/>
                  <a:gd name="connsiteY24" fmla="*/ 2042160 h 3884286"/>
                  <a:gd name="connsiteX25" fmla="*/ 1937653 w 2218849"/>
                  <a:gd name="connsiteY25" fmla="*/ 1485900 h 3884286"/>
                  <a:gd name="connsiteX26" fmla="*/ 2021473 w 2218849"/>
                  <a:gd name="connsiteY26" fmla="*/ 1310640 h 3884286"/>
                  <a:gd name="connsiteX27" fmla="*/ 2204353 w 2218849"/>
                  <a:gd name="connsiteY27" fmla="*/ 1402080 h 3884286"/>
                  <a:gd name="connsiteX28" fmla="*/ 2189113 w 2218849"/>
                  <a:gd name="connsiteY28" fmla="*/ 1607820 h 3884286"/>
                  <a:gd name="connsiteX29" fmla="*/ 2044333 w 2218849"/>
                  <a:gd name="connsiteY29" fmla="*/ 2240280 h 3884286"/>
                  <a:gd name="connsiteX30" fmla="*/ 1663333 w 2218849"/>
                  <a:gd name="connsiteY30" fmla="*/ 2682240 h 3884286"/>
                  <a:gd name="connsiteX31" fmla="*/ 1434733 w 2218849"/>
                  <a:gd name="connsiteY31" fmla="*/ 3208020 h 3884286"/>
                  <a:gd name="connsiteX32" fmla="*/ 1389013 w 2218849"/>
                  <a:gd name="connsiteY32" fmla="*/ 3825240 h 3884286"/>
                  <a:gd name="connsiteX33" fmla="*/ 383173 w 2218849"/>
                  <a:gd name="connsiteY33" fmla="*/ 3726180 h 3884286"/>
                  <a:gd name="connsiteX0" fmla="*/ 383173 w 2218849"/>
                  <a:gd name="connsiteY0" fmla="*/ 3726180 h 3884286"/>
                  <a:gd name="connsiteX1" fmla="*/ 558433 w 2218849"/>
                  <a:gd name="connsiteY1" fmla="*/ 2659380 h 3884286"/>
                  <a:gd name="connsiteX2" fmla="*/ 116473 w 2218849"/>
                  <a:gd name="connsiteY2" fmla="*/ 1432560 h 3884286"/>
                  <a:gd name="connsiteX3" fmla="*/ 2173 w 2218849"/>
                  <a:gd name="connsiteY3" fmla="*/ 693420 h 3884286"/>
                  <a:gd name="connsiteX4" fmla="*/ 185053 w 2218849"/>
                  <a:gd name="connsiteY4" fmla="*/ 685800 h 3884286"/>
                  <a:gd name="connsiteX5" fmla="*/ 398413 w 2218849"/>
                  <a:gd name="connsiteY5" fmla="*/ 1554480 h 3884286"/>
                  <a:gd name="connsiteX6" fmla="*/ 200293 w 2218849"/>
                  <a:gd name="connsiteY6" fmla="*/ 403860 h 3884286"/>
                  <a:gd name="connsiteX7" fmla="*/ 246013 w 2218849"/>
                  <a:gd name="connsiteY7" fmla="*/ 190500 h 3884286"/>
                  <a:gd name="connsiteX8" fmla="*/ 428893 w 2218849"/>
                  <a:gd name="connsiteY8" fmla="*/ 289560 h 3884286"/>
                  <a:gd name="connsiteX9" fmla="*/ 511761 w 2218849"/>
                  <a:gd name="connsiteY9" fmla="*/ 1082040 h 3884286"/>
                  <a:gd name="connsiteX10" fmla="*/ 665113 w 2218849"/>
                  <a:gd name="connsiteY10" fmla="*/ 1531620 h 3884286"/>
                  <a:gd name="connsiteX11" fmla="*/ 520333 w 2218849"/>
                  <a:gd name="connsiteY11" fmla="*/ 975360 h 3884286"/>
                  <a:gd name="connsiteX12" fmla="*/ 459373 w 2218849"/>
                  <a:gd name="connsiteY12" fmla="*/ 167640 h 3884286"/>
                  <a:gd name="connsiteX13" fmla="*/ 474613 w 2218849"/>
                  <a:gd name="connsiteY13" fmla="*/ 22860 h 3884286"/>
                  <a:gd name="connsiteX14" fmla="*/ 665113 w 2218849"/>
                  <a:gd name="connsiteY14" fmla="*/ 60960 h 3884286"/>
                  <a:gd name="connsiteX15" fmla="*/ 726073 w 2218849"/>
                  <a:gd name="connsiteY15" fmla="*/ 586740 h 3884286"/>
                  <a:gd name="connsiteX16" fmla="*/ 825133 w 2218849"/>
                  <a:gd name="connsiteY16" fmla="*/ 861060 h 3884286"/>
                  <a:gd name="connsiteX17" fmla="*/ 939433 w 2218849"/>
                  <a:gd name="connsiteY17" fmla="*/ 1516380 h 3884286"/>
                  <a:gd name="connsiteX18" fmla="*/ 840373 w 2218849"/>
                  <a:gd name="connsiteY18" fmla="*/ 609600 h 3884286"/>
                  <a:gd name="connsiteX19" fmla="*/ 847993 w 2218849"/>
                  <a:gd name="connsiteY19" fmla="*/ 160020 h 3884286"/>
                  <a:gd name="connsiteX20" fmla="*/ 985153 w 2218849"/>
                  <a:gd name="connsiteY20" fmla="*/ 99060 h 3884286"/>
                  <a:gd name="connsiteX21" fmla="*/ 1068973 w 2218849"/>
                  <a:gd name="connsiteY21" fmla="*/ 198120 h 3884286"/>
                  <a:gd name="connsiteX22" fmla="*/ 1129933 w 2218849"/>
                  <a:gd name="connsiteY22" fmla="*/ 1066800 h 3884286"/>
                  <a:gd name="connsiteX23" fmla="*/ 1564273 w 2218849"/>
                  <a:gd name="connsiteY23" fmla="*/ 1965960 h 3884286"/>
                  <a:gd name="connsiteX24" fmla="*/ 1709053 w 2218849"/>
                  <a:gd name="connsiteY24" fmla="*/ 2042160 h 3884286"/>
                  <a:gd name="connsiteX25" fmla="*/ 1937653 w 2218849"/>
                  <a:gd name="connsiteY25" fmla="*/ 1485900 h 3884286"/>
                  <a:gd name="connsiteX26" fmla="*/ 2021473 w 2218849"/>
                  <a:gd name="connsiteY26" fmla="*/ 1310640 h 3884286"/>
                  <a:gd name="connsiteX27" fmla="*/ 2204353 w 2218849"/>
                  <a:gd name="connsiteY27" fmla="*/ 1402080 h 3884286"/>
                  <a:gd name="connsiteX28" fmla="*/ 2189113 w 2218849"/>
                  <a:gd name="connsiteY28" fmla="*/ 1607820 h 3884286"/>
                  <a:gd name="connsiteX29" fmla="*/ 2044333 w 2218849"/>
                  <a:gd name="connsiteY29" fmla="*/ 2240280 h 3884286"/>
                  <a:gd name="connsiteX30" fmla="*/ 1663333 w 2218849"/>
                  <a:gd name="connsiteY30" fmla="*/ 2682240 h 3884286"/>
                  <a:gd name="connsiteX31" fmla="*/ 1434733 w 2218849"/>
                  <a:gd name="connsiteY31" fmla="*/ 3208020 h 3884286"/>
                  <a:gd name="connsiteX32" fmla="*/ 1389013 w 2218849"/>
                  <a:gd name="connsiteY32" fmla="*/ 3825240 h 3884286"/>
                  <a:gd name="connsiteX33" fmla="*/ 383173 w 2218849"/>
                  <a:gd name="connsiteY33" fmla="*/ 3726180 h 3884286"/>
                  <a:gd name="connsiteX0" fmla="*/ 383173 w 2218849"/>
                  <a:gd name="connsiteY0" fmla="*/ 3726180 h 3884286"/>
                  <a:gd name="connsiteX1" fmla="*/ 558433 w 2218849"/>
                  <a:gd name="connsiteY1" fmla="*/ 2659380 h 3884286"/>
                  <a:gd name="connsiteX2" fmla="*/ 116473 w 2218849"/>
                  <a:gd name="connsiteY2" fmla="*/ 1432560 h 3884286"/>
                  <a:gd name="connsiteX3" fmla="*/ 2173 w 2218849"/>
                  <a:gd name="connsiteY3" fmla="*/ 693420 h 3884286"/>
                  <a:gd name="connsiteX4" fmla="*/ 185053 w 2218849"/>
                  <a:gd name="connsiteY4" fmla="*/ 685800 h 3884286"/>
                  <a:gd name="connsiteX5" fmla="*/ 398413 w 2218849"/>
                  <a:gd name="connsiteY5" fmla="*/ 1554480 h 3884286"/>
                  <a:gd name="connsiteX6" fmla="*/ 200293 w 2218849"/>
                  <a:gd name="connsiteY6" fmla="*/ 403860 h 3884286"/>
                  <a:gd name="connsiteX7" fmla="*/ 428893 w 2218849"/>
                  <a:gd name="connsiteY7" fmla="*/ 289560 h 3884286"/>
                  <a:gd name="connsiteX8" fmla="*/ 511761 w 2218849"/>
                  <a:gd name="connsiteY8" fmla="*/ 1082040 h 3884286"/>
                  <a:gd name="connsiteX9" fmla="*/ 665113 w 2218849"/>
                  <a:gd name="connsiteY9" fmla="*/ 1531620 h 3884286"/>
                  <a:gd name="connsiteX10" fmla="*/ 520333 w 2218849"/>
                  <a:gd name="connsiteY10" fmla="*/ 975360 h 3884286"/>
                  <a:gd name="connsiteX11" fmla="*/ 459373 w 2218849"/>
                  <a:gd name="connsiteY11" fmla="*/ 167640 h 3884286"/>
                  <a:gd name="connsiteX12" fmla="*/ 474613 w 2218849"/>
                  <a:gd name="connsiteY12" fmla="*/ 22860 h 3884286"/>
                  <a:gd name="connsiteX13" fmla="*/ 665113 w 2218849"/>
                  <a:gd name="connsiteY13" fmla="*/ 60960 h 3884286"/>
                  <a:gd name="connsiteX14" fmla="*/ 726073 w 2218849"/>
                  <a:gd name="connsiteY14" fmla="*/ 586740 h 3884286"/>
                  <a:gd name="connsiteX15" fmla="*/ 825133 w 2218849"/>
                  <a:gd name="connsiteY15" fmla="*/ 861060 h 3884286"/>
                  <a:gd name="connsiteX16" fmla="*/ 939433 w 2218849"/>
                  <a:gd name="connsiteY16" fmla="*/ 1516380 h 3884286"/>
                  <a:gd name="connsiteX17" fmla="*/ 840373 w 2218849"/>
                  <a:gd name="connsiteY17" fmla="*/ 609600 h 3884286"/>
                  <a:gd name="connsiteX18" fmla="*/ 847993 w 2218849"/>
                  <a:gd name="connsiteY18" fmla="*/ 160020 h 3884286"/>
                  <a:gd name="connsiteX19" fmla="*/ 985153 w 2218849"/>
                  <a:gd name="connsiteY19" fmla="*/ 99060 h 3884286"/>
                  <a:gd name="connsiteX20" fmla="*/ 1068973 w 2218849"/>
                  <a:gd name="connsiteY20" fmla="*/ 198120 h 3884286"/>
                  <a:gd name="connsiteX21" fmla="*/ 1129933 w 2218849"/>
                  <a:gd name="connsiteY21" fmla="*/ 1066800 h 3884286"/>
                  <a:gd name="connsiteX22" fmla="*/ 1564273 w 2218849"/>
                  <a:gd name="connsiteY22" fmla="*/ 1965960 h 3884286"/>
                  <a:gd name="connsiteX23" fmla="*/ 1709053 w 2218849"/>
                  <a:gd name="connsiteY23" fmla="*/ 2042160 h 3884286"/>
                  <a:gd name="connsiteX24" fmla="*/ 1937653 w 2218849"/>
                  <a:gd name="connsiteY24" fmla="*/ 1485900 h 3884286"/>
                  <a:gd name="connsiteX25" fmla="*/ 2021473 w 2218849"/>
                  <a:gd name="connsiteY25" fmla="*/ 1310640 h 3884286"/>
                  <a:gd name="connsiteX26" fmla="*/ 2204353 w 2218849"/>
                  <a:gd name="connsiteY26" fmla="*/ 1402080 h 3884286"/>
                  <a:gd name="connsiteX27" fmla="*/ 2189113 w 2218849"/>
                  <a:gd name="connsiteY27" fmla="*/ 1607820 h 3884286"/>
                  <a:gd name="connsiteX28" fmla="*/ 2044333 w 2218849"/>
                  <a:gd name="connsiteY28" fmla="*/ 2240280 h 3884286"/>
                  <a:gd name="connsiteX29" fmla="*/ 1663333 w 2218849"/>
                  <a:gd name="connsiteY29" fmla="*/ 2682240 h 3884286"/>
                  <a:gd name="connsiteX30" fmla="*/ 1434733 w 2218849"/>
                  <a:gd name="connsiteY30" fmla="*/ 3208020 h 3884286"/>
                  <a:gd name="connsiteX31" fmla="*/ 1389013 w 2218849"/>
                  <a:gd name="connsiteY31" fmla="*/ 3825240 h 3884286"/>
                  <a:gd name="connsiteX32" fmla="*/ 383173 w 2218849"/>
                  <a:gd name="connsiteY32" fmla="*/ 3726180 h 3884286"/>
                  <a:gd name="connsiteX0" fmla="*/ 383173 w 2218849"/>
                  <a:gd name="connsiteY0" fmla="*/ 3726180 h 3884286"/>
                  <a:gd name="connsiteX1" fmla="*/ 558433 w 2218849"/>
                  <a:gd name="connsiteY1" fmla="*/ 2659380 h 3884286"/>
                  <a:gd name="connsiteX2" fmla="*/ 116473 w 2218849"/>
                  <a:gd name="connsiteY2" fmla="*/ 1432560 h 3884286"/>
                  <a:gd name="connsiteX3" fmla="*/ 2173 w 2218849"/>
                  <a:gd name="connsiteY3" fmla="*/ 693420 h 3884286"/>
                  <a:gd name="connsiteX4" fmla="*/ 185053 w 2218849"/>
                  <a:gd name="connsiteY4" fmla="*/ 685800 h 3884286"/>
                  <a:gd name="connsiteX5" fmla="*/ 398413 w 2218849"/>
                  <a:gd name="connsiteY5" fmla="*/ 1554480 h 3884286"/>
                  <a:gd name="connsiteX6" fmla="*/ 200293 w 2218849"/>
                  <a:gd name="connsiteY6" fmla="*/ 403860 h 3884286"/>
                  <a:gd name="connsiteX7" fmla="*/ 398413 w 2218849"/>
                  <a:gd name="connsiteY7" fmla="*/ 243840 h 3884286"/>
                  <a:gd name="connsiteX8" fmla="*/ 511761 w 2218849"/>
                  <a:gd name="connsiteY8" fmla="*/ 1082040 h 3884286"/>
                  <a:gd name="connsiteX9" fmla="*/ 665113 w 2218849"/>
                  <a:gd name="connsiteY9" fmla="*/ 1531620 h 3884286"/>
                  <a:gd name="connsiteX10" fmla="*/ 520333 w 2218849"/>
                  <a:gd name="connsiteY10" fmla="*/ 975360 h 3884286"/>
                  <a:gd name="connsiteX11" fmla="*/ 459373 w 2218849"/>
                  <a:gd name="connsiteY11" fmla="*/ 167640 h 3884286"/>
                  <a:gd name="connsiteX12" fmla="*/ 474613 w 2218849"/>
                  <a:gd name="connsiteY12" fmla="*/ 22860 h 3884286"/>
                  <a:gd name="connsiteX13" fmla="*/ 665113 w 2218849"/>
                  <a:gd name="connsiteY13" fmla="*/ 60960 h 3884286"/>
                  <a:gd name="connsiteX14" fmla="*/ 726073 w 2218849"/>
                  <a:gd name="connsiteY14" fmla="*/ 586740 h 3884286"/>
                  <a:gd name="connsiteX15" fmla="*/ 825133 w 2218849"/>
                  <a:gd name="connsiteY15" fmla="*/ 861060 h 3884286"/>
                  <a:gd name="connsiteX16" fmla="*/ 939433 w 2218849"/>
                  <a:gd name="connsiteY16" fmla="*/ 1516380 h 3884286"/>
                  <a:gd name="connsiteX17" fmla="*/ 840373 w 2218849"/>
                  <a:gd name="connsiteY17" fmla="*/ 609600 h 3884286"/>
                  <a:gd name="connsiteX18" fmla="*/ 847993 w 2218849"/>
                  <a:gd name="connsiteY18" fmla="*/ 160020 h 3884286"/>
                  <a:gd name="connsiteX19" fmla="*/ 985153 w 2218849"/>
                  <a:gd name="connsiteY19" fmla="*/ 99060 h 3884286"/>
                  <a:gd name="connsiteX20" fmla="*/ 1068973 w 2218849"/>
                  <a:gd name="connsiteY20" fmla="*/ 198120 h 3884286"/>
                  <a:gd name="connsiteX21" fmla="*/ 1129933 w 2218849"/>
                  <a:gd name="connsiteY21" fmla="*/ 1066800 h 3884286"/>
                  <a:gd name="connsiteX22" fmla="*/ 1564273 w 2218849"/>
                  <a:gd name="connsiteY22" fmla="*/ 1965960 h 3884286"/>
                  <a:gd name="connsiteX23" fmla="*/ 1709053 w 2218849"/>
                  <a:gd name="connsiteY23" fmla="*/ 2042160 h 3884286"/>
                  <a:gd name="connsiteX24" fmla="*/ 1937653 w 2218849"/>
                  <a:gd name="connsiteY24" fmla="*/ 1485900 h 3884286"/>
                  <a:gd name="connsiteX25" fmla="*/ 2021473 w 2218849"/>
                  <a:gd name="connsiteY25" fmla="*/ 1310640 h 3884286"/>
                  <a:gd name="connsiteX26" fmla="*/ 2204353 w 2218849"/>
                  <a:gd name="connsiteY26" fmla="*/ 1402080 h 3884286"/>
                  <a:gd name="connsiteX27" fmla="*/ 2189113 w 2218849"/>
                  <a:gd name="connsiteY27" fmla="*/ 1607820 h 3884286"/>
                  <a:gd name="connsiteX28" fmla="*/ 2044333 w 2218849"/>
                  <a:gd name="connsiteY28" fmla="*/ 2240280 h 3884286"/>
                  <a:gd name="connsiteX29" fmla="*/ 1663333 w 2218849"/>
                  <a:gd name="connsiteY29" fmla="*/ 2682240 h 3884286"/>
                  <a:gd name="connsiteX30" fmla="*/ 1434733 w 2218849"/>
                  <a:gd name="connsiteY30" fmla="*/ 3208020 h 3884286"/>
                  <a:gd name="connsiteX31" fmla="*/ 1389013 w 2218849"/>
                  <a:gd name="connsiteY31" fmla="*/ 3825240 h 3884286"/>
                  <a:gd name="connsiteX32" fmla="*/ 383173 w 2218849"/>
                  <a:gd name="connsiteY32" fmla="*/ 3726180 h 3884286"/>
                  <a:gd name="connsiteX0" fmla="*/ 383173 w 2218849"/>
                  <a:gd name="connsiteY0" fmla="*/ 3726180 h 3884286"/>
                  <a:gd name="connsiteX1" fmla="*/ 558433 w 2218849"/>
                  <a:gd name="connsiteY1" fmla="*/ 2659380 h 3884286"/>
                  <a:gd name="connsiteX2" fmla="*/ 116473 w 2218849"/>
                  <a:gd name="connsiteY2" fmla="*/ 1432560 h 3884286"/>
                  <a:gd name="connsiteX3" fmla="*/ 2173 w 2218849"/>
                  <a:gd name="connsiteY3" fmla="*/ 693420 h 3884286"/>
                  <a:gd name="connsiteX4" fmla="*/ 185053 w 2218849"/>
                  <a:gd name="connsiteY4" fmla="*/ 685800 h 3884286"/>
                  <a:gd name="connsiteX5" fmla="*/ 398413 w 2218849"/>
                  <a:gd name="connsiteY5" fmla="*/ 1554480 h 3884286"/>
                  <a:gd name="connsiteX6" fmla="*/ 154573 w 2218849"/>
                  <a:gd name="connsiteY6" fmla="*/ 350520 h 3884286"/>
                  <a:gd name="connsiteX7" fmla="*/ 398413 w 2218849"/>
                  <a:gd name="connsiteY7" fmla="*/ 243840 h 3884286"/>
                  <a:gd name="connsiteX8" fmla="*/ 511761 w 2218849"/>
                  <a:gd name="connsiteY8" fmla="*/ 1082040 h 3884286"/>
                  <a:gd name="connsiteX9" fmla="*/ 665113 w 2218849"/>
                  <a:gd name="connsiteY9" fmla="*/ 1531620 h 3884286"/>
                  <a:gd name="connsiteX10" fmla="*/ 520333 w 2218849"/>
                  <a:gd name="connsiteY10" fmla="*/ 975360 h 3884286"/>
                  <a:gd name="connsiteX11" fmla="*/ 459373 w 2218849"/>
                  <a:gd name="connsiteY11" fmla="*/ 167640 h 3884286"/>
                  <a:gd name="connsiteX12" fmla="*/ 474613 w 2218849"/>
                  <a:gd name="connsiteY12" fmla="*/ 22860 h 3884286"/>
                  <a:gd name="connsiteX13" fmla="*/ 665113 w 2218849"/>
                  <a:gd name="connsiteY13" fmla="*/ 60960 h 3884286"/>
                  <a:gd name="connsiteX14" fmla="*/ 726073 w 2218849"/>
                  <a:gd name="connsiteY14" fmla="*/ 586740 h 3884286"/>
                  <a:gd name="connsiteX15" fmla="*/ 825133 w 2218849"/>
                  <a:gd name="connsiteY15" fmla="*/ 861060 h 3884286"/>
                  <a:gd name="connsiteX16" fmla="*/ 939433 w 2218849"/>
                  <a:gd name="connsiteY16" fmla="*/ 1516380 h 3884286"/>
                  <a:gd name="connsiteX17" fmla="*/ 840373 w 2218849"/>
                  <a:gd name="connsiteY17" fmla="*/ 609600 h 3884286"/>
                  <a:gd name="connsiteX18" fmla="*/ 847993 w 2218849"/>
                  <a:gd name="connsiteY18" fmla="*/ 160020 h 3884286"/>
                  <a:gd name="connsiteX19" fmla="*/ 985153 w 2218849"/>
                  <a:gd name="connsiteY19" fmla="*/ 99060 h 3884286"/>
                  <a:gd name="connsiteX20" fmla="*/ 1068973 w 2218849"/>
                  <a:gd name="connsiteY20" fmla="*/ 198120 h 3884286"/>
                  <a:gd name="connsiteX21" fmla="*/ 1129933 w 2218849"/>
                  <a:gd name="connsiteY21" fmla="*/ 1066800 h 3884286"/>
                  <a:gd name="connsiteX22" fmla="*/ 1564273 w 2218849"/>
                  <a:gd name="connsiteY22" fmla="*/ 1965960 h 3884286"/>
                  <a:gd name="connsiteX23" fmla="*/ 1709053 w 2218849"/>
                  <a:gd name="connsiteY23" fmla="*/ 2042160 h 3884286"/>
                  <a:gd name="connsiteX24" fmla="*/ 1937653 w 2218849"/>
                  <a:gd name="connsiteY24" fmla="*/ 1485900 h 3884286"/>
                  <a:gd name="connsiteX25" fmla="*/ 2021473 w 2218849"/>
                  <a:gd name="connsiteY25" fmla="*/ 1310640 h 3884286"/>
                  <a:gd name="connsiteX26" fmla="*/ 2204353 w 2218849"/>
                  <a:gd name="connsiteY26" fmla="*/ 1402080 h 3884286"/>
                  <a:gd name="connsiteX27" fmla="*/ 2189113 w 2218849"/>
                  <a:gd name="connsiteY27" fmla="*/ 1607820 h 3884286"/>
                  <a:gd name="connsiteX28" fmla="*/ 2044333 w 2218849"/>
                  <a:gd name="connsiteY28" fmla="*/ 2240280 h 3884286"/>
                  <a:gd name="connsiteX29" fmla="*/ 1663333 w 2218849"/>
                  <a:gd name="connsiteY29" fmla="*/ 2682240 h 3884286"/>
                  <a:gd name="connsiteX30" fmla="*/ 1434733 w 2218849"/>
                  <a:gd name="connsiteY30" fmla="*/ 3208020 h 3884286"/>
                  <a:gd name="connsiteX31" fmla="*/ 1389013 w 2218849"/>
                  <a:gd name="connsiteY31" fmla="*/ 3825240 h 3884286"/>
                  <a:gd name="connsiteX32" fmla="*/ 383173 w 2218849"/>
                  <a:gd name="connsiteY32" fmla="*/ 3726180 h 3884286"/>
                  <a:gd name="connsiteX0" fmla="*/ 383173 w 2218849"/>
                  <a:gd name="connsiteY0" fmla="*/ 3726180 h 3884286"/>
                  <a:gd name="connsiteX1" fmla="*/ 558433 w 2218849"/>
                  <a:gd name="connsiteY1" fmla="*/ 2659380 h 3884286"/>
                  <a:gd name="connsiteX2" fmla="*/ 116473 w 2218849"/>
                  <a:gd name="connsiteY2" fmla="*/ 1432560 h 3884286"/>
                  <a:gd name="connsiteX3" fmla="*/ 2173 w 2218849"/>
                  <a:gd name="connsiteY3" fmla="*/ 693420 h 3884286"/>
                  <a:gd name="connsiteX4" fmla="*/ 185053 w 2218849"/>
                  <a:gd name="connsiteY4" fmla="*/ 685800 h 3884286"/>
                  <a:gd name="connsiteX5" fmla="*/ 398413 w 2218849"/>
                  <a:gd name="connsiteY5" fmla="*/ 1554480 h 3884286"/>
                  <a:gd name="connsiteX6" fmla="*/ 154573 w 2218849"/>
                  <a:gd name="connsiteY6" fmla="*/ 350520 h 3884286"/>
                  <a:gd name="connsiteX7" fmla="*/ 352693 w 2218849"/>
                  <a:gd name="connsiteY7" fmla="*/ 243840 h 3884286"/>
                  <a:gd name="connsiteX8" fmla="*/ 511761 w 2218849"/>
                  <a:gd name="connsiteY8" fmla="*/ 1082040 h 3884286"/>
                  <a:gd name="connsiteX9" fmla="*/ 665113 w 2218849"/>
                  <a:gd name="connsiteY9" fmla="*/ 1531620 h 3884286"/>
                  <a:gd name="connsiteX10" fmla="*/ 520333 w 2218849"/>
                  <a:gd name="connsiteY10" fmla="*/ 975360 h 3884286"/>
                  <a:gd name="connsiteX11" fmla="*/ 459373 w 2218849"/>
                  <a:gd name="connsiteY11" fmla="*/ 167640 h 3884286"/>
                  <a:gd name="connsiteX12" fmla="*/ 474613 w 2218849"/>
                  <a:gd name="connsiteY12" fmla="*/ 22860 h 3884286"/>
                  <a:gd name="connsiteX13" fmla="*/ 665113 w 2218849"/>
                  <a:gd name="connsiteY13" fmla="*/ 60960 h 3884286"/>
                  <a:gd name="connsiteX14" fmla="*/ 726073 w 2218849"/>
                  <a:gd name="connsiteY14" fmla="*/ 586740 h 3884286"/>
                  <a:gd name="connsiteX15" fmla="*/ 825133 w 2218849"/>
                  <a:gd name="connsiteY15" fmla="*/ 861060 h 3884286"/>
                  <a:gd name="connsiteX16" fmla="*/ 939433 w 2218849"/>
                  <a:gd name="connsiteY16" fmla="*/ 1516380 h 3884286"/>
                  <a:gd name="connsiteX17" fmla="*/ 840373 w 2218849"/>
                  <a:gd name="connsiteY17" fmla="*/ 609600 h 3884286"/>
                  <a:gd name="connsiteX18" fmla="*/ 847993 w 2218849"/>
                  <a:gd name="connsiteY18" fmla="*/ 160020 h 3884286"/>
                  <a:gd name="connsiteX19" fmla="*/ 985153 w 2218849"/>
                  <a:gd name="connsiteY19" fmla="*/ 99060 h 3884286"/>
                  <a:gd name="connsiteX20" fmla="*/ 1068973 w 2218849"/>
                  <a:gd name="connsiteY20" fmla="*/ 198120 h 3884286"/>
                  <a:gd name="connsiteX21" fmla="*/ 1129933 w 2218849"/>
                  <a:gd name="connsiteY21" fmla="*/ 1066800 h 3884286"/>
                  <a:gd name="connsiteX22" fmla="*/ 1564273 w 2218849"/>
                  <a:gd name="connsiteY22" fmla="*/ 1965960 h 3884286"/>
                  <a:gd name="connsiteX23" fmla="*/ 1709053 w 2218849"/>
                  <a:gd name="connsiteY23" fmla="*/ 2042160 h 3884286"/>
                  <a:gd name="connsiteX24" fmla="*/ 1937653 w 2218849"/>
                  <a:gd name="connsiteY24" fmla="*/ 1485900 h 3884286"/>
                  <a:gd name="connsiteX25" fmla="*/ 2021473 w 2218849"/>
                  <a:gd name="connsiteY25" fmla="*/ 1310640 h 3884286"/>
                  <a:gd name="connsiteX26" fmla="*/ 2204353 w 2218849"/>
                  <a:gd name="connsiteY26" fmla="*/ 1402080 h 3884286"/>
                  <a:gd name="connsiteX27" fmla="*/ 2189113 w 2218849"/>
                  <a:gd name="connsiteY27" fmla="*/ 1607820 h 3884286"/>
                  <a:gd name="connsiteX28" fmla="*/ 2044333 w 2218849"/>
                  <a:gd name="connsiteY28" fmla="*/ 2240280 h 3884286"/>
                  <a:gd name="connsiteX29" fmla="*/ 1663333 w 2218849"/>
                  <a:gd name="connsiteY29" fmla="*/ 2682240 h 3884286"/>
                  <a:gd name="connsiteX30" fmla="*/ 1434733 w 2218849"/>
                  <a:gd name="connsiteY30" fmla="*/ 3208020 h 3884286"/>
                  <a:gd name="connsiteX31" fmla="*/ 1389013 w 2218849"/>
                  <a:gd name="connsiteY31" fmla="*/ 3825240 h 3884286"/>
                  <a:gd name="connsiteX32" fmla="*/ 383173 w 2218849"/>
                  <a:gd name="connsiteY32" fmla="*/ 3726180 h 3884286"/>
                  <a:gd name="connsiteX0" fmla="*/ 383173 w 2218849"/>
                  <a:gd name="connsiteY0" fmla="*/ 3726180 h 3884286"/>
                  <a:gd name="connsiteX1" fmla="*/ 558433 w 2218849"/>
                  <a:gd name="connsiteY1" fmla="*/ 2659380 h 3884286"/>
                  <a:gd name="connsiteX2" fmla="*/ 116473 w 2218849"/>
                  <a:gd name="connsiteY2" fmla="*/ 1432560 h 3884286"/>
                  <a:gd name="connsiteX3" fmla="*/ 2173 w 2218849"/>
                  <a:gd name="connsiteY3" fmla="*/ 693420 h 3884286"/>
                  <a:gd name="connsiteX4" fmla="*/ 185053 w 2218849"/>
                  <a:gd name="connsiteY4" fmla="*/ 685800 h 3884286"/>
                  <a:gd name="connsiteX5" fmla="*/ 398413 w 2218849"/>
                  <a:gd name="connsiteY5" fmla="*/ 1554480 h 3884286"/>
                  <a:gd name="connsiteX6" fmla="*/ 177433 w 2218849"/>
                  <a:gd name="connsiteY6" fmla="*/ 350520 h 3884286"/>
                  <a:gd name="connsiteX7" fmla="*/ 352693 w 2218849"/>
                  <a:gd name="connsiteY7" fmla="*/ 243840 h 3884286"/>
                  <a:gd name="connsiteX8" fmla="*/ 511761 w 2218849"/>
                  <a:gd name="connsiteY8" fmla="*/ 1082040 h 3884286"/>
                  <a:gd name="connsiteX9" fmla="*/ 665113 w 2218849"/>
                  <a:gd name="connsiteY9" fmla="*/ 1531620 h 3884286"/>
                  <a:gd name="connsiteX10" fmla="*/ 520333 w 2218849"/>
                  <a:gd name="connsiteY10" fmla="*/ 975360 h 3884286"/>
                  <a:gd name="connsiteX11" fmla="*/ 459373 w 2218849"/>
                  <a:gd name="connsiteY11" fmla="*/ 167640 h 3884286"/>
                  <a:gd name="connsiteX12" fmla="*/ 474613 w 2218849"/>
                  <a:gd name="connsiteY12" fmla="*/ 22860 h 3884286"/>
                  <a:gd name="connsiteX13" fmla="*/ 665113 w 2218849"/>
                  <a:gd name="connsiteY13" fmla="*/ 60960 h 3884286"/>
                  <a:gd name="connsiteX14" fmla="*/ 726073 w 2218849"/>
                  <a:gd name="connsiteY14" fmla="*/ 586740 h 3884286"/>
                  <a:gd name="connsiteX15" fmla="*/ 825133 w 2218849"/>
                  <a:gd name="connsiteY15" fmla="*/ 861060 h 3884286"/>
                  <a:gd name="connsiteX16" fmla="*/ 939433 w 2218849"/>
                  <a:gd name="connsiteY16" fmla="*/ 1516380 h 3884286"/>
                  <a:gd name="connsiteX17" fmla="*/ 840373 w 2218849"/>
                  <a:gd name="connsiteY17" fmla="*/ 609600 h 3884286"/>
                  <a:gd name="connsiteX18" fmla="*/ 847993 w 2218849"/>
                  <a:gd name="connsiteY18" fmla="*/ 160020 h 3884286"/>
                  <a:gd name="connsiteX19" fmla="*/ 985153 w 2218849"/>
                  <a:gd name="connsiteY19" fmla="*/ 99060 h 3884286"/>
                  <a:gd name="connsiteX20" fmla="*/ 1068973 w 2218849"/>
                  <a:gd name="connsiteY20" fmla="*/ 198120 h 3884286"/>
                  <a:gd name="connsiteX21" fmla="*/ 1129933 w 2218849"/>
                  <a:gd name="connsiteY21" fmla="*/ 1066800 h 3884286"/>
                  <a:gd name="connsiteX22" fmla="*/ 1564273 w 2218849"/>
                  <a:gd name="connsiteY22" fmla="*/ 1965960 h 3884286"/>
                  <a:gd name="connsiteX23" fmla="*/ 1709053 w 2218849"/>
                  <a:gd name="connsiteY23" fmla="*/ 2042160 h 3884286"/>
                  <a:gd name="connsiteX24" fmla="*/ 1937653 w 2218849"/>
                  <a:gd name="connsiteY24" fmla="*/ 1485900 h 3884286"/>
                  <a:gd name="connsiteX25" fmla="*/ 2021473 w 2218849"/>
                  <a:gd name="connsiteY25" fmla="*/ 1310640 h 3884286"/>
                  <a:gd name="connsiteX26" fmla="*/ 2204353 w 2218849"/>
                  <a:gd name="connsiteY26" fmla="*/ 1402080 h 3884286"/>
                  <a:gd name="connsiteX27" fmla="*/ 2189113 w 2218849"/>
                  <a:gd name="connsiteY27" fmla="*/ 1607820 h 3884286"/>
                  <a:gd name="connsiteX28" fmla="*/ 2044333 w 2218849"/>
                  <a:gd name="connsiteY28" fmla="*/ 2240280 h 3884286"/>
                  <a:gd name="connsiteX29" fmla="*/ 1663333 w 2218849"/>
                  <a:gd name="connsiteY29" fmla="*/ 2682240 h 3884286"/>
                  <a:gd name="connsiteX30" fmla="*/ 1434733 w 2218849"/>
                  <a:gd name="connsiteY30" fmla="*/ 3208020 h 3884286"/>
                  <a:gd name="connsiteX31" fmla="*/ 1389013 w 2218849"/>
                  <a:gd name="connsiteY31" fmla="*/ 3825240 h 3884286"/>
                  <a:gd name="connsiteX32" fmla="*/ 383173 w 2218849"/>
                  <a:gd name="connsiteY32" fmla="*/ 3726180 h 3884286"/>
                  <a:gd name="connsiteX0" fmla="*/ 383173 w 2218849"/>
                  <a:gd name="connsiteY0" fmla="*/ 3726180 h 3884286"/>
                  <a:gd name="connsiteX1" fmla="*/ 558433 w 2218849"/>
                  <a:gd name="connsiteY1" fmla="*/ 2659380 h 3884286"/>
                  <a:gd name="connsiteX2" fmla="*/ 116473 w 2218849"/>
                  <a:gd name="connsiteY2" fmla="*/ 1432560 h 3884286"/>
                  <a:gd name="connsiteX3" fmla="*/ 2173 w 2218849"/>
                  <a:gd name="connsiteY3" fmla="*/ 693420 h 3884286"/>
                  <a:gd name="connsiteX4" fmla="*/ 185053 w 2218849"/>
                  <a:gd name="connsiteY4" fmla="*/ 685800 h 3884286"/>
                  <a:gd name="connsiteX5" fmla="*/ 398413 w 2218849"/>
                  <a:gd name="connsiteY5" fmla="*/ 1554480 h 3884286"/>
                  <a:gd name="connsiteX6" fmla="*/ 177433 w 2218849"/>
                  <a:gd name="connsiteY6" fmla="*/ 350520 h 3884286"/>
                  <a:gd name="connsiteX7" fmla="*/ 375553 w 2218849"/>
                  <a:gd name="connsiteY7" fmla="*/ 243840 h 3884286"/>
                  <a:gd name="connsiteX8" fmla="*/ 511761 w 2218849"/>
                  <a:gd name="connsiteY8" fmla="*/ 1082040 h 3884286"/>
                  <a:gd name="connsiteX9" fmla="*/ 665113 w 2218849"/>
                  <a:gd name="connsiteY9" fmla="*/ 1531620 h 3884286"/>
                  <a:gd name="connsiteX10" fmla="*/ 520333 w 2218849"/>
                  <a:gd name="connsiteY10" fmla="*/ 975360 h 3884286"/>
                  <a:gd name="connsiteX11" fmla="*/ 459373 w 2218849"/>
                  <a:gd name="connsiteY11" fmla="*/ 167640 h 3884286"/>
                  <a:gd name="connsiteX12" fmla="*/ 474613 w 2218849"/>
                  <a:gd name="connsiteY12" fmla="*/ 22860 h 3884286"/>
                  <a:gd name="connsiteX13" fmla="*/ 665113 w 2218849"/>
                  <a:gd name="connsiteY13" fmla="*/ 60960 h 3884286"/>
                  <a:gd name="connsiteX14" fmla="*/ 726073 w 2218849"/>
                  <a:gd name="connsiteY14" fmla="*/ 586740 h 3884286"/>
                  <a:gd name="connsiteX15" fmla="*/ 825133 w 2218849"/>
                  <a:gd name="connsiteY15" fmla="*/ 861060 h 3884286"/>
                  <a:gd name="connsiteX16" fmla="*/ 939433 w 2218849"/>
                  <a:gd name="connsiteY16" fmla="*/ 1516380 h 3884286"/>
                  <a:gd name="connsiteX17" fmla="*/ 840373 w 2218849"/>
                  <a:gd name="connsiteY17" fmla="*/ 609600 h 3884286"/>
                  <a:gd name="connsiteX18" fmla="*/ 847993 w 2218849"/>
                  <a:gd name="connsiteY18" fmla="*/ 160020 h 3884286"/>
                  <a:gd name="connsiteX19" fmla="*/ 985153 w 2218849"/>
                  <a:gd name="connsiteY19" fmla="*/ 99060 h 3884286"/>
                  <a:gd name="connsiteX20" fmla="*/ 1068973 w 2218849"/>
                  <a:gd name="connsiteY20" fmla="*/ 198120 h 3884286"/>
                  <a:gd name="connsiteX21" fmla="*/ 1129933 w 2218849"/>
                  <a:gd name="connsiteY21" fmla="*/ 1066800 h 3884286"/>
                  <a:gd name="connsiteX22" fmla="*/ 1564273 w 2218849"/>
                  <a:gd name="connsiteY22" fmla="*/ 1965960 h 3884286"/>
                  <a:gd name="connsiteX23" fmla="*/ 1709053 w 2218849"/>
                  <a:gd name="connsiteY23" fmla="*/ 2042160 h 3884286"/>
                  <a:gd name="connsiteX24" fmla="*/ 1937653 w 2218849"/>
                  <a:gd name="connsiteY24" fmla="*/ 1485900 h 3884286"/>
                  <a:gd name="connsiteX25" fmla="*/ 2021473 w 2218849"/>
                  <a:gd name="connsiteY25" fmla="*/ 1310640 h 3884286"/>
                  <a:gd name="connsiteX26" fmla="*/ 2204353 w 2218849"/>
                  <a:gd name="connsiteY26" fmla="*/ 1402080 h 3884286"/>
                  <a:gd name="connsiteX27" fmla="*/ 2189113 w 2218849"/>
                  <a:gd name="connsiteY27" fmla="*/ 1607820 h 3884286"/>
                  <a:gd name="connsiteX28" fmla="*/ 2044333 w 2218849"/>
                  <a:gd name="connsiteY28" fmla="*/ 2240280 h 3884286"/>
                  <a:gd name="connsiteX29" fmla="*/ 1663333 w 2218849"/>
                  <a:gd name="connsiteY29" fmla="*/ 2682240 h 3884286"/>
                  <a:gd name="connsiteX30" fmla="*/ 1434733 w 2218849"/>
                  <a:gd name="connsiteY30" fmla="*/ 3208020 h 3884286"/>
                  <a:gd name="connsiteX31" fmla="*/ 1389013 w 2218849"/>
                  <a:gd name="connsiteY31" fmla="*/ 3825240 h 3884286"/>
                  <a:gd name="connsiteX32" fmla="*/ 383173 w 2218849"/>
                  <a:gd name="connsiteY32" fmla="*/ 3726180 h 3884286"/>
                  <a:gd name="connsiteX0" fmla="*/ 383173 w 2218849"/>
                  <a:gd name="connsiteY0" fmla="*/ 3726180 h 3884286"/>
                  <a:gd name="connsiteX1" fmla="*/ 558433 w 2218849"/>
                  <a:gd name="connsiteY1" fmla="*/ 2659380 h 3884286"/>
                  <a:gd name="connsiteX2" fmla="*/ 116473 w 2218849"/>
                  <a:gd name="connsiteY2" fmla="*/ 1432560 h 3884286"/>
                  <a:gd name="connsiteX3" fmla="*/ 2173 w 2218849"/>
                  <a:gd name="connsiteY3" fmla="*/ 693420 h 3884286"/>
                  <a:gd name="connsiteX4" fmla="*/ 185053 w 2218849"/>
                  <a:gd name="connsiteY4" fmla="*/ 685800 h 3884286"/>
                  <a:gd name="connsiteX5" fmla="*/ 398413 w 2218849"/>
                  <a:gd name="connsiteY5" fmla="*/ 1554480 h 3884286"/>
                  <a:gd name="connsiteX6" fmla="*/ 177433 w 2218849"/>
                  <a:gd name="connsiteY6" fmla="*/ 350520 h 3884286"/>
                  <a:gd name="connsiteX7" fmla="*/ 375553 w 2218849"/>
                  <a:gd name="connsiteY7" fmla="*/ 243840 h 3884286"/>
                  <a:gd name="connsiteX8" fmla="*/ 511761 w 2218849"/>
                  <a:gd name="connsiteY8" fmla="*/ 1082040 h 3884286"/>
                  <a:gd name="connsiteX9" fmla="*/ 665113 w 2218849"/>
                  <a:gd name="connsiteY9" fmla="*/ 1531620 h 3884286"/>
                  <a:gd name="connsiteX10" fmla="*/ 520333 w 2218849"/>
                  <a:gd name="connsiteY10" fmla="*/ 975360 h 3884286"/>
                  <a:gd name="connsiteX11" fmla="*/ 459373 w 2218849"/>
                  <a:gd name="connsiteY11" fmla="*/ 167640 h 3884286"/>
                  <a:gd name="connsiteX12" fmla="*/ 474613 w 2218849"/>
                  <a:gd name="connsiteY12" fmla="*/ 22860 h 3884286"/>
                  <a:gd name="connsiteX13" fmla="*/ 665113 w 2218849"/>
                  <a:gd name="connsiteY13" fmla="*/ 60960 h 3884286"/>
                  <a:gd name="connsiteX14" fmla="*/ 726073 w 2218849"/>
                  <a:gd name="connsiteY14" fmla="*/ 586740 h 3884286"/>
                  <a:gd name="connsiteX15" fmla="*/ 825133 w 2218849"/>
                  <a:gd name="connsiteY15" fmla="*/ 861060 h 3884286"/>
                  <a:gd name="connsiteX16" fmla="*/ 939433 w 2218849"/>
                  <a:gd name="connsiteY16" fmla="*/ 1516380 h 3884286"/>
                  <a:gd name="connsiteX17" fmla="*/ 840373 w 2218849"/>
                  <a:gd name="connsiteY17" fmla="*/ 609600 h 3884286"/>
                  <a:gd name="connsiteX18" fmla="*/ 847993 w 2218849"/>
                  <a:gd name="connsiteY18" fmla="*/ 160020 h 3884286"/>
                  <a:gd name="connsiteX19" fmla="*/ 985153 w 2218849"/>
                  <a:gd name="connsiteY19" fmla="*/ 99060 h 3884286"/>
                  <a:gd name="connsiteX20" fmla="*/ 1068973 w 2218849"/>
                  <a:gd name="connsiteY20" fmla="*/ 198120 h 3884286"/>
                  <a:gd name="connsiteX21" fmla="*/ 1129933 w 2218849"/>
                  <a:gd name="connsiteY21" fmla="*/ 1066800 h 3884286"/>
                  <a:gd name="connsiteX22" fmla="*/ 1564273 w 2218849"/>
                  <a:gd name="connsiteY22" fmla="*/ 1965960 h 3884286"/>
                  <a:gd name="connsiteX23" fmla="*/ 1709053 w 2218849"/>
                  <a:gd name="connsiteY23" fmla="*/ 2042160 h 3884286"/>
                  <a:gd name="connsiteX24" fmla="*/ 2021473 w 2218849"/>
                  <a:gd name="connsiteY24" fmla="*/ 1310640 h 3884286"/>
                  <a:gd name="connsiteX25" fmla="*/ 2204353 w 2218849"/>
                  <a:gd name="connsiteY25" fmla="*/ 1402080 h 3884286"/>
                  <a:gd name="connsiteX26" fmla="*/ 2189113 w 2218849"/>
                  <a:gd name="connsiteY26" fmla="*/ 1607820 h 3884286"/>
                  <a:gd name="connsiteX27" fmla="*/ 2044333 w 2218849"/>
                  <a:gd name="connsiteY27" fmla="*/ 2240280 h 3884286"/>
                  <a:gd name="connsiteX28" fmla="*/ 1663333 w 2218849"/>
                  <a:gd name="connsiteY28" fmla="*/ 2682240 h 3884286"/>
                  <a:gd name="connsiteX29" fmla="*/ 1434733 w 2218849"/>
                  <a:gd name="connsiteY29" fmla="*/ 3208020 h 3884286"/>
                  <a:gd name="connsiteX30" fmla="*/ 1389013 w 2218849"/>
                  <a:gd name="connsiteY30" fmla="*/ 3825240 h 3884286"/>
                  <a:gd name="connsiteX31" fmla="*/ 383173 w 2218849"/>
                  <a:gd name="connsiteY31" fmla="*/ 3726180 h 3884286"/>
                  <a:gd name="connsiteX0" fmla="*/ 383173 w 2221654"/>
                  <a:gd name="connsiteY0" fmla="*/ 3726180 h 3884286"/>
                  <a:gd name="connsiteX1" fmla="*/ 558433 w 2221654"/>
                  <a:gd name="connsiteY1" fmla="*/ 2659380 h 3884286"/>
                  <a:gd name="connsiteX2" fmla="*/ 116473 w 2221654"/>
                  <a:gd name="connsiteY2" fmla="*/ 1432560 h 3884286"/>
                  <a:gd name="connsiteX3" fmla="*/ 2173 w 2221654"/>
                  <a:gd name="connsiteY3" fmla="*/ 693420 h 3884286"/>
                  <a:gd name="connsiteX4" fmla="*/ 185053 w 2221654"/>
                  <a:gd name="connsiteY4" fmla="*/ 685800 h 3884286"/>
                  <a:gd name="connsiteX5" fmla="*/ 398413 w 2221654"/>
                  <a:gd name="connsiteY5" fmla="*/ 1554480 h 3884286"/>
                  <a:gd name="connsiteX6" fmla="*/ 177433 w 2221654"/>
                  <a:gd name="connsiteY6" fmla="*/ 350520 h 3884286"/>
                  <a:gd name="connsiteX7" fmla="*/ 375553 w 2221654"/>
                  <a:gd name="connsiteY7" fmla="*/ 243840 h 3884286"/>
                  <a:gd name="connsiteX8" fmla="*/ 511761 w 2221654"/>
                  <a:gd name="connsiteY8" fmla="*/ 1082040 h 3884286"/>
                  <a:gd name="connsiteX9" fmla="*/ 665113 w 2221654"/>
                  <a:gd name="connsiteY9" fmla="*/ 1531620 h 3884286"/>
                  <a:gd name="connsiteX10" fmla="*/ 520333 w 2221654"/>
                  <a:gd name="connsiteY10" fmla="*/ 975360 h 3884286"/>
                  <a:gd name="connsiteX11" fmla="*/ 459373 w 2221654"/>
                  <a:gd name="connsiteY11" fmla="*/ 167640 h 3884286"/>
                  <a:gd name="connsiteX12" fmla="*/ 474613 w 2221654"/>
                  <a:gd name="connsiteY12" fmla="*/ 22860 h 3884286"/>
                  <a:gd name="connsiteX13" fmla="*/ 665113 w 2221654"/>
                  <a:gd name="connsiteY13" fmla="*/ 60960 h 3884286"/>
                  <a:gd name="connsiteX14" fmla="*/ 726073 w 2221654"/>
                  <a:gd name="connsiteY14" fmla="*/ 586740 h 3884286"/>
                  <a:gd name="connsiteX15" fmla="*/ 825133 w 2221654"/>
                  <a:gd name="connsiteY15" fmla="*/ 861060 h 3884286"/>
                  <a:gd name="connsiteX16" fmla="*/ 939433 w 2221654"/>
                  <a:gd name="connsiteY16" fmla="*/ 1516380 h 3884286"/>
                  <a:gd name="connsiteX17" fmla="*/ 840373 w 2221654"/>
                  <a:gd name="connsiteY17" fmla="*/ 609600 h 3884286"/>
                  <a:gd name="connsiteX18" fmla="*/ 847993 w 2221654"/>
                  <a:gd name="connsiteY18" fmla="*/ 160020 h 3884286"/>
                  <a:gd name="connsiteX19" fmla="*/ 985153 w 2221654"/>
                  <a:gd name="connsiteY19" fmla="*/ 99060 h 3884286"/>
                  <a:gd name="connsiteX20" fmla="*/ 1068973 w 2221654"/>
                  <a:gd name="connsiteY20" fmla="*/ 198120 h 3884286"/>
                  <a:gd name="connsiteX21" fmla="*/ 1129933 w 2221654"/>
                  <a:gd name="connsiteY21" fmla="*/ 1066800 h 3884286"/>
                  <a:gd name="connsiteX22" fmla="*/ 1564273 w 2221654"/>
                  <a:gd name="connsiteY22" fmla="*/ 1965960 h 3884286"/>
                  <a:gd name="connsiteX23" fmla="*/ 1709053 w 2221654"/>
                  <a:gd name="connsiteY23" fmla="*/ 2042160 h 3884286"/>
                  <a:gd name="connsiteX24" fmla="*/ 1983373 w 2221654"/>
                  <a:gd name="connsiteY24" fmla="*/ 1402080 h 3884286"/>
                  <a:gd name="connsiteX25" fmla="*/ 2204353 w 2221654"/>
                  <a:gd name="connsiteY25" fmla="*/ 1402080 h 3884286"/>
                  <a:gd name="connsiteX26" fmla="*/ 2189113 w 2221654"/>
                  <a:gd name="connsiteY26" fmla="*/ 1607820 h 3884286"/>
                  <a:gd name="connsiteX27" fmla="*/ 2044333 w 2221654"/>
                  <a:gd name="connsiteY27" fmla="*/ 2240280 h 3884286"/>
                  <a:gd name="connsiteX28" fmla="*/ 1663333 w 2221654"/>
                  <a:gd name="connsiteY28" fmla="*/ 2682240 h 3884286"/>
                  <a:gd name="connsiteX29" fmla="*/ 1434733 w 2221654"/>
                  <a:gd name="connsiteY29" fmla="*/ 3208020 h 3884286"/>
                  <a:gd name="connsiteX30" fmla="*/ 1389013 w 2221654"/>
                  <a:gd name="connsiteY30" fmla="*/ 3825240 h 3884286"/>
                  <a:gd name="connsiteX31" fmla="*/ 383173 w 2221654"/>
                  <a:gd name="connsiteY31" fmla="*/ 3726180 h 3884286"/>
                  <a:gd name="connsiteX0" fmla="*/ 383173 w 2190129"/>
                  <a:gd name="connsiteY0" fmla="*/ 3726180 h 3884286"/>
                  <a:gd name="connsiteX1" fmla="*/ 558433 w 2190129"/>
                  <a:gd name="connsiteY1" fmla="*/ 2659380 h 3884286"/>
                  <a:gd name="connsiteX2" fmla="*/ 116473 w 2190129"/>
                  <a:gd name="connsiteY2" fmla="*/ 1432560 h 3884286"/>
                  <a:gd name="connsiteX3" fmla="*/ 2173 w 2190129"/>
                  <a:gd name="connsiteY3" fmla="*/ 693420 h 3884286"/>
                  <a:gd name="connsiteX4" fmla="*/ 185053 w 2190129"/>
                  <a:gd name="connsiteY4" fmla="*/ 685800 h 3884286"/>
                  <a:gd name="connsiteX5" fmla="*/ 398413 w 2190129"/>
                  <a:gd name="connsiteY5" fmla="*/ 1554480 h 3884286"/>
                  <a:gd name="connsiteX6" fmla="*/ 177433 w 2190129"/>
                  <a:gd name="connsiteY6" fmla="*/ 350520 h 3884286"/>
                  <a:gd name="connsiteX7" fmla="*/ 375553 w 2190129"/>
                  <a:gd name="connsiteY7" fmla="*/ 243840 h 3884286"/>
                  <a:gd name="connsiteX8" fmla="*/ 511761 w 2190129"/>
                  <a:gd name="connsiteY8" fmla="*/ 1082040 h 3884286"/>
                  <a:gd name="connsiteX9" fmla="*/ 665113 w 2190129"/>
                  <a:gd name="connsiteY9" fmla="*/ 1531620 h 3884286"/>
                  <a:gd name="connsiteX10" fmla="*/ 520333 w 2190129"/>
                  <a:gd name="connsiteY10" fmla="*/ 975360 h 3884286"/>
                  <a:gd name="connsiteX11" fmla="*/ 459373 w 2190129"/>
                  <a:gd name="connsiteY11" fmla="*/ 167640 h 3884286"/>
                  <a:gd name="connsiteX12" fmla="*/ 474613 w 2190129"/>
                  <a:gd name="connsiteY12" fmla="*/ 22860 h 3884286"/>
                  <a:gd name="connsiteX13" fmla="*/ 665113 w 2190129"/>
                  <a:gd name="connsiteY13" fmla="*/ 60960 h 3884286"/>
                  <a:gd name="connsiteX14" fmla="*/ 726073 w 2190129"/>
                  <a:gd name="connsiteY14" fmla="*/ 586740 h 3884286"/>
                  <a:gd name="connsiteX15" fmla="*/ 825133 w 2190129"/>
                  <a:gd name="connsiteY15" fmla="*/ 861060 h 3884286"/>
                  <a:gd name="connsiteX16" fmla="*/ 939433 w 2190129"/>
                  <a:gd name="connsiteY16" fmla="*/ 1516380 h 3884286"/>
                  <a:gd name="connsiteX17" fmla="*/ 840373 w 2190129"/>
                  <a:gd name="connsiteY17" fmla="*/ 609600 h 3884286"/>
                  <a:gd name="connsiteX18" fmla="*/ 847993 w 2190129"/>
                  <a:gd name="connsiteY18" fmla="*/ 160020 h 3884286"/>
                  <a:gd name="connsiteX19" fmla="*/ 985153 w 2190129"/>
                  <a:gd name="connsiteY19" fmla="*/ 99060 h 3884286"/>
                  <a:gd name="connsiteX20" fmla="*/ 1068973 w 2190129"/>
                  <a:gd name="connsiteY20" fmla="*/ 198120 h 3884286"/>
                  <a:gd name="connsiteX21" fmla="*/ 1129933 w 2190129"/>
                  <a:gd name="connsiteY21" fmla="*/ 1066800 h 3884286"/>
                  <a:gd name="connsiteX22" fmla="*/ 1564273 w 2190129"/>
                  <a:gd name="connsiteY22" fmla="*/ 1965960 h 3884286"/>
                  <a:gd name="connsiteX23" fmla="*/ 1709053 w 2190129"/>
                  <a:gd name="connsiteY23" fmla="*/ 2042160 h 3884286"/>
                  <a:gd name="connsiteX24" fmla="*/ 1983373 w 2190129"/>
                  <a:gd name="connsiteY24" fmla="*/ 1402080 h 3884286"/>
                  <a:gd name="connsiteX25" fmla="*/ 2189113 w 2190129"/>
                  <a:gd name="connsiteY25" fmla="*/ 1607820 h 3884286"/>
                  <a:gd name="connsiteX26" fmla="*/ 2044333 w 2190129"/>
                  <a:gd name="connsiteY26" fmla="*/ 2240280 h 3884286"/>
                  <a:gd name="connsiteX27" fmla="*/ 1663333 w 2190129"/>
                  <a:gd name="connsiteY27" fmla="*/ 2682240 h 3884286"/>
                  <a:gd name="connsiteX28" fmla="*/ 1434733 w 2190129"/>
                  <a:gd name="connsiteY28" fmla="*/ 3208020 h 3884286"/>
                  <a:gd name="connsiteX29" fmla="*/ 1389013 w 2190129"/>
                  <a:gd name="connsiteY29" fmla="*/ 3825240 h 3884286"/>
                  <a:gd name="connsiteX30" fmla="*/ 383173 w 2190129"/>
                  <a:gd name="connsiteY30" fmla="*/ 3726180 h 3884286"/>
                  <a:gd name="connsiteX0" fmla="*/ 383173 w 2220358"/>
                  <a:gd name="connsiteY0" fmla="*/ 3726180 h 3884286"/>
                  <a:gd name="connsiteX1" fmla="*/ 558433 w 2220358"/>
                  <a:gd name="connsiteY1" fmla="*/ 2659380 h 3884286"/>
                  <a:gd name="connsiteX2" fmla="*/ 116473 w 2220358"/>
                  <a:gd name="connsiteY2" fmla="*/ 1432560 h 3884286"/>
                  <a:gd name="connsiteX3" fmla="*/ 2173 w 2220358"/>
                  <a:gd name="connsiteY3" fmla="*/ 693420 h 3884286"/>
                  <a:gd name="connsiteX4" fmla="*/ 185053 w 2220358"/>
                  <a:gd name="connsiteY4" fmla="*/ 685800 h 3884286"/>
                  <a:gd name="connsiteX5" fmla="*/ 398413 w 2220358"/>
                  <a:gd name="connsiteY5" fmla="*/ 1554480 h 3884286"/>
                  <a:gd name="connsiteX6" fmla="*/ 177433 w 2220358"/>
                  <a:gd name="connsiteY6" fmla="*/ 350520 h 3884286"/>
                  <a:gd name="connsiteX7" fmla="*/ 375553 w 2220358"/>
                  <a:gd name="connsiteY7" fmla="*/ 243840 h 3884286"/>
                  <a:gd name="connsiteX8" fmla="*/ 511761 w 2220358"/>
                  <a:gd name="connsiteY8" fmla="*/ 1082040 h 3884286"/>
                  <a:gd name="connsiteX9" fmla="*/ 665113 w 2220358"/>
                  <a:gd name="connsiteY9" fmla="*/ 1531620 h 3884286"/>
                  <a:gd name="connsiteX10" fmla="*/ 520333 w 2220358"/>
                  <a:gd name="connsiteY10" fmla="*/ 975360 h 3884286"/>
                  <a:gd name="connsiteX11" fmla="*/ 459373 w 2220358"/>
                  <a:gd name="connsiteY11" fmla="*/ 167640 h 3884286"/>
                  <a:gd name="connsiteX12" fmla="*/ 474613 w 2220358"/>
                  <a:gd name="connsiteY12" fmla="*/ 22860 h 3884286"/>
                  <a:gd name="connsiteX13" fmla="*/ 665113 w 2220358"/>
                  <a:gd name="connsiteY13" fmla="*/ 60960 h 3884286"/>
                  <a:gd name="connsiteX14" fmla="*/ 726073 w 2220358"/>
                  <a:gd name="connsiteY14" fmla="*/ 586740 h 3884286"/>
                  <a:gd name="connsiteX15" fmla="*/ 825133 w 2220358"/>
                  <a:gd name="connsiteY15" fmla="*/ 861060 h 3884286"/>
                  <a:gd name="connsiteX16" fmla="*/ 939433 w 2220358"/>
                  <a:gd name="connsiteY16" fmla="*/ 1516380 h 3884286"/>
                  <a:gd name="connsiteX17" fmla="*/ 840373 w 2220358"/>
                  <a:gd name="connsiteY17" fmla="*/ 609600 h 3884286"/>
                  <a:gd name="connsiteX18" fmla="*/ 847993 w 2220358"/>
                  <a:gd name="connsiteY18" fmla="*/ 160020 h 3884286"/>
                  <a:gd name="connsiteX19" fmla="*/ 985153 w 2220358"/>
                  <a:gd name="connsiteY19" fmla="*/ 99060 h 3884286"/>
                  <a:gd name="connsiteX20" fmla="*/ 1068973 w 2220358"/>
                  <a:gd name="connsiteY20" fmla="*/ 198120 h 3884286"/>
                  <a:gd name="connsiteX21" fmla="*/ 1129933 w 2220358"/>
                  <a:gd name="connsiteY21" fmla="*/ 1066800 h 3884286"/>
                  <a:gd name="connsiteX22" fmla="*/ 1564273 w 2220358"/>
                  <a:gd name="connsiteY22" fmla="*/ 1965960 h 3884286"/>
                  <a:gd name="connsiteX23" fmla="*/ 1709053 w 2220358"/>
                  <a:gd name="connsiteY23" fmla="*/ 2042160 h 3884286"/>
                  <a:gd name="connsiteX24" fmla="*/ 1983373 w 2220358"/>
                  <a:gd name="connsiteY24" fmla="*/ 1402080 h 3884286"/>
                  <a:gd name="connsiteX25" fmla="*/ 2219593 w 2220358"/>
                  <a:gd name="connsiteY25" fmla="*/ 1409700 h 3884286"/>
                  <a:gd name="connsiteX26" fmla="*/ 2044333 w 2220358"/>
                  <a:gd name="connsiteY26" fmla="*/ 2240280 h 3884286"/>
                  <a:gd name="connsiteX27" fmla="*/ 1663333 w 2220358"/>
                  <a:gd name="connsiteY27" fmla="*/ 2682240 h 3884286"/>
                  <a:gd name="connsiteX28" fmla="*/ 1434733 w 2220358"/>
                  <a:gd name="connsiteY28" fmla="*/ 3208020 h 3884286"/>
                  <a:gd name="connsiteX29" fmla="*/ 1389013 w 2220358"/>
                  <a:gd name="connsiteY29" fmla="*/ 3825240 h 3884286"/>
                  <a:gd name="connsiteX30" fmla="*/ 383173 w 2220358"/>
                  <a:gd name="connsiteY30" fmla="*/ 3726180 h 3884286"/>
                  <a:gd name="connsiteX0" fmla="*/ 383173 w 2261428"/>
                  <a:gd name="connsiteY0" fmla="*/ 3726180 h 3884286"/>
                  <a:gd name="connsiteX1" fmla="*/ 558433 w 2261428"/>
                  <a:gd name="connsiteY1" fmla="*/ 2659380 h 3884286"/>
                  <a:gd name="connsiteX2" fmla="*/ 116473 w 2261428"/>
                  <a:gd name="connsiteY2" fmla="*/ 1432560 h 3884286"/>
                  <a:gd name="connsiteX3" fmla="*/ 2173 w 2261428"/>
                  <a:gd name="connsiteY3" fmla="*/ 693420 h 3884286"/>
                  <a:gd name="connsiteX4" fmla="*/ 185053 w 2261428"/>
                  <a:gd name="connsiteY4" fmla="*/ 685800 h 3884286"/>
                  <a:gd name="connsiteX5" fmla="*/ 398413 w 2261428"/>
                  <a:gd name="connsiteY5" fmla="*/ 1554480 h 3884286"/>
                  <a:gd name="connsiteX6" fmla="*/ 177433 w 2261428"/>
                  <a:gd name="connsiteY6" fmla="*/ 350520 h 3884286"/>
                  <a:gd name="connsiteX7" fmla="*/ 375553 w 2261428"/>
                  <a:gd name="connsiteY7" fmla="*/ 243840 h 3884286"/>
                  <a:gd name="connsiteX8" fmla="*/ 511761 w 2261428"/>
                  <a:gd name="connsiteY8" fmla="*/ 1082040 h 3884286"/>
                  <a:gd name="connsiteX9" fmla="*/ 665113 w 2261428"/>
                  <a:gd name="connsiteY9" fmla="*/ 1531620 h 3884286"/>
                  <a:gd name="connsiteX10" fmla="*/ 520333 w 2261428"/>
                  <a:gd name="connsiteY10" fmla="*/ 975360 h 3884286"/>
                  <a:gd name="connsiteX11" fmla="*/ 459373 w 2261428"/>
                  <a:gd name="connsiteY11" fmla="*/ 167640 h 3884286"/>
                  <a:gd name="connsiteX12" fmla="*/ 474613 w 2261428"/>
                  <a:gd name="connsiteY12" fmla="*/ 22860 h 3884286"/>
                  <a:gd name="connsiteX13" fmla="*/ 665113 w 2261428"/>
                  <a:gd name="connsiteY13" fmla="*/ 60960 h 3884286"/>
                  <a:gd name="connsiteX14" fmla="*/ 726073 w 2261428"/>
                  <a:gd name="connsiteY14" fmla="*/ 586740 h 3884286"/>
                  <a:gd name="connsiteX15" fmla="*/ 825133 w 2261428"/>
                  <a:gd name="connsiteY15" fmla="*/ 861060 h 3884286"/>
                  <a:gd name="connsiteX16" fmla="*/ 939433 w 2261428"/>
                  <a:gd name="connsiteY16" fmla="*/ 1516380 h 3884286"/>
                  <a:gd name="connsiteX17" fmla="*/ 840373 w 2261428"/>
                  <a:gd name="connsiteY17" fmla="*/ 609600 h 3884286"/>
                  <a:gd name="connsiteX18" fmla="*/ 847993 w 2261428"/>
                  <a:gd name="connsiteY18" fmla="*/ 160020 h 3884286"/>
                  <a:gd name="connsiteX19" fmla="*/ 985153 w 2261428"/>
                  <a:gd name="connsiteY19" fmla="*/ 99060 h 3884286"/>
                  <a:gd name="connsiteX20" fmla="*/ 1068973 w 2261428"/>
                  <a:gd name="connsiteY20" fmla="*/ 198120 h 3884286"/>
                  <a:gd name="connsiteX21" fmla="*/ 1129933 w 2261428"/>
                  <a:gd name="connsiteY21" fmla="*/ 1066800 h 3884286"/>
                  <a:gd name="connsiteX22" fmla="*/ 1564273 w 2261428"/>
                  <a:gd name="connsiteY22" fmla="*/ 1965960 h 3884286"/>
                  <a:gd name="connsiteX23" fmla="*/ 1709053 w 2261428"/>
                  <a:gd name="connsiteY23" fmla="*/ 2042160 h 3884286"/>
                  <a:gd name="connsiteX24" fmla="*/ 1983373 w 2261428"/>
                  <a:gd name="connsiteY24" fmla="*/ 1402080 h 3884286"/>
                  <a:gd name="connsiteX25" fmla="*/ 2219593 w 2261428"/>
                  <a:gd name="connsiteY25" fmla="*/ 1409700 h 3884286"/>
                  <a:gd name="connsiteX26" fmla="*/ 2044333 w 2261428"/>
                  <a:gd name="connsiteY26" fmla="*/ 2240280 h 3884286"/>
                  <a:gd name="connsiteX27" fmla="*/ 1663333 w 2261428"/>
                  <a:gd name="connsiteY27" fmla="*/ 2682240 h 3884286"/>
                  <a:gd name="connsiteX28" fmla="*/ 1434733 w 2261428"/>
                  <a:gd name="connsiteY28" fmla="*/ 3208020 h 3884286"/>
                  <a:gd name="connsiteX29" fmla="*/ 1389013 w 2261428"/>
                  <a:gd name="connsiteY29" fmla="*/ 3825240 h 3884286"/>
                  <a:gd name="connsiteX30" fmla="*/ 383173 w 2261428"/>
                  <a:gd name="connsiteY30" fmla="*/ 3726180 h 3884286"/>
                  <a:gd name="connsiteX0" fmla="*/ 383173 w 2229957"/>
                  <a:gd name="connsiteY0" fmla="*/ 3726180 h 3884286"/>
                  <a:gd name="connsiteX1" fmla="*/ 558433 w 2229957"/>
                  <a:gd name="connsiteY1" fmla="*/ 2659380 h 3884286"/>
                  <a:gd name="connsiteX2" fmla="*/ 116473 w 2229957"/>
                  <a:gd name="connsiteY2" fmla="*/ 1432560 h 3884286"/>
                  <a:gd name="connsiteX3" fmla="*/ 2173 w 2229957"/>
                  <a:gd name="connsiteY3" fmla="*/ 693420 h 3884286"/>
                  <a:gd name="connsiteX4" fmla="*/ 185053 w 2229957"/>
                  <a:gd name="connsiteY4" fmla="*/ 685800 h 3884286"/>
                  <a:gd name="connsiteX5" fmla="*/ 398413 w 2229957"/>
                  <a:gd name="connsiteY5" fmla="*/ 1554480 h 3884286"/>
                  <a:gd name="connsiteX6" fmla="*/ 177433 w 2229957"/>
                  <a:gd name="connsiteY6" fmla="*/ 350520 h 3884286"/>
                  <a:gd name="connsiteX7" fmla="*/ 375553 w 2229957"/>
                  <a:gd name="connsiteY7" fmla="*/ 243840 h 3884286"/>
                  <a:gd name="connsiteX8" fmla="*/ 511761 w 2229957"/>
                  <a:gd name="connsiteY8" fmla="*/ 1082040 h 3884286"/>
                  <a:gd name="connsiteX9" fmla="*/ 665113 w 2229957"/>
                  <a:gd name="connsiteY9" fmla="*/ 1531620 h 3884286"/>
                  <a:gd name="connsiteX10" fmla="*/ 520333 w 2229957"/>
                  <a:gd name="connsiteY10" fmla="*/ 975360 h 3884286"/>
                  <a:gd name="connsiteX11" fmla="*/ 459373 w 2229957"/>
                  <a:gd name="connsiteY11" fmla="*/ 167640 h 3884286"/>
                  <a:gd name="connsiteX12" fmla="*/ 474613 w 2229957"/>
                  <a:gd name="connsiteY12" fmla="*/ 22860 h 3884286"/>
                  <a:gd name="connsiteX13" fmla="*/ 665113 w 2229957"/>
                  <a:gd name="connsiteY13" fmla="*/ 60960 h 3884286"/>
                  <a:gd name="connsiteX14" fmla="*/ 726073 w 2229957"/>
                  <a:gd name="connsiteY14" fmla="*/ 586740 h 3884286"/>
                  <a:gd name="connsiteX15" fmla="*/ 825133 w 2229957"/>
                  <a:gd name="connsiteY15" fmla="*/ 861060 h 3884286"/>
                  <a:gd name="connsiteX16" fmla="*/ 939433 w 2229957"/>
                  <a:gd name="connsiteY16" fmla="*/ 1516380 h 3884286"/>
                  <a:gd name="connsiteX17" fmla="*/ 840373 w 2229957"/>
                  <a:gd name="connsiteY17" fmla="*/ 609600 h 3884286"/>
                  <a:gd name="connsiteX18" fmla="*/ 847993 w 2229957"/>
                  <a:gd name="connsiteY18" fmla="*/ 160020 h 3884286"/>
                  <a:gd name="connsiteX19" fmla="*/ 985153 w 2229957"/>
                  <a:gd name="connsiteY19" fmla="*/ 99060 h 3884286"/>
                  <a:gd name="connsiteX20" fmla="*/ 1068973 w 2229957"/>
                  <a:gd name="connsiteY20" fmla="*/ 198120 h 3884286"/>
                  <a:gd name="connsiteX21" fmla="*/ 1129933 w 2229957"/>
                  <a:gd name="connsiteY21" fmla="*/ 1066800 h 3884286"/>
                  <a:gd name="connsiteX22" fmla="*/ 1564273 w 2229957"/>
                  <a:gd name="connsiteY22" fmla="*/ 1965960 h 3884286"/>
                  <a:gd name="connsiteX23" fmla="*/ 1709053 w 2229957"/>
                  <a:gd name="connsiteY23" fmla="*/ 2042160 h 3884286"/>
                  <a:gd name="connsiteX24" fmla="*/ 1983373 w 2229957"/>
                  <a:gd name="connsiteY24" fmla="*/ 1402080 h 3884286"/>
                  <a:gd name="connsiteX25" fmla="*/ 2219593 w 2229957"/>
                  <a:gd name="connsiteY25" fmla="*/ 1409700 h 3884286"/>
                  <a:gd name="connsiteX26" fmla="*/ 2044333 w 2229957"/>
                  <a:gd name="connsiteY26" fmla="*/ 2240280 h 3884286"/>
                  <a:gd name="connsiteX27" fmla="*/ 1663333 w 2229957"/>
                  <a:gd name="connsiteY27" fmla="*/ 2682240 h 3884286"/>
                  <a:gd name="connsiteX28" fmla="*/ 1434733 w 2229957"/>
                  <a:gd name="connsiteY28" fmla="*/ 3208020 h 3884286"/>
                  <a:gd name="connsiteX29" fmla="*/ 1389013 w 2229957"/>
                  <a:gd name="connsiteY29" fmla="*/ 3825240 h 3884286"/>
                  <a:gd name="connsiteX30" fmla="*/ 383173 w 2229957"/>
                  <a:gd name="connsiteY30" fmla="*/ 3726180 h 3884286"/>
                  <a:gd name="connsiteX0" fmla="*/ 383173 w 2229957"/>
                  <a:gd name="connsiteY0" fmla="*/ 3726180 h 3884286"/>
                  <a:gd name="connsiteX1" fmla="*/ 558433 w 2229957"/>
                  <a:gd name="connsiteY1" fmla="*/ 2659380 h 3884286"/>
                  <a:gd name="connsiteX2" fmla="*/ 116473 w 2229957"/>
                  <a:gd name="connsiteY2" fmla="*/ 1432560 h 3884286"/>
                  <a:gd name="connsiteX3" fmla="*/ 2173 w 2229957"/>
                  <a:gd name="connsiteY3" fmla="*/ 693420 h 3884286"/>
                  <a:gd name="connsiteX4" fmla="*/ 185053 w 2229957"/>
                  <a:gd name="connsiteY4" fmla="*/ 685800 h 3884286"/>
                  <a:gd name="connsiteX5" fmla="*/ 398413 w 2229957"/>
                  <a:gd name="connsiteY5" fmla="*/ 1554480 h 3884286"/>
                  <a:gd name="connsiteX6" fmla="*/ 177433 w 2229957"/>
                  <a:gd name="connsiteY6" fmla="*/ 350520 h 3884286"/>
                  <a:gd name="connsiteX7" fmla="*/ 375553 w 2229957"/>
                  <a:gd name="connsiteY7" fmla="*/ 243840 h 3884286"/>
                  <a:gd name="connsiteX8" fmla="*/ 511761 w 2229957"/>
                  <a:gd name="connsiteY8" fmla="*/ 1082040 h 3884286"/>
                  <a:gd name="connsiteX9" fmla="*/ 665113 w 2229957"/>
                  <a:gd name="connsiteY9" fmla="*/ 1531620 h 3884286"/>
                  <a:gd name="connsiteX10" fmla="*/ 520333 w 2229957"/>
                  <a:gd name="connsiteY10" fmla="*/ 975360 h 3884286"/>
                  <a:gd name="connsiteX11" fmla="*/ 459373 w 2229957"/>
                  <a:gd name="connsiteY11" fmla="*/ 167640 h 3884286"/>
                  <a:gd name="connsiteX12" fmla="*/ 474613 w 2229957"/>
                  <a:gd name="connsiteY12" fmla="*/ 22860 h 3884286"/>
                  <a:gd name="connsiteX13" fmla="*/ 665113 w 2229957"/>
                  <a:gd name="connsiteY13" fmla="*/ 60960 h 3884286"/>
                  <a:gd name="connsiteX14" fmla="*/ 726073 w 2229957"/>
                  <a:gd name="connsiteY14" fmla="*/ 586740 h 3884286"/>
                  <a:gd name="connsiteX15" fmla="*/ 825133 w 2229957"/>
                  <a:gd name="connsiteY15" fmla="*/ 861060 h 3884286"/>
                  <a:gd name="connsiteX16" fmla="*/ 939433 w 2229957"/>
                  <a:gd name="connsiteY16" fmla="*/ 1516380 h 3884286"/>
                  <a:gd name="connsiteX17" fmla="*/ 840373 w 2229957"/>
                  <a:gd name="connsiteY17" fmla="*/ 609600 h 3884286"/>
                  <a:gd name="connsiteX18" fmla="*/ 847993 w 2229957"/>
                  <a:gd name="connsiteY18" fmla="*/ 160020 h 3884286"/>
                  <a:gd name="connsiteX19" fmla="*/ 1068973 w 2229957"/>
                  <a:gd name="connsiteY19" fmla="*/ 198120 h 3884286"/>
                  <a:gd name="connsiteX20" fmla="*/ 1129933 w 2229957"/>
                  <a:gd name="connsiteY20" fmla="*/ 1066800 h 3884286"/>
                  <a:gd name="connsiteX21" fmla="*/ 1564273 w 2229957"/>
                  <a:gd name="connsiteY21" fmla="*/ 1965960 h 3884286"/>
                  <a:gd name="connsiteX22" fmla="*/ 1709053 w 2229957"/>
                  <a:gd name="connsiteY22" fmla="*/ 2042160 h 3884286"/>
                  <a:gd name="connsiteX23" fmla="*/ 1983373 w 2229957"/>
                  <a:gd name="connsiteY23" fmla="*/ 1402080 h 3884286"/>
                  <a:gd name="connsiteX24" fmla="*/ 2219593 w 2229957"/>
                  <a:gd name="connsiteY24" fmla="*/ 1409700 h 3884286"/>
                  <a:gd name="connsiteX25" fmla="*/ 2044333 w 2229957"/>
                  <a:gd name="connsiteY25" fmla="*/ 2240280 h 3884286"/>
                  <a:gd name="connsiteX26" fmla="*/ 1663333 w 2229957"/>
                  <a:gd name="connsiteY26" fmla="*/ 2682240 h 3884286"/>
                  <a:gd name="connsiteX27" fmla="*/ 1434733 w 2229957"/>
                  <a:gd name="connsiteY27" fmla="*/ 3208020 h 3884286"/>
                  <a:gd name="connsiteX28" fmla="*/ 1389013 w 2229957"/>
                  <a:gd name="connsiteY28" fmla="*/ 3825240 h 3884286"/>
                  <a:gd name="connsiteX29" fmla="*/ 383173 w 2229957"/>
                  <a:gd name="connsiteY29" fmla="*/ 3726180 h 3884286"/>
                  <a:gd name="connsiteX0" fmla="*/ 383173 w 2229957"/>
                  <a:gd name="connsiteY0" fmla="*/ 3726180 h 3884286"/>
                  <a:gd name="connsiteX1" fmla="*/ 558433 w 2229957"/>
                  <a:gd name="connsiteY1" fmla="*/ 2659380 h 3884286"/>
                  <a:gd name="connsiteX2" fmla="*/ 116473 w 2229957"/>
                  <a:gd name="connsiteY2" fmla="*/ 1432560 h 3884286"/>
                  <a:gd name="connsiteX3" fmla="*/ 2173 w 2229957"/>
                  <a:gd name="connsiteY3" fmla="*/ 693420 h 3884286"/>
                  <a:gd name="connsiteX4" fmla="*/ 185053 w 2229957"/>
                  <a:gd name="connsiteY4" fmla="*/ 685800 h 3884286"/>
                  <a:gd name="connsiteX5" fmla="*/ 398413 w 2229957"/>
                  <a:gd name="connsiteY5" fmla="*/ 1554480 h 3884286"/>
                  <a:gd name="connsiteX6" fmla="*/ 177433 w 2229957"/>
                  <a:gd name="connsiteY6" fmla="*/ 350520 h 3884286"/>
                  <a:gd name="connsiteX7" fmla="*/ 375553 w 2229957"/>
                  <a:gd name="connsiteY7" fmla="*/ 243840 h 3884286"/>
                  <a:gd name="connsiteX8" fmla="*/ 511761 w 2229957"/>
                  <a:gd name="connsiteY8" fmla="*/ 1082040 h 3884286"/>
                  <a:gd name="connsiteX9" fmla="*/ 665113 w 2229957"/>
                  <a:gd name="connsiteY9" fmla="*/ 1531620 h 3884286"/>
                  <a:gd name="connsiteX10" fmla="*/ 520333 w 2229957"/>
                  <a:gd name="connsiteY10" fmla="*/ 975360 h 3884286"/>
                  <a:gd name="connsiteX11" fmla="*/ 459373 w 2229957"/>
                  <a:gd name="connsiteY11" fmla="*/ 167640 h 3884286"/>
                  <a:gd name="connsiteX12" fmla="*/ 474613 w 2229957"/>
                  <a:gd name="connsiteY12" fmla="*/ 22860 h 3884286"/>
                  <a:gd name="connsiteX13" fmla="*/ 665113 w 2229957"/>
                  <a:gd name="connsiteY13" fmla="*/ 60960 h 3884286"/>
                  <a:gd name="connsiteX14" fmla="*/ 726073 w 2229957"/>
                  <a:gd name="connsiteY14" fmla="*/ 586740 h 3884286"/>
                  <a:gd name="connsiteX15" fmla="*/ 825133 w 2229957"/>
                  <a:gd name="connsiteY15" fmla="*/ 861060 h 3884286"/>
                  <a:gd name="connsiteX16" fmla="*/ 939433 w 2229957"/>
                  <a:gd name="connsiteY16" fmla="*/ 1516380 h 3884286"/>
                  <a:gd name="connsiteX17" fmla="*/ 840373 w 2229957"/>
                  <a:gd name="connsiteY17" fmla="*/ 609600 h 3884286"/>
                  <a:gd name="connsiteX18" fmla="*/ 847993 w 2229957"/>
                  <a:gd name="connsiteY18" fmla="*/ 160020 h 3884286"/>
                  <a:gd name="connsiteX19" fmla="*/ 1040398 w 2229957"/>
                  <a:gd name="connsiteY19" fmla="*/ 188595 h 3884286"/>
                  <a:gd name="connsiteX20" fmla="*/ 1129933 w 2229957"/>
                  <a:gd name="connsiteY20" fmla="*/ 1066800 h 3884286"/>
                  <a:gd name="connsiteX21" fmla="*/ 1564273 w 2229957"/>
                  <a:gd name="connsiteY21" fmla="*/ 1965960 h 3884286"/>
                  <a:gd name="connsiteX22" fmla="*/ 1709053 w 2229957"/>
                  <a:gd name="connsiteY22" fmla="*/ 2042160 h 3884286"/>
                  <a:gd name="connsiteX23" fmla="*/ 1983373 w 2229957"/>
                  <a:gd name="connsiteY23" fmla="*/ 1402080 h 3884286"/>
                  <a:gd name="connsiteX24" fmla="*/ 2219593 w 2229957"/>
                  <a:gd name="connsiteY24" fmla="*/ 1409700 h 3884286"/>
                  <a:gd name="connsiteX25" fmla="*/ 2044333 w 2229957"/>
                  <a:gd name="connsiteY25" fmla="*/ 2240280 h 3884286"/>
                  <a:gd name="connsiteX26" fmla="*/ 1663333 w 2229957"/>
                  <a:gd name="connsiteY26" fmla="*/ 2682240 h 3884286"/>
                  <a:gd name="connsiteX27" fmla="*/ 1434733 w 2229957"/>
                  <a:gd name="connsiteY27" fmla="*/ 3208020 h 3884286"/>
                  <a:gd name="connsiteX28" fmla="*/ 1389013 w 2229957"/>
                  <a:gd name="connsiteY28" fmla="*/ 3825240 h 3884286"/>
                  <a:gd name="connsiteX29" fmla="*/ 383173 w 2229957"/>
                  <a:gd name="connsiteY29" fmla="*/ 3726180 h 3884286"/>
                  <a:gd name="connsiteX0" fmla="*/ 1389013 w 2229957"/>
                  <a:gd name="connsiteY0" fmla="*/ 3825240 h 3916680"/>
                  <a:gd name="connsiteX1" fmla="*/ 383173 w 2229957"/>
                  <a:gd name="connsiteY1" fmla="*/ 3726180 h 3916680"/>
                  <a:gd name="connsiteX2" fmla="*/ 558433 w 2229957"/>
                  <a:gd name="connsiteY2" fmla="*/ 2659380 h 3916680"/>
                  <a:gd name="connsiteX3" fmla="*/ 116473 w 2229957"/>
                  <a:gd name="connsiteY3" fmla="*/ 1432560 h 3916680"/>
                  <a:gd name="connsiteX4" fmla="*/ 2173 w 2229957"/>
                  <a:gd name="connsiteY4" fmla="*/ 693420 h 3916680"/>
                  <a:gd name="connsiteX5" fmla="*/ 185053 w 2229957"/>
                  <a:gd name="connsiteY5" fmla="*/ 685800 h 3916680"/>
                  <a:gd name="connsiteX6" fmla="*/ 398413 w 2229957"/>
                  <a:gd name="connsiteY6" fmla="*/ 1554480 h 3916680"/>
                  <a:gd name="connsiteX7" fmla="*/ 177433 w 2229957"/>
                  <a:gd name="connsiteY7" fmla="*/ 350520 h 3916680"/>
                  <a:gd name="connsiteX8" fmla="*/ 375553 w 2229957"/>
                  <a:gd name="connsiteY8" fmla="*/ 243840 h 3916680"/>
                  <a:gd name="connsiteX9" fmla="*/ 511761 w 2229957"/>
                  <a:gd name="connsiteY9" fmla="*/ 1082040 h 3916680"/>
                  <a:gd name="connsiteX10" fmla="*/ 665113 w 2229957"/>
                  <a:gd name="connsiteY10" fmla="*/ 1531620 h 3916680"/>
                  <a:gd name="connsiteX11" fmla="*/ 520333 w 2229957"/>
                  <a:gd name="connsiteY11" fmla="*/ 975360 h 3916680"/>
                  <a:gd name="connsiteX12" fmla="*/ 459373 w 2229957"/>
                  <a:gd name="connsiteY12" fmla="*/ 167640 h 3916680"/>
                  <a:gd name="connsiteX13" fmla="*/ 474613 w 2229957"/>
                  <a:gd name="connsiteY13" fmla="*/ 22860 h 3916680"/>
                  <a:gd name="connsiteX14" fmla="*/ 665113 w 2229957"/>
                  <a:gd name="connsiteY14" fmla="*/ 60960 h 3916680"/>
                  <a:gd name="connsiteX15" fmla="*/ 726073 w 2229957"/>
                  <a:gd name="connsiteY15" fmla="*/ 586740 h 3916680"/>
                  <a:gd name="connsiteX16" fmla="*/ 825133 w 2229957"/>
                  <a:gd name="connsiteY16" fmla="*/ 861060 h 3916680"/>
                  <a:gd name="connsiteX17" fmla="*/ 939433 w 2229957"/>
                  <a:gd name="connsiteY17" fmla="*/ 1516380 h 3916680"/>
                  <a:gd name="connsiteX18" fmla="*/ 840373 w 2229957"/>
                  <a:gd name="connsiteY18" fmla="*/ 609600 h 3916680"/>
                  <a:gd name="connsiteX19" fmla="*/ 847993 w 2229957"/>
                  <a:gd name="connsiteY19" fmla="*/ 160020 h 3916680"/>
                  <a:gd name="connsiteX20" fmla="*/ 1040398 w 2229957"/>
                  <a:gd name="connsiteY20" fmla="*/ 188595 h 3916680"/>
                  <a:gd name="connsiteX21" fmla="*/ 1129933 w 2229957"/>
                  <a:gd name="connsiteY21" fmla="*/ 1066800 h 3916680"/>
                  <a:gd name="connsiteX22" fmla="*/ 1564273 w 2229957"/>
                  <a:gd name="connsiteY22" fmla="*/ 1965960 h 3916680"/>
                  <a:gd name="connsiteX23" fmla="*/ 1709053 w 2229957"/>
                  <a:gd name="connsiteY23" fmla="*/ 2042160 h 3916680"/>
                  <a:gd name="connsiteX24" fmla="*/ 1983373 w 2229957"/>
                  <a:gd name="connsiteY24" fmla="*/ 1402080 h 3916680"/>
                  <a:gd name="connsiteX25" fmla="*/ 2219593 w 2229957"/>
                  <a:gd name="connsiteY25" fmla="*/ 1409700 h 3916680"/>
                  <a:gd name="connsiteX26" fmla="*/ 2044333 w 2229957"/>
                  <a:gd name="connsiteY26" fmla="*/ 2240280 h 3916680"/>
                  <a:gd name="connsiteX27" fmla="*/ 1663333 w 2229957"/>
                  <a:gd name="connsiteY27" fmla="*/ 2682240 h 3916680"/>
                  <a:gd name="connsiteX28" fmla="*/ 1434733 w 2229957"/>
                  <a:gd name="connsiteY28" fmla="*/ 3208020 h 3916680"/>
                  <a:gd name="connsiteX29" fmla="*/ 1480453 w 2229957"/>
                  <a:gd name="connsiteY29" fmla="*/ 3916680 h 3916680"/>
                  <a:gd name="connsiteX0" fmla="*/ 1389013 w 2229957"/>
                  <a:gd name="connsiteY0" fmla="*/ 3825240 h 3884286"/>
                  <a:gd name="connsiteX1" fmla="*/ 383173 w 2229957"/>
                  <a:gd name="connsiteY1" fmla="*/ 3726180 h 3884286"/>
                  <a:gd name="connsiteX2" fmla="*/ 558433 w 2229957"/>
                  <a:gd name="connsiteY2" fmla="*/ 2659380 h 3884286"/>
                  <a:gd name="connsiteX3" fmla="*/ 116473 w 2229957"/>
                  <a:gd name="connsiteY3" fmla="*/ 1432560 h 3884286"/>
                  <a:gd name="connsiteX4" fmla="*/ 2173 w 2229957"/>
                  <a:gd name="connsiteY4" fmla="*/ 693420 h 3884286"/>
                  <a:gd name="connsiteX5" fmla="*/ 185053 w 2229957"/>
                  <a:gd name="connsiteY5" fmla="*/ 685800 h 3884286"/>
                  <a:gd name="connsiteX6" fmla="*/ 398413 w 2229957"/>
                  <a:gd name="connsiteY6" fmla="*/ 1554480 h 3884286"/>
                  <a:gd name="connsiteX7" fmla="*/ 177433 w 2229957"/>
                  <a:gd name="connsiteY7" fmla="*/ 350520 h 3884286"/>
                  <a:gd name="connsiteX8" fmla="*/ 375553 w 2229957"/>
                  <a:gd name="connsiteY8" fmla="*/ 243840 h 3884286"/>
                  <a:gd name="connsiteX9" fmla="*/ 511761 w 2229957"/>
                  <a:gd name="connsiteY9" fmla="*/ 1082040 h 3884286"/>
                  <a:gd name="connsiteX10" fmla="*/ 665113 w 2229957"/>
                  <a:gd name="connsiteY10" fmla="*/ 1531620 h 3884286"/>
                  <a:gd name="connsiteX11" fmla="*/ 520333 w 2229957"/>
                  <a:gd name="connsiteY11" fmla="*/ 975360 h 3884286"/>
                  <a:gd name="connsiteX12" fmla="*/ 459373 w 2229957"/>
                  <a:gd name="connsiteY12" fmla="*/ 167640 h 3884286"/>
                  <a:gd name="connsiteX13" fmla="*/ 474613 w 2229957"/>
                  <a:gd name="connsiteY13" fmla="*/ 22860 h 3884286"/>
                  <a:gd name="connsiteX14" fmla="*/ 665113 w 2229957"/>
                  <a:gd name="connsiteY14" fmla="*/ 60960 h 3884286"/>
                  <a:gd name="connsiteX15" fmla="*/ 726073 w 2229957"/>
                  <a:gd name="connsiteY15" fmla="*/ 586740 h 3884286"/>
                  <a:gd name="connsiteX16" fmla="*/ 825133 w 2229957"/>
                  <a:gd name="connsiteY16" fmla="*/ 861060 h 3884286"/>
                  <a:gd name="connsiteX17" fmla="*/ 939433 w 2229957"/>
                  <a:gd name="connsiteY17" fmla="*/ 1516380 h 3884286"/>
                  <a:gd name="connsiteX18" fmla="*/ 840373 w 2229957"/>
                  <a:gd name="connsiteY18" fmla="*/ 609600 h 3884286"/>
                  <a:gd name="connsiteX19" fmla="*/ 847993 w 2229957"/>
                  <a:gd name="connsiteY19" fmla="*/ 160020 h 3884286"/>
                  <a:gd name="connsiteX20" fmla="*/ 1040398 w 2229957"/>
                  <a:gd name="connsiteY20" fmla="*/ 188595 h 3884286"/>
                  <a:gd name="connsiteX21" fmla="*/ 1129933 w 2229957"/>
                  <a:gd name="connsiteY21" fmla="*/ 1066800 h 3884286"/>
                  <a:gd name="connsiteX22" fmla="*/ 1564273 w 2229957"/>
                  <a:gd name="connsiteY22" fmla="*/ 1965960 h 3884286"/>
                  <a:gd name="connsiteX23" fmla="*/ 1709053 w 2229957"/>
                  <a:gd name="connsiteY23" fmla="*/ 2042160 h 3884286"/>
                  <a:gd name="connsiteX24" fmla="*/ 1983373 w 2229957"/>
                  <a:gd name="connsiteY24" fmla="*/ 1402080 h 3884286"/>
                  <a:gd name="connsiteX25" fmla="*/ 2219593 w 2229957"/>
                  <a:gd name="connsiteY25" fmla="*/ 1409700 h 3884286"/>
                  <a:gd name="connsiteX26" fmla="*/ 2044333 w 2229957"/>
                  <a:gd name="connsiteY26" fmla="*/ 2240280 h 3884286"/>
                  <a:gd name="connsiteX27" fmla="*/ 1663333 w 2229957"/>
                  <a:gd name="connsiteY27" fmla="*/ 2682240 h 3884286"/>
                  <a:gd name="connsiteX28" fmla="*/ 1434733 w 2229957"/>
                  <a:gd name="connsiteY28" fmla="*/ 3208020 h 3884286"/>
                  <a:gd name="connsiteX29" fmla="*/ 1480453 w 2229957"/>
                  <a:gd name="connsiteY29" fmla="*/ 3858623 h 3884286"/>
                  <a:gd name="connsiteX0" fmla="*/ 383173 w 2229957"/>
                  <a:gd name="connsiteY0" fmla="*/ 3726180 h 3858623"/>
                  <a:gd name="connsiteX1" fmla="*/ 558433 w 2229957"/>
                  <a:gd name="connsiteY1" fmla="*/ 2659380 h 3858623"/>
                  <a:gd name="connsiteX2" fmla="*/ 116473 w 2229957"/>
                  <a:gd name="connsiteY2" fmla="*/ 1432560 h 3858623"/>
                  <a:gd name="connsiteX3" fmla="*/ 2173 w 2229957"/>
                  <a:gd name="connsiteY3" fmla="*/ 693420 h 3858623"/>
                  <a:gd name="connsiteX4" fmla="*/ 185053 w 2229957"/>
                  <a:gd name="connsiteY4" fmla="*/ 685800 h 3858623"/>
                  <a:gd name="connsiteX5" fmla="*/ 398413 w 2229957"/>
                  <a:gd name="connsiteY5" fmla="*/ 1554480 h 3858623"/>
                  <a:gd name="connsiteX6" fmla="*/ 177433 w 2229957"/>
                  <a:gd name="connsiteY6" fmla="*/ 350520 h 3858623"/>
                  <a:gd name="connsiteX7" fmla="*/ 375553 w 2229957"/>
                  <a:gd name="connsiteY7" fmla="*/ 243840 h 3858623"/>
                  <a:gd name="connsiteX8" fmla="*/ 511761 w 2229957"/>
                  <a:gd name="connsiteY8" fmla="*/ 1082040 h 3858623"/>
                  <a:gd name="connsiteX9" fmla="*/ 665113 w 2229957"/>
                  <a:gd name="connsiteY9" fmla="*/ 1531620 h 3858623"/>
                  <a:gd name="connsiteX10" fmla="*/ 520333 w 2229957"/>
                  <a:gd name="connsiteY10" fmla="*/ 975360 h 3858623"/>
                  <a:gd name="connsiteX11" fmla="*/ 459373 w 2229957"/>
                  <a:gd name="connsiteY11" fmla="*/ 167640 h 3858623"/>
                  <a:gd name="connsiteX12" fmla="*/ 474613 w 2229957"/>
                  <a:gd name="connsiteY12" fmla="*/ 22860 h 3858623"/>
                  <a:gd name="connsiteX13" fmla="*/ 665113 w 2229957"/>
                  <a:gd name="connsiteY13" fmla="*/ 60960 h 3858623"/>
                  <a:gd name="connsiteX14" fmla="*/ 726073 w 2229957"/>
                  <a:gd name="connsiteY14" fmla="*/ 586740 h 3858623"/>
                  <a:gd name="connsiteX15" fmla="*/ 825133 w 2229957"/>
                  <a:gd name="connsiteY15" fmla="*/ 861060 h 3858623"/>
                  <a:gd name="connsiteX16" fmla="*/ 939433 w 2229957"/>
                  <a:gd name="connsiteY16" fmla="*/ 1516380 h 3858623"/>
                  <a:gd name="connsiteX17" fmla="*/ 840373 w 2229957"/>
                  <a:gd name="connsiteY17" fmla="*/ 609600 h 3858623"/>
                  <a:gd name="connsiteX18" fmla="*/ 847993 w 2229957"/>
                  <a:gd name="connsiteY18" fmla="*/ 160020 h 3858623"/>
                  <a:gd name="connsiteX19" fmla="*/ 1040398 w 2229957"/>
                  <a:gd name="connsiteY19" fmla="*/ 188595 h 3858623"/>
                  <a:gd name="connsiteX20" fmla="*/ 1129933 w 2229957"/>
                  <a:gd name="connsiteY20" fmla="*/ 1066800 h 3858623"/>
                  <a:gd name="connsiteX21" fmla="*/ 1564273 w 2229957"/>
                  <a:gd name="connsiteY21" fmla="*/ 1965960 h 3858623"/>
                  <a:gd name="connsiteX22" fmla="*/ 1709053 w 2229957"/>
                  <a:gd name="connsiteY22" fmla="*/ 2042160 h 3858623"/>
                  <a:gd name="connsiteX23" fmla="*/ 1983373 w 2229957"/>
                  <a:gd name="connsiteY23" fmla="*/ 1402080 h 3858623"/>
                  <a:gd name="connsiteX24" fmla="*/ 2219593 w 2229957"/>
                  <a:gd name="connsiteY24" fmla="*/ 1409700 h 3858623"/>
                  <a:gd name="connsiteX25" fmla="*/ 2044333 w 2229957"/>
                  <a:gd name="connsiteY25" fmla="*/ 2240280 h 3858623"/>
                  <a:gd name="connsiteX26" fmla="*/ 1663333 w 2229957"/>
                  <a:gd name="connsiteY26" fmla="*/ 2682240 h 3858623"/>
                  <a:gd name="connsiteX27" fmla="*/ 1434733 w 2229957"/>
                  <a:gd name="connsiteY27" fmla="*/ 3208020 h 3858623"/>
                  <a:gd name="connsiteX28" fmla="*/ 1480453 w 2229957"/>
                  <a:gd name="connsiteY28" fmla="*/ 3858623 h 3858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29957" h="3858623">
                    <a:moveTo>
                      <a:pt x="383173" y="3726180"/>
                    </a:moveTo>
                    <a:cubicBezTo>
                      <a:pt x="244743" y="3531870"/>
                      <a:pt x="602883" y="3041650"/>
                      <a:pt x="558433" y="2659380"/>
                    </a:cubicBezTo>
                    <a:cubicBezTo>
                      <a:pt x="513983" y="2277110"/>
                      <a:pt x="209183" y="1760220"/>
                      <a:pt x="116473" y="1432560"/>
                    </a:cubicBezTo>
                    <a:cubicBezTo>
                      <a:pt x="23763" y="1104900"/>
                      <a:pt x="-9257" y="817880"/>
                      <a:pt x="2173" y="693420"/>
                    </a:cubicBezTo>
                    <a:cubicBezTo>
                      <a:pt x="13603" y="568960"/>
                      <a:pt x="119013" y="542290"/>
                      <a:pt x="185053" y="685800"/>
                    </a:cubicBezTo>
                    <a:cubicBezTo>
                      <a:pt x="251093" y="829310"/>
                      <a:pt x="399683" y="1610360"/>
                      <a:pt x="398413" y="1554480"/>
                    </a:cubicBezTo>
                    <a:cubicBezTo>
                      <a:pt x="397143" y="1498600"/>
                      <a:pt x="181243" y="568960"/>
                      <a:pt x="177433" y="350520"/>
                    </a:cubicBezTo>
                    <a:cubicBezTo>
                      <a:pt x="173623" y="132080"/>
                      <a:pt x="319832" y="121920"/>
                      <a:pt x="375553" y="243840"/>
                    </a:cubicBezTo>
                    <a:cubicBezTo>
                      <a:pt x="431274" y="365760"/>
                      <a:pt x="463501" y="867410"/>
                      <a:pt x="511761" y="1082040"/>
                    </a:cubicBezTo>
                    <a:cubicBezTo>
                      <a:pt x="560021" y="1296670"/>
                      <a:pt x="663684" y="1549400"/>
                      <a:pt x="665113" y="1531620"/>
                    </a:cubicBezTo>
                    <a:cubicBezTo>
                      <a:pt x="666542" y="1513840"/>
                      <a:pt x="554623" y="1202690"/>
                      <a:pt x="520333" y="975360"/>
                    </a:cubicBezTo>
                    <a:cubicBezTo>
                      <a:pt x="486043" y="748030"/>
                      <a:pt x="466993" y="326390"/>
                      <a:pt x="459373" y="167640"/>
                    </a:cubicBezTo>
                    <a:cubicBezTo>
                      <a:pt x="451753" y="8890"/>
                      <a:pt x="440323" y="40640"/>
                      <a:pt x="474613" y="22860"/>
                    </a:cubicBezTo>
                    <a:cubicBezTo>
                      <a:pt x="508903" y="5080"/>
                      <a:pt x="623203" y="-33020"/>
                      <a:pt x="665113" y="60960"/>
                    </a:cubicBezTo>
                    <a:cubicBezTo>
                      <a:pt x="707023" y="154940"/>
                      <a:pt x="699403" y="453390"/>
                      <a:pt x="726073" y="586740"/>
                    </a:cubicBezTo>
                    <a:cubicBezTo>
                      <a:pt x="752743" y="720090"/>
                      <a:pt x="789573" y="706120"/>
                      <a:pt x="825133" y="861060"/>
                    </a:cubicBezTo>
                    <a:cubicBezTo>
                      <a:pt x="860693" y="1016000"/>
                      <a:pt x="936893" y="1558290"/>
                      <a:pt x="939433" y="1516380"/>
                    </a:cubicBezTo>
                    <a:cubicBezTo>
                      <a:pt x="941973" y="1474470"/>
                      <a:pt x="855613" y="835660"/>
                      <a:pt x="840373" y="609600"/>
                    </a:cubicBezTo>
                    <a:cubicBezTo>
                      <a:pt x="825133" y="383540"/>
                      <a:pt x="814656" y="230187"/>
                      <a:pt x="847993" y="160020"/>
                    </a:cubicBezTo>
                    <a:cubicBezTo>
                      <a:pt x="881330" y="89853"/>
                      <a:pt x="993408" y="37465"/>
                      <a:pt x="1040398" y="188595"/>
                    </a:cubicBezTo>
                    <a:cubicBezTo>
                      <a:pt x="1087388" y="339725"/>
                      <a:pt x="1042621" y="770573"/>
                      <a:pt x="1129933" y="1066800"/>
                    </a:cubicBezTo>
                    <a:cubicBezTo>
                      <a:pt x="1217245" y="1363027"/>
                      <a:pt x="1467753" y="1803400"/>
                      <a:pt x="1564273" y="1965960"/>
                    </a:cubicBezTo>
                    <a:cubicBezTo>
                      <a:pt x="1660793" y="2128520"/>
                      <a:pt x="1639203" y="2136140"/>
                      <a:pt x="1709053" y="2042160"/>
                    </a:cubicBezTo>
                    <a:cubicBezTo>
                      <a:pt x="1778903" y="1948180"/>
                      <a:pt x="1898283" y="1507490"/>
                      <a:pt x="1983373" y="1402080"/>
                    </a:cubicBezTo>
                    <a:cubicBezTo>
                      <a:pt x="2068463" y="1296670"/>
                      <a:pt x="2171333" y="1338580"/>
                      <a:pt x="2219593" y="1409700"/>
                    </a:cubicBezTo>
                    <a:cubicBezTo>
                      <a:pt x="2267853" y="1480820"/>
                      <a:pt x="2137043" y="2028190"/>
                      <a:pt x="2044333" y="2240280"/>
                    </a:cubicBezTo>
                    <a:cubicBezTo>
                      <a:pt x="1951623" y="2452370"/>
                      <a:pt x="1764933" y="2520950"/>
                      <a:pt x="1663333" y="2682240"/>
                    </a:cubicBezTo>
                    <a:cubicBezTo>
                      <a:pt x="1561733" y="2843530"/>
                      <a:pt x="1480453" y="3017520"/>
                      <a:pt x="1434733" y="3208020"/>
                    </a:cubicBezTo>
                    <a:cubicBezTo>
                      <a:pt x="1389013" y="3398520"/>
                      <a:pt x="1560463" y="3679553"/>
                      <a:pt x="1480453" y="3858623"/>
                    </a:cubicBezTo>
                  </a:path>
                </a:pathLst>
              </a:custGeom>
              <a:solidFill>
                <a:schemeClr val="bg1"/>
              </a:solidFill>
              <a:ln w="952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spcBef>
                    <a:spcPts val="392"/>
                  </a:spcBef>
                  <a:spcAft>
                    <a:spcPct val="0"/>
                  </a:spcAft>
                </a:pPr>
                <a:endParaRPr lang="en-IN" sz="1372" dirty="0">
                  <a:solidFill>
                    <a:srgbClr val="505050"/>
                  </a:solidFill>
                  <a:ea typeface="Segoe UI" pitchFamily="34" charset="0"/>
                  <a:cs typeface="Segoe UI" pitchFamily="34" charset="0"/>
                </a:endParaRPr>
              </a:p>
            </p:txBody>
          </p:sp>
          <p:sp>
            <p:nvSpPr>
              <p:cNvPr id="190" name="Freeform 189"/>
              <p:cNvSpPr/>
              <p:nvPr/>
            </p:nvSpPr>
            <p:spPr bwMode="auto">
              <a:xfrm>
                <a:off x="-2308859" y="2211464"/>
                <a:ext cx="672976" cy="833205"/>
              </a:xfrm>
              <a:custGeom>
                <a:avLst/>
                <a:gdLst>
                  <a:gd name="connsiteX0" fmla="*/ 0 w 672609"/>
                  <a:gd name="connsiteY0" fmla="*/ 352399 h 867005"/>
                  <a:gd name="connsiteX1" fmla="*/ 198120 w 672609"/>
                  <a:gd name="connsiteY1" fmla="*/ 47599 h 867005"/>
                  <a:gd name="connsiteX2" fmla="*/ 419100 w 672609"/>
                  <a:gd name="connsiteY2" fmla="*/ 24739 h 867005"/>
                  <a:gd name="connsiteX3" fmla="*/ 647700 w 672609"/>
                  <a:gd name="connsiteY3" fmla="*/ 283819 h 867005"/>
                  <a:gd name="connsiteX4" fmla="*/ 647700 w 672609"/>
                  <a:gd name="connsiteY4" fmla="*/ 619099 h 867005"/>
                  <a:gd name="connsiteX5" fmla="*/ 480060 w 672609"/>
                  <a:gd name="connsiteY5" fmla="*/ 840079 h 867005"/>
                  <a:gd name="connsiteX6" fmla="*/ 220980 w 672609"/>
                  <a:gd name="connsiteY6" fmla="*/ 855319 h 867005"/>
                  <a:gd name="connsiteX0" fmla="*/ 0 w 672609"/>
                  <a:gd name="connsiteY0" fmla="*/ 341303 h 855909"/>
                  <a:gd name="connsiteX1" fmla="*/ 160020 w 672609"/>
                  <a:gd name="connsiteY1" fmla="*/ 68253 h 855909"/>
                  <a:gd name="connsiteX2" fmla="*/ 419100 w 672609"/>
                  <a:gd name="connsiteY2" fmla="*/ 13643 h 855909"/>
                  <a:gd name="connsiteX3" fmla="*/ 647700 w 672609"/>
                  <a:gd name="connsiteY3" fmla="*/ 272723 h 855909"/>
                  <a:gd name="connsiteX4" fmla="*/ 647700 w 672609"/>
                  <a:gd name="connsiteY4" fmla="*/ 608003 h 855909"/>
                  <a:gd name="connsiteX5" fmla="*/ 480060 w 672609"/>
                  <a:gd name="connsiteY5" fmla="*/ 828983 h 855909"/>
                  <a:gd name="connsiteX6" fmla="*/ 220980 w 672609"/>
                  <a:gd name="connsiteY6" fmla="*/ 844223 h 855909"/>
                  <a:gd name="connsiteX0" fmla="*/ 0 w 672609"/>
                  <a:gd name="connsiteY0" fmla="*/ 325996 h 840602"/>
                  <a:gd name="connsiteX1" fmla="*/ 160020 w 672609"/>
                  <a:gd name="connsiteY1" fmla="*/ 52946 h 840602"/>
                  <a:gd name="connsiteX2" fmla="*/ 419100 w 672609"/>
                  <a:gd name="connsiteY2" fmla="*/ 17386 h 840602"/>
                  <a:gd name="connsiteX3" fmla="*/ 647700 w 672609"/>
                  <a:gd name="connsiteY3" fmla="*/ 257416 h 840602"/>
                  <a:gd name="connsiteX4" fmla="*/ 647700 w 672609"/>
                  <a:gd name="connsiteY4" fmla="*/ 592696 h 840602"/>
                  <a:gd name="connsiteX5" fmla="*/ 480060 w 672609"/>
                  <a:gd name="connsiteY5" fmla="*/ 813676 h 840602"/>
                  <a:gd name="connsiteX6" fmla="*/ 220980 w 672609"/>
                  <a:gd name="connsiteY6" fmla="*/ 828916 h 840602"/>
                  <a:gd name="connsiteX0" fmla="*/ 0 w 672976"/>
                  <a:gd name="connsiteY0" fmla="*/ 325996 h 833205"/>
                  <a:gd name="connsiteX1" fmla="*/ 160020 w 672976"/>
                  <a:gd name="connsiteY1" fmla="*/ 52946 h 833205"/>
                  <a:gd name="connsiteX2" fmla="*/ 419100 w 672976"/>
                  <a:gd name="connsiteY2" fmla="*/ 17386 h 833205"/>
                  <a:gd name="connsiteX3" fmla="*/ 647700 w 672976"/>
                  <a:gd name="connsiteY3" fmla="*/ 257416 h 833205"/>
                  <a:gd name="connsiteX4" fmla="*/ 647700 w 672976"/>
                  <a:gd name="connsiteY4" fmla="*/ 592696 h 833205"/>
                  <a:gd name="connsiteX5" fmla="*/ 473710 w 672976"/>
                  <a:gd name="connsiteY5" fmla="*/ 788276 h 833205"/>
                  <a:gd name="connsiteX6" fmla="*/ 220980 w 672976"/>
                  <a:gd name="connsiteY6" fmla="*/ 828916 h 833205"/>
                  <a:gd name="connsiteX0" fmla="*/ 0 w 672976"/>
                  <a:gd name="connsiteY0" fmla="*/ 325996 h 833205"/>
                  <a:gd name="connsiteX1" fmla="*/ 160020 w 672976"/>
                  <a:gd name="connsiteY1" fmla="*/ 52946 h 833205"/>
                  <a:gd name="connsiteX2" fmla="*/ 419100 w 672976"/>
                  <a:gd name="connsiteY2" fmla="*/ 17386 h 833205"/>
                  <a:gd name="connsiteX3" fmla="*/ 647700 w 672976"/>
                  <a:gd name="connsiteY3" fmla="*/ 257416 h 833205"/>
                  <a:gd name="connsiteX4" fmla="*/ 647700 w 672976"/>
                  <a:gd name="connsiteY4" fmla="*/ 592696 h 833205"/>
                  <a:gd name="connsiteX5" fmla="*/ 473710 w 672976"/>
                  <a:gd name="connsiteY5" fmla="*/ 788276 h 833205"/>
                  <a:gd name="connsiteX6" fmla="*/ 220980 w 672976"/>
                  <a:gd name="connsiteY6" fmla="*/ 828916 h 833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2976" h="833205">
                    <a:moveTo>
                      <a:pt x="0" y="325996"/>
                    </a:moveTo>
                    <a:cubicBezTo>
                      <a:pt x="64135" y="200901"/>
                      <a:pt x="90170" y="104381"/>
                      <a:pt x="160020" y="52946"/>
                    </a:cubicBezTo>
                    <a:cubicBezTo>
                      <a:pt x="229870" y="1511"/>
                      <a:pt x="337820" y="-16692"/>
                      <a:pt x="419100" y="17386"/>
                    </a:cubicBezTo>
                    <a:cubicBezTo>
                      <a:pt x="500380" y="51464"/>
                      <a:pt x="609600" y="161531"/>
                      <a:pt x="647700" y="257416"/>
                    </a:cubicBezTo>
                    <a:cubicBezTo>
                      <a:pt x="685800" y="353301"/>
                      <a:pt x="676698" y="504219"/>
                      <a:pt x="647700" y="592696"/>
                    </a:cubicBezTo>
                    <a:cubicBezTo>
                      <a:pt x="618702" y="681173"/>
                      <a:pt x="544830" y="748906"/>
                      <a:pt x="473710" y="788276"/>
                    </a:cubicBezTo>
                    <a:cubicBezTo>
                      <a:pt x="402590" y="827646"/>
                      <a:pt x="314960" y="840981"/>
                      <a:pt x="220980" y="828916"/>
                    </a:cubicBezTo>
                  </a:path>
                </a:pathLst>
              </a:custGeom>
              <a:noFill/>
              <a:ln w="952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IN" sz="1765">
                  <a:solidFill>
                    <a:srgbClr val="FFFFFF"/>
                  </a:solidFill>
                </a:endParaRPr>
              </a:p>
            </p:txBody>
          </p:sp>
          <p:sp>
            <p:nvSpPr>
              <p:cNvPr id="191" name="Freeform 190"/>
              <p:cNvSpPr/>
              <p:nvPr/>
            </p:nvSpPr>
            <p:spPr bwMode="auto">
              <a:xfrm>
                <a:off x="-5669280" y="2461260"/>
                <a:ext cx="388620" cy="53340"/>
              </a:xfrm>
              <a:custGeom>
                <a:avLst/>
                <a:gdLst>
                  <a:gd name="connsiteX0" fmla="*/ 0 w 388620"/>
                  <a:gd name="connsiteY0" fmla="*/ 53340 h 53340"/>
                  <a:gd name="connsiteX1" fmla="*/ 388620 w 388620"/>
                  <a:gd name="connsiteY1" fmla="*/ 0 h 53340"/>
                </a:gdLst>
                <a:ahLst/>
                <a:cxnLst>
                  <a:cxn ang="0">
                    <a:pos x="connsiteX0" y="connsiteY0"/>
                  </a:cxn>
                  <a:cxn ang="0">
                    <a:pos x="connsiteX1" y="connsiteY1"/>
                  </a:cxn>
                </a:cxnLst>
                <a:rect l="l" t="t" r="r" b="b"/>
                <a:pathLst>
                  <a:path w="388620" h="53340">
                    <a:moveTo>
                      <a:pt x="0" y="53340"/>
                    </a:moveTo>
                    <a:lnTo>
                      <a:pt x="388620" y="0"/>
                    </a:lnTo>
                  </a:path>
                </a:pathLst>
              </a:custGeom>
              <a:grpFill/>
              <a:ln w="952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IN" sz="1765">
                  <a:solidFill>
                    <a:srgbClr val="FFFFFF"/>
                  </a:solidFill>
                </a:endParaRPr>
              </a:p>
            </p:txBody>
          </p:sp>
          <p:sp>
            <p:nvSpPr>
              <p:cNvPr id="192" name="Freeform 191"/>
              <p:cNvSpPr/>
              <p:nvPr/>
            </p:nvSpPr>
            <p:spPr bwMode="auto">
              <a:xfrm>
                <a:off x="-5715000" y="1859280"/>
                <a:ext cx="373380" cy="45720"/>
              </a:xfrm>
              <a:custGeom>
                <a:avLst/>
                <a:gdLst>
                  <a:gd name="connsiteX0" fmla="*/ 0 w 373380"/>
                  <a:gd name="connsiteY0" fmla="*/ 0 h 45720"/>
                  <a:gd name="connsiteX1" fmla="*/ 198120 w 373380"/>
                  <a:gd name="connsiteY1" fmla="*/ 22860 h 45720"/>
                  <a:gd name="connsiteX2" fmla="*/ 373380 w 373380"/>
                  <a:gd name="connsiteY2" fmla="*/ 45720 h 45720"/>
                </a:gdLst>
                <a:ahLst/>
                <a:cxnLst>
                  <a:cxn ang="0">
                    <a:pos x="connsiteX0" y="connsiteY0"/>
                  </a:cxn>
                  <a:cxn ang="0">
                    <a:pos x="connsiteX1" y="connsiteY1"/>
                  </a:cxn>
                  <a:cxn ang="0">
                    <a:pos x="connsiteX2" y="connsiteY2"/>
                  </a:cxn>
                </a:cxnLst>
                <a:rect l="l" t="t" r="r" b="b"/>
                <a:pathLst>
                  <a:path w="373380" h="45720">
                    <a:moveTo>
                      <a:pt x="0" y="0"/>
                    </a:moveTo>
                    <a:lnTo>
                      <a:pt x="198120" y="22860"/>
                    </a:lnTo>
                    <a:lnTo>
                      <a:pt x="373380" y="45720"/>
                    </a:lnTo>
                  </a:path>
                </a:pathLst>
              </a:custGeom>
              <a:grpFill/>
              <a:ln w="952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IN" sz="1765">
                  <a:solidFill>
                    <a:srgbClr val="FFFFFF"/>
                  </a:solidFill>
                </a:endParaRPr>
              </a:p>
            </p:txBody>
          </p:sp>
          <p:sp>
            <p:nvSpPr>
              <p:cNvPr id="193" name="Freeform 192"/>
              <p:cNvSpPr/>
              <p:nvPr/>
            </p:nvSpPr>
            <p:spPr bwMode="auto">
              <a:xfrm>
                <a:off x="-5707380" y="1203960"/>
                <a:ext cx="489459" cy="277193"/>
              </a:xfrm>
              <a:custGeom>
                <a:avLst/>
                <a:gdLst>
                  <a:gd name="connsiteX0" fmla="*/ 0 w 489459"/>
                  <a:gd name="connsiteY0" fmla="*/ 0 h 277193"/>
                  <a:gd name="connsiteX1" fmla="*/ 236220 w 489459"/>
                  <a:gd name="connsiteY1" fmla="*/ 99060 h 277193"/>
                  <a:gd name="connsiteX2" fmla="*/ 464820 w 489459"/>
                  <a:gd name="connsiteY2" fmla="*/ 259080 h 277193"/>
                  <a:gd name="connsiteX3" fmla="*/ 472440 w 489459"/>
                  <a:gd name="connsiteY3" fmla="*/ 266700 h 277193"/>
                </a:gdLst>
                <a:ahLst/>
                <a:cxnLst>
                  <a:cxn ang="0">
                    <a:pos x="connsiteX0" y="connsiteY0"/>
                  </a:cxn>
                  <a:cxn ang="0">
                    <a:pos x="connsiteX1" y="connsiteY1"/>
                  </a:cxn>
                  <a:cxn ang="0">
                    <a:pos x="connsiteX2" y="connsiteY2"/>
                  </a:cxn>
                  <a:cxn ang="0">
                    <a:pos x="connsiteX3" y="connsiteY3"/>
                  </a:cxn>
                </a:cxnLst>
                <a:rect l="l" t="t" r="r" b="b"/>
                <a:pathLst>
                  <a:path w="489459" h="277193">
                    <a:moveTo>
                      <a:pt x="0" y="0"/>
                    </a:moveTo>
                    <a:cubicBezTo>
                      <a:pt x="79375" y="27940"/>
                      <a:pt x="158750" y="55880"/>
                      <a:pt x="236220" y="99060"/>
                    </a:cubicBezTo>
                    <a:cubicBezTo>
                      <a:pt x="313690" y="142240"/>
                      <a:pt x="425450" y="231140"/>
                      <a:pt x="464820" y="259080"/>
                    </a:cubicBezTo>
                    <a:cubicBezTo>
                      <a:pt x="504190" y="287020"/>
                      <a:pt x="488315" y="276860"/>
                      <a:pt x="472440" y="266700"/>
                    </a:cubicBezTo>
                  </a:path>
                </a:pathLst>
              </a:custGeom>
              <a:grpFill/>
              <a:ln w="952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IN" sz="1765">
                  <a:solidFill>
                    <a:srgbClr val="FFFFFF"/>
                  </a:solidFill>
                </a:endParaRPr>
              </a:p>
            </p:txBody>
          </p:sp>
          <p:sp>
            <p:nvSpPr>
              <p:cNvPr id="194" name="Freeform 193"/>
              <p:cNvSpPr/>
              <p:nvPr/>
            </p:nvSpPr>
            <p:spPr bwMode="auto">
              <a:xfrm>
                <a:off x="-5364480" y="647700"/>
                <a:ext cx="388620" cy="434340"/>
              </a:xfrm>
              <a:custGeom>
                <a:avLst/>
                <a:gdLst>
                  <a:gd name="connsiteX0" fmla="*/ 0 w 388620"/>
                  <a:gd name="connsiteY0" fmla="*/ 0 h 434340"/>
                  <a:gd name="connsiteX1" fmla="*/ 388620 w 388620"/>
                  <a:gd name="connsiteY1" fmla="*/ 434340 h 434340"/>
                </a:gdLst>
                <a:ahLst/>
                <a:cxnLst>
                  <a:cxn ang="0">
                    <a:pos x="connsiteX0" y="connsiteY0"/>
                  </a:cxn>
                  <a:cxn ang="0">
                    <a:pos x="connsiteX1" y="connsiteY1"/>
                  </a:cxn>
                </a:cxnLst>
                <a:rect l="l" t="t" r="r" b="b"/>
                <a:pathLst>
                  <a:path w="388620" h="434340">
                    <a:moveTo>
                      <a:pt x="0" y="0"/>
                    </a:moveTo>
                    <a:lnTo>
                      <a:pt x="388620" y="434340"/>
                    </a:lnTo>
                  </a:path>
                </a:pathLst>
              </a:custGeom>
              <a:grpFill/>
              <a:ln w="952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IN" sz="1765">
                  <a:solidFill>
                    <a:srgbClr val="FFFFFF"/>
                  </a:solidFill>
                </a:endParaRPr>
              </a:p>
            </p:txBody>
          </p:sp>
          <p:sp>
            <p:nvSpPr>
              <p:cNvPr id="195" name="Freeform 194"/>
              <p:cNvSpPr/>
              <p:nvPr/>
            </p:nvSpPr>
            <p:spPr bwMode="auto">
              <a:xfrm>
                <a:off x="-4617720" y="304800"/>
                <a:ext cx="144780" cy="449580"/>
              </a:xfrm>
              <a:custGeom>
                <a:avLst/>
                <a:gdLst>
                  <a:gd name="connsiteX0" fmla="*/ 0 w 148286"/>
                  <a:gd name="connsiteY0" fmla="*/ 0 h 449580"/>
                  <a:gd name="connsiteX1" fmla="*/ 129540 w 148286"/>
                  <a:gd name="connsiteY1" fmla="*/ 236220 h 449580"/>
                  <a:gd name="connsiteX2" fmla="*/ 144780 w 148286"/>
                  <a:gd name="connsiteY2" fmla="*/ 449580 h 449580"/>
                  <a:gd name="connsiteX0" fmla="*/ 0 w 144780"/>
                  <a:gd name="connsiteY0" fmla="*/ 0 h 449580"/>
                  <a:gd name="connsiteX1" fmla="*/ 144780 w 144780"/>
                  <a:gd name="connsiteY1" fmla="*/ 449580 h 449580"/>
                  <a:gd name="connsiteX0" fmla="*/ 0 w 144780"/>
                  <a:gd name="connsiteY0" fmla="*/ 0 h 449580"/>
                  <a:gd name="connsiteX1" fmla="*/ 144780 w 144780"/>
                  <a:gd name="connsiteY1" fmla="*/ 449580 h 449580"/>
                  <a:gd name="connsiteX0" fmla="*/ 0 w 146764"/>
                  <a:gd name="connsiteY0" fmla="*/ 0 h 449580"/>
                  <a:gd name="connsiteX1" fmla="*/ 144780 w 146764"/>
                  <a:gd name="connsiteY1" fmla="*/ 449580 h 449580"/>
                  <a:gd name="connsiteX0" fmla="*/ 0 w 145944"/>
                  <a:gd name="connsiteY0" fmla="*/ 0 h 449580"/>
                  <a:gd name="connsiteX1" fmla="*/ 144780 w 145944"/>
                  <a:gd name="connsiteY1" fmla="*/ 449580 h 449580"/>
                  <a:gd name="connsiteX0" fmla="*/ 0 w 144780"/>
                  <a:gd name="connsiteY0" fmla="*/ 0 h 449580"/>
                  <a:gd name="connsiteX1" fmla="*/ 144780 w 144780"/>
                  <a:gd name="connsiteY1" fmla="*/ 449580 h 449580"/>
                </a:gdLst>
                <a:ahLst/>
                <a:cxnLst>
                  <a:cxn ang="0">
                    <a:pos x="connsiteX0" y="connsiteY0"/>
                  </a:cxn>
                  <a:cxn ang="0">
                    <a:pos x="connsiteX1" y="connsiteY1"/>
                  </a:cxn>
                </a:cxnLst>
                <a:rect l="l" t="t" r="r" b="b"/>
                <a:pathLst>
                  <a:path w="144780" h="449580">
                    <a:moveTo>
                      <a:pt x="0" y="0"/>
                    </a:moveTo>
                    <a:cubicBezTo>
                      <a:pt x="63500" y="104140"/>
                      <a:pt x="127000" y="246380"/>
                      <a:pt x="144780" y="449580"/>
                    </a:cubicBezTo>
                  </a:path>
                </a:pathLst>
              </a:custGeom>
              <a:grpFill/>
              <a:ln w="952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IN" sz="1765">
                  <a:solidFill>
                    <a:srgbClr val="FFFFFF"/>
                  </a:solidFill>
                </a:endParaRPr>
              </a:p>
            </p:txBody>
          </p:sp>
          <p:sp>
            <p:nvSpPr>
              <p:cNvPr id="196" name="Freeform 195"/>
              <p:cNvSpPr/>
              <p:nvPr/>
            </p:nvSpPr>
            <p:spPr bwMode="auto">
              <a:xfrm>
                <a:off x="-3962400" y="236220"/>
                <a:ext cx="99060" cy="533400"/>
              </a:xfrm>
              <a:custGeom>
                <a:avLst/>
                <a:gdLst>
                  <a:gd name="connsiteX0" fmla="*/ 99060 w 99060"/>
                  <a:gd name="connsiteY0" fmla="*/ 0 h 533400"/>
                  <a:gd name="connsiteX1" fmla="*/ 45720 w 99060"/>
                  <a:gd name="connsiteY1" fmla="*/ 220980 h 533400"/>
                  <a:gd name="connsiteX2" fmla="*/ 0 w 99060"/>
                  <a:gd name="connsiteY2" fmla="*/ 533400 h 533400"/>
                </a:gdLst>
                <a:ahLst/>
                <a:cxnLst>
                  <a:cxn ang="0">
                    <a:pos x="connsiteX0" y="connsiteY0"/>
                  </a:cxn>
                  <a:cxn ang="0">
                    <a:pos x="connsiteX1" y="connsiteY1"/>
                  </a:cxn>
                  <a:cxn ang="0">
                    <a:pos x="connsiteX2" y="connsiteY2"/>
                  </a:cxn>
                </a:cxnLst>
                <a:rect l="l" t="t" r="r" b="b"/>
                <a:pathLst>
                  <a:path w="99060" h="533400">
                    <a:moveTo>
                      <a:pt x="99060" y="0"/>
                    </a:moveTo>
                    <a:cubicBezTo>
                      <a:pt x="80645" y="66040"/>
                      <a:pt x="62230" y="132080"/>
                      <a:pt x="45720" y="220980"/>
                    </a:cubicBezTo>
                    <a:cubicBezTo>
                      <a:pt x="29210" y="309880"/>
                      <a:pt x="14605" y="421640"/>
                      <a:pt x="0" y="533400"/>
                    </a:cubicBezTo>
                  </a:path>
                </a:pathLst>
              </a:custGeom>
              <a:grpFill/>
              <a:ln w="952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IN" sz="1765">
                  <a:solidFill>
                    <a:srgbClr val="FFFFFF"/>
                  </a:solidFill>
                </a:endParaRPr>
              </a:p>
            </p:txBody>
          </p:sp>
        </p:grpSp>
        <p:sp>
          <p:nvSpPr>
            <p:cNvPr id="68" name="TextBox 67"/>
            <p:cNvSpPr txBox="1"/>
            <p:nvPr/>
          </p:nvSpPr>
          <p:spPr>
            <a:xfrm>
              <a:off x="465139" y="2736625"/>
              <a:ext cx="3732638" cy="1289730"/>
            </a:xfrm>
            <a:prstGeom prst="rect">
              <a:avLst/>
            </a:prstGeom>
            <a:noFill/>
            <a:ln w="3175">
              <a:noFill/>
            </a:ln>
          </p:spPr>
          <p:txBody>
            <a:bodyPr wrap="square" lIns="986067" tIns="44821" rIns="89642" bIns="44821" rtlCol="0" anchor="ctr">
              <a:noAutofit/>
            </a:bodyPr>
            <a:lstStyle/>
            <a:p>
              <a:pPr marL="0" lvl="1" defTabSz="913770" fontAlgn="base">
                <a:spcBef>
                  <a:spcPts val="588"/>
                </a:spcBef>
                <a:buClr>
                  <a:srgbClr val="68217A">
                    <a:lumMod val="50000"/>
                  </a:srgbClr>
                </a:buClr>
                <a:tabLst>
                  <a:tab pos="645523" algn="l"/>
                </a:tabLst>
              </a:pPr>
              <a:r>
                <a:rPr lang="en-IN" sz="2353" dirty="0">
                  <a:solidFill>
                    <a:srgbClr val="505050"/>
                  </a:solidFill>
                  <a:latin typeface="Segoe UI Semibold" panose="020B0702040204020203" pitchFamily="34" charset="0"/>
                  <a:ea typeface="Segoe UI" pitchFamily="34" charset="0"/>
                  <a:cs typeface="Segoe UI Semibold" panose="020B0702040204020203" pitchFamily="34" charset="0"/>
                </a:rPr>
                <a:t>Fault Tolerant</a:t>
              </a:r>
            </a:p>
            <a:p>
              <a:pPr marL="0" lvl="1" defTabSz="913770" fontAlgn="base">
                <a:spcBef>
                  <a:spcPts val="196"/>
                </a:spcBef>
                <a:spcAft>
                  <a:spcPts val="196"/>
                </a:spcAft>
                <a:buClr>
                  <a:srgbClr val="68217A">
                    <a:lumMod val="50000"/>
                  </a:srgbClr>
                </a:buClr>
                <a:tabLst>
                  <a:tab pos="645523" algn="l"/>
                </a:tabLst>
              </a:pPr>
              <a:r>
                <a:rPr lang="en-US" sz="1765" dirty="0">
                  <a:solidFill>
                    <a:srgbClr val="505050"/>
                  </a:solidFill>
                  <a:ea typeface="Segoe UI" pitchFamily="34" charset="0"/>
                  <a:cs typeface="Segoe UI" pitchFamily="34" charset="0"/>
                </a:rPr>
                <a:t>Resilient to node and software failure</a:t>
              </a:r>
            </a:p>
          </p:txBody>
        </p:sp>
        <p:cxnSp>
          <p:nvCxnSpPr>
            <p:cNvPr id="79" name="Straight Connector 78"/>
            <p:cNvCxnSpPr/>
            <p:nvPr/>
          </p:nvCxnSpPr>
          <p:spPr>
            <a:xfrm>
              <a:off x="1316039" y="2898265"/>
              <a:ext cx="0" cy="966450"/>
            </a:xfrm>
            <a:prstGeom prst="line">
              <a:avLst/>
            </a:prstGeom>
            <a:ln w="3175">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7" name="Group 16"/>
          <p:cNvGrpSpPr/>
          <p:nvPr/>
        </p:nvGrpSpPr>
        <p:grpSpPr>
          <a:xfrm>
            <a:off x="8114094" y="1964814"/>
            <a:ext cx="3659262" cy="1264377"/>
            <a:chOff x="4370969" y="2736625"/>
            <a:chExt cx="3732638" cy="1289730"/>
          </a:xfrm>
        </p:grpSpPr>
        <p:sp>
          <p:nvSpPr>
            <p:cNvPr id="61" name="TextBox 60"/>
            <p:cNvSpPr txBox="1"/>
            <p:nvPr/>
          </p:nvSpPr>
          <p:spPr>
            <a:xfrm>
              <a:off x="4370969" y="2736625"/>
              <a:ext cx="3732638" cy="1289730"/>
            </a:xfrm>
            <a:prstGeom prst="rect">
              <a:avLst/>
            </a:prstGeom>
            <a:noFill/>
            <a:ln w="3175">
              <a:noFill/>
            </a:ln>
          </p:spPr>
          <p:txBody>
            <a:bodyPr wrap="square" lIns="986067" tIns="44821" rIns="89642" bIns="44821" rtlCol="0" anchor="ctr">
              <a:noAutofit/>
            </a:bodyPr>
            <a:lstStyle/>
            <a:p>
              <a:pPr marL="0" lvl="1" defTabSz="913770" fontAlgn="base">
                <a:spcBef>
                  <a:spcPts val="588"/>
                </a:spcBef>
                <a:buClr>
                  <a:srgbClr val="68217A">
                    <a:lumMod val="50000"/>
                  </a:srgbClr>
                </a:buClr>
                <a:tabLst>
                  <a:tab pos="645523" algn="l"/>
                </a:tabLst>
              </a:pPr>
              <a:r>
                <a:rPr lang="en-IN" sz="2353" dirty="0">
                  <a:solidFill>
                    <a:srgbClr val="505050"/>
                  </a:solidFill>
                  <a:latin typeface="Segoe UI Semibold" panose="020B0702040204020203" pitchFamily="34" charset="0"/>
                  <a:ea typeface="Segoe UI" pitchFamily="34" charset="0"/>
                  <a:cs typeface="Segoe UI Semibold" panose="020B0702040204020203" pitchFamily="34" charset="0"/>
                </a:rPr>
                <a:t>Fast</a:t>
              </a:r>
            </a:p>
            <a:p>
              <a:pPr marL="0" lvl="1" defTabSz="913770" fontAlgn="base">
                <a:spcBef>
                  <a:spcPts val="196"/>
                </a:spcBef>
                <a:spcAft>
                  <a:spcPts val="196"/>
                </a:spcAft>
                <a:buClr>
                  <a:srgbClr val="68217A">
                    <a:lumMod val="50000"/>
                  </a:srgbClr>
                </a:buClr>
                <a:tabLst>
                  <a:tab pos="645523" algn="l"/>
                </a:tabLst>
              </a:pPr>
              <a:r>
                <a:rPr lang="en-US" sz="1765" dirty="0">
                  <a:solidFill>
                    <a:srgbClr val="505050"/>
                  </a:solidFill>
                  <a:ea typeface="Segoe UI" pitchFamily="34" charset="0"/>
                  <a:cs typeface="Segoe UI" pitchFamily="34" charset="0"/>
                </a:rPr>
                <a:t>Clocked at 1M+ messages per second per node</a:t>
              </a:r>
            </a:p>
          </p:txBody>
        </p:sp>
        <p:sp>
          <p:nvSpPr>
            <p:cNvPr id="185" name="Freeform 184"/>
            <p:cNvSpPr/>
            <p:nvPr/>
          </p:nvSpPr>
          <p:spPr bwMode="auto">
            <a:xfrm>
              <a:off x="4390019" y="3227406"/>
              <a:ext cx="770515" cy="446891"/>
            </a:xfrm>
            <a:custGeom>
              <a:avLst/>
              <a:gdLst>
                <a:gd name="connsiteX0" fmla="*/ 315055 w 2016930"/>
                <a:gd name="connsiteY0" fmla="*/ 716552 h 1169800"/>
                <a:gd name="connsiteX1" fmla="*/ 1439767 w 2016930"/>
                <a:gd name="connsiteY1" fmla="*/ 716552 h 1169800"/>
                <a:gd name="connsiteX2" fmla="*/ 1471771 w 2016930"/>
                <a:gd name="connsiteY2" fmla="*/ 748556 h 1169800"/>
                <a:gd name="connsiteX3" fmla="*/ 1439767 w 2016930"/>
                <a:gd name="connsiteY3" fmla="*/ 780560 h 1169800"/>
                <a:gd name="connsiteX4" fmla="*/ 315055 w 2016930"/>
                <a:gd name="connsiteY4" fmla="*/ 780560 h 1169800"/>
                <a:gd name="connsiteX5" fmla="*/ 283051 w 2016930"/>
                <a:gd name="connsiteY5" fmla="*/ 748556 h 1169800"/>
                <a:gd name="connsiteX6" fmla="*/ 315055 w 2016930"/>
                <a:gd name="connsiteY6" fmla="*/ 716552 h 1169800"/>
                <a:gd name="connsiteX7" fmla="*/ 32004 w 2016930"/>
                <a:gd name="connsiteY7" fmla="*/ 566840 h 1169800"/>
                <a:gd name="connsiteX8" fmla="*/ 1065276 w 2016930"/>
                <a:gd name="connsiteY8" fmla="*/ 566840 h 1169800"/>
                <a:gd name="connsiteX9" fmla="*/ 1097280 w 2016930"/>
                <a:gd name="connsiteY9" fmla="*/ 598844 h 1169800"/>
                <a:gd name="connsiteX10" fmla="*/ 1065276 w 2016930"/>
                <a:gd name="connsiteY10" fmla="*/ 630848 h 1169800"/>
                <a:gd name="connsiteX11" fmla="*/ 32004 w 2016930"/>
                <a:gd name="connsiteY11" fmla="*/ 630848 h 1169800"/>
                <a:gd name="connsiteX12" fmla="*/ 0 w 2016930"/>
                <a:gd name="connsiteY12" fmla="*/ 598844 h 1169800"/>
                <a:gd name="connsiteX13" fmla="*/ 32004 w 2016930"/>
                <a:gd name="connsiteY13" fmla="*/ 566840 h 1169800"/>
                <a:gd name="connsiteX14" fmla="*/ 197488 w 2016930"/>
                <a:gd name="connsiteY14" fmla="*/ 417128 h 1169800"/>
                <a:gd name="connsiteX15" fmla="*/ 1322200 w 2016930"/>
                <a:gd name="connsiteY15" fmla="*/ 417128 h 1169800"/>
                <a:gd name="connsiteX16" fmla="*/ 1354204 w 2016930"/>
                <a:gd name="connsiteY16" fmla="*/ 449132 h 1169800"/>
                <a:gd name="connsiteX17" fmla="*/ 1322200 w 2016930"/>
                <a:gd name="connsiteY17" fmla="*/ 481136 h 1169800"/>
                <a:gd name="connsiteX18" fmla="*/ 197488 w 2016930"/>
                <a:gd name="connsiteY18" fmla="*/ 481136 h 1169800"/>
                <a:gd name="connsiteX19" fmla="*/ 165484 w 2016930"/>
                <a:gd name="connsiteY19" fmla="*/ 449132 h 1169800"/>
                <a:gd name="connsiteX20" fmla="*/ 197488 w 2016930"/>
                <a:gd name="connsiteY20" fmla="*/ 417128 h 1169800"/>
                <a:gd name="connsiteX21" fmla="*/ 1354981 w 2016930"/>
                <a:gd name="connsiteY21" fmla="*/ 0 h 1169800"/>
                <a:gd name="connsiteX22" fmla="*/ 1701526 w 2016930"/>
                <a:gd name="connsiteY22" fmla="*/ 229705 h 1169800"/>
                <a:gd name="connsiteX23" fmla="*/ 1721050 w 2016930"/>
                <a:gd name="connsiteY23" fmla="*/ 292602 h 1169800"/>
                <a:gd name="connsiteX24" fmla="*/ 1724596 w 2016930"/>
                <a:gd name="connsiteY24" fmla="*/ 292334 h 1169800"/>
                <a:gd name="connsiteX25" fmla="*/ 1783512 w 2016930"/>
                <a:gd name="connsiteY25" fmla="*/ 298273 h 1169800"/>
                <a:gd name="connsiteX26" fmla="*/ 1803965 w 2016930"/>
                <a:gd name="connsiteY26" fmla="*/ 304622 h 1169800"/>
                <a:gd name="connsiteX27" fmla="*/ 1803965 w 2016930"/>
                <a:gd name="connsiteY27" fmla="*/ 304080 h 1169800"/>
                <a:gd name="connsiteX28" fmla="*/ 1808085 w 2016930"/>
                <a:gd name="connsiteY28" fmla="*/ 304894 h 1169800"/>
                <a:gd name="connsiteX29" fmla="*/ 1813942 w 2016930"/>
                <a:gd name="connsiteY29" fmla="*/ 307719 h 1169800"/>
                <a:gd name="connsiteX30" fmla="*/ 1838386 w 2016930"/>
                <a:gd name="connsiteY30" fmla="*/ 315307 h 1169800"/>
                <a:gd name="connsiteX31" fmla="*/ 1888043 w 2016930"/>
                <a:gd name="connsiteY31" fmla="*/ 342260 h 1169800"/>
                <a:gd name="connsiteX32" fmla="*/ 1891558 w 2016930"/>
                <a:gd name="connsiteY32" fmla="*/ 345160 h 1169800"/>
                <a:gd name="connsiteX33" fmla="*/ 1891668 w 2016930"/>
                <a:gd name="connsiteY33" fmla="*/ 345213 h 1169800"/>
                <a:gd name="connsiteX34" fmla="*/ 1891944 w 2016930"/>
                <a:gd name="connsiteY34" fmla="*/ 345478 h 1169800"/>
                <a:gd name="connsiteX35" fmla="*/ 1931308 w 2016930"/>
                <a:gd name="connsiteY35" fmla="*/ 377956 h 1169800"/>
                <a:gd name="connsiteX36" fmla="*/ 1952832 w 2016930"/>
                <a:gd name="connsiteY36" fmla="*/ 404044 h 1169800"/>
                <a:gd name="connsiteX37" fmla="*/ 1957798 w 2016930"/>
                <a:gd name="connsiteY37" fmla="*/ 408820 h 1169800"/>
                <a:gd name="connsiteX38" fmla="*/ 1959660 w 2016930"/>
                <a:gd name="connsiteY38" fmla="*/ 412320 h 1169800"/>
                <a:gd name="connsiteX39" fmla="*/ 1967004 w 2016930"/>
                <a:gd name="connsiteY39" fmla="*/ 421221 h 1169800"/>
                <a:gd name="connsiteX40" fmla="*/ 1993957 w 2016930"/>
                <a:gd name="connsiteY40" fmla="*/ 470878 h 1169800"/>
                <a:gd name="connsiteX41" fmla="*/ 1998339 w 2016930"/>
                <a:gd name="connsiteY41" fmla="*/ 484994 h 1169800"/>
                <a:gd name="connsiteX42" fmla="*/ 2001282 w 2016930"/>
                <a:gd name="connsiteY42" fmla="*/ 490523 h 1169800"/>
                <a:gd name="connsiteX43" fmla="*/ 2002681 w 2016930"/>
                <a:gd name="connsiteY43" fmla="*/ 498981 h 1169800"/>
                <a:gd name="connsiteX44" fmla="*/ 2010991 w 2016930"/>
                <a:gd name="connsiteY44" fmla="*/ 525752 h 1169800"/>
                <a:gd name="connsiteX45" fmla="*/ 2016930 w 2016930"/>
                <a:gd name="connsiteY45" fmla="*/ 584668 h 1169800"/>
                <a:gd name="connsiteX46" fmla="*/ 2016892 w 2016930"/>
                <a:gd name="connsiteY46" fmla="*/ 584900 h 1169800"/>
                <a:gd name="connsiteX47" fmla="*/ 2016930 w 2016930"/>
                <a:gd name="connsiteY47" fmla="*/ 585132 h 1169800"/>
                <a:gd name="connsiteX48" fmla="*/ 2010991 w 2016930"/>
                <a:gd name="connsiteY48" fmla="*/ 644048 h 1169800"/>
                <a:gd name="connsiteX49" fmla="*/ 2002681 w 2016930"/>
                <a:gd name="connsiteY49" fmla="*/ 670819 h 1169800"/>
                <a:gd name="connsiteX50" fmla="*/ 2001282 w 2016930"/>
                <a:gd name="connsiteY50" fmla="*/ 679276 h 1169800"/>
                <a:gd name="connsiteX51" fmla="*/ 1998339 w 2016930"/>
                <a:gd name="connsiteY51" fmla="*/ 684806 h 1169800"/>
                <a:gd name="connsiteX52" fmla="*/ 1993957 w 2016930"/>
                <a:gd name="connsiteY52" fmla="*/ 698922 h 1169800"/>
                <a:gd name="connsiteX53" fmla="*/ 1967004 w 2016930"/>
                <a:gd name="connsiteY53" fmla="*/ 748579 h 1169800"/>
                <a:gd name="connsiteX54" fmla="*/ 1959660 w 2016930"/>
                <a:gd name="connsiteY54" fmla="*/ 757480 h 1169800"/>
                <a:gd name="connsiteX55" fmla="*/ 1957798 w 2016930"/>
                <a:gd name="connsiteY55" fmla="*/ 760980 h 1169800"/>
                <a:gd name="connsiteX56" fmla="*/ 1952832 w 2016930"/>
                <a:gd name="connsiteY56" fmla="*/ 765756 h 1169800"/>
                <a:gd name="connsiteX57" fmla="*/ 1931308 w 2016930"/>
                <a:gd name="connsiteY57" fmla="*/ 791844 h 1169800"/>
                <a:gd name="connsiteX58" fmla="*/ 1891944 w 2016930"/>
                <a:gd name="connsiteY58" fmla="*/ 824322 h 1169800"/>
                <a:gd name="connsiteX59" fmla="*/ 1891668 w 2016930"/>
                <a:gd name="connsiteY59" fmla="*/ 824587 h 1169800"/>
                <a:gd name="connsiteX60" fmla="*/ 1891558 w 2016930"/>
                <a:gd name="connsiteY60" fmla="*/ 824640 h 1169800"/>
                <a:gd name="connsiteX61" fmla="*/ 1888043 w 2016930"/>
                <a:gd name="connsiteY61" fmla="*/ 827540 h 1169800"/>
                <a:gd name="connsiteX62" fmla="*/ 1838386 w 2016930"/>
                <a:gd name="connsiteY62" fmla="*/ 854493 h 1169800"/>
                <a:gd name="connsiteX63" fmla="*/ 1813942 w 2016930"/>
                <a:gd name="connsiteY63" fmla="*/ 862081 h 1169800"/>
                <a:gd name="connsiteX64" fmla="*/ 1808085 w 2016930"/>
                <a:gd name="connsiteY64" fmla="*/ 864906 h 1169800"/>
                <a:gd name="connsiteX65" fmla="*/ 1803965 w 2016930"/>
                <a:gd name="connsiteY65" fmla="*/ 865720 h 1169800"/>
                <a:gd name="connsiteX66" fmla="*/ 1803965 w 2016930"/>
                <a:gd name="connsiteY66" fmla="*/ 865178 h 1169800"/>
                <a:gd name="connsiteX67" fmla="*/ 1783512 w 2016930"/>
                <a:gd name="connsiteY67" fmla="*/ 871527 h 1169800"/>
                <a:gd name="connsiteX68" fmla="*/ 1724596 w 2016930"/>
                <a:gd name="connsiteY68" fmla="*/ 877466 h 1169800"/>
                <a:gd name="connsiteX69" fmla="*/ 1721050 w 2016930"/>
                <a:gd name="connsiteY69" fmla="*/ 877198 h 1169800"/>
                <a:gd name="connsiteX70" fmla="*/ 1701526 w 2016930"/>
                <a:gd name="connsiteY70" fmla="*/ 940095 h 1169800"/>
                <a:gd name="connsiteX71" fmla="*/ 1354981 w 2016930"/>
                <a:gd name="connsiteY71" fmla="*/ 1169800 h 1169800"/>
                <a:gd name="connsiteX72" fmla="*/ 1064764 w 2016930"/>
                <a:gd name="connsiteY72" fmla="*/ 1032934 h 1169800"/>
                <a:gd name="connsiteX73" fmla="*/ 1015012 w 2016930"/>
                <a:gd name="connsiteY73" fmla="*/ 965089 h 1169800"/>
                <a:gd name="connsiteX74" fmla="*/ 1098376 w 2016930"/>
                <a:gd name="connsiteY74" fmla="*/ 975092 h 1169800"/>
                <a:gd name="connsiteX75" fmla="*/ 1354807 w 2016930"/>
                <a:gd name="connsiteY75" fmla="*/ 1111436 h 1169800"/>
                <a:gd name="connsiteX76" fmla="*/ 1657771 w 2016930"/>
                <a:gd name="connsiteY76" fmla="*/ 864514 h 1169800"/>
                <a:gd name="connsiteX77" fmla="*/ 1663206 w 2016930"/>
                <a:gd name="connsiteY77" fmla="*/ 810598 h 1169800"/>
                <a:gd name="connsiteX78" fmla="*/ 1672380 w 2016930"/>
                <a:gd name="connsiteY78" fmla="*/ 813445 h 1169800"/>
                <a:gd name="connsiteX79" fmla="*/ 1719570 w 2016930"/>
                <a:gd name="connsiteY79" fmla="*/ 818203 h 1169800"/>
                <a:gd name="connsiteX80" fmla="*/ 1766761 w 2016930"/>
                <a:gd name="connsiteY80" fmla="*/ 813446 h 1169800"/>
                <a:gd name="connsiteX81" fmla="*/ 1803965 w 2016930"/>
                <a:gd name="connsiteY81" fmla="*/ 801897 h 1169800"/>
                <a:gd name="connsiteX82" fmla="*/ 1803965 w 2016930"/>
                <a:gd name="connsiteY82" fmla="*/ 800544 h 1169800"/>
                <a:gd name="connsiteX83" fmla="*/ 1823416 w 2016930"/>
                <a:gd name="connsiteY83" fmla="*/ 792908 h 1169800"/>
                <a:gd name="connsiteX84" fmla="*/ 1850489 w 2016930"/>
                <a:gd name="connsiteY84" fmla="*/ 778213 h 1169800"/>
                <a:gd name="connsiteX85" fmla="*/ 1885144 w 2016930"/>
                <a:gd name="connsiteY85" fmla="*/ 749620 h 1169800"/>
                <a:gd name="connsiteX86" fmla="*/ 1931753 w 2016930"/>
                <a:gd name="connsiteY86" fmla="*/ 680490 h 1169800"/>
                <a:gd name="connsiteX87" fmla="*/ 1936628 w 2016930"/>
                <a:gd name="connsiteY87" fmla="*/ 668736 h 1169800"/>
                <a:gd name="connsiteX88" fmla="*/ 1953554 w 2016930"/>
                <a:gd name="connsiteY88" fmla="*/ 584900 h 1169800"/>
                <a:gd name="connsiteX89" fmla="*/ 1936628 w 2016930"/>
                <a:gd name="connsiteY89" fmla="*/ 501064 h 1169800"/>
                <a:gd name="connsiteX90" fmla="*/ 1931753 w 2016930"/>
                <a:gd name="connsiteY90" fmla="*/ 489310 h 1169800"/>
                <a:gd name="connsiteX91" fmla="*/ 1885144 w 2016930"/>
                <a:gd name="connsiteY91" fmla="*/ 420180 h 1169800"/>
                <a:gd name="connsiteX92" fmla="*/ 1850489 w 2016930"/>
                <a:gd name="connsiteY92" fmla="*/ 391587 h 1169800"/>
                <a:gd name="connsiteX93" fmla="*/ 1823416 w 2016930"/>
                <a:gd name="connsiteY93" fmla="*/ 376892 h 1169800"/>
                <a:gd name="connsiteX94" fmla="*/ 1803965 w 2016930"/>
                <a:gd name="connsiteY94" fmla="*/ 369256 h 1169800"/>
                <a:gd name="connsiteX95" fmla="*/ 1803965 w 2016930"/>
                <a:gd name="connsiteY95" fmla="*/ 367903 h 1169800"/>
                <a:gd name="connsiteX96" fmla="*/ 1766761 w 2016930"/>
                <a:gd name="connsiteY96" fmla="*/ 356354 h 1169800"/>
                <a:gd name="connsiteX97" fmla="*/ 1719570 w 2016930"/>
                <a:gd name="connsiteY97" fmla="*/ 351597 h 1169800"/>
                <a:gd name="connsiteX98" fmla="*/ 1672380 w 2016930"/>
                <a:gd name="connsiteY98" fmla="*/ 356355 h 1169800"/>
                <a:gd name="connsiteX99" fmla="*/ 1663206 w 2016930"/>
                <a:gd name="connsiteY99" fmla="*/ 359202 h 1169800"/>
                <a:gd name="connsiteX100" fmla="*/ 1657771 w 2016930"/>
                <a:gd name="connsiteY100" fmla="*/ 305286 h 1169800"/>
                <a:gd name="connsiteX101" fmla="*/ 1354807 w 2016930"/>
                <a:gd name="connsiteY101" fmla="*/ 58364 h 1169800"/>
                <a:gd name="connsiteX102" fmla="*/ 1098376 w 2016930"/>
                <a:gd name="connsiteY102" fmla="*/ 194708 h 1169800"/>
                <a:gd name="connsiteX103" fmla="*/ 1015012 w 2016930"/>
                <a:gd name="connsiteY103" fmla="*/ 204711 h 1169800"/>
                <a:gd name="connsiteX104" fmla="*/ 1064764 w 2016930"/>
                <a:gd name="connsiteY104" fmla="*/ 136866 h 1169800"/>
                <a:gd name="connsiteX105" fmla="*/ 1354981 w 2016930"/>
                <a:gd name="connsiteY105" fmla="*/ 0 h 116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2016930" h="1169800">
                  <a:moveTo>
                    <a:pt x="315055" y="716552"/>
                  </a:moveTo>
                  <a:lnTo>
                    <a:pt x="1439767" y="716552"/>
                  </a:lnTo>
                  <a:cubicBezTo>
                    <a:pt x="1457442" y="716552"/>
                    <a:pt x="1471771" y="730881"/>
                    <a:pt x="1471771" y="748556"/>
                  </a:cubicBezTo>
                  <a:cubicBezTo>
                    <a:pt x="1471771" y="766231"/>
                    <a:pt x="1457442" y="780560"/>
                    <a:pt x="1439767" y="780560"/>
                  </a:cubicBezTo>
                  <a:lnTo>
                    <a:pt x="315055" y="780560"/>
                  </a:lnTo>
                  <a:cubicBezTo>
                    <a:pt x="297380" y="780560"/>
                    <a:pt x="283051" y="766231"/>
                    <a:pt x="283051" y="748556"/>
                  </a:cubicBezTo>
                  <a:cubicBezTo>
                    <a:pt x="283051" y="730881"/>
                    <a:pt x="297380" y="716552"/>
                    <a:pt x="315055" y="716552"/>
                  </a:cubicBezTo>
                  <a:close/>
                  <a:moveTo>
                    <a:pt x="32004" y="566840"/>
                  </a:moveTo>
                  <a:lnTo>
                    <a:pt x="1065276" y="566840"/>
                  </a:lnTo>
                  <a:cubicBezTo>
                    <a:pt x="1082951" y="566840"/>
                    <a:pt x="1097280" y="581169"/>
                    <a:pt x="1097280" y="598844"/>
                  </a:cubicBezTo>
                  <a:cubicBezTo>
                    <a:pt x="1097280" y="616519"/>
                    <a:pt x="1082951" y="630848"/>
                    <a:pt x="1065276" y="630848"/>
                  </a:cubicBezTo>
                  <a:lnTo>
                    <a:pt x="32004" y="630848"/>
                  </a:lnTo>
                  <a:cubicBezTo>
                    <a:pt x="14329" y="630848"/>
                    <a:pt x="0" y="616519"/>
                    <a:pt x="0" y="598844"/>
                  </a:cubicBezTo>
                  <a:cubicBezTo>
                    <a:pt x="0" y="581169"/>
                    <a:pt x="14329" y="566840"/>
                    <a:pt x="32004" y="566840"/>
                  </a:cubicBezTo>
                  <a:close/>
                  <a:moveTo>
                    <a:pt x="197488" y="417128"/>
                  </a:moveTo>
                  <a:lnTo>
                    <a:pt x="1322200" y="417128"/>
                  </a:lnTo>
                  <a:cubicBezTo>
                    <a:pt x="1339875" y="417128"/>
                    <a:pt x="1354204" y="431457"/>
                    <a:pt x="1354204" y="449132"/>
                  </a:cubicBezTo>
                  <a:cubicBezTo>
                    <a:pt x="1354204" y="466807"/>
                    <a:pt x="1339875" y="481136"/>
                    <a:pt x="1322200" y="481136"/>
                  </a:cubicBezTo>
                  <a:lnTo>
                    <a:pt x="197488" y="481136"/>
                  </a:lnTo>
                  <a:cubicBezTo>
                    <a:pt x="179813" y="481136"/>
                    <a:pt x="165484" y="466807"/>
                    <a:pt x="165484" y="449132"/>
                  </a:cubicBezTo>
                  <a:cubicBezTo>
                    <a:pt x="165484" y="431457"/>
                    <a:pt x="179813" y="417128"/>
                    <a:pt x="197488" y="417128"/>
                  </a:cubicBezTo>
                  <a:close/>
                  <a:moveTo>
                    <a:pt x="1354981" y="0"/>
                  </a:moveTo>
                  <a:cubicBezTo>
                    <a:pt x="1510767" y="0"/>
                    <a:pt x="1644430" y="94717"/>
                    <a:pt x="1701526" y="229705"/>
                  </a:cubicBezTo>
                  <a:lnTo>
                    <a:pt x="1721050" y="292602"/>
                  </a:lnTo>
                  <a:lnTo>
                    <a:pt x="1724596" y="292334"/>
                  </a:lnTo>
                  <a:cubicBezTo>
                    <a:pt x="1744778" y="292334"/>
                    <a:pt x="1764482" y="294379"/>
                    <a:pt x="1783512" y="298273"/>
                  </a:cubicBezTo>
                  <a:lnTo>
                    <a:pt x="1803965" y="304622"/>
                  </a:lnTo>
                  <a:lnTo>
                    <a:pt x="1803965" y="304080"/>
                  </a:lnTo>
                  <a:lnTo>
                    <a:pt x="1808085" y="304894"/>
                  </a:lnTo>
                  <a:lnTo>
                    <a:pt x="1813942" y="307719"/>
                  </a:lnTo>
                  <a:lnTo>
                    <a:pt x="1838386" y="315307"/>
                  </a:lnTo>
                  <a:cubicBezTo>
                    <a:pt x="1855873" y="322703"/>
                    <a:pt x="1872491" y="331753"/>
                    <a:pt x="1888043" y="342260"/>
                  </a:cubicBezTo>
                  <a:lnTo>
                    <a:pt x="1891558" y="345160"/>
                  </a:lnTo>
                  <a:lnTo>
                    <a:pt x="1891668" y="345213"/>
                  </a:lnTo>
                  <a:lnTo>
                    <a:pt x="1891944" y="345478"/>
                  </a:lnTo>
                  <a:lnTo>
                    <a:pt x="1931308" y="377956"/>
                  </a:lnTo>
                  <a:lnTo>
                    <a:pt x="1952832" y="404044"/>
                  </a:lnTo>
                  <a:lnTo>
                    <a:pt x="1957798" y="408820"/>
                  </a:lnTo>
                  <a:lnTo>
                    <a:pt x="1959660" y="412320"/>
                  </a:lnTo>
                  <a:lnTo>
                    <a:pt x="1967004" y="421221"/>
                  </a:lnTo>
                  <a:cubicBezTo>
                    <a:pt x="1977511" y="436773"/>
                    <a:pt x="1986561" y="453391"/>
                    <a:pt x="1993957" y="470878"/>
                  </a:cubicBezTo>
                  <a:lnTo>
                    <a:pt x="1998339" y="484994"/>
                  </a:lnTo>
                  <a:lnTo>
                    <a:pt x="2001282" y="490523"/>
                  </a:lnTo>
                  <a:lnTo>
                    <a:pt x="2002681" y="498981"/>
                  </a:lnTo>
                  <a:lnTo>
                    <a:pt x="2010991" y="525752"/>
                  </a:lnTo>
                  <a:cubicBezTo>
                    <a:pt x="2014885" y="544783"/>
                    <a:pt x="2016930" y="564486"/>
                    <a:pt x="2016930" y="584668"/>
                  </a:cubicBezTo>
                  <a:lnTo>
                    <a:pt x="2016892" y="584900"/>
                  </a:lnTo>
                  <a:lnTo>
                    <a:pt x="2016930" y="585132"/>
                  </a:lnTo>
                  <a:cubicBezTo>
                    <a:pt x="2016930" y="605313"/>
                    <a:pt x="2014885" y="625017"/>
                    <a:pt x="2010991" y="644048"/>
                  </a:cubicBezTo>
                  <a:lnTo>
                    <a:pt x="2002681" y="670819"/>
                  </a:lnTo>
                  <a:lnTo>
                    <a:pt x="2001282" y="679276"/>
                  </a:lnTo>
                  <a:lnTo>
                    <a:pt x="1998339" y="684806"/>
                  </a:lnTo>
                  <a:lnTo>
                    <a:pt x="1993957" y="698922"/>
                  </a:lnTo>
                  <a:cubicBezTo>
                    <a:pt x="1986561" y="716409"/>
                    <a:pt x="1977511" y="733027"/>
                    <a:pt x="1967004" y="748579"/>
                  </a:cubicBezTo>
                  <a:lnTo>
                    <a:pt x="1959660" y="757480"/>
                  </a:lnTo>
                  <a:lnTo>
                    <a:pt x="1957798" y="760980"/>
                  </a:lnTo>
                  <a:lnTo>
                    <a:pt x="1952832" y="765756"/>
                  </a:lnTo>
                  <a:lnTo>
                    <a:pt x="1931308" y="791844"/>
                  </a:lnTo>
                  <a:lnTo>
                    <a:pt x="1891944" y="824322"/>
                  </a:lnTo>
                  <a:lnTo>
                    <a:pt x="1891668" y="824587"/>
                  </a:lnTo>
                  <a:lnTo>
                    <a:pt x="1891558" y="824640"/>
                  </a:lnTo>
                  <a:lnTo>
                    <a:pt x="1888043" y="827540"/>
                  </a:lnTo>
                  <a:cubicBezTo>
                    <a:pt x="1872491" y="838047"/>
                    <a:pt x="1855873" y="847097"/>
                    <a:pt x="1838386" y="854493"/>
                  </a:cubicBezTo>
                  <a:lnTo>
                    <a:pt x="1813942" y="862081"/>
                  </a:lnTo>
                  <a:lnTo>
                    <a:pt x="1808085" y="864906"/>
                  </a:lnTo>
                  <a:lnTo>
                    <a:pt x="1803965" y="865720"/>
                  </a:lnTo>
                  <a:lnTo>
                    <a:pt x="1803965" y="865178"/>
                  </a:lnTo>
                  <a:lnTo>
                    <a:pt x="1783512" y="871527"/>
                  </a:lnTo>
                  <a:cubicBezTo>
                    <a:pt x="1764482" y="875421"/>
                    <a:pt x="1744778" y="877466"/>
                    <a:pt x="1724596" y="877466"/>
                  </a:cubicBezTo>
                  <a:lnTo>
                    <a:pt x="1721050" y="877198"/>
                  </a:lnTo>
                  <a:lnTo>
                    <a:pt x="1701526" y="940095"/>
                  </a:lnTo>
                  <a:cubicBezTo>
                    <a:pt x="1644430" y="1075083"/>
                    <a:pt x="1510767" y="1169800"/>
                    <a:pt x="1354981" y="1169800"/>
                  </a:cubicBezTo>
                  <a:cubicBezTo>
                    <a:pt x="1238142" y="1169800"/>
                    <a:pt x="1133746" y="1116522"/>
                    <a:pt x="1064764" y="1032934"/>
                  </a:cubicBezTo>
                  <a:cubicBezTo>
                    <a:pt x="1048180" y="1010319"/>
                    <a:pt x="1033977" y="999610"/>
                    <a:pt x="1015012" y="965089"/>
                  </a:cubicBezTo>
                  <a:cubicBezTo>
                    <a:pt x="1026131" y="954135"/>
                    <a:pt x="1020582" y="893177"/>
                    <a:pt x="1098376" y="975092"/>
                  </a:cubicBezTo>
                  <a:cubicBezTo>
                    <a:pt x="1153949" y="1057352"/>
                    <a:pt x="1248062" y="1111436"/>
                    <a:pt x="1354807" y="1111436"/>
                  </a:cubicBezTo>
                  <a:cubicBezTo>
                    <a:pt x="1504250" y="1111436"/>
                    <a:pt x="1628935" y="1005432"/>
                    <a:pt x="1657771" y="864514"/>
                  </a:cubicBezTo>
                  <a:lnTo>
                    <a:pt x="1663206" y="810598"/>
                  </a:lnTo>
                  <a:lnTo>
                    <a:pt x="1672380" y="813445"/>
                  </a:lnTo>
                  <a:cubicBezTo>
                    <a:pt x="1687623" y="816565"/>
                    <a:pt x="1703405" y="818203"/>
                    <a:pt x="1719570" y="818203"/>
                  </a:cubicBezTo>
                  <a:cubicBezTo>
                    <a:pt x="1735735" y="818203"/>
                    <a:pt x="1751518" y="816565"/>
                    <a:pt x="1766761" y="813446"/>
                  </a:cubicBezTo>
                  <a:lnTo>
                    <a:pt x="1803965" y="801897"/>
                  </a:lnTo>
                  <a:lnTo>
                    <a:pt x="1803965" y="800544"/>
                  </a:lnTo>
                  <a:lnTo>
                    <a:pt x="1823416" y="792908"/>
                  </a:lnTo>
                  <a:lnTo>
                    <a:pt x="1850489" y="778213"/>
                  </a:lnTo>
                  <a:cubicBezTo>
                    <a:pt x="1862946" y="769797"/>
                    <a:pt x="1874550" y="760214"/>
                    <a:pt x="1885144" y="749620"/>
                  </a:cubicBezTo>
                  <a:lnTo>
                    <a:pt x="1931753" y="680490"/>
                  </a:lnTo>
                  <a:lnTo>
                    <a:pt x="1936628" y="668736"/>
                  </a:lnTo>
                  <a:lnTo>
                    <a:pt x="1953554" y="584900"/>
                  </a:lnTo>
                  <a:lnTo>
                    <a:pt x="1936628" y="501064"/>
                  </a:lnTo>
                  <a:lnTo>
                    <a:pt x="1931753" y="489310"/>
                  </a:lnTo>
                  <a:lnTo>
                    <a:pt x="1885144" y="420180"/>
                  </a:lnTo>
                  <a:cubicBezTo>
                    <a:pt x="1874550" y="409586"/>
                    <a:pt x="1862946" y="400003"/>
                    <a:pt x="1850489" y="391587"/>
                  </a:cubicBezTo>
                  <a:lnTo>
                    <a:pt x="1823416" y="376892"/>
                  </a:lnTo>
                  <a:lnTo>
                    <a:pt x="1803965" y="369256"/>
                  </a:lnTo>
                  <a:lnTo>
                    <a:pt x="1803965" y="367903"/>
                  </a:lnTo>
                  <a:lnTo>
                    <a:pt x="1766761" y="356354"/>
                  </a:lnTo>
                  <a:cubicBezTo>
                    <a:pt x="1751518" y="353235"/>
                    <a:pt x="1735735" y="351597"/>
                    <a:pt x="1719570" y="351597"/>
                  </a:cubicBezTo>
                  <a:cubicBezTo>
                    <a:pt x="1703405" y="351597"/>
                    <a:pt x="1687623" y="353235"/>
                    <a:pt x="1672380" y="356355"/>
                  </a:cubicBezTo>
                  <a:lnTo>
                    <a:pt x="1663206" y="359202"/>
                  </a:lnTo>
                  <a:lnTo>
                    <a:pt x="1657771" y="305286"/>
                  </a:lnTo>
                  <a:cubicBezTo>
                    <a:pt x="1628935" y="164368"/>
                    <a:pt x="1504250" y="58364"/>
                    <a:pt x="1354807" y="58364"/>
                  </a:cubicBezTo>
                  <a:cubicBezTo>
                    <a:pt x="1248062" y="58364"/>
                    <a:pt x="1153949" y="112448"/>
                    <a:pt x="1098376" y="194708"/>
                  </a:cubicBezTo>
                  <a:cubicBezTo>
                    <a:pt x="1020582" y="276623"/>
                    <a:pt x="1026131" y="215665"/>
                    <a:pt x="1015012" y="204711"/>
                  </a:cubicBezTo>
                  <a:cubicBezTo>
                    <a:pt x="1033977" y="170190"/>
                    <a:pt x="1048180" y="159481"/>
                    <a:pt x="1064764" y="136866"/>
                  </a:cubicBezTo>
                  <a:cubicBezTo>
                    <a:pt x="1133746" y="53278"/>
                    <a:pt x="1238142" y="0"/>
                    <a:pt x="1354981" y="0"/>
                  </a:cubicBezTo>
                  <a:close/>
                </a:path>
              </a:pathLst>
            </a:custGeom>
            <a:solidFill>
              <a:schemeClr val="accent3"/>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spcBef>
                  <a:spcPts val="392"/>
                </a:spcBef>
                <a:spcAft>
                  <a:spcPct val="0"/>
                </a:spcAft>
              </a:pPr>
              <a:endParaRPr lang="en-IN" sz="1372" dirty="0">
                <a:solidFill>
                  <a:srgbClr val="505050"/>
                </a:solidFill>
                <a:ea typeface="Segoe UI" pitchFamily="34" charset="0"/>
                <a:cs typeface="Segoe UI" pitchFamily="34" charset="0"/>
              </a:endParaRPr>
            </a:p>
          </p:txBody>
        </p:sp>
        <p:cxnSp>
          <p:nvCxnSpPr>
            <p:cNvPr id="80" name="Straight Connector 79"/>
            <p:cNvCxnSpPr/>
            <p:nvPr/>
          </p:nvCxnSpPr>
          <p:spPr>
            <a:xfrm>
              <a:off x="5221869" y="2898265"/>
              <a:ext cx="0" cy="966450"/>
            </a:xfrm>
            <a:prstGeom prst="line">
              <a:avLst/>
            </a:prstGeom>
            <a:ln w="3175">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8" name="Group 87"/>
          <p:cNvGrpSpPr/>
          <p:nvPr/>
        </p:nvGrpSpPr>
        <p:grpSpPr>
          <a:xfrm>
            <a:off x="455996" y="4607174"/>
            <a:ext cx="3659262" cy="1264377"/>
            <a:chOff x="4370969" y="1293814"/>
            <a:chExt cx="3732638" cy="1289730"/>
          </a:xfrm>
        </p:grpSpPr>
        <p:sp>
          <p:nvSpPr>
            <p:cNvPr id="89" name="TextBox 88"/>
            <p:cNvSpPr txBox="1"/>
            <p:nvPr/>
          </p:nvSpPr>
          <p:spPr>
            <a:xfrm>
              <a:off x="4370969" y="1293814"/>
              <a:ext cx="3732638" cy="1289730"/>
            </a:xfrm>
            <a:prstGeom prst="rect">
              <a:avLst/>
            </a:prstGeom>
            <a:noFill/>
            <a:ln w="3175">
              <a:noFill/>
            </a:ln>
          </p:spPr>
          <p:txBody>
            <a:bodyPr wrap="square" lIns="986067" tIns="44821" rIns="89642" bIns="44821" rtlCol="0" anchor="ctr">
              <a:noAutofit/>
            </a:bodyPr>
            <a:lstStyle/>
            <a:p>
              <a:pPr marL="0" lvl="1" defTabSz="913770" fontAlgn="base">
                <a:spcBef>
                  <a:spcPts val="588"/>
                </a:spcBef>
                <a:buClr>
                  <a:srgbClr val="68217A">
                    <a:lumMod val="50000"/>
                  </a:srgbClr>
                </a:buClr>
                <a:tabLst>
                  <a:tab pos="645523" algn="l"/>
                </a:tabLst>
              </a:pPr>
              <a:r>
                <a:rPr lang="en-IN" sz="2353" dirty="0">
                  <a:solidFill>
                    <a:srgbClr val="505050"/>
                  </a:solidFill>
                  <a:latin typeface="Segoe UI Semibold" panose="020B0702040204020203" pitchFamily="34" charset="0"/>
                  <a:ea typeface="Segoe UI" pitchFamily="34" charset="0"/>
                  <a:cs typeface="Segoe UI Semibold" panose="020B0702040204020203" pitchFamily="34" charset="0"/>
                </a:rPr>
                <a:t>Scalable</a:t>
              </a:r>
            </a:p>
            <a:p>
              <a:pPr marL="0" lvl="1" defTabSz="913770" fontAlgn="base">
                <a:spcBef>
                  <a:spcPts val="196"/>
                </a:spcBef>
                <a:spcAft>
                  <a:spcPts val="196"/>
                </a:spcAft>
                <a:buClr>
                  <a:srgbClr val="68217A">
                    <a:lumMod val="50000"/>
                  </a:srgbClr>
                </a:buClr>
                <a:tabLst>
                  <a:tab pos="645523" algn="l"/>
                </a:tabLst>
              </a:pPr>
              <a:r>
                <a:rPr lang="en-US" sz="1765" dirty="0">
                  <a:solidFill>
                    <a:srgbClr val="505050"/>
                  </a:solidFill>
                  <a:ea typeface="Segoe UI" pitchFamily="34" charset="0"/>
                  <a:cs typeface="Segoe UI" pitchFamily="34" charset="0"/>
                </a:rPr>
                <a:t>Scale with the nodes of a cluster. </a:t>
              </a:r>
            </a:p>
          </p:txBody>
        </p:sp>
        <p:grpSp>
          <p:nvGrpSpPr>
            <p:cNvPr id="90" name="Group 89"/>
            <p:cNvGrpSpPr/>
            <p:nvPr/>
          </p:nvGrpSpPr>
          <p:grpSpPr>
            <a:xfrm>
              <a:off x="4459615" y="1667601"/>
              <a:ext cx="666678" cy="585847"/>
              <a:chOff x="759421" y="3999643"/>
              <a:chExt cx="285935" cy="251267"/>
            </a:xfrm>
          </p:grpSpPr>
          <p:sp>
            <p:nvSpPr>
              <p:cNvPr id="92" name="Freeform 5"/>
              <p:cNvSpPr>
                <a:spLocks/>
              </p:cNvSpPr>
              <p:nvPr/>
            </p:nvSpPr>
            <p:spPr bwMode="auto">
              <a:xfrm>
                <a:off x="759421" y="3999643"/>
                <a:ext cx="237212" cy="200982"/>
              </a:xfrm>
              <a:custGeom>
                <a:avLst/>
                <a:gdLst>
                  <a:gd name="T0" fmla="*/ 2 w 642"/>
                  <a:gd name="T1" fmla="*/ 0 h 544"/>
                  <a:gd name="T2" fmla="*/ 640 w 642"/>
                  <a:gd name="T3" fmla="*/ 0 h 544"/>
                  <a:gd name="T4" fmla="*/ 639 w 642"/>
                  <a:gd name="T5" fmla="*/ 257 h 544"/>
                  <a:gd name="T6" fmla="*/ 623 w 642"/>
                  <a:gd name="T7" fmla="*/ 237 h 544"/>
                  <a:gd name="T8" fmla="*/ 623 w 642"/>
                  <a:gd name="T9" fmla="*/ 127 h 544"/>
                  <a:gd name="T10" fmla="*/ 21 w 642"/>
                  <a:gd name="T11" fmla="*/ 127 h 544"/>
                  <a:gd name="T12" fmla="*/ 20 w 642"/>
                  <a:gd name="T13" fmla="*/ 522 h 544"/>
                  <a:gd name="T14" fmla="*/ 327 w 642"/>
                  <a:gd name="T15" fmla="*/ 524 h 544"/>
                  <a:gd name="T16" fmla="*/ 356 w 642"/>
                  <a:gd name="T17" fmla="*/ 538 h 544"/>
                  <a:gd name="T18" fmla="*/ 339 w 642"/>
                  <a:gd name="T19" fmla="*/ 541 h 544"/>
                  <a:gd name="T20" fmla="*/ 1 w 642"/>
                  <a:gd name="T21" fmla="*/ 541 h 544"/>
                  <a:gd name="T22" fmla="*/ 1 w 642"/>
                  <a:gd name="T23" fmla="*/ 5 h 544"/>
                  <a:gd name="T24" fmla="*/ 2 w 642"/>
                  <a:gd name="T25" fmla="*/ 0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2" h="544">
                    <a:moveTo>
                      <a:pt x="2" y="0"/>
                    </a:moveTo>
                    <a:cubicBezTo>
                      <a:pt x="215" y="0"/>
                      <a:pt x="427" y="0"/>
                      <a:pt x="640" y="0"/>
                    </a:cubicBezTo>
                    <a:cubicBezTo>
                      <a:pt x="639" y="82"/>
                      <a:pt x="642" y="180"/>
                      <a:pt x="639" y="257"/>
                    </a:cubicBezTo>
                    <a:cubicBezTo>
                      <a:pt x="622" y="258"/>
                      <a:pt x="624" y="249"/>
                      <a:pt x="623" y="237"/>
                    </a:cubicBezTo>
                    <a:cubicBezTo>
                      <a:pt x="620" y="204"/>
                      <a:pt x="624" y="158"/>
                      <a:pt x="623" y="127"/>
                    </a:cubicBezTo>
                    <a:cubicBezTo>
                      <a:pt x="422" y="127"/>
                      <a:pt x="222" y="127"/>
                      <a:pt x="21" y="127"/>
                    </a:cubicBezTo>
                    <a:cubicBezTo>
                      <a:pt x="17" y="256"/>
                      <a:pt x="21" y="391"/>
                      <a:pt x="20" y="522"/>
                    </a:cubicBezTo>
                    <a:cubicBezTo>
                      <a:pt x="114" y="525"/>
                      <a:pt x="226" y="524"/>
                      <a:pt x="327" y="524"/>
                    </a:cubicBezTo>
                    <a:cubicBezTo>
                      <a:pt x="340" y="524"/>
                      <a:pt x="357" y="520"/>
                      <a:pt x="356" y="538"/>
                    </a:cubicBezTo>
                    <a:cubicBezTo>
                      <a:pt x="353" y="544"/>
                      <a:pt x="343" y="541"/>
                      <a:pt x="339" y="541"/>
                    </a:cubicBezTo>
                    <a:cubicBezTo>
                      <a:pt x="230" y="544"/>
                      <a:pt x="110" y="539"/>
                      <a:pt x="1" y="541"/>
                    </a:cubicBezTo>
                    <a:cubicBezTo>
                      <a:pt x="1" y="362"/>
                      <a:pt x="1" y="184"/>
                      <a:pt x="1" y="5"/>
                    </a:cubicBezTo>
                    <a:cubicBezTo>
                      <a:pt x="0" y="3"/>
                      <a:pt x="0" y="1"/>
                      <a:pt x="2" y="0"/>
                    </a:cubicBezTo>
                    <a:close/>
                  </a:path>
                </a:pathLst>
              </a:custGeom>
              <a:solidFill>
                <a:schemeClr val="accent3"/>
              </a:solidFill>
              <a:ln>
                <a:noFill/>
              </a:ln>
            </p:spPr>
            <p:txBody>
              <a:bodyPr vert="horz" wrap="square" lIns="89642" tIns="44821" rIns="89642" bIns="44821" numCol="1" anchor="t" anchorCtr="0" compatLnSpc="1">
                <a:prstTxWarp prst="textNoShape">
                  <a:avLst/>
                </a:prstTxWarp>
              </a:bodyPr>
              <a:lstStyle/>
              <a:p>
                <a:pPr defTabSz="914367"/>
                <a:endParaRPr lang="en-IN" sz="1765">
                  <a:solidFill>
                    <a:srgbClr val="000000"/>
                  </a:solidFill>
                </a:endParaRPr>
              </a:p>
            </p:txBody>
          </p:sp>
          <p:sp>
            <p:nvSpPr>
              <p:cNvPr id="93" name="Freeform 6"/>
              <p:cNvSpPr>
                <a:spLocks/>
              </p:cNvSpPr>
              <p:nvPr/>
            </p:nvSpPr>
            <p:spPr bwMode="auto">
              <a:xfrm>
                <a:off x="810799" y="4061640"/>
                <a:ext cx="97914" cy="116186"/>
              </a:xfrm>
              <a:custGeom>
                <a:avLst/>
                <a:gdLst>
                  <a:gd name="T0" fmla="*/ 265 w 265"/>
                  <a:gd name="T1" fmla="*/ 0 h 314"/>
                  <a:gd name="T2" fmla="*/ 265 w 265"/>
                  <a:gd name="T3" fmla="*/ 107 h 314"/>
                  <a:gd name="T4" fmla="*/ 196 w 265"/>
                  <a:gd name="T5" fmla="*/ 107 h 314"/>
                  <a:gd name="T6" fmla="*/ 196 w 265"/>
                  <a:gd name="T7" fmla="*/ 156 h 314"/>
                  <a:gd name="T8" fmla="*/ 257 w 265"/>
                  <a:gd name="T9" fmla="*/ 157 h 314"/>
                  <a:gd name="T10" fmla="*/ 196 w 265"/>
                  <a:gd name="T11" fmla="*/ 176 h 314"/>
                  <a:gd name="T12" fmla="*/ 196 w 265"/>
                  <a:gd name="T13" fmla="*/ 226 h 314"/>
                  <a:gd name="T14" fmla="*/ 219 w 265"/>
                  <a:gd name="T15" fmla="*/ 227 h 314"/>
                  <a:gd name="T16" fmla="*/ 206 w 265"/>
                  <a:gd name="T17" fmla="*/ 314 h 314"/>
                  <a:gd name="T18" fmla="*/ 128 w 265"/>
                  <a:gd name="T19" fmla="*/ 314 h 314"/>
                  <a:gd name="T20" fmla="*/ 128 w 265"/>
                  <a:gd name="T21" fmla="*/ 227 h 314"/>
                  <a:gd name="T22" fmla="*/ 176 w 265"/>
                  <a:gd name="T23" fmla="*/ 227 h 314"/>
                  <a:gd name="T24" fmla="*/ 177 w 265"/>
                  <a:gd name="T25" fmla="*/ 178 h 314"/>
                  <a:gd name="T26" fmla="*/ 19 w 265"/>
                  <a:gd name="T27" fmla="*/ 176 h 314"/>
                  <a:gd name="T28" fmla="*/ 19 w 265"/>
                  <a:gd name="T29" fmla="*/ 226 h 314"/>
                  <a:gd name="T30" fmla="*/ 0 w 265"/>
                  <a:gd name="T31" fmla="*/ 226 h 314"/>
                  <a:gd name="T32" fmla="*/ 0 w 265"/>
                  <a:gd name="T33" fmla="*/ 157 h 314"/>
                  <a:gd name="T34" fmla="*/ 177 w 265"/>
                  <a:gd name="T35" fmla="*/ 157 h 314"/>
                  <a:gd name="T36" fmla="*/ 177 w 265"/>
                  <a:gd name="T37" fmla="*/ 108 h 314"/>
                  <a:gd name="T38" fmla="*/ 108 w 265"/>
                  <a:gd name="T39" fmla="*/ 107 h 314"/>
                  <a:gd name="T40" fmla="*/ 109 w 265"/>
                  <a:gd name="T41" fmla="*/ 0 h 314"/>
                  <a:gd name="T42" fmla="*/ 265 w 265"/>
                  <a:gd name="T43"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5" h="314">
                    <a:moveTo>
                      <a:pt x="265" y="0"/>
                    </a:moveTo>
                    <a:cubicBezTo>
                      <a:pt x="265" y="36"/>
                      <a:pt x="265" y="71"/>
                      <a:pt x="265" y="107"/>
                    </a:cubicBezTo>
                    <a:cubicBezTo>
                      <a:pt x="242" y="107"/>
                      <a:pt x="219" y="107"/>
                      <a:pt x="196" y="107"/>
                    </a:cubicBezTo>
                    <a:cubicBezTo>
                      <a:pt x="196" y="123"/>
                      <a:pt x="196" y="139"/>
                      <a:pt x="196" y="156"/>
                    </a:cubicBezTo>
                    <a:cubicBezTo>
                      <a:pt x="213" y="160"/>
                      <a:pt x="237" y="156"/>
                      <a:pt x="257" y="157"/>
                    </a:cubicBezTo>
                    <a:cubicBezTo>
                      <a:pt x="253" y="181"/>
                      <a:pt x="223" y="177"/>
                      <a:pt x="196" y="176"/>
                    </a:cubicBezTo>
                    <a:cubicBezTo>
                      <a:pt x="196" y="193"/>
                      <a:pt x="196" y="209"/>
                      <a:pt x="196" y="226"/>
                    </a:cubicBezTo>
                    <a:cubicBezTo>
                      <a:pt x="201" y="229"/>
                      <a:pt x="212" y="226"/>
                      <a:pt x="219" y="227"/>
                    </a:cubicBezTo>
                    <a:cubicBezTo>
                      <a:pt x="209" y="251"/>
                      <a:pt x="205" y="280"/>
                      <a:pt x="206" y="314"/>
                    </a:cubicBezTo>
                    <a:cubicBezTo>
                      <a:pt x="180" y="314"/>
                      <a:pt x="154" y="314"/>
                      <a:pt x="128" y="314"/>
                    </a:cubicBezTo>
                    <a:cubicBezTo>
                      <a:pt x="128" y="285"/>
                      <a:pt x="128" y="256"/>
                      <a:pt x="128" y="227"/>
                    </a:cubicBezTo>
                    <a:cubicBezTo>
                      <a:pt x="144" y="227"/>
                      <a:pt x="160" y="227"/>
                      <a:pt x="176" y="227"/>
                    </a:cubicBezTo>
                    <a:cubicBezTo>
                      <a:pt x="179" y="214"/>
                      <a:pt x="176" y="194"/>
                      <a:pt x="177" y="178"/>
                    </a:cubicBezTo>
                    <a:cubicBezTo>
                      <a:pt x="128" y="174"/>
                      <a:pt x="71" y="178"/>
                      <a:pt x="19" y="176"/>
                    </a:cubicBezTo>
                    <a:cubicBezTo>
                      <a:pt x="19" y="193"/>
                      <a:pt x="19" y="209"/>
                      <a:pt x="19" y="226"/>
                    </a:cubicBezTo>
                    <a:cubicBezTo>
                      <a:pt x="12" y="226"/>
                      <a:pt x="6" y="226"/>
                      <a:pt x="0" y="226"/>
                    </a:cubicBezTo>
                    <a:cubicBezTo>
                      <a:pt x="0" y="203"/>
                      <a:pt x="0" y="180"/>
                      <a:pt x="0" y="157"/>
                    </a:cubicBezTo>
                    <a:cubicBezTo>
                      <a:pt x="59" y="157"/>
                      <a:pt x="118" y="157"/>
                      <a:pt x="177" y="157"/>
                    </a:cubicBezTo>
                    <a:cubicBezTo>
                      <a:pt x="177" y="141"/>
                      <a:pt x="177" y="125"/>
                      <a:pt x="177" y="108"/>
                    </a:cubicBezTo>
                    <a:cubicBezTo>
                      <a:pt x="157" y="105"/>
                      <a:pt x="130" y="108"/>
                      <a:pt x="108" y="107"/>
                    </a:cubicBezTo>
                    <a:cubicBezTo>
                      <a:pt x="109" y="72"/>
                      <a:pt x="105" y="33"/>
                      <a:pt x="109" y="0"/>
                    </a:cubicBezTo>
                    <a:cubicBezTo>
                      <a:pt x="161" y="0"/>
                      <a:pt x="213" y="0"/>
                      <a:pt x="265" y="0"/>
                    </a:cubicBezTo>
                    <a:close/>
                  </a:path>
                </a:pathLst>
              </a:custGeom>
              <a:solidFill>
                <a:schemeClr val="accent3"/>
              </a:solidFill>
              <a:ln>
                <a:noFill/>
              </a:ln>
            </p:spPr>
            <p:txBody>
              <a:bodyPr vert="horz" wrap="square" lIns="89642" tIns="44821" rIns="89642" bIns="44821" numCol="1" anchor="t" anchorCtr="0" compatLnSpc="1">
                <a:prstTxWarp prst="textNoShape">
                  <a:avLst/>
                </a:prstTxWarp>
              </a:bodyPr>
              <a:lstStyle/>
              <a:p>
                <a:pPr defTabSz="914367"/>
                <a:endParaRPr lang="en-IN" sz="1765">
                  <a:solidFill>
                    <a:srgbClr val="000000"/>
                  </a:solidFill>
                </a:endParaRPr>
              </a:p>
            </p:txBody>
          </p:sp>
          <p:sp>
            <p:nvSpPr>
              <p:cNvPr id="94" name="Freeform 7"/>
              <p:cNvSpPr>
                <a:spLocks noEditPoints="1"/>
              </p:cNvSpPr>
              <p:nvPr/>
            </p:nvSpPr>
            <p:spPr bwMode="auto">
              <a:xfrm>
                <a:off x="885445" y="4096777"/>
                <a:ext cx="159911" cy="154133"/>
              </a:xfrm>
              <a:custGeom>
                <a:avLst/>
                <a:gdLst>
                  <a:gd name="T0" fmla="*/ 205 w 433"/>
                  <a:gd name="T1" fmla="*/ 7 h 417"/>
                  <a:gd name="T2" fmla="*/ 369 w 433"/>
                  <a:gd name="T3" fmla="*/ 64 h 417"/>
                  <a:gd name="T4" fmla="*/ 428 w 433"/>
                  <a:gd name="T5" fmla="*/ 224 h 417"/>
                  <a:gd name="T6" fmla="*/ 245 w 433"/>
                  <a:gd name="T7" fmla="*/ 407 h 417"/>
                  <a:gd name="T8" fmla="*/ 31 w 433"/>
                  <a:gd name="T9" fmla="*/ 162 h 417"/>
                  <a:gd name="T10" fmla="*/ 48 w 433"/>
                  <a:gd name="T11" fmla="*/ 112 h 417"/>
                  <a:gd name="T12" fmla="*/ 205 w 433"/>
                  <a:gd name="T13" fmla="*/ 7 h 417"/>
                  <a:gd name="T14" fmla="*/ 240 w 433"/>
                  <a:gd name="T15" fmla="*/ 26 h 417"/>
                  <a:gd name="T16" fmla="*/ 169 w 433"/>
                  <a:gd name="T17" fmla="*/ 107 h 417"/>
                  <a:gd name="T18" fmla="*/ 285 w 433"/>
                  <a:gd name="T19" fmla="*/ 107 h 417"/>
                  <a:gd name="T20" fmla="*/ 240 w 433"/>
                  <a:gd name="T21" fmla="*/ 26 h 417"/>
                  <a:gd name="T22" fmla="*/ 93 w 433"/>
                  <a:gd name="T23" fmla="*/ 85 h 417"/>
                  <a:gd name="T24" fmla="*/ 150 w 433"/>
                  <a:gd name="T25" fmla="*/ 102 h 417"/>
                  <a:gd name="T26" fmla="*/ 183 w 433"/>
                  <a:gd name="T27" fmla="*/ 29 h 417"/>
                  <a:gd name="T28" fmla="*/ 93 w 433"/>
                  <a:gd name="T29" fmla="*/ 85 h 417"/>
                  <a:gd name="T30" fmla="*/ 304 w 433"/>
                  <a:gd name="T31" fmla="*/ 102 h 417"/>
                  <a:gd name="T32" fmla="*/ 361 w 433"/>
                  <a:gd name="T33" fmla="*/ 85 h 417"/>
                  <a:gd name="T34" fmla="*/ 272 w 433"/>
                  <a:gd name="T35" fmla="*/ 29 h 417"/>
                  <a:gd name="T36" fmla="*/ 304 w 433"/>
                  <a:gd name="T37" fmla="*/ 102 h 417"/>
                  <a:gd name="T38" fmla="*/ 79 w 433"/>
                  <a:gd name="T39" fmla="*/ 99 h 417"/>
                  <a:gd name="T40" fmla="*/ 44 w 433"/>
                  <a:gd name="T41" fmla="*/ 191 h 417"/>
                  <a:gd name="T42" fmla="*/ 137 w 433"/>
                  <a:gd name="T43" fmla="*/ 191 h 417"/>
                  <a:gd name="T44" fmla="*/ 145 w 433"/>
                  <a:gd name="T45" fmla="*/ 121 h 417"/>
                  <a:gd name="T46" fmla="*/ 79 w 433"/>
                  <a:gd name="T47" fmla="*/ 99 h 417"/>
                  <a:gd name="T48" fmla="*/ 372 w 433"/>
                  <a:gd name="T49" fmla="*/ 99 h 417"/>
                  <a:gd name="T50" fmla="*/ 309 w 433"/>
                  <a:gd name="T51" fmla="*/ 121 h 417"/>
                  <a:gd name="T52" fmla="*/ 317 w 433"/>
                  <a:gd name="T53" fmla="*/ 191 h 417"/>
                  <a:gd name="T54" fmla="*/ 409 w 433"/>
                  <a:gd name="T55" fmla="*/ 191 h 417"/>
                  <a:gd name="T56" fmla="*/ 372 w 433"/>
                  <a:gd name="T57" fmla="*/ 99 h 417"/>
                  <a:gd name="T58" fmla="*/ 164 w 433"/>
                  <a:gd name="T59" fmla="*/ 124 h 417"/>
                  <a:gd name="T60" fmla="*/ 156 w 433"/>
                  <a:gd name="T61" fmla="*/ 191 h 417"/>
                  <a:gd name="T62" fmla="*/ 298 w 433"/>
                  <a:gd name="T63" fmla="*/ 191 h 417"/>
                  <a:gd name="T64" fmla="*/ 291 w 433"/>
                  <a:gd name="T65" fmla="*/ 124 h 417"/>
                  <a:gd name="T66" fmla="*/ 164 w 433"/>
                  <a:gd name="T67" fmla="*/ 124 h 417"/>
                  <a:gd name="T68" fmla="*/ 77 w 433"/>
                  <a:gd name="T69" fmla="*/ 308 h 417"/>
                  <a:gd name="T70" fmla="*/ 144 w 433"/>
                  <a:gd name="T71" fmla="*/ 286 h 417"/>
                  <a:gd name="T72" fmla="*/ 137 w 433"/>
                  <a:gd name="T73" fmla="*/ 210 h 417"/>
                  <a:gd name="T74" fmla="*/ 45 w 433"/>
                  <a:gd name="T75" fmla="*/ 210 h 417"/>
                  <a:gd name="T76" fmla="*/ 77 w 433"/>
                  <a:gd name="T77" fmla="*/ 308 h 417"/>
                  <a:gd name="T78" fmla="*/ 156 w 433"/>
                  <a:gd name="T79" fmla="*/ 210 h 417"/>
                  <a:gd name="T80" fmla="*/ 163 w 433"/>
                  <a:gd name="T81" fmla="*/ 283 h 417"/>
                  <a:gd name="T82" fmla="*/ 291 w 433"/>
                  <a:gd name="T83" fmla="*/ 283 h 417"/>
                  <a:gd name="T84" fmla="*/ 298 w 433"/>
                  <a:gd name="T85" fmla="*/ 210 h 417"/>
                  <a:gd name="T86" fmla="*/ 156 w 433"/>
                  <a:gd name="T87" fmla="*/ 210 h 417"/>
                  <a:gd name="T88" fmla="*/ 317 w 433"/>
                  <a:gd name="T89" fmla="*/ 210 h 417"/>
                  <a:gd name="T90" fmla="*/ 310 w 433"/>
                  <a:gd name="T91" fmla="*/ 286 h 417"/>
                  <a:gd name="T92" fmla="*/ 378 w 433"/>
                  <a:gd name="T93" fmla="*/ 307 h 417"/>
                  <a:gd name="T94" fmla="*/ 409 w 433"/>
                  <a:gd name="T95" fmla="*/ 210 h 417"/>
                  <a:gd name="T96" fmla="*/ 317 w 433"/>
                  <a:gd name="T97" fmla="*/ 210 h 417"/>
                  <a:gd name="T98" fmla="*/ 167 w 433"/>
                  <a:gd name="T99" fmla="*/ 300 h 417"/>
                  <a:gd name="T100" fmla="*/ 228 w 433"/>
                  <a:gd name="T101" fmla="*/ 389 h 417"/>
                  <a:gd name="T102" fmla="*/ 286 w 433"/>
                  <a:gd name="T103" fmla="*/ 300 h 417"/>
                  <a:gd name="T104" fmla="*/ 167 w 433"/>
                  <a:gd name="T105" fmla="*/ 300 h 417"/>
                  <a:gd name="T106" fmla="*/ 145 w 433"/>
                  <a:gd name="T107" fmla="*/ 304 h 417"/>
                  <a:gd name="T108" fmla="*/ 88 w 433"/>
                  <a:gd name="T109" fmla="*/ 323 h 417"/>
                  <a:gd name="T110" fmla="*/ 182 w 433"/>
                  <a:gd name="T111" fmla="*/ 383 h 417"/>
                  <a:gd name="T112" fmla="*/ 145 w 433"/>
                  <a:gd name="T113" fmla="*/ 304 h 417"/>
                  <a:gd name="T114" fmla="*/ 272 w 433"/>
                  <a:gd name="T115" fmla="*/ 383 h 417"/>
                  <a:gd name="T116" fmla="*/ 366 w 433"/>
                  <a:gd name="T117" fmla="*/ 323 h 417"/>
                  <a:gd name="T118" fmla="*/ 305 w 433"/>
                  <a:gd name="T119" fmla="*/ 304 h 417"/>
                  <a:gd name="T120" fmla="*/ 272 w 433"/>
                  <a:gd name="T121" fmla="*/ 383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33" h="417">
                    <a:moveTo>
                      <a:pt x="205" y="7"/>
                    </a:moveTo>
                    <a:cubicBezTo>
                      <a:pt x="277" y="0"/>
                      <a:pt x="331" y="26"/>
                      <a:pt x="369" y="64"/>
                    </a:cubicBezTo>
                    <a:cubicBezTo>
                      <a:pt x="403" y="98"/>
                      <a:pt x="433" y="151"/>
                      <a:pt x="428" y="224"/>
                    </a:cubicBezTo>
                    <a:cubicBezTo>
                      <a:pt x="420" y="322"/>
                      <a:pt x="342" y="399"/>
                      <a:pt x="245" y="407"/>
                    </a:cubicBezTo>
                    <a:cubicBezTo>
                      <a:pt x="117" y="417"/>
                      <a:pt x="0" y="309"/>
                      <a:pt x="31" y="162"/>
                    </a:cubicBezTo>
                    <a:cubicBezTo>
                      <a:pt x="36" y="139"/>
                      <a:pt x="41" y="125"/>
                      <a:pt x="48" y="112"/>
                    </a:cubicBezTo>
                    <a:cubicBezTo>
                      <a:pt x="72" y="67"/>
                      <a:pt x="128" y="15"/>
                      <a:pt x="205" y="7"/>
                    </a:cubicBezTo>
                    <a:close/>
                    <a:moveTo>
                      <a:pt x="240" y="26"/>
                    </a:moveTo>
                    <a:cubicBezTo>
                      <a:pt x="201" y="8"/>
                      <a:pt x="176" y="72"/>
                      <a:pt x="169" y="107"/>
                    </a:cubicBezTo>
                    <a:cubicBezTo>
                      <a:pt x="205" y="111"/>
                      <a:pt x="249" y="111"/>
                      <a:pt x="285" y="107"/>
                    </a:cubicBezTo>
                    <a:cubicBezTo>
                      <a:pt x="277" y="79"/>
                      <a:pt x="266" y="38"/>
                      <a:pt x="240" y="26"/>
                    </a:cubicBezTo>
                    <a:close/>
                    <a:moveTo>
                      <a:pt x="93" y="85"/>
                    </a:moveTo>
                    <a:cubicBezTo>
                      <a:pt x="111" y="92"/>
                      <a:pt x="128" y="99"/>
                      <a:pt x="150" y="102"/>
                    </a:cubicBezTo>
                    <a:cubicBezTo>
                      <a:pt x="157" y="74"/>
                      <a:pt x="168" y="49"/>
                      <a:pt x="183" y="29"/>
                    </a:cubicBezTo>
                    <a:cubicBezTo>
                      <a:pt x="145" y="39"/>
                      <a:pt x="114" y="57"/>
                      <a:pt x="93" y="85"/>
                    </a:cubicBezTo>
                    <a:close/>
                    <a:moveTo>
                      <a:pt x="304" y="102"/>
                    </a:moveTo>
                    <a:cubicBezTo>
                      <a:pt x="326" y="99"/>
                      <a:pt x="343" y="92"/>
                      <a:pt x="361" y="85"/>
                    </a:cubicBezTo>
                    <a:cubicBezTo>
                      <a:pt x="341" y="57"/>
                      <a:pt x="309" y="40"/>
                      <a:pt x="272" y="29"/>
                    </a:cubicBezTo>
                    <a:cubicBezTo>
                      <a:pt x="285" y="51"/>
                      <a:pt x="298" y="73"/>
                      <a:pt x="304" y="102"/>
                    </a:cubicBezTo>
                    <a:close/>
                    <a:moveTo>
                      <a:pt x="79" y="99"/>
                    </a:moveTo>
                    <a:cubicBezTo>
                      <a:pt x="62" y="125"/>
                      <a:pt x="46" y="151"/>
                      <a:pt x="44" y="191"/>
                    </a:cubicBezTo>
                    <a:cubicBezTo>
                      <a:pt x="75" y="191"/>
                      <a:pt x="106" y="191"/>
                      <a:pt x="137" y="191"/>
                    </a:cubicBezTo>
                    <a:cubicBezTo>
                      <a:pt x="138" y="166"/>
                      <a:pt x="141" y="143"/>
                      <a:pt x="145" y="121"/>
                    </a:cubicBezTo>
                    <a:cubicBezTo>
                      <a:pt x="121" y="115"/>
                      <a:pt x="100" y="107"/>
                      <a:pt x="79" y="99"/>
                    </a:cubicBezTo>
                    <a:close/>
                    <a:moveTo>
                      <a:pt x="372" y="99"/>
                    </a:moveTo>
                    <a:cubicBezTo>
                      <a:pt x="354" y="110"/>
                      <a:pt x="331" y="115"/>
                      <a:pt x="309" y="121"/>
                    </a:cubicBezTo>
                    <a:cubicBezTo>
                      <a:pt x="312" y="143"/>
                      <a:pt x="317" y="165"/>
                      <a:pt x="317" y="191"/>
                    </a:cubicBezTo>
                    <a:cubicBezTo>
                      <a:pt x="347" y="191"/>
                      <a:pt x="378" y="191"/>
                      <a:pt x="409" y="191"/>
                    </a:cubicBezTo>
                    <a:cubicBezTo>
                      <a:pt x="406" y="151"/>
                      <a:pt x="393" y="121"/>
                      <a:pt x="372" y="99"/>
                    </a:cubicBezTo>
                    <a:close/>
                    <a:moveTo>
                      <a:pt x="164" y="124"/>
                    </a:moveTo>
                    <a:cubicBezTo>
                      <a:pt x="159" y="144"/>
                      <a:pt x="156" y="166"/>
                      <a:pt x="156" y="191"/>
                    </a:cubicBezTo>
                    <a:cubicBezTo>
                      <a:pt x="203" y="191"/>
                      <a:pt x="250" y="191"/>
                      <a:pt x="298" y="191"/>
                    </a:cubicBezTo>
                    <a:cubicBezTo>
                      <a:pt x="299" y="165"/>
                      <a:pt x="293" y="146"/>
                      <a:pt x="291" y="124"/>
                    </a:cubicBezTo>
                    <a:cubicBezTo>
                      <a:pt x="251" y="130"/>
                      <a:pt x="204" y="131"/>
                      <a:pt x="164" y="124"/>
                    </a:cubicBezTo>
                    <a:close/>
                    <a:moveTo>
                      <a:pt x="77" y="308"/>
                    </a:moveTo>
                    <a:cubicBezTo>
                      <a:pt x="95" y="297"/>
                      <a:pt x="119" y="291"/>
                      <a:pt x="144" y="286"/>
                    </a:cubicBezTo>
                    <a:cubicBezTo>
                      <a:pt x="141" y="261"/>
                      <a:pt x="137" y="238"/>
                      <a:pt x="137" y="210"/>
                    </a:cubicBezTo>
                    <a:cubicBezTo>
                      <a:pt x="107" y="210"/>
                      <a:pt x="76" y="210"/>
                      <a:pt x="45" y="210"/>
                    </a:cubicBezTo>
                    <a:cubicBezTo>
                      <a:pt x="47" y="252"/>
                      <a:pt x="58" y="284"/>
                      <a:pt x="77" y="308"/>
                    </a:cubicBezTo>
                    <a:close/>
                    <a:moveTo>
                      <a:pt x="156" y="210"/>
                    </a:moveTo>
                    <a:cubicBezTo>
                      <a:pt x="156" y="237"/>
                      <a:pt x="159" y="261"/>
                      <a:pt x="163" y="283"/>
                    </a:cubicBezTo>
                    <a:cubicBezTo>
                      <a:pt x="200" y="276"/>
                      <a:pt x="254" y="276"/>
                      <a:pt x="291" y="283"/>
                    </a:cubicBezTo>
                    <a:cubicBezTo>
                      <a:pt x="296" y="261"/>
                      <a:pt x="298" y="237"/>
                      <a:pt x="298" y="210"/>
                    </a:cubicBezTo>
                    <a:cubicBezTo>
                      <a:pt x="250" y="210"/>
                      <a:pt x="203" y="210"/>
                      <a:pt x="156" y="210"/>
                    </a:cubicBezTo>
                    <a:close/>
                    <a:moveTo>
                      <a:pt x="317" y="210"/>
                    </a:moveTo>
                    <a:cubicBezTo>
                      <a:pt x="317" y="238"/>
                      <a:pt x="313" y="262"/>
                      <a:pt x="310" y="286"/>
                    </a:cubicBezTo>
                    <a:cubicBezTo>
                      <a:pt x="336" y="290"/>
                      <a:pt x="357" y="299"/>
                      <a:pt x="378" y="307"/>
                    </a:cubicBezTo>
                    <a:cubicBezTo>
                      <a:pt x="396" y="282"/>
                      <a:pt x="408" y="251"/>
                      <a:pt x="409" y="210"/>
                    </a:cubicBezTo>
                    <a:cubicBezTo>
                      <a:pt x="378" y="210"/>
                      <a:pt x="347" y="210"/>
                      <a:pt x="317" y="210"/>
                    </a:cubicBezTo>
                    <a:close/>
                    <a:moveTo>
                      <a:pt x="167" y="300"/>
                    </a:moveTo>
                    <a:cubicBezTo>
                      <a:pt x="178" y="335"/>
                      <a:pt x="191" y="390"/>
                      <a:pt x="228" y="389"/>
                    </a:cubicBezTo>
                    <a:cubicBezTo>
                      <a:pt x="263" y="389"/>
                      <a:pt x="279" y="329"/>
                      <a:pt x="286" y="300"/>
                    </a:cubicBezTo>
                    <a:cubicBezTo>
                      <a:pt x="249" y="295"/>
                      <a:pt x="205" y="295"/>
                      <a:pt x="167" y="300"/>
                    </a:cubicBezTo>
                    <a:close/>
                    <a:moveTo>
                      <a:pt x="145" y="304"/>
                    </a:moveTo>
                    <a:cubicBezTo>
                      <a:pt x="126" y="309"/>
                      <a:pt x="105" y="314"/>
                      <a:pt x="88" y="323"/>
                    </a:cubicBezTo>
                    <a:cubicBezTo>
                      <a:pt x="110" y="352"/>
                      <a:pt x="142" y="371"/>
                      <a:pt x="182" y="383"/>
                    </a:cubicBezTo>
                    <a:cubicBezTo>
                      <a:pt x="168" y="364"/>
                      <a:pt x="157" y="330"/>
                      <a:pt x="145" y="304"/>
                    </a:cubicBezTo>
                    <a:close/>
                    <a:moveTo>
                      <a:pt x="272" y="383"/>
                    </a:moveTo>
                    <a:cubicBezTo>
                      <a:pt x="312" y="371"/>
                      <a:pt x="344" y="352"/>
                      <a:pt x="366" y="323"/>
                    </a:cubicBezTo>
                    <a:cubicBezTo>
                      <a:pt x="348" y="314"/>
                      <a:pt x="327" y="308"/>
                      <a:pt x="305" y="304"/>
                    </a:cubicBezTo>
                    <a:cubicBezTo>
                      <a:pt x="299" y="335"/>
                      <a:pt x="286" y="359"/>
                      <a:pt x="272" y="383"/>
                    </a:cubicBezTo>
                    <a:close/>
                  </a:path>
                </a:pathLst>
              </a:custGeom>
              <a:solidFill>
                <a:schemeClr val="accent3"/>
              </a:solidFill>
              <a:ln>
                <a:noFill/>
              </a:ln>
            </p:spPr>
            <p:txBody>
              <a:bodyPr vert="horz" wrap="square" lIns="89642" tIns="44821" rIns="89642" bIns="44821" numCol="1" anchor="t" anchorCtr="0" compatLnSpc="1">
                <a:prstTxWarp prst="textNoShape">
                  <a:avLst/>
                </a:prstTxWarp>
              </a:bodyPr>
              <a:lstStyle/>
              <a:p>
                <a:pPr defTabSz="914367"/>
                <a:endParaRPr lang="en-IN" sz="1765">
                  <a:solidFill>
                    <a:srgbClr val="000000"/>
                  </a:solidFill>
                </a:endParaRPr>
              </a:p>
            </p:txBody>
          </p:sp>
          <p:sp>
            <p:nvSpPr>
              <p:cNvPr id="95" name="Freeform 8"/>
              <p:cNvSpPr>
                <a:spLocks/>
              </p:cNvSpPr>
              <p:nvPr/>
            </p:nvSpPr>
            <p:spPr bwMode="auto">
              <a:xfrm>
                <a:off x="792371" y="4145656"/>
                <a:ext cx="43570" cy="32170"/>
              </a:xfrm>
              <a:custGeom>
                <a:avLst/>
                <a:gdLst>
                  <a:gd name="T0" fmla="*/ 118 w 118"/>
                  <a:gd name="T1" fmla="*/ 0 h 87"/>
                  <a:gd name="T2" fmla="*/ 118 w 118"/>
                  <a:gd name="T3" fmla="*/ 87 h 87"/>
                  <a:gd name="T4" fmla="*/ 0 w 118"/>
                  <a:gd name="T5" fmla="*/ 87 h 87"/>
                  <a:gd name="T6" fmla="*/ 0 w 118"/>
                  <a:gd name="T7" fmla="*/ 0 h 87"/>
                  <a:gd name="T8" fmla="*/ 118 w 118"/>
                  <a:gd name="T9" fmla="*/ 0 h 87"/>
                </a:gdLst>
                <a:ahLst/>
                <a:cxnLst>
                  <a:cxn ang="0">
                    <a:pos x="T0" y="T1"/>
                  </a:cxn>
                  <a:cxn ang="0">
                    <a:pos x="T2" y="T3"/>
                  </a:cxn>
                  <a:cxn ang="0">
                    <a:pos x="T4" y="T5"/>
                  </a:cxn>
                  <a:cxn ang="0">
                    <a:pos x="T6" y="T7"/>
                  </a:cxn>
                  <a:cxn ang="0">
                    <a:pos x="T8" y="T9"/>
                  </a:cxn>
                </a:cxnLst>
                <a:rect l="0" t="0" r="r" b="b"/>
                <a:pathLst>
                  <a:path w="118" h="87">
                    <a:moveTo>
                      <a:pt x="118" y="0"/>
                    </a:moveTo>
                    <a:cubicBezTo>
                      <a:pt x="118" y="29"/>
                      <a:pt x="118" y="58"/>
                      <a:pt x="118" y="87"/>
                    </a:cubicBezTo>
                    <a:cubicBezTo>
                      <a:pt x="79" y="87"/>
                      <a:pt x="40" y="87"/>
                      <a:pt x="0" y="87"/>
                    </a:cubicBezTo>
                    <a:cubicBezTo>
                      <a:pt x="0" y="58"/>
                      <a:pt x="0" y="29"/>
                      <a:pt x="0" y="0"/>
                    </a:cubicBezTo>
                    <a:cubicBezTo>
                      <a:pt x="40" y="0"/>
                      <a:pt x="79" y="0"/>
                      <a:pt x="118" y="0"/>
                    </a:cubicBezTo>
                    <a:close/>
                  </a:path>
                </a:pathLst>
              </a:custGeom>
              <a:solidFill>
                <a:schemeClr val="accent3"/>
              </a:solidFill>
              <a:ln>
                <a:noFill/>
              </a:ln>
            </p:spPr>
            <p:txBody>
              <a:bodyPr vert="horz" wrap="square" lIns="89642" tIns="44821" rIns="89642" bIns="44821" numCol="1" anchor="t" anchorCtr="0" compatLnSpc="1">
                <a:prstTxWarp prst="textNoShape">
                  <a:avLst/>
                </a:prstTxWarp>
              </a:bodyPr>
              <a:lstStyle/>
              <a:p>
                <a:pPr defTabSz="914367"/>
                <a:endParaRPr lang="en-IN" sz="1765">
                  <a:solidFill>
                    <a:srgbClr val="000000"/>
                  </a:solidFill>
                </a:endParaRPr>
              </a:p>
            </p:txBody>
          </p:sp>
        </p:grpSp>
        <p:cxnSp>
          <p:nvCxnSpPr>
            <p:cNvPr id="91" name="Straight Connector 90"/>
            <p:cNvCxnSpPr/>
            <p:nvPr/>
          </p:nvCxnSpPr>
          <p:spPr>
            <a:xfrm>
              <a:off x="5221869" y="1455454"/>
              <a:ext cx="0" cy="966450"/>
            </a:xfrm>
            <a:prstGeom prst="line">
              <a:avLst/>
            </a:prstGeom>
            <a:ln w="3175">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1" name="Group 10"/>
          <p:cNvGrpSpPr/>
          <p:nvPr/>
        </p:nvGrpSpPr>
        <p:grpSpPr>
          <a:xfrm>
            <a:off x="8132770" y="4644481"/>
            <a:ext cx="3663346" cy="1264377"/>
            <a:chOff x="8295848" y="3706669"/>
            <a:chExt cx="3736804" cy="1289730"/>
          </a:xfrm>
        </p:grpSpPr>
        <p:cxnSp>
          <p:nvCxnSpPr>
            <p:cNvPr id="81" name="Straight Connector 80"/>
            <p:cNvCxnSpPr/>
            <p:nvPr/>
          </p:nvCxnSpPr>
          <p:spPr>
            <a:xfrm>
              <a:off x="9127698" y="3830254"/>
              <a:ext cx="0" cy="966450"/>
            </a:xfrm>
            <a:prstGeom prst="line">
              <a:avLst/>
            </a:prstGeom>
            <a:ln w="3175">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5" name="Group 4"/>
            <p:cNvGrpSpPr/>
            <p:nvPr/>
          </p:nvGrpSpPr>
          <p:grpSpPr>
            <a:xfrm>
              <a:off x="8295848" y="3706669"/>
              <a:ext cx="3736804" cy="1289730"/>
              <a:chOff x="8295848" y="3706669"/>
              <a:chExt cx="3736804" cy="1289730"/>
            </a:xfrm>
          </p:grpSpPr>
          <p:sp>
            <p:nvSpPr>
              <p:cNvPr id="70" name="TextBox 69"/>
              <p:cNvSpPr txBox="1"/>
              <p:nvPr/>
            </p:nvSpPr>
            <p:spPr>
              <a:xfrm>
                <a:off x="8300014" y="3706669"/>
                <a:ext cx="3732638" cy="1289730"/>
              </a:xfrm>
              <a:prstGeom prst="rect">
                <a:avLst/>
              </a:prstGeom>
              <a:noFill/>
              <a:ln w="3175">
                <a:noFill/>
              </a:ln>
            </p:spPr>
            <p:txBody>
              <a:bodyPr wrap="square" lIns="986067" tIns="44821" rIns="89642" bIns="44821" rtlCol="0" anchor="ctr">
                <a:noAutofit/>
              </a:bodyPr>
              <a:lstStyle/>
              <a:p>
                <a:pPr marL="0" lvl="1" defTabSz="913770" fontAlgn="base">
                  <a:spcBef>
                    <a:spcPts val="588"/>
                  </a:spcBef>
                  <a:buClr>
                    <a:srgbClr val="68217A">
                      <a:lumMod val="50000"/>
                    </a:srgbClr>
                  </a:buClr>
                  <a:tabLst>
                    <a:tab pos="645523" algn="l"/>
                  </a:tabLst>
                </a:pPr>
                <a:r>
                  <a:rPr lang="en-IN" sz="2353" dirty="0">
                    <a:solidFill>
                      <a:srgbClr val="505050"/>
                    </a:solidFill>
                    <a:latin typeface="Segoe UI Semibold" panose="020B0702040204020203" pitchFamily="34" charset="0"/>
                    <a:ea typeface="Segoe UI" pitchFamily="34" charset="0"/>
                    <a:cs typeface="Segoe UI Semibold" panose="020B0702040204020203" pitchFamily="34" charset="0"/>
                  </a:rPr>
                  <a:t>Reliable</a:t>
                </a:r>
              </a:p>
              <a:p>
                <a:pPr marL="0" lvl="1" defTabSz="913770" fontAlgn="base">
                  <a:spcBef>
                    <a:spcPts val="196"/>
                  </a:spcBef>
                  <a:spcAft>
                    <a:spcPts val="196"/>
                  </a:spcAft>
                  <a:buClr>
                    <a:srgbClr val="68217A">
                      <a:lumMod val="50000"/>
                    </a:srgbClr>
                  </a:buClr>
                  <a:tabLst>
                    <a:tab pos="645523" algn="l"/>
                  </a:tabLst>
                </a:pPr>
                <a:r>
                  <a:rPr lang="en-US" sz="1765" dirty="0">
                    <a:solidFill>
                      <a:srgbClr val="505050"/>
                    </a:solidFill>
                    <a:ea typeface="Segoe UI" pitchFamily="34" charset="0"/>
                    <a:cs typeface="Segoe UI" pitchFamily="34" charset="0"/>
                  </a:rPr>
                  <a:t>Guaranteed at least-once semantics</a:t>
                </a:r>
              </a:p>
            </p:txBody>
          </p:sp>
          <p:pic>
            <p:nvPicPr>
              <p:cNvPr id="4" name="Picture 3"/>
              <p:cNvPicPr>
                <a:picLocks noChangeAspect="1"/>
              </p:cNvPicPr>
              <p:nvPr/>
            </p:nvPicPr>
            <p:blipFill>
              <a:blip r:embed="rId2">
                <a:clrChange>
                  <a:clrFrom>
                    <a:srgbClr val="F2F2F2"/>
                  </a:clrFrom>
                  <a:clrTo>
                    <a:srgbClr val="F2F2F2">
                      <a:alpha val="0"/>
                    </a:srgbClr>
                  </a:clrTo>
                </a:clrChange>
                <a:duotone>
                  <a:schemeClr val="accent3">
                    <a:shade val="45000"/>
                    <a:satMod val="135000"/>
                  </a:schemeClr>
                  <a:prstClr val="white"/>
                </a:duotone>
              </a:blip>
              <a:stretch>
                <a:fillRect/>
              </a:stretch>
            </p:blipFill>
            <p:spPr>
              <a:xfrm>
                <a:off x="8295848" y="3897270"/>
                <a:ext cx="778338" cy="812626"/>
              </a:xfrm>
              <a:prstGeom prst="rect">
                <a:avLst/>
              </a:prstGeom>
            </p:spPr>
          </p:pic>
        </p:grpSp>
      </p:grpSp>
      <p:grpSp>
        <p:nvGrpSpPr>
          <p:cNvPr id="10" name="Group 9"/>
          <p:cNvGrpSpPr/>
          <p:nvPr/>
        </p:nvGrpSpPr>
        <p:grpSpPr>
          <a:xfrm>
            <a:off x="268926" y="1964814"/>
            <a:ext cx="4721073" cy="1264377"/>
            <a:chOff x="136743" y="2225803"/>
            <a:chExt cx="5361954" cy="1289730"/>
          </a:xfrm>
        </p:grpSpPr>
        <p:grpSp>
          <p:nvGrpSpPr>
            <p:cNvPr id="15" name="Group 14"/>
            <p:cNvGrpSpPr/>
            <p:nvPr/>
          </p:nvGrpSpPr>
          <p:grpSpPr>
            <a:xfrm>
              <a:off x="465138" y="2225803"/>
              <a:ext cx="5033559" cy="1289730"/>
              <a:chOff x="465138" y="1293814"/>
              <a:chExt cx="5033559" cy="1289730"/>
            </a:xfrm>
          </p:grpSpPr>
          <p:sp>
            <p:nvSpPr>
              <p:cNvPr id="38" name="TextBox 37"/>
              <p:cNvSpPr txBox="1"/>
              <p:nvPr/>
            </p:nvSpPr>
            <p:spPr>
              <a:xfrm>
                <a:off x="465138" y="1293814"/>
                <a:ext cx="5033559" cy="1289730"/>
              </a:xfrm>
              <a:prstGeom prst="rect">
                <a:avLst/>
              </a:prstGeom>
              <a:noFill/>
              <a:ln w="3175">
                <a:noFill/>
              </a:ln>
            </p:spPr>
            <p:txBody>
              <a:bodyPr wrap="square" lIns="986067" tIns="44821" rIns="89642" bIns="44821" rtlCol="0" anchor="ctr">
                <a:noAutofit/>
              </a:bodyPr>
              <a:lstStyle/>
              <a:p>
                <a:pPr marL="0" lvl="1" defTabSz="913770" fontAlgn="base">
                  <a:spcBef>
                    <a:spcPts val="588"/>
                  </a:spcBef>
                  <a:buClr>
                    <a:srgbClr val="68217A">
                      <a:lumMod val="50000"/>
                    </a:srgbClr>
                  </a:buClr>
                  <a:tabLst>
                    <a:tab pos="645523" algn="l"/>
                  </a:tabLst>
                </a:pPr>
                <a:r>
                  <a:rPr lang="en-IN" sz="2000" b="1" dirty="0">
                    <a:solidFill>
                      <a:srgbClr val="505050"/>
                    </a:solidFill>
                    <a:latin typeface="Segoe UI Semibold" panose="020B0702040204020203" pitchFamily="34" charset="0"/>
                    <a:ea typeface="Segoe UI" pitchFamily="34" charset="0"/>
                    <a:cs typeface="Segoe UI Semibold" panose="020B0702040204020203" pitchFamily="34" charset="0"/>
                  </a:rPr>
                  <a:t>Use cases:</a:t>
                </a:r>
              </a:p>
              <a:p>
                <a:pPr marL="0" lvl="1" defTabSz="913770" fontAlgn="base">
                  <a:spcBef>
                    <a:spcPts val="588"/>
                  </a:spcBef>
                  <a:buClr>
                    <a:srgbClr val="68217A">
                      <a:lumMod val="50000"/>
                    </a:srgbClr>
                  </a:buClr>
                  <a:tabLst>
                    <a:tab pos="645523" algn="l"/>
                  </a:tabLst>
                </a:pPr>
                <a:r>
                  <a:rPr lang="en-IN" sz="1765" dirty="0">
                    <a:solidFill>
                      <a:srgbClr val="505050"/>
                    </a:solidFill>
                    <a:ea typeface="Segoe UI" pitchFamily="34" charset="0"/>
                    <a:cs typeface="Segoe UI" pitchFamily="34" charset="0"/>
                  </a:rPr>
                  <a:t>Streaming data analysis</a:t>
                </a:r>
              </a:p>
              <a:p>
                <a:pPr marL="0" lvl="1" defTabSz="913770" fontAlgn="base">
                  <a:spcBef>
                    <a:spcPts val="588"/>
                  </a:spcBef>
                  <a:buClr>
                    <a:srgbClr val="68217A">
                      <a:lumMod val="50000"/>
                    </a:srgbClr>
                  </a:buClr>
                  <a:tabLst>
                    <a:tab pos="645523" algn="l"/>
                  </a:tabLst>
                </a:pPr>
                <a:r>
                  <a:rPr lang="en-IN" sz="1765" dirty="0">
                    <a:solidFill>
                      <a:srgbClr val="505050"/>
                    </a:solidFill>
                    <a:ea typeface="Segoe UI" pitchFamily="34" charset="0"/>
                    <a:cs typeface="Segoe UI" pitchFamily="34" charset="0"/>
                  </a:rPr>
                  <a:t>Distributed RPC</a:t>
                </a:r>
              </a:p>
              <a:p>
                <a:pPr marL="0" lvl="1" defTabSz="913770" fontAlgn="base">
                  <a:spcBef>
                    <a:spcPts val="588"/>
                  </a:spcBef>
                  <a:buClr>
                    <a:srgbClr val="68217A">
                      <a:lumMod val="50000"/>
                    </a:srgbClr>
                  </a:buClr>
                  <a:tabLst>
                    <a:tab pos="645523" algn="l"/>
                  </a:tabLst>
                </a:pPr>
                <a:r>
                  <a:rPr lang="en-IN" sz="1765" dirty="0">
                    <a:solidFill>
                      <a:srgbClr val="505050"/>
                    </a:solidFill>
                    <a:ea typeface="Segoe UI" pitchFamily="34" charset="0"/>
                    <a:cs typeface="Segoe UI" pitchFamily="34" charset="0"/>
                  </a:rPr>
                  <a:t>Continuous Computation</a:t>
                </a:r>
              </a:p>
            </p:txBody>
          </p:sp>
          <p:cxnSp>
            <p:nvCxnSpPr>
              <p:cNvPr id="12" name="Straight Connector 11"/>
              <p:cNvCxnSpPr/>
              <p:nvPr/>
            </p:nvCxnSpPr>
            <p:spPr>
              <a:xfrm>
                <a:off x="1316039" y="1455454"/>
                <a:ext cx="0" cy="966450"/>
              </a:xfrm>
              <a:prstGeom prst="line">
                <a:avLst/>
              </a:prstGeom>
              <a:ln w="3175">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9" name="Group 8"/>
            <p:cNvGrpSpPr/>
            <p:nvPr/>
          </p:nvGrpSpPr>
          <p:grpSpPr>
            <a:xfrm>
              <a:off x="136743" y="2442186"/>
              <a:ext cx="1235309" cy="988247"/>
              <a:chOff x="1287757" y="5441066"/>
              <a:chExt cx="1235309" cy="988247"/>
            </a:xfrm>
          </p:grpSpPr>
          <p:pic>
            <p:nvPicPr>
              <p:cNvPr id="6" name="Picture 5"/>
              <p:cNvPicPr>
                <a:picLocks noChangeAspect="1"/>
              </p:cNvPicPr>
              <p:nvPr/>
            </p:nvPicPr>
            <p:blipFill>
              <a:blip r:embed="rId3">
                <a:clrChange>
                  <a:clrFrom>
                    <a:srgbClr val="F2F2F2"/>
                  </a:clrFrom>
                  <a:clrTo>
                    <a:srgbClr val="F2F2F2">
                      <a:alpha val="0"/>
                    </a:srgbClr>
                  </a:clrTo>
                </a:clrChange>
                <a:duotone>
                  <a:schemeClr val="accent3">
                    <a:shade val="45000"/>
                    <a:satMod val="135000"/>
                  </a:schemeClr>
                  <a:prstClr val="white"/>
                </a:duotone>
              </a:blip>
              <a:stretch>
                <a:fillRect/>
              </a:stretch>
            </p:blipFill>
            <p:spPr>
              <a:xfrm>
                <a:off x="1287757" y="5441066"/>
                <a:ext cx="1235309" cy="988247"/>
              </a:xfrm>
              <a:prstGeom prst="rect">
                <a:avLst/>
              </a:prstGeom>
            </p:spPr>
          </p:pic>
          <p:grpSp>
            <p:nvGrpSpPr>
              <p:cNvPr id="8" name="Group 7"/>
              <p:cNvGrpSpPr/>
              <p:nvPr/>
            </p:nvGrpSpPr>
            <p:grpSpPr>
              <a:xfrm>
                <a:off x="2096309" y="5904915"/>
                <a:ext cx="235149" cy="269566"/>
                <a:chOff x="3129153" y="6107430"/>
                <a:chExt cx="235149" cy="269566"/>
              </a:xfrm>
            </p:grpSpPr>
            <p:sp>
              <p:nvSpPr>
                <p:cNvPr id="45" name="Freeform 44"/>
                <p:cNvSpPr/>
                <p:nvPr/>
              </p:nvSpPr>
              <p:spPr bwMode="auto">
                <a:xfrm>
                  <a:off x="3129153" y="6159260"/>
                  <a:ext cx="235149" cy="217736"/>
                </a:xfrm>
                <a:custGeom>
                  <a:avLst/>
                  <a:gdLst>
                    <a:gd name="connsiteX0" fmla="*/ 3243 w 585420"/>
                    <a:gd name="connsiteY0" fmla="*/ 0 h 690586"/>
                    <a:gd name="connsiteX1" fmla="*/ 8704 w 585420"/>
                    <a:gd name="connsiteY1" fmla="*/ 19647 h 690586"/>
                    <a:gd name="connsiteX2" fmla="*/ 293543 w 585420"/>
                    <a:gd name="connsiteY2" fmla="*/ 103844 h 690586"/>
                    <a:gd name="connsiteX3" fmla="*/ 578382 w 585420"/>
                    <a:gd name="connsiteY3" fmla="*/ 19647 h 690586"/>
                    <a:gd name="connsiteX4" fmla="*/ 582972 w 585420"/>
                    <a:gd name="connsiteY4" fmla="*/ 3134 h 690586"/>
                    <a:gd name="connsiteX5" fmla="*/ 585420 w 585420"/>
                    <a:gd name="connsiteY5" fmla="*/ 12784 h 690586"/>
                    <a:gd name="connsiteX6" fmla="*/ 585420 w 585420"/>
                    <a:gd name="connsiteY6" fmla="*/ 574279 h 690586"/>
                    <a:gd name="connsiteX7" fmla="*/ 292710 w 585420"/>
                    <a:gd name="connsiteY7" fmla="*/ 690586 h 690586"/>
                    <a:gd name="connsiteX8" fmla="*/ 178774 w 585420"/>
                    <a:gd name="connsiteY8" fmla="*/ 681447 h 690586"/>
                    <a:gd name="connsiteX9" fmla="*/ 129053 w 585420"/>
                    <a:gd name="connsiteY9" fmla="*/ 670723 h 690586"/>
                    <a:gd name="connsiteX10" fmla="*/ 0 w 585420"/>
                    <a:gd name="connsiteY10" fmla="*/ 574279 h 690586"/>
                    <a:gd name="connsiteX11" fmla="*/ 0 w 585420"/>
                    <a:gd name="connsiteY11" fmla="*/ 12784 h 690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85420" h="690586">
                      <a:moveTo>
                        <a:pt x="3243" y="0"/>
                      </a:moveTo>
                      <a:lnTo>
                        <a:pt x="8704" y="19647"/>
                      </a:lnTo>
                      <a:cubicBezTo>
                        <a:pt x="35815" y="67698"/>
                        <a:pt x="153040" y="103844"/>
                        <a:pt x="293543" y="103844"/>
                      </a:cubicBezTo>
                      <a:cubicBezTo>
                        <a:pt x="434046" y="103844"/>
                        <a:pt x="551271" y="67698"/>
                        <a:pt x="578382" y="19647"/>
                      </a:cubicBezTo>
                      <a:lnTo>
                        <a:pt x="582972" y="3134"/>
                      </a:lnTo>
                      <a:lnTo>
                        <a:pt x="585420" y="12784"/>
                      </a:lnTo>
                      <a:lnTo>
                        <a:pt x="585420" y="574279"/>
                      </a:lnTo>
                      <a:cubicBezTo>
                        <a:pt x="585420" y="638514"/>
                        <a:pt x="454370" y="690586"/>
                        <a:pt x="292710" y="690586"/>
                      </a:cubicBezTo>
                      <a:cubicBezTo>
                        <a:pt x="252295" y="690586"/>
                        <a:pt x="213794" y="687332"/>
                        <a:pt x="178774" y="681447"/>
                      </a:cubicBezTo>
                      <a:cubicBezTo>
                        <a:pt x="161265" y="678504"/>
                        <a:pt x="144625" y="674903"/>
                        <a:pt x="129053" y="670723"/>
                      </a:cubicBezTo>
                      <a:cubicBezTo>
                        <a:pt x="51192" y="649822"/>
                        <a:pt x="0" y="614426"/>
                        <a:pt x="0" y="574279"/>
                      </a:cubicBezTo>
                      <a:lnTo>
                        <a:pt x="0" y="12784"/>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IN" sz="3137"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7" name="Oval 6"/>
                <p:cNvSpPr/>
                <p:nvPr/>
              </p:nvSpPr>
              <p:spPr bwMode="auto">
                <a:xfrm>
                  <a:off x="3129153" y="6107430"/>
                  <a:ext cx="235149" cy="80009"/>
                </a:xfrm>
                <a:prstGeom prst="ellipse">
                  <a:avLst/>
                </a:prstGeom>
                <a:solidFill>
                  <a:schemeClr val="accent3"/>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spcBef>
                      <a:spcPts val="392"/>
                    </a:spcBef>
                    <a:spcAft>
                      <a:spcPct val="0"/>
                    </a:spcAft>
                  </a:pPr>
                  <a:endParaRPr lang="en-US" sz="1372" dirty="0">
                    <a:solidFill>
                      <a:srgbClr val="505050"/>
                    </a:solidFill>
                    <a:ea typeface="Segoe UI" pitchFamily="34" charset="0"/>
                    <a:cs typeface="Segoe UI" pitchFamily="34" charset="0"/>
                  </a:endParaRPr>
                </a:p>
              </p:txBody>
            </p:sp>
          </p:grpSp>
          <p:grpSp>
            <p:nvGrpSpPr>
              <p:cNvPr id="51" name="Group 50"/>
              <p:cNvGrpSpPr/>
              <p:nvPr/>
            </p:nvGrpSpPr>
            <p:grpSpPr>
              <a:xfrm>
                <a:off x="1670262" y="5529945"/>
                <a:ext cx="235149" cy="269566"/>
                <a:chOff x="3129153" y="6107430"/>
                <a:chExt cx="235149" cy="269566"/>
              </a:xfrm>
            </p:grpSpPr>
            <p:sp>
              <p:nvSpPr>
                <p:cNvPr id="52" name="Freeform 51"/>
                <p:cNvSpPr/>
                <p:nvPr/>
              </p:nvSpPr>
              <p:spPr bwMode="auto">
                <a:xfrm>
                  <a:off x="3129153" y="6159260"/>
                  <a:ext cx="235149" cy="217736"/>
                </a:xfrm>
                <a:custGeom>
                  <a:avLst/>
                  <a:gdLst>
                    <a:gd name="connsiteX0" fmla="*/ 3243 w 585420"/>
                    <a:gd name="connsiteY0" fmla="*/ 0 h 690586"/>
                    <a:gd name="connsiteX1" fmla="*/ 8704 w 585420"/>
                    <a:gd name="connsiteY1" fmla="*/ 19647 h 690586"/>
                    <a:gd name="connsiteX2" fmla="*/ 293543 w 585420"/>
                    <a:gd name="connsiteY2" fmla="*/ 103844 h 690586"/>
                    <a:gd name="connsiteX3" fmla="*/ 578382 w 585420"/>
                    <a:gd name="connsiteY3" fmla="*/ 19647 h 690586"/>
                    <a:gd name="connsiteX4" fmla="*/ 582972 w 585420"/>
                    <a:gd name="connsiteY4" fmla="*/ 3134 h 690586"/>
                    <a:gd name="connsiteX5" fmla="*/ 585420 w 585420"/>
                    <a:gd name="connsiteY5" fmla="*/ 12784 h 690586"/>
                    <a:gd name="connsiteX6" fmla="*/ 585420 w 585420"/>
                    <a:gd name="connsiteY6" fmla="*/ 574279 h 690586"/>
                    <a:gd name="connsiteX7" fmla="*/ 292710 w 585420"/>
                    <a:gd name="connsiteY7" fmla="*/ 690586 h 690586"/>
                    <a:gd name="connsiteX8" fmla="*/ 178774 w 585420"/>
                    <a:gd name="connsiteY8" fmla="*/ 681447 h 690586"/>
                    <a:gd name="connsiteX9" fmla="*/ 129053 w 585420"/>
                    <a:gd name="connsiteY9" fmla="*/ 670723 h 690586"/>
                    <a:gd name="connsiteX10" fmla="*/ 0 w 585420"/>
                    <a:gd name="connsiteY10" fmla="*/ 574279 h 690586"/>
                    <a:gd name="connsiteX11" fmla="*/ 0 w 585420"/>
                    <a:gd name="connsiteY11" fmla="*/ 12784 h 690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85420" h="690586">
                      <a:moveTo>
                        <a:pt x="3243" y="0"/>
                      </a:moveTo>
                      <a:lnTo>
                        <a:pt x="8704" y="19647"/>
                      </a:lnTo>
                      <a:cubicBezTo>
                        <a:pt x="35815" y="67698"/>
                        <a:pt x="153040" y="103844"/>
                        <a:pt x="293543" y="103844"/>
                      </a:cubicBezTo>
                      <a:cubicBezTo>
                        <a:pt x="434046" y="103844"/>
                        <a:pt x="551271" y="67698"/>
                        <a:pt x="578382" y="19647"/>
                      </a:cubicBezTo>
                      <a:lnTo>
                        <a:pt x="582972" y="3134"/>
                      </a:lnTo>
                      <a:lnTo>
                        <a:pt x="585420" y="12784"/>
                      </a:lnTo>
                      <a:lnTo>
                        <a:pt x="585420" y="574279"/>
                      </a:lnTo>
                      <a:cubicBezTo>
                        <a:pt x="585420" y="638514"/>
                        <a:pt x="454370" y="690586"/>
                        <a:pt x="292710" y="690586"/>
                      </a:cubicBezTo>
                      <a:cubicBezTo>
                        <a:pt x="252295" y="690586"/>
                        <a:pt x="213794" y="687332"/>
                        <a:pt x="178774" y="681447"/>
                      </a:cubicBezTo>
                      <a:cubicBezTo>
                        <a:pt x="161265" y="678504"/>
                        <a:pt x="144625" y="674903"/>
                        <a:pt x="129053" y="670723"/>
                      </a:cubicBezTo>
                      <a:cubicBezTo>
                        <a:pt x="51192" y="649822"/>
                        <a:pt x="0" y="614426"/>
                        <a:pt x="0" y="574279"/>
                      </a:cubicBezTo>
                      <a:lnTo>
                        <a:pt x="0" y="12784"/>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IN" sz="3137"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53" name="Oval 52"/>
                <p:cNvSpPr/>
                <p:nvPr/>
              </p:nvSpPr>
              <p:spPr bwMode="auto">
                <a:xfrm>
                  <a:off x="3129153" y="6107430"/>
                  <a:ext cx="235149" cy="80009"/>
                </a:xfrm>
                <a:prstGeom prst="ellipse">
                  <a:avLst/>
                </a:prstGeom>
                <a:solidFill>
                  <a:schemeClr val="accent3"/>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spcBef>
                      <a:spcPts val="392"/>
                    </a:spcBef>
                    <a:spcAft>
                      <a:spcPct val="0"/>
                    </a:spcAft>
                  </a:pPr>
                  <a:endParaRPr lang="en-US" sz="1372" dirty="0">
                    <a:solidFill>
                      <a:srgbClr val="505050"/>
                    </a:solidFill>
                    <a:ea typeface="Segoe UI" pitchFamily="34" charset="0"/>
                    <a:cs typeface="Segoe UI" pitchFamily="34" charset="0"/>
                  </a:endParaRPr>
                </a:p>
              </p:txBody>
            </p:sp>
          </p:grpSp>
          <p:grpSp>
            <p:nvGrpSpPr>
              <p:cNvPr id="54" name="Group 53"/>
              <p:cNvGrpSpPr/>
              <p:nvPr/>
            </p:nvGrpSpPr>
            <p:grpSpPr>
              <a:xfrm>
                <a:off x="1935481" y="5466213"/>
                <a:ext cx="235149" cy="269566"/>
                <a:chOff x="3129153" y="6107430"/>
                <a:chExt cx="235149" cy="269566"/>
              </a:xfrm>
            </p:grpSpPr>
            <p:sp>
              <p:nvSpPr>
                <p:cNvPr id="55" name="Freeform 54"/>
                <p:cNvSpPr/>
                <p:nvPr/>
              </p:nvSpPr>
              <p:spPr bwMode="auto">
                <a:xfrm>
                  <a:off x="3129153" y="6159260"/>
                  <a:ext cx="235149" cy="217736"/>
                </a:xfrm>
                <a:custGeom>
                  <a:avLst/>
                  <a:gdLst>
                    <a:gd name="connsiteX0" fmla="*/ 3243 w 585420"/>
                    <a:gd name="connsiteY0" fmla="*/ 0 h 690586"/>
                    <a:gd name="connsiteX1" fmla="*/ 8704 w 585420"/>
                    <a:gd name="connsiteY1" fmla="*/ 19647 h 690586"/>
                    <a:gd name="connsiteX2" fmla="*/ 293543 w 585420"/>
                    <a:gd name="connsiteY2" fmla="*/ 103844 h 690586"/>
                    <a:gd name="connsiteX3" fmla="*/ 578382 w 585420"/>
                    <a:gd name="connsiteY3" fmla="*/ 19647 h 690586"/>
                    <a:gd name="connsiteX4" fmla="*/ 582972 w 585420"/>
                    <a:gd name="connsiteY4" fmla="*/ 3134 h 690586"/>
                    <a:gd name="connsiteX5" fmla="*/ 585420 w 585420"/>
                    <a:gd name="connsiteY5" fmla="*/ 12784 h 690586"/>
                    <a:gd name="connsiteX6" fmla="*/ 585420 w 585420"/>
                    <a:gd name="connsiteY6" fmla="*/ 574279 h 690586"/>
                    <a:gd name="connsiteX7" fmla="*/ 292710 w 585420"/>
                    <a:gd name="connsiteY7" fmla="*/ 690586 h 690586"/>
                    <a:gd name="connsiteX8" fmla="*/ 178774 w 585420"/>
                    <a:gd name="connsiteY8" fmla="*/ 681447 h 690586"/>
                    <a:gd name="connsiteX9" fmla="*/ 129053 w 585420"/>
                    <a:gd name="connsiteY9" fmla="*/ 670723 h 690586"/>
                    <a:gd name="connsiteX10" fmla="*/ 0 w 585420"/>
                    <a:gd name="connsiteY10" fmla="*/ 574279 h 690586"/>
                    <a:gd name="connsiteX11" fmla="*/ 0 w 585420"/>
                    <a:gd name="connsiteY11" fmla="*/ 12784 h 690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85420" h="690586">
                      <a:moveTo>
                        <a:pt x="3243" y="0"/>
                      </a:moveTo>
                      <a:lnTo>
                        <a:pt x="8704" y="19647"/>
                      </a:lnTo>
                      <a:cubicBezTo>
                        <a:pt x="35815" y="67698"/>
                        <a:pt x="153040" y="103844"/>
                        <a:pt x="293543" y="103844"/>
                      </a:cubicBezTo>
                      <a:cubicBezTo>
                        <a:pt x="434046" y="103844"/>
                        <a:pt x="551271" y="67698"/>
                        <a:pt x="578382" y="19647"/>
                      </a:cubicBezTo>
                      <a:lnTo>
                        <a:pt x="582972" y="3134"/>
                      </a:lnTo>
                      <a:lnTo>
                        <a:pt x="585420" y="12784"/>
                      </a:lnTo>
                      <a:lnTo>
                        <a:pt x="585420" y="574279"/>
                      </a:lnTo>
                      <a:cubicBezTo>
                        <a:pt x="585420" y="638514"/>
                        <a:pt x="454370" y="690586"/>
                        <a:pt x="292710" y="690586"/>
                      </a:cubicBezTo>
                      <a:cubicBezTo>
                        <a:pt x="252295" y="690586"/>
                        <a:pt x="213794" y="687332"/>
                        <a:pt x="178774" y="681447"/>
                      </a:cubicBezTo>
                      <a:cubicBezTo>
                        <a:pt x="161265" y="678504"/>
                        <a:pt x="144625" y="674903"/>
                        <a:pt x="129053" y="670723"/>
                      </a:cubicBezTo>
                      <a:cubicBezTo>
                        <a:pt x="51192" y="649822"/>
                        <a:pt x="0" y="614426"/>
                        <a:pt x="0" y="574279"/>
                      </a:cubicBezTo>
                      <a:lnTo>
                        <a:pt x="0" y="12784"/>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IN" sz="3137"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56" name="Oval 55"/>
                <p:cNvSpPr/>
                <p:nvPr/>
              </p:nvSpPr>
              <p:spPr bwMode="auto">
                <a:xfrm>
                  <a:off x="3129153" y="6107430"/>
                  <a:ext cx="235149" cy="80009"/>
                </a:xfrm>
                <a:prstGeom prst="ellipse">
                  <a:avLst/>
                </a:prstGeom>
                <a:solidFill>
                  <a:schemeClr val="accent3"/>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spcBef>
                      <a:spcPts val="392"/>
                    </a:spcBef>
                    <a:spcAft>
                      <a:spcPct val="0"/>
                    </a:spcAft>
                  </a:pPr>
                  <a:endParaRPr lang="en-US" sz="1372" dirty="0">
                    <a:solidFill>
                      <a:srgbClr val="505050"/>
                    </a:solidFill>
                    <a:ea typeface="Segoe UI" pitchFamily="34" charset="0"/>
                    <a:cs typeface="Segoe UI" pitchFamily="34" charset="0"/>
                  </a:endParaRPr>
                </a:p>
              </p:txBody>
            </p:sp>
          </p:grpSp>
          <p:grpSp>
            <p:nvGrpSpPr>
              <p:cNvPr id="57" name="Group 56"/>
              <p:cNvGrpSpPr/>
              <p:nvPr/>
            </p:nvGrpSpPr>
            <p:grpSpPr>
              <a:xfrm>
                <a:off x="2111698" y="5618875"/>
                <a:ext cx="235149" cy="269566"/>
                <a:chOff x="3129153" y="6107430"/>
                <a:chExt cx="235149" cy="269566"/>
              </a:xfrm>
            </p:grpSpPr>
            <p:sp>
              <p:nvSpPr>
                <p:cNvPr id="58" name="Freeform 57"/>
                <p:cNvSpPr/>
                <p:nvPr/>
              </p:nvSpPr>
              <p:spPr bwMode="auto">
                <a:xfrm>
                  <a:off x="3129153" y="6159260"/>
                  <a:ext cx="235149" cy="217736"/>
                </a:xfrm>
                <a:custGeom>
                  <a:avLst/>
                  <a:gdLst>
                    <a:gd name="connsiteX0" fmla="*/ 3243 w 585420"/>
                    <a:gd name="connsiteY0" fmla="*/ 0 h 690586"/>
                    <a:gd name="connsiteX1" fmla="*/ 8704 w 585420"/>
                    <a:gd name="connsiteY1" fmla="*/ 19647 h 690586"/>
                    <a:gd name="connsiteX2" fmla="*/ 293543 w 585420"/>
                    <a:gd name="connsiteY2" fmla="*/ 103844 h 690586"/>
                    <a:gd name="connsiteX3" fmla="*/ 578382 w 585420"/>
                    <a:gd name="connsiteY3" fmla="*/ 19647 h 690586"/>
                    <a:gd name="connsiteX4" fmla="*/ 582972 w 585420"/>
                    <a:gd name="connsiteY4" fmla="*/ 3134 h 690586"/>
                    <a:gd name="connsiteX5" fmla="*/ 585420 w 585420"/>
                    <a:gd name="connsiteY5" fmla="*/ 12784 h 690586"/>
                    <a:gd name="connsiteX6" fmla="*/ 585420 w 585420"/>
                    <a:gd name="connsiteY6" fmla="*/ 574279 h 690586"/>
                    <a:gd name="connsiteX7" fmla="*/ 292710 w 585420"/>
                    <a:gd name="connsiteY7" fmla="*/ 690586 h 690586"/>
                    <a:gd name="connsiteX8" fmla="*/ 178774 w 585420"/>
                    <a:gd name="connsiteY8" fmla="*/ 681447 h 690586"/>
                    <a:gd name="connsiteX9" fmla="*/ 129053 w 585420"/>
                    <a:gd name="connsiteY9" fmla="*/ 670723 h 690586"/>
                    <a:gd name="connsiteX10" fmla="*/ 0 w 585420"/>
                    <a:gd name="connsiteY10" fmla="*/ 574279 h 690586"/>
                    <a:gd name="connsiteX11" fmla="*/ 0 w 585420"/>
                    <a:gd name="connsiteY11" fmla="*/ 12784 h 690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85420" h="690586">
                      <a:moveTo>
                        <a:pt x="3243" y="0"/>
                      </a:moveTo>
                      <a:lnTo>
                        <a:pt x="8704" y="19647"/>
                      </a:lnTo>
                      <a:cubicBezTo>
                        <a:pt x="35815" y="67698"/>
                        <a:pt x="153040" y="103844"/>
                        <a:pt x="293543" y="103844"/>
                      </a:cubicBezTo>
                      <a:cubicBezTo>
                        <a:pt x="434046" y="103844"/>
                        <a:pt x="551271" y="67698"/>
                        <a:pt x="578382" y="19647"/>
                      </a:cubicBezTo>
                      <a:lnTo>
                        <a:pt x="582972" y="3134"/>
                      </a:lnTo>
                      <a:lnTo>
                        <a:pt x="585420" y="12784"/>
                      </a:lnTo>
                      <a:lnTo>
                        <a:pt x="585420" y="574279"/>
                      </a:lnTo>
                      <a:cubicBezTo>
                        <a:pt x="585420" y="638514"/>
                        <a:pt x="454370" y="690586"/>
                        <a:pt x="292710" y="690586"/>
                      </a:cubicBezTo>
                      <a:cubicBezTo>
                        <a:pt x="252295" y="690586"/>
                        <a:pt x="213794" y="687332"/>
                        <a:pt x="178774" y="681447"/>
                      </a:cubicBezTo>
                      <a:cubicBezTo>
                        <a:pt x="161265" y="678504"/>
                        <a:pt x="144625" y="674903"/>
                        <a:pt x="129053" y="670723"/>
                      </a:cubicBezTo>
                      <a:cubicBezTo>
                        <a:pt x="51192" y="649822"/>
                        <a:pt x="0" y="614426"/>
                        <a:pt x="0" y="574279"/>
                      </a:cubicBezTo>
                      <a:lnTo>
                        <a:pt x="0" y="12784"/>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IN" sz="3137"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59" name="Oval 58"/>
                <p:cNvSpPr/>
                <p:nvPr/>
              </p:nvSpPr>
              <p:spPr bwMode="auto">
                <a:xfrm>
                  <a:off x="3129153" y="6107430"/>
                  <a:ext cx="235149" cy="80009"/>
                </a:xfrm>
                <a:prstGeom prst="ellipse">
                  <a:avLst/>
                </a:prstGeom>
                <a:solidFill>
                  <a:schemeClr val="accent3"/>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spcBef>
                      <a:spcPts val="392"/>
                    </a:spcBef>
                    <a:spcAft>
                      <a:spcPct val="0"/>
                    </a:spcAft>
                  </a:pPr>
                  <a:endParaRPr lang="en-US" sz="1372" dirty="0">
                    <a:solidFill>
                      <a:srgbClr val="505050"/>
                    </a:solidFill>
                    <a:ea typeface="Segoe UI" pitchFamily="34" charset="0"/>
                    <a:cs typeface="Segoe UI" pitchFamily="34" charset="0"/>
                  </a:endParaRPr>
                </a:p>
              </p:txBody>
            </p:sp>
          </p:grpSp>
        </p:grpSp>
      </p:grpSp>
      <p:pic>
        <p:nvPicPr>
          <p:cNvPr id="27650" name="Picture 2" descr="http://www.ajboggs.com/wp-content/uploads/2012/05/apache-icon.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12370" y="3573307"/>
            <a:ext cx="1307465" cy="7263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7249041"/>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500"/>
                                        <p:tgtEl>
                                          <p:spTgt spid="1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fade">
                                      <p:cBhvr>
                                        <p:cTn id="17" dur="500"/>
                                        <p:tgtEl>
                                          <p:spTgt spid="17"/>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88"/>
                                        </p:tgtEl>
                                        <p:attrNameLst>
                                          <p:attrName>style.visibility</p:attrName>
                                        </p:attrNameLst>
                                      </p:cBhvr>
                                      <p:to>
                                        <p:strVal val="visible"/>
                                      </p:to>
                                    </p:set>
                                    <p:animEffect transition="in" filter="fade">
                                      <p:cBhvr>
                                        <p:cTn id="22" dur="500"/>
                                        <p:tgtEl>
                                          <p:spTgt spid="88"/>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6"/>
                                        </p:tgtEl>
                                        <p:attrNameLst>
                                          <p:attrName>style.visibility</p:attrName>
                                        </p:attrNameLst>
                                      </p:cBhvr>
                                      <p:to>
                                        <p:strVal val="visible"/>
                                      </p:to>
                                    </p:set>
                                    <p:animEffect transition="in" filter="fade">
                                      <p:cBhvr>
                                        <p:cTn id="27" dur="500"/>
                                        <p:tgtEl>
                                          <p:spTgt spid="16"/>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fade">
                                      <p:cBhvr>
                                        <p:cTn id="32"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oup 20"/>
          <p:cNvGrpSpPr/>
          <p:nvPr/>
        </p:nvGrpSpPr>
        <p:grpSpPr>
          <a:xfrm>
            <a:off x="6198335" y="1269455"/>
            <a:ext cx="1769294" cy="5074482"/>
            <a:chOff x="6322624" y="1294414"/>
            <a:chExt cx="1804772" cy="5176236"/>
          </a:xfrm>
        </p:grpSpPr>
        <p:sp>
          <p:nvSpPr>
            <p:cNvPr id="143" name="Rectangle 142"/>
            <p:cNvSpPr/>
            <p:nvPr/>
          </p:nvSpPr>
          <p:spPr bwMode="auto">
            <a:xfrm>
              <a:off x="6326028" y="2020446"/>
              <a:ext cx="1801368" cy="4450204"/>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spcBef>
                  <a:spcPct val="0"/>
                </a:spcBef>
                <a:spcAft>
                  <a:spcPct val="0"/>
                </a:spcAft>
              </a:pPr>
              <a:endParaRPr lang="en-US" sz="1961" dirty="0" err="1">
                <a:gradFill>
                  <a:gsLst>
                    <a:gs pos="0">
                      <a:srgbClr val="FFFFFF"/>
                    </a:gs>
                    <a:gs pos="100000">
                      <a:srgbClr val="FFFFFF"/>
                    </a:gs>
                  </a:gsLst>
                  <a:lin ang="5400000" scaled="1"/>
                </a:gradFill>
                <a:ea typeface="Segoe UI" pitchFamily="34" charset="0"/>
                <a:cs typeface="Segoe UI" pitchFamily="34" charset="0"/>
              </a:endParaRPr>
            </a:p>
          </p:txBody>
        </p:sp>
        <p:sp>
          <p:nvSpPr>
            <p:cNvPr id="130" name="Rectangle 129"/>
            <p:cNvSpPr/>
            <p:nvPr/>
          </p:nvSpPr>
          <p:spPr bwMode="auto">
            <a:xfrm>
              <a:off x="6322624" y="1294414"/>
              <a:ext cx="1804772" cy="73131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89642" rIns="89642" bIns="44821" numCol="1" spcCol="0" rtlCol="0" fromWordArt="0" anchor="t" anchorCtr="0" forceAA="0" compatLnSpc="1">
              <a:prstTxWarp prst="textNoShape">
                <a:avLst/>
              </a:prstTxWarp>
              <a:noAutofit/>
            </a:bodyPr>
            <a:lstStyle/>
            <a:p>
              <a:pPr defTabSz="913751"/>
              <a:r>
                <a:rPr lang="en-US" sz="1765" dirty="0">
                  <a:solidFill>
                    <a:srgbClr val="FFFFFF"/>
                  </a:solidFill>
                  <a:ea typeface="Segoe UI" pitchFamily="34" charset="0"/>
                  <a:cs typeface="Segoe UI" pitchFamily="34" charset="0"/>
                </a:rPr>
                <a:t>Transformation</a:t>
              </a:r>
            </a:p>
          </p:txBody>
        </p:sp>
      </p:grpSp>
      <p:grpSp>
        <p:nvGrpSpPr>
          <p:cNvPr id="237" name="Group 236"/>
          <p:cNvGrpSpPr/>
          <p:nvPr/>
        </p:nvGrpSpPr>
        <p:grpSpPr>
          <a:xfrm>
            <a:off x="2367488" y="1269455"/>
            <a:ext cx="1769294" cy="5074482"/>
            <a:chOff x="2414961" y="1294414"/>
            <a:chExt cx="1804772" cy="5176236"/>
          </a:xfrm>
        </p:grpSpPr>
        <p:sp>
          <p:nvSpPr>
            <p:cNvPr id="141" name="Rectangle 140"/>
            <p:cNvSpPr/>
            <p:nvPr/>
          </p:nvSpPr>
          <p:spPr bwMode="auto">
            <a:xfrm>
              <a:off x="2418365" y="2020446"/>
              <a:ext cx="1801368" cy="445020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spcBef>
                  <a:spcPct val="0"/>
                </a:spcBef>
                <a:spcAft>
                  <a:spcPct val="0"/>
                </a:spcAft>
              </a:pPr>
              <a:endParaRPr lang="en-US" sz="1961" dirty="0" err="1">
                <a:gradFill>
                  <a:gsLst>
                    <a:gs pos="0">
                      <a:srgbClr val="FFFFFF"/>
                    </a:gs>
                    <a:gs pos="100000">
                      <a:srgbClr val="FFFFFF"/>
                    </a:gs>
                  </a:gsLst>
                  <a:lin ang="5400000" scaled="1"/>
                </a:gradFill>
                <a:ea typeface="Segoe UI" pitchFamily="34" charset="0"/>
                <a:cs typeface="Segoe UI" pitchFamily="34" charset="0"/>
              </a:endParaRPr>
            </a:p>
          </p:txBody>
        </p:sp>
        <p:sp>
          <p:nvSpPr>
            <p:cNvPr id="139" name="Rectangle 138"/>
            <p:cNvSpPr/>
            <p:nvPr/>
          </p:nvSpPr>
          <p:spPr bwMode="auto">
            <a:xfrm>
              <a:off x="2414961" y="1294414"/>
              <a:ext cx="1804772" cy="73131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89642" rIns="89642" bIns="44821" numCol="1" spcCol="0" rtlCol="0" fromWordArt="0" anchor="t" anchorCtr="0" forceAA="0" compatLnSpc="1">
              <a:prstTxWarp prst="textNoShape">
                <a:avLst/>
              </a:prstTxWarp>
              <a:noAutofit/>
            </a:bodyPr>
            <a:lstStyle/>
            <a:p>
              <a:pPr defTabSz="913751"/>
              <a:r>
                <a:rPr lang="en-US" sz="1765" dirty="0">
                  <a:solidFill>
                    <a:srgbClr val="FFFFFF"/>
                  </a:solidFill>
                  <a:ea typeface="Segoe UI" pitchFamily="34" charset="0"/>
                  <a:cs typeface="Segoe UI" pitchFamily="34" charset="0"/>
                </a:rPr>
                <a:t>Collection</a:t>
              </a:r>
            </a:p>
          </p:txBody>
        </p:sp>
      </p:grpSp>
      <p:grpSp>
        <p:nvGrpSpPr>
          <p:cNvPr id="241" name="Group 240"/>
          <p:cNvGrpSpPr/>
          <p:nvPr/>
        </p:nvGrpSpPr>
        <p:grpSpPr>
          <a:xfrm>
            <a:off x="9978644" y="1269455"/>
            <a:ext cx="1769294" cy="5073237"/>
            <a:chOff x="10178736" y="1294414"/>
            <a:chExt cx="1804772" cy="5174966"/>
          </a:xfrm>
        </p:grpSpPr>
        <p:sp>
          <p:nvSpPr>
            <p:cNvPr id="145" name="Rectangle 144"/>
            <p:cNvSpPr/>
            <p:nvPr/>
          </p:nvSpPr>
          <p:spPr bwMode="auto">
            <a:xfrm>
              <a:off x="10182140" y="2019176"/>
              <a:ext cx="1801368" cy="445020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spcBef>
                  <a:spcPct val="0"/>
                </a:spcBef>
                <a:spcAft>
                  <a:spcPct val="0"/>
                </a:spcAft>
              </a:pPr>
              <a:endParaRPr lang="en-US" sz="1961" dirty="0" err="1">
                <a:gradFill>
                  <a:gsLst>
                    <a:gs pos="0">
                      <a:srgbClr val="FFFFFF"/>
                    </a:gs>
                    <a:gs pos="100000">
                      <a:srgbClr val="FFFFFF"/>
                    </a:gs>
                  </a:gsLst>
                  <a:lin ang="5400000" scaled="1"/>
                </a:gradFill>
                <a:ea typeface="Segoe UI" pitchFamily="34" charset="0"/>
                <a:cs typeface="Segoe UI" pitchFamily="34" charset="0"/>
              </a:endParaRPr>
            </a:p>
          </p:txBody>
        </p:sp>
        <p:sp>
          <p:nvSpPr>
            <p:cNvPr id="132" name="Rectangle 131"/>
            <p:cNvSpPr/>
            <p:nvPr/>
          </p:nvSpPr>
          <p:spPr bwMode="auto">
            <a:xfrm>
              <a:off x="10178736" y="1294414"/>
              <a:ext cx="1804772" cy="73131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89642" rIns="89642" bIns="44821" numCol="1" spcCol="0" rtlCol="0" fromWordArt="0" anchor="t" anchorCtr="0" forceAA="0" compatLnSpc="1">
              <a:prstTxWarp prst="textNoShape">
                <a:avLst/>
              </a:prstTxWarp>
              <a:noAutofit/>
            </a:bodyPr>
            <a:lstStyle/>
            <a:p>
              <a:pPr defTabSz="913751"/>
              <a:r>
                <a:rPr lang="en-US" sz="1765" dirty="0">
                  <a:solidFill>
                    <a:srgbClr val="FFFFFF"/>
                  </a:solidFill>
                  <a:ea typeface="Segoe UI" pitchFamily="34" charset="0"/>
                  <a:cs typeface="Segoe UI" pitchFamily="34" charset="0"/>
                </a:rPr>
                <a:t>Presentation and action</a:t>
              </a:r>
            </a:p>
          </p:txBody>
        </p:sp>
      </p:grpSp>
      <p:sp>
        <p:nvSpPr>
          <p:cNvPr id="134" name="Right Arrow 133"/>
          <p:cNvSpPr/>
          <p:nvPr/>
        </p:nvSpPr>
        <p:spPr bwMode="auto">
          <a:xfrm>
            <a:off x="9733103" y="1493498"/>
            <a:ext cx="378737" cy="268851"/>
          </a:xfrm>
          <a:prstGeom prst="rightArrow">
            <a:avLst/>
          </a:prstGeom>
          <a:solidFill>
            <a:schemeClr val="accent1"/>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spcBef>
                <a:spcPct val="0"/>
              </a:spcBef>
              <a:spcAft>
                <a:spcPct val="0"/>
              </a:spcAft>
            </a:pPr>
            <a:endParaRPr lang="en-US" sz="1961" dirty="0" err="1">
              <a:gradFill>
                <a:gsLst>
                  <a:gs pos="0">
                    <a:srgbClr val="FFFFFF"/>
                  </a:gs>
                  <a:gs pos="100000">
                    <a:srgbClr val="FFFFFF"/>
                  </a:gs>
                </a:gsLst>
                <a:lin ang="5400000" scaled="1"/>
              </a:gradFill>
              <a:ea typeface="Segoe UI" pitchFamily="34" charset="0"/>
              <a:cs typeface="Segoe UI" pitchFamily="34" charset="0"/>
            </a:endParaRPr>
          </a:p>
        </p:txBody>
      </p:sp>
      <p:grpSp>
        <p:nvGrpSpPr>
          <p:cNvPr id="238" name="Group 237"/>
          <p:cNvGrpSpPr/>
          <p:nvPr/>
        </p:nvGrpSpPr>
        <p:grpSpPr>
          <a:xfrm>
            <a:off x="4277327" y="1269455"/>
            <a:ext cx="1769294" cy="5074482"/>
            <a:chOff x="4363096" y="1294414"/>
            <a:chExt cx="1804772" cy="5176236"/>
          </a:xfrm>
        </p:grpSpPr>
        <p:sp>
          <p:nvSpPr>
            <p:cNvPr id="142" name="Rectangle 141"/>
            <p:cNvSpPr/>
            <p:nvPr/>
          </p:nvSpPr>
          <p:spPr bwMode="auto">
            <a:xfrm>
              <a:off x="4366500" y="2020446"/>
              <a:ext cx="1801368" cy="445020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spcBef>
                  <a:spcPct val="0"/>
                </a:spcBef>
                <a:spcAft>
                  <a:spcPct val="0"/>
                </a:spcAft>
              </a:pPr>
              <a:endParaRPr lang="en-US" sz="1961" dirty="0" err="1">
                <a:gradFill>
                  <a:gsLst>
                    <a:gs pos="0">
                      <a:srgbClr val="FFFFFF"/>
                    </a:gs>
                    <a:gs pos="100000">
                      <a:srgbClr val="FFFFFF"/>
                    </a:gs>
                  </a:gsLst>
                  <a:lin ang="5400000" scaled="1"/>
                </a:gradFill>
                <a:ea typeface="Segoe UI" pitchFamily="34" charset="0"/>
                <a:cs typeface="Segoe UI" pitchFamily="34" charset="0"/>
              </a:endParaRPr>
            </a:p>
          </p:txBody>
        </p:sp>
        <p:sp>
          <p:nvSpPr>
            <p:cNvPr id="136" name="Rectangle 135"/>
            <p:cNvSpPr/>
            <p:nvPr/>
          </p:nvSpPr>
          <p:spPr bwMode="auto">
            <a:xfrm>
              <a:off x="4363096" y="1294414"/>
              <a:ext cx="1804772" cy="73131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89642" rIns="89642" bIns="44821" numCol="1" spcCol="0" rtlCol="0" fromWordArt="0" anchor="t" anchorCtr="0" forceAA="0" compatLnSpc="1">
              <a:prstTxWarp prst="textNoShape">
                <a:avLst/>
              </a:prstTxWarp>
              <a:noAutofit/>
            </a:bodyPr>
            <a:lstStyle/>
            <a:p>
              <a:pPr defTabSz="913751"/>
              <a:r>
                <a:rPr lang="en-US" sz="1765" dirty="0">
                  <a:solidFill>
                    <a:srgbClr val="FFFFFF"/>
                  </a:solidFill>
                  <a:ea typeface="Segoe UI" pitchFamily="34" charset="0"/>
                  <a:cs typeface="Segoe UI" pitchFamily="34" charset="0"/>
                </a:rPr>
                <a:t>Event Queuing System</a:t>
              </a:r>
            </a:p>
          </p:txBody>
        </p:sp>
      </p:grpSp>
      <p:grpSp>
        <p:nvGrpSpPr>
          <p:cNvPr id="240" name="Group 239"/>
          <p:cNvGrpSpPr/>
          <p:nvPr/>
        </p:nvGrpSpPr>
        <p:grpSpPr>
          <a:xfrm>
            <a:off x="8097005" y="1269455"/>
            <a:ext cx="1769294" cy="5073237"/>
            <a:chOff x="8259366" y="1294414"/>
            <a:chExt cx="1804772" cy="5174966"/>
          </a:xfrm>
        </p:grpSpPr>
        <p:sp>
          <p:nvSpPr>
            <p:cNvPr id="144" name="Rectangle 143"/>
            <p:cNvSpPr/>
            <p:nvPr/>
          </p:nvSpPr>
          <p:spPr bwMode="auto">
            <a:xfrm>
              <a:off x="8262770" y="2019176"/>
              <a:ext cx="1801368" cy="445020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spcBef>
                  <a:spcPct val="0"/>
                </a:spcBef>
                <a:spcAft>
                  <a:spcPct val="0"/>
                </a:spcAft>
              </a:pPr>
              <a:endParaRPr lang="en-US" sz="1961" dirty="0" err="1">
                <a:gradFill>
                  <a:gsLst>
                    <a:gs pos="0">
                      <a:srgbClr val="FFFFFF"/>
                    </a:gs>
                    <a:gs pos="100000">
                      <a:srgbClr val="FFFFFF"/>
                    </a:gs>
                  </a:gsLst>
                  <a:lin ang="5400000" scaled="1"/>
                </a:gradFill>
                <a:ea typeface="Segoe UI" pitchFamily="34" charset="0"/>
                <a:cs typeface="Segoe UI" pitchFamily="34" charset="0"/>
              </a:endParaRPr>
            </a:p>
          </p:txBody>
        </p:sp>
        <p:sp>
          <p:nvSpPr>
            <p:cNvPr id="131" name="Rectangle 130"/>
            <p:cNvSpPr/>
            <p:nvPr/>
          </p:nvSpPr>
          <p:spPr bwMode="auto">
            <a:xfrm>
              <a:off x="8259366" y="1294414"/>
              <a:ext cx="1804772" cy="73131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89642" rIns="89642" bIns="44821" numCol="1" spcCol="0" rtlCol="0" fromWordArt="0" anchor="t" anchorCtr="0" forceAA="0" compatLnSpc="1">
              <a:prstTxWarp prst="textNoShape">
                <a:avLst/>
              </a:prstTxWarp>
              <a:noAutofit/>
            </a:bodyPr>
            <a:lstStyle/>
            <a:p>
              <a:pPr defTabSz="913751"/>
              <a:r>
                <a:rPr lang="en-US" sz="1765" dirty="0">
                  <a:solidFill>
                    <a:srgbClr val="FFFFFF"/>
                  </a:solidFill>
                  <a:ea typeface="Segoe UI" pitchFamily="34" charset="0"/>
                  <a:cs typeface="Segoe UI" pitchFamily="34" charset="0"/>
                </a:rPr>
                <a:t>Long-term storage</a:t>
              </a:r>
            </a:p>
          </p:txBody>
        </p:sp>
      </p:grpSp>
      <p:sp>
        <p:nvSpPr>
          <p:cNvPr id="137" name="Right Arrow 136"/>
          <p:cNvSpPr/>
          <p:nvPr/>
        </p:nvSpPr>
        <p:spPr bwMode="auto">
          <a:xfrm>
            <a:off x="4003587" y="1493498"/>
            <a:ext cx="406937" cy="268851"/>
          </a:xfrm>
          <a:prstGeom prst="rightArrow">
            <a:avLst/>
          </a:prstGeom>
          <a:solidFill>
            <a:schemeClr val="accent1"/>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spcBef>
                <a:spcPct val="0"/>
              </a:spcBef>
              <a:spcAft>
                <a:spcPct val="0"/>
              </a:spcAft>
            </a:pPr>
            <a:endParaRPr lang="en-US" sz="1961" dirty="0" err="1">
              <a:gradFill>
                <a:gsLst>
                  <a:gs pos="0">
                    <a:srgbClr val="FFFFFF"/>
                  </a:gs>
                  <a:gs pos="100000">
                    <a:srgbClr val="FFFFFF"/>
                  </a:gs>
                </a:gsLst>
                <a:lin ang="5400000" scaled="1"/>
              </a:gradFill>
              <a:ea typeface="Segoe UI" pitchFamily="34" charset="0"/>
              <a:cs typeface="Segoe UI" pitchFamily="34" charset="0"/>
            </a:endParaRPr>
          </a:p>
        </p:txBody>
      </p:sp>
      <p:sp>
        <p:nvSpPr>
          <p:cNvPr id="4" name="Title 3"/>
          <p:cNvSpPr>
            <a:spLocks noGrp="1"/>
          </p:cNvSpPr>
          <p:nvPr>
            <p:ph type="title"/>
          </p:nvPr>
        </p:nvSpPr>
        <p:spPr/>
        <p:txBody>
          <a:bodyPr/>
          <a:lstStyle/>
          <a:p>
            <a:r>
              <a:rPr lang="en-US" dirty="0"/>
              <a:t>Apache Storm and Event Hubs</a:t>
            </a:r>
          </a:p>
        </p:txBody>
      </p:sp>
      <p:sp>
        <p:nvSpPr>
          <p:cNvPr id="133" name="Left-Right Arrow 132"/>
          <p:cNvSpPr/>
          <p:nvPr/>
        </p:nvSpPr>
        <p:spPr bwMode="auto">
          <a:xfrm>
            <a:off x="7823264" y="1493498"/>
            <a:ext cx="406937" cy="268851"/>
          </a:xfrm>
          <a:prstGeom prst="leftRightArrow">
            <a:avLst/>
          </a:prstGeom>
          <a:solidFill>
            <a:schemeClr val="accent1"/>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spcBef>
                <a:spcPct val="0"/>
              </a:spcBef>
              <a:spcAft>
                <a:spcPct val="0"/>
              </a:spcAft>
            </a:pPr>
            <a:endParaRPr lang="en-US" sz="1961" dirty="0" err="1">
              <a:gradFill>
                <a:gsLst>
                  <a:gs pos="0">
                    <a:srgbClr val="FFFFFF"/>
                  </a:gs>
                  <a:gs pos="100000">
                    <a:srgbClr val="FFFFFF"/>
                  </a:gs>
                </a:gsLst>
                <a:lin ang="5400000" scaled="1"/>
              </a:gradFill>
              <a:ea typeface="Segoe UI" pitchFamily="34" charset="0"/>
              <a:cs typeface="Segoe UI" pitchFamily="34" charset="0"/>
            </a:endParaRPr>
          </a:p>
        </p:txBody>
      </p:sp>
      <p:sp>
        <p:nvSpPr>
          <p:cNvPr id="146" name="Freeform 145"/>
          <p:cNvSpPr/>
          <p:nvPr/>
        </p:nvSpPr>
        <p:spPr bwMode="auto">
          <a:xfrm>
            <a:off x="2369074" y="1656499"/>
            <a:ext cx="7280630" cy="4753097"/>
          </a:xfrm>
          <a:custGeom>
            <a:avLst/>
            <a:gdLst>
              <a:gd name="connsiteX0" fmla="*/ 982980 w 2735580"/>
              <a:gd name="connsiteY0" fmla="*/ 0 h 1775460"/>
              <a:gd name="connsiteX1" fmla="*/ 2712720 w 2735580"/>
              <a:gd name="connsiteY1" fmla="*/ 495300 h 1775460"/>
              <a:gd name="connsiteX2" fmla="*/ 2735580 w 2735580"/>
              <a:gd name="connsiteY2" fmla="*/ 1394460 h 1775460"/>
              <a:gd name="connsiteX3" fmla="*/ 2164080 w 2735580"/>
              <a:gd name="connsiteY3" fmla="*/ 1615440 h 1775460"/>
              <a:gd name="connsiteX4" fmla="*/ 1356360 w 2735580"/>
              <a:gd name="connsiteY4" fmla="*/ 1775460 h 1775460"/>
              <a:gd name="connsiteX5" fmla="*/ 152400 w 2735580"/>
              <a:gd name="connsiteY5" fmla="*/ 1485900 h 1775460"/>
              <a:gd name="connsiteX6" fmla="*/ 0 w 2735580"/>
              <a:gd name="connsiteY6" fmla="*/ 571500 h 1775460"/>
              <a:gd name="connsiteX7" fmla="*/ 982980 w 2735580"/>
              <a:gd name="connsiteY7" fmla="*/ 0 h 1775460"/>
              <a:gd name="connsiteX0" fmla="*/ 982980 w 2735580"/>
              <a:gd name="connsiteY0" fmla="*/ 198997 h 1974457"/>
              <a:gd name="connsiteX1" fmla="*/ 2712720 w 2735580"/>
              <a:gd name="connsiteY1" fmla="*/ 694297 h 1974457"/>
              <a:gd name="connsiteX2" fmla="*/ 2735580 w 2735580"/>
              <a:gd name="connsiteY2" fmla="*/ 1593457 h 1974457"/>
              <a:gd name="connsiteX3" fmla="*/ 2164080 w 2735580"/>
              <a:gd name="connsiteY3" fmla="*/ 1814437 h 1974457"/>
              <a:gd name="connsiteX4" fmla="*/ 1356360 w 2735580"/>
              <a:gd name="connsiteY4" fmla="*/ 1974457 h 1974457"/>
              <a:gd name="connsiteX5" fmla="*/ 152400 w 2735580"/>
              <a:gd name="connsiteY5" fmla="*/ 1684897 h 1974457"/>
              <a:gd name="connsiteX6" fmla="*/ 0 w 2735580"/>
              <a:gd name="connsiteY6" fmla="*/ 770497 h 1974457"/>
              <a:gd name="connsiteX7" fmla="*/ 982980 w 2735580"/>
              <a:gd name="connsiteY7" fmla="*/ 198997 h 1974457"/>
              <a:gd name="connsiteX0" fmla="*/ 1028864 w 2781464"/>
              <a:gd name="connsiteY0" fmla="*/ 211861 h 1987321"/>
              <a:gd name="connsiteX1" fmla="*/ 2758604 w 2781464"/>
              <a:gd name="connsiteY1" fmla="*/ 707161 h 1987321"/>
              <a:gd name="connsiteX2" fmla="*/ 2781464 w 2781464"/>
              <a:gd name="connsiteY2" fmla="*/ 1606321 h 1987321"/>
              <a:gd name="connsiteX3" fmla="*/ 2209964 w 2781464"/>
              <a:gd name="connsiteY3" fmla="*/ 1827301 h 1987321"/>
              <a:gd name="connsiteX4" fmla="*/ 1402244 w 2781464"/>
              <a:gd name="connsiteY4" fmla="*/ 1987321 h 1987321"/>
              <a:gd name="connsiteX5" fmla="*/ 198284 w 2781464"/>
              <a:gd name="connsiteY5" fmla="*/ 1697761 h 1987321"/>
              <a:gd name="connsiteX6" fmla="*/ 45884 w 2781464"/>
              <a:gd name="connsiteY6" fmla="*/ 783361 h 1987321"/>
              <a:gd name="connsiteX7" fmla="*/ 1028864 w 2781464"/>
              <a:gd name="connsiteY7" fmla="*/ 211861 h 1987321"/>
              <a:gd name="connsiteX0" fmla="*/ 1022219 w 2774819"/>
              <a:gd name="connsiteY0" fmla="*/ 215060 h 1990520"/>
              <a:gd name="connsiteX1" fmla="*/ 2751959 w 2774819"/>
              <a:gd name="connsiteY1" fmla="*/ 710360 h 1990520"/>
              <a:gd name="connsiteX2" fmla="*/ 2774819 w 2774819"/>
              <a:gd name="connsiteY2" fmla="*/ 1609520 h 1990520"/>
              <a:gd name="connsiteX3" fmla="*/ 2203319 w 2774819"/>
              <a:gd name="connsiteY3" fmla="*/ 1830500 h 1990520"/>
              <a:gd name="connsiteX4" fmla="*/ 1395599 w 2774819"/>
              <a:gd name="connsiteY4" fmla="*/ 1990520 h 1990520"/>
              <a:gd name="connsiteX5" fmla="*/ 191639 w 2774819"/>
              <a:gd name="connsiteY5" fmla="*/ 1700960 h 1990520"/>
              <a:gd name="connsiteX6" fmla="*/ 39239 w 2774819"/>
              <a:gd name="connsiteY6" fmla="*/ 786560 h 1990520"/>
              <a:gd name="connsiteX7" fmla="*/ 1022219 w 2774819"/>
              <a:gd name="connsiteY7" fmla="*/ 215060 h 1990520"/>
              <a:gd name="connsiteX0" fmla="*/ 1034170 w 2786770"/>
              <a:gd name="connsiteY0" fmla="*/ 230584 h 2006044"/>
              <a:gd name="connsiteX1" fmla="*/ 2763910 w 2786770"/>
              <a:gd name="connsiteY1" fmla="*/ 725884 h 2006044"/>
              <a:gd name="connsiteX2" fmla="*/ 2786770 w 2786770"/>
              <a:gd name="connsiteY2" fmla="*/ 1625044 h 2006044"/>
              <a:gd name="connsiteX3" fmla="*/ 2215270 w 2786770"/>
              <a:gd name="connsiteY3" fmla="*/ 1846024 h 2006044"/>
              <a:gd name="connsiteX4" fmla="*/ 1407550 w 2786770"/>
              <a:gd name="connsiteY4" fmla="*/ 2006044 h 2006044"/>
              <a:gd name="connsiteX5" fmla="*/ 203590 w 2786770"/>
              <a:gd name="connsiteY5" fmla="*/ 1716484 h 2006044"/>
              <a:gd name="connsiteX6" fmla="*/ 51190 w 2786770"/>
              <a:gd name="connsiteY6" fmla="*/ 802084 h 2006044"/>
              <a:gd name="connsiteX7" fmla="*/ 1034170 w 2786770"/>
              <a:gd name="connsiteY7" fmla="*/ 230584 h 2006044"/>
              <a:gd name="connsiteX0" fmla="*/ 1033745 w 2786345"/>
              <a:gd name="connsiteY0" fmla="*/ 204508 h 1979968"/>
              <a:gd name="connsiteX1" fmla="*/ 2763485 w 2786345"/>
              <a:gd name="connsiteY1" fmla="*/ 699808 h 1979968"/>
              <a:gd name="connsiteX2" fmla="*/ 2786345 w 2786345"/>
              <a:gd name="connsiteY2" fmla="*/ 1598968 h 1979968"/>
              <a:gd name="connsiteX3" fmla="*/ 2214845 w 2786345"/>
              <a:gd name="connsiteY3" fmla="*/ 1819948 h 1979968"/>
              <a:gd name="connsiteX4" fmla="*/ 1407125 w 2786345"/>
              <a:gd name="connsiteY4" fmla="*/ 1979968 h 1979968"/>
              <a:gd name="connsiteX5" fmla="*/ 203165 w 2786345"/>
              <a:gd name="connsiteY5" fmla="*/ 1690408 h 1979968"/>
              <a:gd name="connsiteX6" fmla="*/ 50765 w 2786345"/>
              <a:gd name="connsiteY6" fmla="*/ 776008 h 1979968"/>
              <a:gd name="connsiteX7" fmla="*/ 1033745 w 2786345"/>
              <a:gd name="connsiteY7" fmla="*/ 204508 h 1979968"/>
              <a:gd name="connsiteX0" fmla="*/ 1435086 w 3187686"/>
              <a:gd name="connsiteY0" fmla="*/ 204508 h 1979968"/>
              <a:gd name="connsiteX1" fmla="*/ 3164826 w 3187686"/>
              <a:gd name="connsiteY1" fmla="*/ 699808 h 1979968"/>
              <a:gd name="connsiteX2" fmla="*/ 3187686 w 3187686"/>
              <a:gd name="connsiteY2" fmla="*/ 1598968 h 1979968"/>
              <a:gd name="connsiteX3" fmla="*/ 2616186 w 3187686"/>
              <a:gd name="connsiteY3" fmla="*/ 1819948 h 1979968"/>
              <a:gd name="connsiteX4" fmla="*/ 1808466 w 3187686"/>
              <a:gd name="connsiteY4" fmla="*/ 1979968 h 1979968"/>
              <a:gd name="connsiteX5" fmla="*/ 604506 w 3187686"/>
              <a:gd name="connsiteY5" fmla="*/ 1690408 h 1979968"/>
              <a:gd name="connsiteX6" fmla="*/ 452106 w 3187686"/>
              <a:gd name="connsiteY6" fmla="*/ 776008 h 1979968"/>
              <a:gd name="connsiteX7" fmla="*/ 1435086 w 3187686"/>
              <a:gd name="connsiteY7" fmla="*/ 204508 h 1979968"/>
              <a:gd name="connsiteX0" fmla="*/ 1558748 w 3311348"/>
              <a:gd name="connsiteY0" fmla="*/ 204508 h 1979968"/>
              <a:gd name="connsiteX1" fmla="*/ 3288488 w 3311348"/>
              <a:gd name="connsiteY1" fmla="*/ 699808 h 1979968"/>
              <a:gd name="connsiteX2" fmla="*/ 3311348 w 3311348"/>
              <a:gd name="connsiteY2" fmla="*/ 1598968 h 1979968"/>
              <a:gd name="connsiteX3" fmla="*/ 2739848 w 3311348"/>
              <a:gd name="connsiteY3" fmla="*/ 1819948 h 1979968"/>
              <a:gd name="connsiteX4" fmla="*/ 1932128 w 3311348"/>
              <a:gd name="connsiteY4" fmla="*/ 1979968 h 1979968"/>
              <a:gd name="connsiteX5" fmla="*/ 728168 w 3311348"/>
              <a:gd name="connsiteY5" fmla="*/ 1690408 h 1979968"/>
              <a:gd name="connsiteX6" fmla="*/ 575768 w 3311348"/>
              <a:gd name="connsiteY6" fmla="*/ 776008 h 1979968"/>
              <a:gd name="connsiteX7" fmla="*/ 1558748 w 3311348"/>
              <a:gd name="connsiteY7" fmla="*/ 204508 h 1979968"/>
              <a:gd name="connsiteX0" fmla="*/ 1525623 w 3278223"/>
              <a:gd name="connsiteY0" fmla="*/ 204508 h 1979968"/>
              <a:gd name="connsiteX1" fmla="*/ 3255363 w 3278223"/>
              <a:gd name="connsiteY1" fmla="*/ 699808 h 1979968"/>
              <a:gd name="connsiteX2" fmla="*/ 3278223 w 3278223"/>
              <a:gd name="connsiteY2" fmla="*/ 1598968 h 1979968"/>
              <a:gd name="connsiteX3" fmla="*/ 2706723 w 3278223"/>
              <a:gd name="connsiteY3" fmla="*/ 1819948 h 1979968"/>
              <a:gd name="connsiteX4" fmla="*/ 1899003 w 3278223"/>
              <a:gd name="connsiteY4" fmla="*/ 1979968 h 1979968"/>
              <a:gd name="connsiteX5" fmla="*/ 695043 w 3278223"/>
              <a:gd name="connsiteY5" fmla="*/ 1690408 h 1979968"/>
              <a:gd name="connsiteX6" fmla="*/ 542643 w 3278223"/>
              <a:gd name="connsiteY6" fmla="*/ 776008 h 1979968"/>
              <a:gd name="connsiteX7" fmla="*/ 1525623 w 3278223"/>
              <a:gd name="connsiteY7" fmla="*/ 204508 h 1979968"/>
              <a:gd name="connsiteX0" fmla="*/ 1472866 w 3225466"/>
              <a:gd name="connsiteY0" fmla="*/ 204508 h 1979968"/>
              <a:gd name="connsiteX1" fmla="*/ 3202606 w 3225466"/>
              <a:gd name="connsiteY1" fmla="*/ 699808 h 1979968"/>
              <a:gd name="connsiteX2" fmla="*/ 3225466 w 3225466"/>
              <a:gd name="connsiteY2" fmla="*/ 1598968 h 1979968"/>
              <a:gd name="connsiteX3" fmla="*/ 2653966 w 3225466"/>
              <a:gd name="connsiteY3" fmla="*/ 1819948 h 1979968"/>
              <a:gd name="connsiteX4" fmla="*/ 1846246 w 3225466"/>
              <a:gd name="connsiteY4" fmla="*/ 1979968 h 1979968"/>
              <a:gd name="connsiteX5" fmla="*/ 642286 w 3225466"/>
              <a:gd name="connsiteY5" fmla="*/ 1690408 h 1979968"/>
              <a:gd name="connsiteX6" fmla="*/ 489886 w 3225466"/>
              <a:gd name="connsiteY6" fmla="*/ 776008 h 1979968"/>
              <a:gd name="connsiteX7" fmla="*/ 1472866 w 3225466"/>
              <a:gd name="connsiteY7" fmla="*/ 204508 h 1979968"/>
              <a:gd name="connsiteX0" fmla="*/ 1523936 w 3276536"/>
              <a:gd name="connsiteY0" fmla="*/ 204508 h 1979968"/>
              <a:gd name="connsiteX1" fmla="*/ 3253676 w 3276536"/>
              <a:gd name="connsiteY1" fmla="*/ 699808 h 1979968"/>
              <a:gd name="connsiteX2" fmla="*/ 3276536 w 3276536"/>
              <a:gd name="connsiteY2" fmla="*/ 1598968 h 1979968"/>
              <a:gd name="connsiteX3" fmla="*/ 2705036 w 3276536"/>
              <a:gd name="connsiteY3" fmla="*/ 1819948 h 1979968"/>
              <a:gd name="connsiteX4" fmla="*/ 1897316 w 3276536"/>
              <a:gd name="connsiteY4" fmla="*/ 1979968 h 1979968"/>
              <a:gd name="connsiteX5" fmla="*/ 693356 w 3276536"/>
              <a:gd name="connsiteY5" fmla="*/ 1690408 h 1979968"/>
              <a:gd name="connsiteX6" fmla="*/ 540956 w 3276536"/>
              <a:gd name="connsiteY6" fmla="*/ 776008 h 1979968"/>
              <a:gd name="connsiteX7" fmla="*/ 1523936 w 3276536"/>
              <a:gd name="connsiteY7" fmla="*/ 204508 h 1979968"/>
              <a:gd name="connsiteX0" fmla="*/ 1523936 w 3276536"/>
              <a:gd name="connsiteY0" fmla="*/ 204508 h 2211379"/>
              <a:gd name="connsiteX1" fmla="*/ 3253676 w 3276536"/>
              <a:gd name="connsiteY1" fmla="*/ 699808 h 2211379"/>
              <a:gd name="connsiteX2" fmla="*/ 3276536 w 3276536"/>
              <a:gd name="connsiteY2" fmla="*/ 1598968 h 2211379"/>
              <a:gd name="connsiteX3" fmla="*/ 2705036 w 3276536"/>
              <a:gd name="connsiteY3" fmla="*/ 1819948 h 2211379"/>
              <a:gd name="connsiteX4" fmla="*/ 1897316 w 3276536"/>
              <a:gd name="connsiteY4" fmla="*/ 1979968 h 2211379"/>
              <a:gd name="connsiteX5" fmla="*/ 693356 w 3276536"/>
              <a:gd name="connsiteY5" fmla="*/ 1690408 h 2211379"/>
              <a:gd name="connsiteX6" fmla="*/ 540956 w 3276536"/>
              <a:gd name="connsiteY6" fmla="*/ 776008 h 2211379"/>
              <a:gd name="connsiteX7" fmla="*/ 1523936 w 3276536"/>
              <a:gd name="connsiteY7" fmla="*/ 204508 h 2211379"/>
              <a:gd name="connsiteX0" fmla="*/ 1523936 w 3276536"/>
              <a:gd name="connsiteY0" fmla="*/ 204508 h 2307909"/>
              <a:gd name="connsiteX1" fmla="*/ 3253676 w 3276536"/>
              <a:gd name="connsiteY1" fmla="*/ 699808 h 2307909"/>
              <a:gd name="connsiteX2" fmla="*/ 3276536 w 3276536"/>
              <a:gd name="connsiteY2" fmla="*/ 1598968 h 2307909"/>
              <a:gd name="connsiteX3" fmla="*/ 2705036 w 3276536"/>
              <a:gd name="connsiteY3" fmla="*/ 1819948 h 2307909"/>
              <a:gd name="connsiteX4" fmla="*/ 1897316 w 3276536"/>
              <a:gd name="connsiteY4" fmla="*/ 1979968 h 2307909"/>
              <a:gd name="connsiteX5" fmla="*/ 693356 w 3276536"/>
              <a:gd name="connsiteY5" fmla="*/ 1690408 h 2307909"/>
              <a:gd name="connsiteX6" fmla="*/ 540956 w 3276536"/>
              <a:gd name="connsiteY6" fmla="*/ 776008 h 2307909"/>
              <a:gd name="connsiteX7" fmla="*/ 1523936 w 3276536"/>
              <a:gd name="connsiteY7" fmla="*/ 204508 h 2307909"/>
              <a:gd name="connsiteX0" fmla="*/ 1523936 w 3276536"/>
              <a:gd name="connsiteY0" fmla="*/ 204508 h 2218102"/>
              <a:gd name="connsiteX1" fmla="*/ 3253676 w 3276536"/>
              <a:gd name="connsiteY1" fmla="*/ 699808 h 2218102"/>
              <a:gd name="connsiteX2" fmla="*/ 3276536 w 3276536"/>
              <a:gd name="connsiteY2" fmla="*/ 1598968 h 2218102"/>
              <a:gd name="connsiteX3" fmla="*/ 2705036 w 3276536"/>
              <a:gd name="connsiteY3" fmla="*/ 1819948 h 2218102"/>
              <a:gd name="connsiteX4" fmla="*/ 1897316 w 3276536"/>
              <a:gd name="connsiteY4" fmla="*/ 1979968 h 2218102"/>
              <a:gd name="connsiteX5" fmla="*/ 693356 w 3276536"/>
              <a:gd name="connsiteY5" fmla="*/ 1690408 h 2218102"/>
              <a:gd name="connsiteX6" fmla="*/ 540956 w 3276536"/>
              <a:gd name="connsiteY6" fmla="*/ 776008 h 2218102"/>
              <a:gd name="connsiteX7" fmla="*/ 1523936 w 3276536"/>
              <a:gd name="connsiteY7" fmla="*/ 204508 h 2218102"/>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661818"/>
              <a:gd name="connsiteY0" fmla="*/ 204508 h 2244106"/>
              <a:gd name="connsiteX1" fmla="*/ 3253676 w 3661818"/>
              <a:gd name="connsiteY1" fmla="*/ 699808 h 2244106"/>
              <a:gd name="connsiteX2" fmla="*/ 3276536 w 3661818"/>
              <a:gd name="connsiteY2" fmla="*/ 1598968 h 2244106"/>
              <a:gd name="connsiteX3" fmla="*/ 2705036 w 3661818"/>
              <a:gd name="connsiteY3" fmla="*/ 1819948 h 2244106"/>
              <a:gd name="connsiteX4" fmla="*/ 1897316 w 3661818"/>
              <a:gd name="connsiteY4" fmla="*/ 1979968 h 2244106"/>
              <a:gd name="connsiteX5" fmla="*/ 693356 w 3661818"/>
              <a:gd name="connsiteY5" fmla="*/ 1690408 h 2244106"/>
              <a:gd name="connsiteX6" fmla="*/ 540956 w 3661818"/>
              <a:gd name="connsiteY6" fmla="*/ 776008 h 2244106"/>
              <a:gd name="connsiteX7" fmla="*/ 1523936 w 366181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80928" h="2533632">
                <a:moveTo>
                  <a:pt x="1523936" y="494034"/>
                </a:moveTo>
                <a:cubicBezTo>
                  <a:pt x="2062416" y="-430526"/>
                  <a:pt x="3332416" y="62234"/>
                  <a:pt x="3253676" y="989334"/>
                </a:cubicBezTo>
                <a:cubicBezTo>
                  <a:pt x="4015676" y="778514"/>
                  <a:pt x="4152836" y="1985014"/>
                  <a:pt x="3276536" y="1888494"/>
                </a:cubicBezTo>
                <a:cubicBezTo>
                  <a:pt x="3223196" y="2099314"/>
                  <a:pt x="3002216" y="2302514"/>
                  <a:pt x="2705036" y="2109474"/>
                </a:cubicBezTo>
                <a:cubicBezTo>
                  <a:pt x="2611056" y="2353314"/>
                  <a:pt x="2296096" y="2642874"/>
                  <a:pt x="1897316" y="2269494"/>
                </a:cubicBezTo>
                <a:cubicBezTo>
                  <a:pt x="1739836" y="2553974"/>
                  <a:pt x="927036" y="2785114"/>
                  <a:pt x="693356" y="1979934"/>
                </a:cubicBezTo>
                <a:cubicBezTo>
                  <a:pt x="-43244" y="2299974"/>
                  <a:pt x="-337884" y="1057914"/>
                  <a:pt x="540956" y="1065534"/>
                </a:cubicBezTo>
                <a:cubicBezTo>
                  <a:pt x="304736" y="669294"/>
                  <a:pt x="937196" y="-69846"/>
                  <a:pt x="1523936" y="494034"/>
                </a:cubicBezTo>
                <a:close/>
              </a:path>
            </a:pathLst>
          </a:custGeom>
          <a:solidFill>
            <a:schemeClr val="bg1">
              <a:alpha val="76000"/>
            </a:schemeClr>
          </a:solidFill>
          <a:ln w="9525" cap="flat" cmpd="sng" algn="ctr">
            <a:noFill/>
            <a:prstDash val="solid"/>
            <a:headEnd type="none" w="med" len="med"/>
            <a:tailEnd type="none" w="med" len="med"/>
          </a:ln>
          <a:effectLst/>
        </p:spPr>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defRPr/>
            </a:pPr>
            <a:endParaRPr lang="en-US" sz="1765" kern="0" dirty="0" err="1">
              <a:solidFill>
                <a:srgbClr val="505050"/>
              </a:solidFill>
              <a:ea typeface="Segoe UI" pitchFamily="34" charset="0"/>
              <a:cs typeface="Segoe UI" pitchFamily="34" charset="0"/>
            </a:endParaRPr>
          </a:p>
        </p:txBody>
      </p:sp>
      <p:grpSp>
        <p:nvGrpSpPr>
          <p:cNvPr id="233" name="Group 232"/>
          <p:cNvGrpSpPr/>
          <p:nvPr/>
        </p:nvGrpSpPr>
        <p:grpSpPr>
          <a:xfrm>
            <a:off x="10172839" y="2194299"/>
            <a:ext cx="1452561" cy="3999445"/>
            <a:chOff x="10376825" y="2237803"/>
            <a:chExt cx="1481688" cy="4079642"/>
          </a:xfrm>
        </p:grpSpPr>
        <p:grpSp>
          <p:nvGrpSpPr>
            <p:cNvPr id="23" name="Group 22"/>
            <p:cNvGrpSpPr/>
            <p:nvPr/>
          </p:nvGrpSpPr>
          <p:grpSpPr>
            <a:xfrm>
              <a:off x="10488761" y="3365781"/>
              <a:ext cx="1257816" cy="664891"/>
              <a:chOff x="10572234" y="3133565"/>
              <a:chExt cx="1257816" cy="664891"/>
            </a:xfrm>
          </p:grpSpPr>
          <p:sp>
            <p:nvSpPr>
              <p:cNvPr id="209" name="Freeform 8"/>
              <p:cNvSpPr>
                <a:spLocks noChangeAspect="1" noEditPoints="1"/>
              </p:cNvSpPr>
              <p:nvPr/>
            </p:nvSpPr>
            <p:spPr bwMode="black">
              <a:xfrm>
                <a:off x="11011316" y="3133565"/>
                <a:ext cx="379652" cy="379554"/>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chemeClr val="accent1"/>
              </a:solidFill>
              <a:ln>
                <a:noFill/>
              </a:ln>
            </p:spPr>
            <p:txBody>
              <a:bodyPr vert="horz" wrap="square" lIns="80664" tIns="40332" rIns="80664" bIns="40332" numCol="1" anchor="t" anchorCtr="0" compatLnSpc="1">
                <a:prstTxWarp prst="textNoShape">
                  <a:avLst/>
                </a:prstTxWarp>
              </a:bodyPr>
              <a:lstStyle/>
              <a:p>
                <a:pPr defTabSz="914367"/>
                <a:endParaRPr lang="en-US" sz="1567" dirty="0">
                  <a:solidFill>
                    <a:srgbClr val="000000"/>
                  </a:solidFill>
                </a:endParaRPr>
              </a:p>
            </p:txBody>
          </p:sp>
          <p:sp>
            <p:nvSpPr>
              <p:cNvPr id="210" name="TextBox 209"/>
              <p:cNvSpPr txBox="1"/>
              <p:nvPr/>
            </p:nvSpPr>
            <p:spPr>
              <a:xfrm>
                <a:off x="10572234" y="3613790"/>
                <a:ext cx="1257816" cy="184666"/>
              </a:xfrm>
              <a:prstGeom prst="rect">
                <a:avLst/>
              </a:prstGeom>
              <a:noFill/>
            </p:spPr>
            <p:txBody>
              <a:bodyPr wrap="squar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914367">
                  <a:lnSpc>
                    <a:spcPct val="100000"/>
                  </a:lnSpc>
                </a:pPr>
                <a:r>
                  <a:rPr lang="en-US" sz="1176" dirty="0">
                    <a:solidFill>
                      <a:srgbClr val="505050"/>
                    </a:solidFill>
                  </a:rPr>
                  <a:t>Search and query</a:t>
                </a:r>
              </a:p>
            </p:txBody>
          </p:sp>
        </p:grpSp>
        <p:grpSp>
          <p:nvGrpSpPr>
            <p:cNvPr id="25" name="Group 24"/>
            <p:cNvGrpSpPr/>
            <p:nvPr/>
          </p:nvGrpSpPr>
          <p:grpSpPr>
            <a:xfrm>
              <a:off x="10409768" y="4378899"/>
              <a:ext cx="1406373" cy="696278"/>
              <a:chOff x="10452140" y="4322614"/>
              <a:chExt cx="1406373" cy="696278"/>
            </a:xfrm>
          </p:grpSpPr>
          <p:sp>
            <p:nvSpPr>
              <p:cNvPr id="211" name="Freeform 32"/>
              <p:cNvSpPr>
                <a:spLocks noEditPoints="1"/>
              </p:cNvSpPr>
              <p:nvPr/>
            </p:nvSpPr>
            <p:spPr bwMode="auto">
              <a:xfrm>
                <a:off x="10924197" y="4322614"/>
                <a:ext cx="462258" cy="439992"/>
              </a:xfrm>
              <a:custGeom>
                <a:avLst/>
                <a:gdLst>
                  <a:gd name="T0" fmla="*/ 1210 w 2135"/>
                  <a:gd name="T1" fmla="*/ 204 h 2030"/>
                  <a:gd name="T2" fmla="*/ 2029 w 2135"/>
                  <a:gd name="T3" fmla="*/ 204 h 2030"/>
                  <a:gd name="T4" fmla="*/ 2135 w 2135"/>
                  <a:gd name="T5" fmla="*/ 302 h 2030"/>
                  <a:gd name="T6" fmla="*/ 2135 w 2135"/>
                  <a:gd name="T7" fmla="*/ 1724 h 2030"/>
                  <a:gd name="T8" fmla="*/ 2033 w 2135"/>
                  <a:gd name="T9" fmla="*/ 1826 h 2030"/>
                  <a:gd name="T10" fmla="*/ 1218 w 2135"/>
                  <a:gd name="T11" fmla="*/ 1825 h 2030"/>
                  <a:gd name="T12" fmla="*/ 1211 w 2135"/>
                  <a:gd name="T13" fmla="*/ 2030 h 2030"/>
                  <a:gd name="T14" fmla="*/ 967 w 2135"/>
                  <a:gd name="T15" fmla="*/ 1984 h 2030"/>
                  <a:gd name="T16" fmla="*/ 508 w 2135"/>
                  <a:gd name="T17" fmla="*/ 1897 h 2030"/>
                  <a:gd name="T18" fmla="*/ 6 w 2135"/>
                  <a:gd name="T19" fmla="*/ 1803 h 2030"/>
                  <a:gd name="T20" fmla="*/ 1 w 2135"/>
                  <a:gd name="T21" fmla="*/ 1717 h 2030"/>
                  <a:gd name="T22" fmla="*/ 9 w 2135"/>
                  <a:gd name="T23" fmla="*/ 226 h 2030"/>
                  <a:gd name="T24" fmla="*/ 630 w 2135"/>
                  <a:gd name="T25" fmla="*/ 109 h 2030"/>
                  <a:gd name="T26" fmla="*/ 1204 w 2135"/>
                  <a:gd name="T27" fmla="*/ 1 h 2030"/>
                  <a:gd name="T28" fmla="*/ 1211 w 2135"/>
                  <a:gd name="T29" fmla="*/ 1181 h 2030"/>
                  <a:gd name="T30" fmla="*/ 1505 w 2135"/>
                  <a:gd name="T31" fmla="*/ 1364 h 2030"/>
                  <a:gd name="T32" fmla="*/ 1211 w 2135"/>
                  <a:gd name="T33" fmla="*/ 1429 h 2030"/>
                  <a:gd name="T34" fmla="*/ 1503 w 2135"/>
                  <a:gd name="T35" fmla="*/ 1613 h 2030"/>
                  <a:gd name="T36" fmla="*/ 1211 w 2135"/>
                  <a:gd name="T37" fmla="*/ 1743 h 2030"/>
                  <a:gd name="T38" fmla="*/ 2050 w 2135"/>
                  <a:gd name="T39" fmla="*/ 286 h 2030"/>
                  <a:gd name="T40" fmla="*/ 1211 w 2135"/>
                  <a:gd name="T41" fmla="*/ 417 h 2030"/>
                  <a:gd name="T42" fmla="*/ 1503 w 2135"/>
                  <a:gd name="T43" fmla="*/ 601 h 2030"/>
                  <a:gd name="T44" fmla="*/ 1211 w 2135"/>
                  <a:gd name="T45" fmla="*/ 610 h 2030"/>
                  <a:gd name="T46" fmla="*/ 1219 w 2135"/>
                  <a:gd name="T47" fmla="*/ 670 h 2030"/>
                  <a:gd name="T48" fmla="*/ 1504 w 2135"/>
                  <a:gd name="T49" fmla="*/ 670 h 2030"/>
                  <a:gd name="T50" fmla="*/ 1211 w 2135"/>
                  <a:gd name="T51" fmla="*/ 854 h 2030"/>
                  <a:gd name="T52" fmla="*/ 1504 w 2135"/>
                  <a:gd name="T53" fmla="*/ 927 h 2030"/>
                  <a:gd name="T54" fmla="*/ 1211 w 2135"/>
                  <a:gd name="T55" fmla="*/ 1111 h 2030"/>
                  <a:gd name="T56" fmla="*/ 840 w 2135"/>
                  <a:gd name="T57" fmla="*/ 1361 h 2030"/>
                  <a:gd name="T58" fmla="*/ 650 w 2135"/>
                  <a:gd name="T59" fmla="*/ 1004 h 2030"/>
                  <a:gd name="T60" fmla="*/ 831 w 2135"/>
                  <a:gd name="T61" fmla="*/ 648 h 2030"/>
                  <a:gd name="T62" fmla="*/ 822 w 2135"/>
                  <a:gd name="T63" fmla="*/ 641 h 2030"/>
                  <a:gd name="T64" fmla="*/ 681 w 2135"/>
                  <a:gd name="T65" fmla="*/ 651 h 2030"/>
                  <a:gd name="T66" fmla="*/ 610 w 2135"/>
                  <a:gd name="T67" fmla="*/ 798 h 2030"/>
                  <a:gd name="T68" fmla="*/ 562 w 2135"/>
                  <a:gd name="T69" fmla="*/ 920 h 2030"/>
                  <a:gd name="T70" fmla="*/ 465 w 2135"/>
                  <a:gd name="T71" fmla="*/ 671 h 2030"/>
                  <a:gd name="T72" fmla="*/ 345 w 2135"/>
                  <a:gd name="T73" fmla="*/ 674 h 2030"/>
                  <a:gd name="T74" fmla="*/ 318 w 2135"/>
                  <a:gd name="T75" fmla="*/ 685 h 2030"/>
                  <a:gd name="T76" fmla="*/ 470 w 2135"/>
                  <a:gd name="T77" fmla="*/ 996 h 2030"/>
                  <a:gd name="T78" fmla="*/ 307 w 2135"/>
                  <a:gd name="T79" fmla="*/ 1308 h 2030"/>
                  <a:gd name="T80" fmla="*/ 305 w 2135"/>
                  <a:gd name="T81" fmla="*/ 1324 h 2030"/>
                  <a:gd name="T82" fmla="*/ 438 w 2135"/>
                  <a:gd name="T83" fmla="*/ 1334 h 2030"/>
                  <a:gd name="T84" fmla="*/ 519 w 2135"/>
                  <a:gd name="T85" fmla="*/ 1171 h 2030"/>
                  <a:gd name="T86" fmla="*/ 556 w 2135"/>
                  <a:gd name="T87" fmla="*/ 1076 h 2030"/>
                  <a:gd name="T88" fmla="*/ 572 w 2135"/>
                  <a:gd name="T89" fmla="*/ 1128 h 2030"/>
                  <a:gd name="T90" fmla="*/ 687 w 2135"/>
                  <a:gd name="T91" fmla="*/ 1351 h 2030"/>
                  <a:gd name="T92" fmla="*/ 840 w 2135"/>
                  <a:gd name="T93" fmla="*/ 1361 h 2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35" h="2030">
                    <a:moveTo>
                      <a:pt x="1210" y="0"/>
                    </a:moveTo>
                    <a:cubicBezTo>
                      <a:pt x="1210" y="68"/>
                      <a:pt x="1210" y="135"/>
                      <a:pt x="1210" y="204"/>
                    </a:cubicBezTo>
                    <a:cubicBezTo>
                      <a:pt x="1214" y="204"/>
                      <a:pt x="1218" y="204"/>
                      <a:pt x="1221" y="204"/>
                    </a:cubicBezTo>
                    <a:cubicBezTo>
                      <a:pt x="1490" y="204"/>
                      <a:pt x="1760" y="204"/>
                      <a:pt x="2029" y="204"/>
                    </a:cubicBezTo>
                    <a:cubicBezTo>
                      <a:pt x="2053" y="204"/>
                      <a:pt x="2076" y="208"/>
                      <a:pt x="2095" y="223"/>
                    </a:cubicBezTo>
                    <a:cubicBezTo>
                      <a:pt x="2121" y="243"/>
                      <a:pt x="2134" y="269"/>
                      <a:pt x="2135" y="302"/>
                    </a:cubicBezTo>
                    <a:cubicBezTo>
                      <a:pt x="2135" y="303"/>
                      <a:pt x="2135" y="304"/>
                      <a:pt x="2135" y="306"/>
                    </a:cubicBezTo>
                    <a:cubicBezTo>
                      <a:pt x="2135" y="778"/>
                      <a:pt x="2135" y="1251"/>
                      <a:pt x="2135" y="1724"/>
                    </a:cubicBezTo>
                    <a:cubicBezTo>
                      <a:pt x="2135" y="1758"/>
                      <a:pt x="2122" y="1786"/>
                      <a:pt x="2094" y="1807"/>
                    </a:cubicBezTo>
                    <a:cubicBezTo>
                      <a:pt x="2076" y="1820"/>
                      <a:pt x="2055" y="1826"/>
                      <a:pt x="2033" y="1826"/>
                    </a:cubicBezTo>
                    <a:cubicBezTo>
                      <a:pt x="1774" y="1825"/>
                      <a:pt x="1515" y="1825"/>
                      <a:pt x="1256" y="1825"/>
                    </a:cubicBezTo>
                    <a:cubicBezTo>
                      <a:pt x="1243" y="1825"/>
                      <a:pt x="1231" y="1825"/>
                      <a:pt x="1218" y="1825"/>
                    </a:cubicBezTo>
                    <a:cubicBezTo>
                      <a:pt x="1216" y="1825"/>
                      <a:pt x="1214" y="1825"/>
                      <a:pt x="1211" y="1825"/>
                    </a:cubicBezTo>
                    <a:cubicBezTo>
                      <a:pt x="1211" y="1894"/>
                      <a:pt x="1211" y="1961"/>
                      <a:pt x="1211" y="2030"/>
                    </a:cubicBezTo>
                    <a:cubicBezTo>
                      <a:pt x="1191" y="2026"/>
                      <a:pt x="1172" y="2022"/>
                      <a:pt x="1153" y="2019"/>
                    </a:cubicBezTo>
                    <a:cubicBezTo>
                      <a:pt x="1091" y="2007"/>
                      <a:pt x="1029" y="1995"/>
                      <a:pt x="967" y="1984"/>
                    </a:cubicBezTo>
                    <a:cubicBezTo>
                      <a:pt x="893" y="1970"/>
                      <a:pt x="818" y="1956"/>
                      <a:pt x="744" y="1942"/>
                    </a:cubicBezTo>
                    <a:cubicBezTo>
                      <a:pt x="665" y="1927"/>
                      <a:pt x="587" y="1912"/>
                      <a:pt x="508" y="1897"/>
                    </a:cubicBezTo>
                    <a:cubicBezTo>
                      <a:pt x="423" y="1881"/>
                      <a:pt x="339" y="1865"/>
                      <a:pt x="254" y="1849"/>
                    </a:cubicBezTo>
                    <a:cubicBezTo>
                      <a:pt x="171" y="1834"/>
                      <a:pt x="89" y="1818"/>
                      <a:pt x="6" y="1803"/>
                    </a:cubicBezTo>
                    <a:cubicBezTo>
                      <a:pt x="1" y="1802"/>
                      <a:pt x="0" y="1800"/>
                      <a:pt x="0" y="1796"/>
                    </a:cubicBezTo>
                    <a:cubicBezTo>
                      <a:pt x="1" y="1770"/>
                      <a:pt x="1" y="1744"/>
                      <a:pt x="1" y="1717"/>
                    </a:cubicBezTo>
                    <a:cubicBezTo>
                      <a:pt x="1" y="1224"/>
                      <a:pt x="1" y="730"/>
                      <a:pt x="0" y="236"/>
                    </a:cubicBezTo>
                    <a:cubicBezTo>
                      <a:pt x="0" y="230"/>
                      <a:pt x="2" y="227"/>
                      <a:pt x="9" y="226"/>
                    </a:cubicBezTo>
                    <a:cubicBezTo>
                      <a:pt x="122" y="205"/>
                      <a:pt x="234" y="184"/>
                      <a:pt x="347" y="163"/>
                    </a:cubicBezTo>
                    <a:cubicBezTo>
                      <a:pt x="441" y="145"/>
                      <a:pt x="535" y="127"/>
                      <a:pt x="630" y="109"/>
                    </a:cubicBezTo>
                    <a:cubicBezTo>
                      <a:pt x="725" y="91"/>
                      <a:pt x="820" y="73"/>
                      <a:pt x="916" y="55"/>
                    </a:cubicBezTo>
                    <a:cubicBezTo>
                      <a:pt x="1012" y="37"/>
                      <a:pt x="1108" y="19"/>
                      <a:pt x="1204" y="1"/>
                    </a:cubicBezTo>
                    <a:cubicBezTo>
                      <a:pt x="1206" y="1"/>
                      <a:pt x="1208" y="0"/>
                      <a:pt x="1210" y="0"/>
                    </a:cubicBezTo>
                    <a:close/>
                    <a:moveTo>
                      <a:pt x="1211" y="1181"/>
                    </a:moveTo>
                    <a:cubicBezTo>
                      <a:pt x="1309" y="1181"/>
                      <a:pt x="1407" y="1181"/>
                      <a:pt x="1505" y="1181"/>
                    </a:cubicBezTo>
                    <a:cubicBezTo>
                      <a:pt x="1505" y="1242"/>
                      <a:pt x="1505" y="1303"/>
                      <a:pt x="1505" y="1364"/>
                    </a:cubicBezTo>
                    <a:cubicBezTo>
                      <a:pt x="1407" y="1364"/>
                      <a:pt x="1309" y="1364"/>
                      <a:pt x="1211" y="1364"/>
                    </a:cubicBezTo>
                    <a:cubicBezTo>
                      <a:pt x="1211" y="1386"/>
                      <a:pt x="1211" y="1407"/>
                      <a:pt x="1211" y="1429"/>
                    </a:cubicBezTo>
                    <a:cubicBezTo>
                      <a:pt x="1309" y="1429"/>
                      <a:pt x="1406" y="1429"/>
                      <a:pt x="1503" y="1429"/>
                    </a:cubicBezTo>
                    <a:cubicBezTo>
                      <a:pt x="1503" y="1490"/>
                      <a:pt x="1503" y="1551"/>
                      <a:pt x="1503" y="1613"/>
                    </a:cubicBezTo>
                    <a:cubicBezTo>
                      <a:pt x="1406" y="1613"/>
                      <a:pt x="1308" y="1613"/>
                      <a:pt x="1211" y="1613"/>
                    </a:cubicBezTo>
                    <a:cubicBezTo>
                      <a:pt x="1211" y="1657"/>
                      <a:pt x="1211" y="1700"/>
                      <a:pt x="1211" y="1743"/>
                    </a:cubicBezTo>
                    <a:cubicBezTo>
                      <a:pt x="1491" y="1743"/>
                      <a:pt x="1770" y="1743"/>
                      <a:pt x="2050" y="1743"/>
                    </a:cubicBezTo>
                    <a:cubicBezTo>
                      <a:pt x="2050" y="1257"/>
                      <a:pt x="2050" y="772"/>
                      <a:pt x="2050" y="286"/>
                    </a:cubicBezTo>
                    <a:cubicBezTo>
                      <a:pt x="1770" y="286"/>
                      <a:pt x="1491" y="286"/>
                      <a:pt x="1211" y="286"/>
                    </a:cubicBezTo>
                    <a:cubicBezTo>
                      <a:pt x="1211" y="329"/>
                      <a:pt x="1211" y="373"/>
                      <a:pt x="1211" y="417"/>
                    </a:cubicBezTo>
                    <a:cubicBezTo>
                      <a:pt x="1309" y="417"/>
                      <a:pt x="1406" y="417"/>
                      <a:pt x="1503" y="417"/>
                    </a:cubicBezTo>
                    <a:cubicBezTo>
                      <a:pt x="1503" y="478"/>
                      <a:pt x="1503" y="539"/>
                      <a:pt x="1503" y="601"/>
                    </a:cubicBezTo>
                    <a:cubicBezTo>
                      <a:pt x="1406" y="601"/>
                      <a:pt x="1308" y="601"/>
                      <a:pt x="1211" y="601"/>
                    </a:cubicBezTo>
                    <a:cubicBezTo>
                      <a:pt x="1211" y="604"/>
                      <a:pt x="1211" y="607"/>
                      <a:pt x="1211" y="610"/>
                    </a:cubicBezTo>
                    <a:cubicBezTo>
                      <a:pt x="1211" y="627"/>
                      <a:pt x="1211" y="644"/>
                      <a:pt x="1211" y="661"/>
                    </a:cubicBezTo>
                    <a:cubicBezTo>
                      <a:pt x="1211" y="670"/>
                      <a:pt x="1211" y="670"/>
                      <a:pt x="1219" y="670"/>
                    </a:cubicBezTo>
                    <a:cubicBezTo>
                      <a:pt x="1311" y="670"/>
                      <a:pt x="1404" y="670"/>
                      <a:pt x="1496" y="670"/>
                    </a:cubicBezTo>
                    <a:cubicBezTo>
                      <a:pt x="1499" y="670"/>
                      <a:pt x="1501" y="670"/>
                      <a:pt x="1504" y="670"/>
                    </a:cubicBezTo>
                    <a:cubicBezTo>
                      <a:pt x="1504" y="731"/>
                      <a:pt x="1504" y="792"/>
                      <a:pt x="1504" y="854"/>
                    </a:cubicBezTo>
                    <a:cubicBezTo>
                      <a:pt x="1406" y="854"/>
                      <a:pt x="1309" y="854"/>
                      <a:pt x="1211" y="854"/>
                    </a:cubicBezTo>
                    <a:cubicBezTo>
                      <a:pt x="1211" y="879"/>
                      <a:pt x="1211" y="903"/>
                      <a:pt x="1211" y="927"/>
                    </a:cubicBezTo>
                    <a:cubicBezTo>
                      <a:pt x="1309" y="927"/>
                      <a:pt x="1407" y="927"/>
                      <a:pt x="1504" y="927"/>
                    </a:cubicBezTo>
                    <a:cubicBezTo>
                      <a:pt x="1504" y="989"/>
                      <a:pt x="1504" y="1050"/>
                      <a:pt x="1504" y="1111"/>
                    </a:cubicBezTo>
                    <a:cubicBezTo>
                      <a:pt x="1406" y="1111"/>
                      <a:pt x="1309" y="1111"/>
                      <a:pt x="1211" y="1111"/>
                    </a:cubicBezTo>
                    <a:cubicBezTo>
                      <a:pt x="1211" y="1135"/>
                      <a:pt x="1211" y="1157"/>
                      <a:pt x="1211" y="1181"/>
                    </a:cubicBezTo>
                    <a:close/>
                    <a:moveTo>
                      <a:pt x="840" y="1361"/>
                    </a:moveTo>
                    <a:cubicBezTo>
                      <a:pt x="838" y="1357"/>
                      <a:pt x="836" y="1354"/>
                      <a:pt x="835" y="1352"/>
                    </a:cubicBezTo>
                    <a:cubicBezTo>
                      <a:pt x="774" y="1236"/>
                      <a:pt x="712" y="1120"/>
                      <a:pt x="650" y="1004"/>
                    </a:cubicBezTo>
                    <a:cubicBezTo>
                      <a:pt x="648" y="999"/>
                      <a:pt x="648" y="996"/>
                      <a:pt x="650" y="991"/>
                    </a:cubicBezTo>
                    <a:cubicBezTo>
                      <a:pt x="711" y="877"/>
                      <a:pt x="771" y="762"/>
                      <a:pt x="831" y="648"/>
                    </a:cubicBezTo>
                    <a:cubicBezTo>
                      <a:pt x="832" y="646"/>
                      <a:pt x="833" y="644"/>
                      <a:pt x="834" y="641"/>
                    </a:cubicBezTo>
                    <a:cubicBezTo>
                      <a:pt x="829" y="641"/>
                      <a:pt x="826" y="641"/>
                      <a:pt x="822" y="641"/>
                    </a:cubicBezTo>
                    <a:cubicBezTo>
                      <a:pt x="802" y="643"/>
                      <a:pt x="782" y="644"/>
                      <a:pt x="762" y="646"/>
                    </a:cubicBezTo>
                    <a:cubicBezTo>
                      <a:pt x="735" y="648"/>
                      <a:pt x="708" y="650"/>
                      <a:pt x="681" y="651"/>
                    </a:cubicBezTo>
                    <a:cubicBezTo>
                      <a:pt x="677" y="652"/>
                      <a:pt x="675" y="654"/>
                      <a:pt x="673" y="658"/>
                    </a:cubicBezTo>
                    <a:cubicBezTo>
                      <a:pt x="652" y="704"/>
                      <a:pt x="631" y="751"/>
                      <a:pt x="610" y="798"/>
                    </a:cubicBezTo>
                    <a:cubicBezTo>
                      <a:pt x="592" y="837"/>
                      <a:pt x="573" y="876"/>
                      <a:pt x="563" y="919"/>
                    </a:cubicBezTo>
                    <a:cubicBezTo>
                      <a:pt x="563" y="919"/>
                      <a:pt x="562" y="920"/>
                      <a:pt x="562" y="920"/>
                    </a:cubicBezTo>
                    <a:cubicBezTo>
                      <a:pt x="557" y="903"/>
                      <a:pt x="553" y="886"/>
                      <a:pt x="546" y="870"/>
                    </a:cubicBezTo>
                    <a:cubicBezTo>
                      <a:pt x="519" y="803"/>
                      <a:pt x="492" y="737"/>
                      <a:pt x="465" y="671"/>
                    </a:cubicBezTo>
                    <a:cubicBezTo>
                      <a:pt x="463" y="667"/>
                      <a:pt x="462" y="667"/>
                      <a:pt x="458" y="667"/>
                    </a:cubicBezTo>
                    <a:cubicBezTo>
                      <a:pt x="420" y="669"/>
                      <a:pt x="383" y="672"/>
                      <a:pt x="345" y="674"/>
                    </a:cubicBezTo>
                    <a:cubicBezTo>
                      <a:pt x="335" y="675"/>
                      <a:pt x="325" y="676"/>
                      <a:pt x="314" y="677"/>
                    </a:cubicBezTo>
                    <a:cubicBezTo>
                      <a:pt x="315" y="680"/>
                      <a:pt x="316" y="682"/>
                      <a:pt x="318" y="685"/>
                    </a:cubicBezTo>
                    <a:cubicBezTo>
                      <a:pt x="327" y="704"/>
                      <a:pt x="336" y="723"/>
                      <a:pt x="346" y="742"/>
                    </a:cubicBezTo>
                    <a:cubicBezTo>
                      <a:pt x="387" y="827"/>
                      <a:pt x="428" y="911"/>
                      <a:pt x="470" y="996"/>
                    </a:cubicBezTo>
                    <a:cubicBezTo>
                      <a:pt x="471" y="999"/>
                      <a:pt x="471" y="1002"/>
                      <a:pt x="470" y="1005"/>
                    </a:cubicBezTo>
                    <a:cubicBezTo>
                      <a:pt x="415" y="1106"/>
                      <a:pt x="361" y="1207"/>
                      <a:pt x="307" y="1308"/>
                    </a:cubicBezTo>
                    <a:cubicBezTo>
                      <a:pt x="305" y="1313"/>
                      <a:pt x="302" y="1318"/>
                      <a:pt x="300" y="1323"/>
                    </a:cubicBezTo>
                    <a:cubicBezTo>
                      <a:pt x="302" y="1324"/>
                      <a:pt x="304" y="1324"/>
                      <a:pt x="305" y="1324"/>
                    </a:cubicBezTo>
                    <a:cubicBezTo>
                      <a:pt x="318" y="1325"/>
                      <a:pt x="331" y="1326"/>
                      <a:pt x="345" y="1327"/>
                    </a:cubicBezTo>
                    <a:cubicBezTo>
                      <a:pt x="376" y="1329"/>
                      <a:pt x="407" y="1331"/>
                      <a:pt x="438" y="1334"/>
                    </a:cubicBezTo>
                    <a:cubicBezTo>
                      <a:pt x="443" y="1334"/>
                      <a:pt x="445" y="1333"/>
                      <a:pt x="447" y="1328"/>
                    </a:cubicBezTo>
                    <a:cubicBezTo>
                      <a:pt x="471" y="1276"/>
                      <a:pt x="496" y="1224"/>
                      <a:pt x="519" y="1171"/>
                    </a:cubicBezTo>
                    <a:cubicBezTo>
                      <a:pt x="530" y="1147"/>
                      <a:pt x="543" y="1124"/>
                      <a:pt x="550" y="1098"/>
                    </a:cubicBezTo>
                    <a:cubicBezTo>
                      <a:pt x="552" y="1091"/>
                      <a:pt x="554" y="1083"/>
                      <a:pt x="556" y="1076"/>
                    </a:cubicBezTo>
                    <a:cubicBezTo>
                      <a:pt x="557" y="1078"/>
                      <a:pt x="558" y="1081"/>
                      <a:pt x="558" y="1083"/>
                    </a:cubicBezTo>
                    <a:cubicBezTo>
                      <a:pt x="563" y="1098"/>
                      <a:pt x="566" y="1113"/>
                      <a:pt x="572" y="1128"/>
                    </a:cubicBezTo>
                    <a:cubicBezTo>
                      <a:pt x="602" y="1197"/>
                      <a:pt x="634" y="1265"/>
                      <a:pt x="664" y="1334"/>
                    </a:cubicBezTo>
                    <a:cubicBezTo>
                      <a:pt x="669" y="1345"/>
                      <a:pt x="674" y="1350"/>
                      <a:pt x="687" y="1351"/>
                    </a:cubicBezTo>
                    <a:cubicBezTo>
                      <a:pt x="730" y="1353"/>
                      <a:pt x="773" y="1356"/>
                      <a:pt x="816" y="1359"/>
                    </a:cubicBezTo>
                    <a:cubicBezTo>
                      <a:pt x="823" y="1360"/>
                      <a:pt x="831" y="1360"/>
                      <a:pt x="840" y="1361"/>
                    </a:cubicBezTo>
                    <a:close/>
                  </a:path>
                </a:pathLst>
              </a:custGeom>
              <a:solidFill>
                <a:schemeClr val="accent1"/>
              </a:solidFill>
              <a:ln>
                <a:noFill/>
              </a:ln>
            </p:spPr>
            <p:txBody>
              <a:bodyPr vert="horz" wrap="square" lIns="89617" tIns="44808" rIns="89617" bIns="44808" numCol="1" anchor="t" anchorCtr="0" compatLnSpc="1">
                <a:prstTxWarp prst="textNoShape">
                  <a:avLst/>
                </a:prstTxWarp>
              </a:bodyPr>
              <a:lstStyle/>
              <a:p>
                <a:pPr defTabSz="914367"/>
                <a:endParaRPr lang="en-US" sz="1765">
                  <a:solidFill>
                    <a:srgbClr val="000000"/>
                  </a:solidFill>
                </a:endParaRPr>
              </a:p>
            </p:txBody>
          </p:sp>
          <p:sp>
            <p:nvSpPr>
              <p:cNvPr id="212" name="TextBox 211"/>
              <p:cNvSpPr txBox="1"/>
              <p:nvPr/>
            </p:nvSpPr>
            <p:spPr>
              <a:xfrm>
                <a:off x="10452140" y="4834226"/>
                <a:ext cx="1406373" cy="184666"/>
              </a:xfrm>
              <a:prstGeom prst="rect">
                <a:avLst/>
              </a:prstGeom>
              <a:noFill/>
            </p:spPr>
            <p:txBody>
              <a:bodyPr wrap="squar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914367">
                  <a:lnSpc>
                    <a:spcPct val="100000"/>
                  </a:lnSpc>
                </a:pPr>
                <a:r>
                  <a:rPr lang="en-US" sz="1176" dirty="0">
                    <a:solidFill>
                      <a:srgbClr val="505050"/>
                    </a:solidFill>
                  </a:rPr>
                  <a:t>Data analytics (Excel)</a:t>
                </a:r>
              </a:p>
            </p:txBody>
          </p:sp>
        </p:grpSp>
        <p:grpSp>
          <p:nvGrpSpPr>
            <p:cNvPr id="22" name="Group 21"/>
            <p:cNvGrpSpPr/>
            <p:nvPr/>
          </p:nvGrpSpPr>
          <p:grpSpPr>
            <a:xfrm>
              <a:off x="10547224" y="2237803"/>
              <a:ext cx="1140890" cy="798217"/>
              <a:chOff x="10576605" y="2128300"/>
              <a:chExt cx="1140890" cy="798217"/>
            </a:xfrm>
          </p:grpSpPr>
          <p:sp>
            <p:nvSpPr>
              <p:cNvPr id="213" name="Freeform 27"/>
              <p:cNvSpPr>
                <a:spLocks noChangeAspect="1" noEditPoints="1"/>
              </p:cNvSpPr>
              <p:nvPr/>
            </p:nvSpPr>
            <p:spPr bwMode="black">
              <a:xfrm>
                <a:off x="10866947" y="2128300"/>
                <a:ext cx="560206" cy="360870"/>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1"/>
              </a:solidFill>
              <a:extLst/>
            </p:spPr>
            <p:txBody>
              <a:bodyPr vert="horz" wrap="square" lIns="89617" tIns="44808" rIns="89617" bIns="44808" numCol="1" anchor="t" anchorCtr="0" compatLnSpc="1">
                <a:prstTxWarp prst="textNoShape">
                  <a:avLst/>
                </a:prstTxWarp>
              </a:bodyPr>
              <a:lstStyle/>
              <a:p>
                <a:pPr defTabSz="914367"/>
                <a:endParaRPr lang="en-US" sz="1765">
                  <a:solidFill>
                    <a:srgbClr val="000000"/>
                  </a:solidFill>
                </a:endParaRPr>
              </a:p>
            </p:txBody>
          </p:sp>
          <p:sp>
            <p:nvSpPr>
              <p:cNvPr id="214" name="TextBox 213"/>
              <p:cNvSpPr txBox="1"/>
              <p:nvPr/>
            </p:nvSpPr>
            <p:spPr>
              <a:xfrm>
                <a:off x="10576605" y="2557185"/>
                <a:ext cx="1140890" cy="369332"/>
              </a:xfrm>
              <a:prstGeom prst="rect">
                <a:avLst/>
              </a:prstGeom>
              <a:noFill/>
            </p:spPr>
            <p:txBody>
              <a:bodyPr wrap="squar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914367">
                  <a:lnSpc>
                    <a:spcPct val="100000"/>
                  </a:lnSpc>
                </a:pPr>
                <a:r>
                  <a:rPr lang="en-US" sz="1176" dirty="0">
                    <a:solidFill>
                      <a:srgbClr val="505050"/>
                    </a:solidFill>
                  </a:rPr>
                  <a:t>Web/thick client </a:t>
                </a:r>
                <a:br>
                  <a:rPr lang="en-US" sz="1176" dirty="0">
                    <a:solidFill>
                      <a:srgbClr val="505050"/>
                    </a:solidFill>
                  </a:rPr>
                </a:br>
                <a:r>
                  <a:rPr lang="en-US" sz="1176" dirty="0">
                    <a:solidFill>
                      <a:srgbClr val="505050"/>
                    </a:solidFill>
                  </a:rPr>
                  <a:t>dashboards</a:t>
                </a:r>
              </a:p>
            </p:txBody>
          </p:sp>
        </p:grpSp>
        <p:grpSp>
          <p:nvGrpSpPr>
            <p:cNvPr id="31" name="Group 30"/>
            <p:cNvGrpSpPr/>
            <p:nvPr/>
          </p:nvGrpSpPr>
          <p:grpSpPr>
            <a:xfrm>
              <a:off x="10376825" y="5423405"/>
              <a:ext cx="1481688" cy="894040"/>
              <a:chOff x="10376825" y="5423405"/>
              <a:chExt cx="1481688" cy="894040"/>
            </a:xfrm>
          </p:grpSpPr>
          <p:sp>
            <p:nvSpPr>
              <p:cNvPr id="81" name="TextBox 80"/>
              <p:cNvSpPr txBox="1"/>
              <p:nvPr/>
            </p:nvSpPr>
            <p:spPr>
              <a:xfrm>
                <a:off x="10376825" y="6132779"/>
                <a:ext cx="1481688" cy="184666"/>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914367">
                  <a:lnSpc>
                    <a:spcPct val="100000"/>
                  </a:lnSpc>
                </a:pPr>
                <a:r>
                  <a:rPr lang="en-US" sz="1176" dirty="0">
                    <a:solidFill>
                      <a:srgbClr val="505050"/>
                    </a:solidFill>
                  </a:rPr>
                  <a:t>Devices to take action</a:t>
                </a:r>
              </a:p>
            </p:txBody>
          </p:sp>
          <p:sp>
            <p:nvSpPr>
              <p:cNvPr id="99" name="TextBox 98"/>
              <p:cNvSpPr txBox="1"/>
              <p:nvPr/>
            </p:nvSpPr>
            <p:spPr>
              <a:xfrm>
                <a:off x="10779884" y="5925525"/>
                <a:ext cx="675570" cy="184666"/>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914367">
                  <a:lnSpc>
                    <a:spcPct val="100000"/>
                  </a:lnSpc>
                </a:pPr>
                <a:r>
                  <a:rPr lang="en-US" sz="1176" dirty="0">
                    <a:solidFill>
                      <a:srgbClr val="505050"/>
                    </a:solidFill>
                  </a:rPr>
                  <a:t>Event hub</a:t>
                </a:r>
              </a:p>
            </p:txBody>
          </p:sp>
          <p:grpSp>
            <p:nvGrpSpPr>
              <p:cNvPr id="178" name="Group 177"/>
              <p:cNvGrpSpPr/>
              <p:nvPr/>
            </p:nvGrpSpPr>
            <p:grpSpPr>
              <a:xfrm>
                <a:off x="10863891" y="5423405"/>
                <a:ext cx="507556" cy="422962"/>
                <a:chOff x="10407690" y="6565900"/>
                <a:chExt cx="918249" cy="774700"/>
              </a:xfrm>
              <a:solidFill>
                <a:schemeClr val="accent6"/>
              </a:solidFill>
            </p:grpSpPr>
            <p:grpSp>
              <p:nvGrpSpPr>
                <p:cNvPr id="179" name="Group 178"/>
                <p:cNvGrpSpPr/>
                <p:nvPr/>
              </p:nvGrpSpPr>
              <p:grpSpPr>
                <a:xfrm>
                  <a:off x="10407690" y="6565900"/>
                  <a:ext cx="918249" cy="205801"/>
                  <a:chOff x="10452140" y="6610350"/>
                  <a:chExt cx="918249" cy="205801"/>
                </a:xfrm>
                <a:grpFill/>
              </p:grpSpPr>
              <p:sp>
                <p:nvSpPr>
                  <p:cNvPr id="193" name="Rectangle 192"/>
                  <p:cNvSpPr/>
                  <p:nvPr/>
                </p:nvSpPr>
                <p:spPr bwMode="auto">
                  <a:xfrm>
                    <a:off x="10452140" y="6610350"/>
                    <a:ext cx="914400" cy="1143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198" name="Rectangle 197"/>
                  <p:cNvSpPr/>
                  <p:nvPr/>
                </p:nvSpPr>
                <p:spPr bwMode="auto">
                  <a:xfrm>
                    <a:off x="10452141" y="6610350"/>
                    <a:ext cx="120094" cy="205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199" name="Rectangle 198"/>
                  <p:cNvSpPr/>
                  <p:nvPr/>
                </p:nvSpPr>
                <p:spPr bwMode="auto">
                  <a:xfrm>
                    <a:off x="11245924" y="6610350"/>
                    <a:ext cx="124465" cy="205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grpSp>
            <p:grpSp>
              <p:nvGrpSpPr>
                <p:cNvPr id="180" name="Group 179"/>
                <p:cNvGrpSpPr/>
                <p:nvPr/>
              </p:nvGrpSpPr>
              <p:grpSpPr>
                <a:xfrm>
                  <a:off x="10407690" y="6739951"/>
                  <a:ext cx="918249" cy="600649"/>
                  <a:chOff x="10407690" y="6739951"/>
                  <a:chExt cx="918249" cy="600649"/>
                </a:xfrm>
                <a:grpFill/>
              </p:grpSpPr>
              <p:grpSp>
                <p:nvGrpSpPr>
                  <p:cNvPr id="182" name="Group 181"/>
                  <p:cNvGrpSpPr/>
                  <p:nvPr/>
                </p:nvGrpSpPr>
                <p:grpSpPr>
                  <a:xfrm>
                    <a:off x="10407690" y="7134799"/>
                    <a:ext cx="918249" cy="205801"/>
                    <a:chOff x="10452140" y="6988749"/>
                    <a:chExt cx="918249" cy="205801"/>
                  </a:xfrm>
                  <a:grpFill/>
                </p:grpSpPr>
                <p:sp>
                  <p:nvSpPr>
                    <p:cNvPr id="190" name="Rectangle 189"/>
                    <p:cNvSpPr/>
                    <p:nvPr/>
                  </p:nvSpPr>
                  <p:spPr bwMode="auto">
                    <a:xfrm>
                      <a:off x="10452140" y="7080250"/>
                      <a:ext cx="914400" cy="1143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191" name="Rectangle 190"/>
                    <p:cNvSpPr/>
                    <p:nvPr/>
                  </p:nvSpPr>
                  <p:spPr bwMode="auto">
                    <a:xfrm>
                      <a:off x="10452141" y="6988749"/>
                      <a:ext cx="120094" cy="205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192" name="Rectangle 191"/>
                    <p:cNvSpPr/>
                    <p:nvPr/>
                  </p:nvSpPr>
                  <p:spPr bwMode="auto">
                    <a:xfrm>
                      <a:off x="11245924" y="6988749"/>
                      <a:ext cx="124465" cy="205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grpSp>
              <p:sp>
                <p:nvSpPr>
                  <p:cNvPr id="183" name="Rectangle 182"/>
                  <p:cNvSpPr/>
                  <p:nvPr/>
                </p:nvSpPr>
                <p:spPr bwMode="auto">
                  <a:xfrm>
                    <a:off x="10648118" y="6739951"/>
                    <a:ext cx="137160" cy="1097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184" name="Rectangle 183"/>
                  <p:cNvSpPr/>
                  <p:nvPr/>
                </p:nvSpPr>
                <p:spPr bwMode="auto">
                  <a:xfrm>
                    <a:off x="10648118" y="6898071"/>
                    <a:ext cx="137160" cy="1097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186" name="Rectangle 185"/>
                  <p:cNvSpPr/>
                  <p:nvPr/>
                </p:nvSpPr>
                <p:spPr bwMode="auto">
                  <a:xfrm>
                    <a:off x="10648118" y="7055835"/>
                    <a:ext cx="137160" cy="1097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187" name="Rectangle 186"/>
                  <p:cNvSpPr/>
                  <p:nvPr/>
                </p:nvSpPr>
                <p:spPr bwMode="auto">
                  <a:xfrm>
                    <a:off x="10833137" y="6975941"/>
                    <a:ext cx="137160" cy="1097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188" name="Rectangle 187"/>
                  <p:cNvSpPr/>
                  <p:nvPr/>
                </p:nvSpPr>
                <p:spPr bwMode="auto">
                  <a:xfrm>
                    <a:off x="10833137" y="6819846"/>
                    <a:ext cx="137160" cy="1097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189" name="Rectangle 188"/>
                  <p:cNvSpPr/>
                  <p:nvPr/>
                </p:nvSpPr>
                <p:spPr bwMode="auto">
                  <a:xfrm>
                    <a:off x="11018157" y="6916390"/>
                    <a:ext cx="137160" cy="1097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grpSp>
          </p:grpSp>
        </p:grpSp>
      </p:grpSp>
      <p:sp>
        <p:nvSpPr>
          <p:cNvPr id="229" name="Right Arrow 228"/>
          <p:cNvSpPr/>
          <p:nvPr/>
        </p:nvSpPr>
        <p:spPr bwMode="auto">
          <a:xfrm>
            <a:off x="11303829" y="5263674"/>
            <a:ext cx="741287" cy="62732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7" tIns="0" rIns="0" bIns="0" numCol="1" spcCol="0" rtlCol="0" fromWordArt="0" anchor="ctr" anchorCtr="0" forceAA="0" compatLnSpc="1">
            <a:prstTxWarp prst="textNoShape">
              <a:avLst/>
            </a:prstTxWarp>
            <a:noAutofit/>
          </a:bodyPr>
          <a:lstStyle/>
          <a:p>
            <a:pPr defTabSz="913751"/>
            <a:endParaRPr lang="en-US" sz="1174" dirty="0">
              <a:solidFill>
                <a:srgbClr val="FFFFFF"/>
              </a:solidFill>
              <a:ea typeface="Segoe UI" pitchFamily="34" charset="0"/>
              <a:cs typeface="Segoe UI" pitchFamily="34" charset="0"/>
            </a:endParaRPr>
          </a:p>
        </p:txBody>
      </p:sp>
      <p:sp>
        <p:nvSpPr>
          <p:cNvPr id="140" name="Right Arrow 139"/>
          <p:cNvSpPr/>
          <p:nvPr/>
        </p:nvSpPr>
        <p:spPr bwMode="auto">
          <a:xfrm>
            <a:off x="2093748" y="1493498"/>
            <a:ext cx="406937" cy="268851"/>
          </a:xfrm>
          <a:prstGeom prst="rightArrow">
            <a:avLst/>
          </a:prstGeom>
          <a:solidFill>
            <a:schemeClr val="accent1"/>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spcBef>
                <a:spcPct val="0"/>
              </a:spcBef>
              <a:spcAft>
                <a:spcPct val="0"/>
              </a:spcAft>
            </a:pPr>
            <a:endParaRPr lang="en-US" sz="1961" dirty="0" err="1">
              <a:gradFill>
                <a:gsLst>
                  <a:gs pos="0">
                    <a:srgbClr val="FFFFFF"/>
                  </a:gs>
                  <a:gs pos="100000">
                    <a:srgbClr val="FFFFFF"/>
                  </a:gs>
                </a:gsLst>
                <a:lin ang="5400000" scaled="1"/>
              </a:gradFill>
              <a:ea typeface="Segoe UI" pitchFamily="34" charset="0"/>
              <a:cs typeface="Segoe UI" pitchFamily="34" charset="0"/>
            </a:endParaRPr>
          </a:p>
        </p:txBody>
      </p:sp>
      <p:grpSp>
        <p:nvGrpSpPr>
          <p:cNvPr id="236" name="Group 235"/>
          <p:cNvGrpSpPr/>
          <p:nvPr/>
        </p:nvGrpSpPr>
        <p:grpSpPr>
          <a:xfrm>
            <a:off x="457650" y="1269455"/>
            <a:ext cx="1769294" cy="5074482"/>
            <a:chOff x="466826" y="1294414"/>
            <a:chExt cx="1804772" cy="5176236"/>
          </a:xfrm>
        </p:grpSpPr>
        <p:sp>
          <p:nvSpPr>
            <p:cNvPr id="24" name="Rectangle 23"/>
            <p:cNvSpPr/>
            <p:nvPr/>
          </p:nvSpPr>
          <p:spPr bwMode="auto">
            <a:xfrm>
              <a:off x="466826" y="2020446"/>
              <a:ext cx="1804772" cy="445020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spcBef>
                  <a:spcPct val="0"/>
                </a:spcBef>
                <a:spcAft>
                  <a:spcPct val="0"/>
                </a:spcAft>
              </a:pPr>
              <a:endParaRPr lang="en-US" sz="1961" dirty="0" err="1">
                <a:gradFill>
                  <a:gsLst>
                    <a:gs pos="0">
                      <a:srgbClr val="FFFFFF"/>
                    </a:gs>
                    <a:gs pos="100000">
                      <a:srgbClr val="FFFFFF"/>
                    </a:gs>
                  </a:gsLst>
                  <a:lin ang="5400000" scaled="1"/>
                </a:gradFill>
                <a:ea typeface="Segoe UI" pitchFamily="34" charset="0"/>
                <a:cs typeface="Segoe UI" pitchFamily="34" charset="0"/>
              </a:endParaRPr>
            </a:p>
          </p:txBody>
        </p:sp>
        <p:sp>
          <p:nvSpPr>
            <p:cNvPr id="19" name="Rectangle 18"/>
            <p:cNvSpPr/>
            <p:nvPr/>
          </p:nvSpPr>
          <p:spPr bwMode="auto">
            <a:xfrm>
              <a:off x="466826" y="1294414"/>
              <a:ext cx="1804772" cy="73131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44821" numCol="1" spcCol="0" rtlCol="0" fromWordArt="0" anchor="t" anchorCtr="0" forceAA="0" compatLnSpc="1">
              <a:prstTxWarp prst="textNoShape">
                <a:avLst/>
              </a:prstTxWarp>
              <a:noAutofit/>
            </a:bodyPr>
            <a:lstStyle/>
            <a:p>
              <a:pPr defTabSz="913751"/>
              <a:r>
                <a:rPr lang="en-US" sz="1765" dirty="0">
                  <a:solidFill>
                    <a:srgbClr val="FFFFFF"/>
                  </a:solidFill>
                  <a:ea typeface="Segoe UI" pitchFamily="34" charset="0"/>
                  <a:cs typeface="Segoe UI" pitchFamily="34" charset="0"/>
                </a:rPr>
                <a:t>Event producers</a:t>
              </a:r>
            </a:p>
          </p:txBody>
        </p:sp>
      </p:grpSp>
      <p:grpSp>
        <p:nvGrpSpPr>
          <p:cNvPr id="3" name="Group 2"/>
          <p:cNvGrpSpPr/>
          <p:nvPr/>
        </p:nvGrpSpPr>
        <p:grpSpPr>
          <a:xfrm>
            <a:off x="726309" y="2194301"/>
            <a:ext cx="1235314" cy="4052880"/>
            <a:chOff x="740872" y="2237804"/>
            <a:chExt cx="1260085" cy="4134149"/>
          </a:xfrm>
        </p:grpSpPr>
        <p:grpSp>
          <p:nvGrpSpPr>
            <p:cNvPr id="204" name="Group 203"/>
            <p:cNvGrpSpPr/>
            <p:nvPr/>
          </p:nvGrpSpPr>
          <p:grpSpPr>
            <a:xfrm>
              <a:off x="954133" y="2237804"/>
              <a:ext cx="833562" cy="824988"/>
              <a:chOff x="772141" y="2384443"/>
              <a:chExt cx="833798" cy="825222"/>
            </a:xfrm>
            <a:solidFill>
              <a:schemeClr val="accent6"/>
            </a:solidFill>
          </p:grpSpPr>
          <p:sp>
            <p:nvSpPr>
              <p:cNvPr id="202" name="Freeform 34"/>
              <p:cNvSpPr>
                <a:spLocks noChangeAspect="1" noEditPoints="1"/>
              </p:cNvSpPr>
              <p:nvPr/>
            </p:nvSpPr>
            <p:spPr bwMode="auto">
              <a:xfrm>
                <a:off x="914917" y="2384443"/>
                <a:ext cx="548241" cy="539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chemeClr val="accent1"/>
              </a:solidFill>
              <a:ln>
                <a:noFill/>
              </a:ln>
            </p:spPr>
            <p:txBody>
              <a:bodyPr vert="horz" wrap="square" lIns="89617" tIns="44808" rIns="89617" bIns="44808" numCol="1" anchor="t" anchorCtr="0" compatLnSpc="1">
                <a:prstTxWarp prst="textNoShape">
                  <a:avLst/>
                </a:prstTxWarp>
              </a:bodyPr>
              <a:lstStyle/>
              <a:p>
                <a:pPr defTabSz="914367"/>
                <a:endParaRPr lang="en-US" sz="1765">
                  <a:solidFill>
                    <a:srgbClr val="000000"/>
                  </a:solidFill>
                </a:endParaRPr>
              </a:p>
            </p:txBody>
          </p:sp>
          <p:sp>
            <p:nvSpPr>
              <p:cNvPr id="203" name="TextBox 202"/>
              <p:cNvSpPr txBox="1"/>
              <p:nvPr/>
            </p:nvSpPr>
            <p:spPr>
              <a:xfrm>
                <a:off x="772141" y="3024947"/>
                <a:ext cx="833798" cy="184718"/>
              </a:xfrm>
              <a:prstGeom prst="rect">
                <a:avLst/>
              </a:prstGeom>
              <a:noFill/>
            </p:spPr>
            <p:txBody>
              <a:bodyPr wrap="none" lIns="0" tIns="0" rIns="0" bIns="0" rtlCol="0">
                <a:spAutoFit/>
              </a:bodyPr>
              <a:lstStyle/>
              <a:p>
                <a:pPr algn="ctr" defTabSz="914367">
                  <a:spcAft>
                    <a:spcPts val="588"/>
                  </a:spcAft>
                </a:pPr>
                <a:r>
                  <a:rPr lang="en-US" sz="1176" dirty="0">
                    <a:solidFill>
                      <a:srgbClr val="505050"/>
                    </a:solidFill>
                  </a:rPr>
                  <a:t>Applications</a:t>
                </a:r>
              </a:p>
            </p:txBody>
          </p:sp>
        </p:grpSp>
        <p:grpSp>
          <p:nvGrpSpPr>
            <p:cNvPr id="14" name="Group 13"/>
            <p:cNvGrpSpPr/>
            <p:nvPr/>
          </p:nvGrpSpPr>
          <p:grpSpPr>
            <a:xfrm>
              <a:off x="740872" y="5598217"/>
              <a:ext cx="1260085" cy="773736"/>
              <a:chOff x="703443" y="5569642"/>
              <a:chExt cx="1260085" cy="773736"/>
            </a:xfrm>
          </p:grpSpPr>
          <p:sp>
            <p:nvSpPr>
              <p:cNvPr id="102" name="TextBox 101"/>
              <p:cNvSpPr txBox="1"/>
              <p:nvPr/>
            </p:nvSpPr>
            <p:spPr>
              <a:xfrm>
                <a:off x="703443" y="6128255"/>
                <a:ext cx="1260085" cy="215123"/>
              </a:xfrm>
              <a:prstGeom prst="rect">
                <a:avLst/>
              </a:prstGeom>
              <a:noFill/>
            </p:spPr>
            <p:txBody>
              <a:bodyPr wrap="square" lIns="0" tIns="0" rIns="0" bIns="0" rtlCol="0">
                <a:spAutoFit/>
              </a:bodyPr>
              <a:lstStyle/>
              <a:p>
                <a:pPr algn="ctr" defTabSz="914367"/>
                <a:r>
                  <a:rPr lang="en-US" sz="1370" dirty="0">
                    <a:solidFill>
                      <a:srgbClr val="505050"/>
                    </a:solidFill>
                  </a:rPr>
                  <a:t>Web and social</a:t>
                </a:r>
              </a:p>
            </p:txBody>
          </p:sp>
          <p:grpSp>
            <p:nvGrpSpPr>
              <p:cNvPr id="13" name="Group 12"/>
              <p:cNvGrpSpPr/>
              <p:nvPr/>
            </p:nvGrpSpPr>
            <p:grpSpPr>
              <a:xfrm>
                <a:off x="949772" y="5569642"/>
                <a:ext cx="767426" cy="428520"/>
                <a:chOff x="1157890" y="5857031"/>
                <a:chExt cx="754467" cy="356127"/>
              </a:xfrm>
              <a:solidFill>
                <a:schemeClr val="accent6"/>
              </a:solidFill>
            </p:grpSpPr>
            <p:sp>
              <p:nvSpPr>
                <p:cNvPr id="106" name="Freeform 30"/>
                <p:cNvSpPr>
                  <a:spLocks noChangeAspect="1" noEditPoints="1"/>
                </p:cNvSpPr>
                <p:nvPr/>
              </p:nvSpPr>
              <p:spPr bwMode="auto">
                <a:xfrm>
                  <a:off x="1157890" y="5870448"/>
                  <a:ext cx="312592" cy="342710"/>
                </a:xfrm>
                <a:custGeom>
                  <a:avLst/>
                  <a:gdLst>
                    <a:gd name="T0" fmla="*/ 115 w 191"/>
                    <a:gd name="T1" fmla="*/ 158 h 225"/>
                    <a:gd name="T2" fmla="*/ 132 w 191"/>
                    <a:gd name="T3" fmla="*/ 185 h 225"/>
                    <a:gd name="T4" fmla="*/ 21 w 191"/>
                    <a:gd name="T5" fmla="*/ 185 h 225"/>
                    <a:gd name="T6" fmla="*/ 0 w 191"/>
                    <a:gd name="T7" fmla="*/ 164 h 225"/>
                    <a:gd name="T8" fmla="*/ 0 w 191"/>
                    <a:gd name="T9" fmla="*/ 21 h 225"/>
                    <a:gd name="T10" fmla="*/ 21 w 191"/>
                    <a:gd name="T11" fmla="*/ 0 h 225"/>
                    <a:gd name="T12" fmla="*/ 163 w 191"/>
                    <a:gd name="T13" fmla="*/ 0 h 225"/>
                    <a:gd name="T14" fmla="*/ 185 w 191"/>
                    <a:gd name="T15" fmla="*/ 21 h 225"/>
                    <a:gd name="T16" fmla="*/ 185 w 191"/>
                    <a:gd name="T17" fmla="*/ 164 h 225"/>
                    <a:gd name="T18" fmla="*/ 181 w 191"/>
                    <a:gd name="T19" fmla="*/ 175 h 225"/>
                    <a:gd name="T20" fmla="*/ 154 w 191"/>
                    <a:gd name="T21" fmla="*/ 133 h 225"/>
                    <a:gd name="T22" fmla="*/ 157 w 191"/>
                    <a:gd name="T23" fmla="*/ 63 h 225"/>
                    <a:gd name="T24" fmla="*/ 70 w 191"/>
                    <a:gd name="T25" fmla="*/ 43 h 225"/>
                    <a:gd name="T26" fmla="*/ 51 w 191"/>
                    <a:gd name="T27" fmla="*/ 130 h 225"/>
                    <a:gd name="T28" fmla="*/ 115 w 191"/>
                    <a:gd name="T29" fmla="*/ 158 h 225"/>
                    <a:gd name="T30" fmla="*/ 183 w 191"/>
                    <a:gd name="T31" fmla="*/ 221 h 225"/>
                    <a:gd name="T32" fmla="*/ 165 w 191"/>
                    <a:gd name="T33" fmla="*/ 217 h 225"/>
                    <a:gd name="T34" fmla="*/ 120 w 191"/>
                    <a:gd name="T35" fmla="*/ 146 h 225"/>
                    <a:gd name="T36" fmla="*/ 59 w 191"/>
                    <a:gd name="T37" fmla="*/ 124 h 225"/>
                    <a:gd name="T38" fmla="*/ 75 w 191"/>
                    <a:gd name="T39" fmla="*/ 52 h 225"/>
                    <a:gd name="T40" fmla="*/ 148 w 191"/>
                    <a:gd name="T41" fmla="*/ 68 h 225"/>
                    <a:gd name="T42" fmla="*/ 142 w 191"/>
                    <a:gd name="T43" fmla="*/ 132 h 225"/>
                    <a:gd name="T44" fmla="*/ 187 w 191"/>
                    <a:gd name="T45" fmla="*/ 203 h 225"/>
                    <a:gd name="T46" fmla="*/ 183 w 191"/>
                    <a:gd name="T47" fmla="*/ 221 h 225"/>
                    <a:gd name="T48" fmla="*/ 144 w 191"/>
                    <a:gd name="T49" fmla="*/ 71 h 225"/>
                    <a:gd name="T50" fmla="*/ 78 w 191"/>
                    <a:gd name="T51" fmla="*/ 56 h 225"/>
                    <a:gd name="T52" fmla="*/ 64 w 191"/>
                    <a:gd name="T53" fmla="*/ 122 h 225"/>
                    <a:gd name="T54" fmla="*/ 129 w 191"/>
                    <a:gd name="T55" fmla="*/ 136 h 225"/>
                    <a:gd name="T56" fmla="*/ 144 w 191"/>
                    <a:gd name="T57" fmla="*/ 7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1" h="225">
                      <a:moveTo>
                        <a:pt x="115" y="158"/>
                      </a:moveTo>
                      <a:cubicBezTo>
                        <a:pt x="132" y="185"/>
                        <a:pt x="132" y="185"/>
                        <a:pt x="132" y="185"/>
                      </a:cubicBezTo>
                      <a:cubicBezTo>
                        <a:pt x="21" y="185"/>
                        <a:pt x="21" y="185"/>
                        <a:pt x="21" y="185"/>
                      </a:cubicBezTo>
                      <a:cubicBezTo>
                        <a:pt x="9" y="185"/>
                        <a:pt x="0" y="175"/>
                        <a:pt x="0" y="164"/>
                      </a:cubicBezTo>
                      <a:cubicBezTo>
                        <a:pt x="0" y="21"/>
                        <a:pt x="0" y="21"/>
                        <a:pt x="0" y="21"/>
                      </a:cubicBezTo>
                      <a:cubicBezTo>
                        <a:pt x="0" y="9"/>
                        <a:pt x="9" y="0"/>
                        <a:pt x="21" y="0"/>
                      </a:cubicBezTo>
                      <a:cubicBezTo>
                        <a:pt x="163" y="0"/>
                        <a:pt x="163" y="0"/>
                        <a:pt x="163" y="0"/>
                      </a:cubicBezTo>
                      <a:cubicBezTo>
                        <a:pt x="175" y="0"/>
                        <a:pt x="185" y="9"/>
                        <a:pt x="185" y="21"/>
                      </a:cubicBezTo>
                      <a:cubicBezTo>
                        <a:pt x="185" y="164"/>
                        <a:pt x="185" y="164"/>
                        <a:pt x="185" y="164"/>
                      </a:cubicBezTo>
                      <a:cubicBezTo>
                        <a:pt x="185" y="168"/>
                        <a:pt x="183" y="172"/>
                        <a:pt x="181" y="175"/>
                      </a:cubicBezTo>
                      <a:cubicBezTo>
                        <a:pt x="154" y="133"/>
                        <a:pt x="154" y="133"/>
                        <a:pt x="154" y="133"/>
                      </a:cubicBezTo>
                      <a:cubicBezTo>
                        <a:pt x="169" y="112"/>
                        <a:pt x="170" y="84"/>
                        <a:pt x="157" y="63"/>
                      </a:cubicBezTo>
                      <a:cubicBezTo>
                        <a:pt x="138" y="33"/>
                        <a:pt x="99" y="25"/>
                        <a:pt x="70" y="43"/>
                      </a:cubicBezTo>
                      <a:cubicBezTo>
                        <a:pt x="41" y="62"/>
                        <a:pt x="32" y="101"/>
                        <a:pt x="51" y="130"/>
                      </a:cubicBezTo>
                      <a:cubicBezTo>
                        <a:pt x="65" y="152"/>
                        <a:pt x="90" y="163"/>
                        <a:pt x="115" y="158"/>
                      </a:cubicBezTo>
                      <a:close/>
                      <a:moveTo>
                        <a:pt x="183" y="221"/>
                      </a:moveTo>
                      <a:cubicBezTo>
                        <a:pt x="177" y="225"/>
                        <a:pt x="169" y="223"/>
                        <a:pt x="165" y="217"/>
                      </a:cubicBezTo>
                      <a:cubicBezTo>
                        <a:pt x="120" y="146"/>
                        <a:pt x="120" y="146"/>
                        <a:pt x="120" y="146"/>
                      </a:cubicBezTo>
                      <a:cubicBezTo>
                        <a:pt x="98" y="153"/>
                        <a:pt x="72" y="145"/>
                        <a:pt x="59" y="124"/>
                      </a:cubicBezTo>
                      <a:cubicBezTo>
                        <a:pt x="44" y="100"/>
                        <a:pt x="51" y="67"/>
                        <a:pt x="75" y="52"/>
                      </a:cubicBezTo>
                      <a:cubicBezTo>
                        <a:pt x="100" y="36"/>
                        <a:pt x="132" y="44"/>
                        <a:pt x="148" y="68"/>
                      </a:cubicBezTo>
                      <a:cubicBezTo>
                        <a:pt x="161" y="89"/>
                        <a:pt x="158" y="115"/>
                        <a:pt x="142" y="132"/>
                      </a:cubicBezTo>
                      <a:cubicBezTo>
                        <a:pt x="187" y="203"/>
                        <a:pt x="187" y="203"/>
                        <a:pt x="187" y="203"/>
                      </a:cubicBezTo>
                      <a:cubicBezTo>
                        <a:pt x="191" y="209"/>
                        <a:pt x="189" y="217"/>
                        <a:pt x="183" y="221"/>
                      </a:cubicBezTo>
                      <a:close/>
                      <a:moveTo>
                        <a:pt x="144" y="71"/>
                      </a:moveTo>
                      <a:cubicBezTo>
                        <a:pt x="129" y="49"/>
                        <a:pt x="100" y="42"/>
                        <a:pt x="78" y="56"/>
                      </a:cubicBezTo>
                      <a:cubicBezTo>
                        <a:pt x="56" y="70"/>
                        <a:pt x="50" y="100"/>
                        <a:pt x="64" y="122"/>
                      </a:cubicBezTo>
                      <a:cubicBezTo>
                        <a:pt x="78" y="144"/>
                        <a:pt x="107" y="150"/>
                        <a:pt x="129" y="136"/>
                      </a:cubicBezTo>
                      <a:cubicBezTo>
                        <a:pt x="151" y="122"/>
                        <a:pt x="158" y="93"/>
                        <a:pt x="144" y="71"/>
                      </a:cubicBezTo>
                      <a:close/>
                    </a:path>
                  </a:pathLst>
                </a:custGeom>
                <a:solidFill>
                  <a:schemeClr val="accent1"/>
                </a:solidFill>
                <a:ln>
                  <a:noFill/>
                </a:ln>
              </p:spPr>
              <p:txBody>
                <a:bodyPr vert="horz" wrap="square" lIns="91414" tIns="45706" rIns="91414" bIns="45706" numCol="1" anchor="t" anchorCtr="0" compatLnSpc="1">
                  <a:prstTxWarp prst="textNoShape">
                    <a:avLst/>
                  </a:prstTxWarp>
                </a:bodyPr>
                <a:lstStyle/>
                <a:p>
                  <a:pPr defTabSz="913833"/>
                  <a:endParaRPr lang="en-US" sz="1700">
                    <a:solidFill>
                      <a:srgbClr val="000000"/>
                    </a:solidFill>
                  </a:endParaRPr>
                </a:p>
              </p:txBody>
            </p:sp>
            <p:sp>
              <p:nvSpPr>
                <p:cNvPr id="108" name="Freeform 13"/>
                <p:cNvSpPr>
                  <a:spLocks noChangeAspect="1" noEditPoints="1"/>
                </p:cNvSpPr>
                <p:nvPr/>
              </p:nvSpPr>
              <p:spPr bwMode="black">
                <a:xfrm>
                  <a:off x="1503079" y="5857031"/>
                  <a:ext cx="409278" cy="348471"/>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78" tIns="41139" rIns="82278" bIns="41139" numCol="1" rtlCol="0" anchor="ctr" anchorCtr="0" compatLnSpc="1">
                  <a:prstTxWarp prst="textNoShape">
                    <a:avLst/>
                  </a:prstTxWarp>
                </a:bodyPr>
                <a:lstStyle/>
                <a:p>
                  <a:pPr defTabSz="740456"/>
                  <a:endParaRPr lang="en-US">
                    <a:solidFill>
                      <a:srgbClr val="000000">
                        <a:lumMod val="50000"/>
                      </a:srgbClr>
                    </a:solidFill>
                  </a:endParaRPr>
                </a:p>
              </p:txBody>
            </p:sp>
          </p:grpSp>
        </p:grpSp>
        <p:grpSp>
          <p:nvGrpSpPr>
            <p:cNvPr id="17" name="Group 16"/>
            <p:cNvGrpSpPr/>
            <p:nvPr/>
          </p:nvGrpSpPr>
          <p:grpSpPr>
            <a:xfrm>
              <a:off x="956929" y="3425484"/>
              <a:ext cx="827970" cy="816036"/>
              <a:chOff x="956929" y="3497264"/>
              <a:chExt cx="827970" cy="816036"/>
            </a:xfrm>
          </p:grpSpPr>
          <p:grpSp>
            <p:nvGrpSpPr>
              <p:cNvPr id="11" name="Group 10"/>
              <p:cNvGrpSpPr/>
              <p:nvPr/>
            </p:nvGrpSpPr>
            <p:grpSpPr>
              <a:xfrm>
                <a:off x="956929" y="3497264"/>
                <a:ext cx="827970" cy="520658"/>
                <a:chOff x="681416" y="4028239"/>
                <a:chExt cx="634251" cy="379977"/>
              </a:xfrm>
              <a:solidFill>
                <a:schemeClr val="accent6"/>
              </a:solidFill>
            </p:grpSpPr>
            <p:sp>
              <p:nvSpPr>
                <p:cNvPr id="120" name="Freeform 6"/>
                <p:cNvSpPr>
                  <a:spLocks noEditPoints="1"/>
                </p:cNvSpPr>
                <p:nvPr/>
              </p:nvSpPr>
              <p:spPr bwMode="auto">
                <a:xfrm rot="5400000">
                  <a:off x="1007591" y="4130249"/>
                  <a:ext cx="190964" cy="291561"/>
                </a:xfrm>
                <a:custGeom>
                  <a:avLst/>
                  <a:gdLst>
                    <a:gd name="T0" fmla="*/ 448 w 448"/>
                    <a:gd name="T1" fmla="*/ 0 h 684"/>
                    <a:gd name="T2" fmla="*/ 448 w 448"/>
                    <a:gd name="T3" fmla="*/ 207 h 684"/>
                    <a:gd name="T4" fmla="*/ 241 w 448"/>
                    <a:gd name="T5" fmla="*/ 207 h 684"/>
                    <a:gd name="T6" fmla="*/ 241 w 448"/>
                    <a:gd name="T7" fmla="*/ 0 h 684"/>
                    <a:gd name="T8" fmla="*/ 448 w 448"/>
                    <a:gd name="T9" fmla="*/ 0 h 684"/>
                    <a:gd name="T10" fmla="*/ 241 w 448"/>
                    <a:gd name="T11" fmla="*/ 238 h 684"/>
                    <a:gd name="T12" fmla="*/ 241 w 448"/>
                    <a:gd name="T13" fmla="*/ 446 h 684"/>
                    <a:gd name="T14" fmla="*/ 448 w 448"/>
                    <a:gd name="T15" fmla="*/ 446 h 684"/>
                    <a:gd name="T16" fmla="*/ 448 w 448"/>
                    <a:gd name="T17" fmla="*/ 238 h 684"/>
                    <a:gd name="T18" fmla="*/ 241 w 448"/>
                    <a:gd name="T19" fmla="*/ 238 h 684"/>
                    <a:gd name="T20" fmla="*/ 0 w 448"/>
                    <a:gd name="T21" fmla="*/ 0 h 684"/>
                    <a:gd name="T22" fmla="*/ 0 w 448"/>
                    <a:gd name="T23" fmla="*/ 207 h 684"/>
                    <a:gd name="T24" fmla="*/ 210 w 448"/>
                    <a:gd name="T25" fmla="*/ 207 h 684"/>
                    <a:gd name="T26" fmla="*/ 210 w 448"/>
                    <a:gd name="T27" fmla="*/ 0 h 684"/>
                    <a:gd name="T28" fmla="*/ 0 w 448"/>
                    <a:gd name="T29" fmla="*/ 0 h 684"/>
                    <a:gd name="T30" fmla="*/ 0 w 448"/>
                    <a:gd name="T31" fmla="*/ 238 h 684"/>
                    <a:gd name="T32" fmla="*/ 0 w 448"/>
                    <a:gd name="T33" fmla="*/ 446 h 684"/>
                    <a:gd name="T34" fmla="*/ 210 w 448"/>
                    <a:gd name="T35" fmla="*/ 446 h 684"/>
                    <a:gd name="T36" fmla="*/ 210 w 448"/>
                    <a:gd name="T37" fmla="*/ 238 h 684"/>
                    <a:gd name="T38" fmla="*/ 0 w 448"/>
                    <a:gd name="T39" fmla="*/ 238 h 684"/>
                    <a:gd name="T40" fmla="*/ 0 w 448"/>
                    <a:gd name="T41" fmla="*/ 477 h 684"/>
                    <a:gd name="T42" fmla="*/ 0 w 448"/>
                    <a:gd name="T43" fmla="*/ 684 h 684"/>
                    <a:gd name="T44" fmla="*/ 448 w 448"/>
                    <a:gd name="T45" fmla="*/ 684 h 684"/>
                    <a:gd name="T46" fmla="*/ 448 w 448"/>
                    <a:gd name="T47" fmla="*/ 477 h 684"/>
                    <a:gd name="T48" fmla="*/ 0 w 448"/>
                    <a:gd name="T49" fmla="*/ 477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8" h="684">
                      <a:moveTo>
                        <a:pt x="448" y="0"/>
                      </a:moveTo>
                      <a:lnTo>
                        <a:pt x="448" y="207"/>
                      </a:lnTo>
                      <a:lnTo>
                        <a:pt x="241" y="207"/>
                      </a:lnTo>
                      <a:lnTo>
                        <a:pt x="241" y="0"/>
                      </a:lnTo>
                      <a:lnTo>
                        <a:pt x="448" y="0"/>
                      </a:lnTo>
                      <a:close/>
                      <a:moveTo>
                        <a:pt x="241" y="238"/>
                      </a:moveTo>
                      <a:lnTo>
                        <a:pt x="241" y="446"/>
                      </a:lnTo>
                      <a:lnTo>
                        <a:pt x="448" y="446"/>
                      </a:lnTo>
                      <a:lnTo>
                        <a:pt x="448" y="238"/>
                      </a:lnTo>
                      <a:lnTo>
                        <a:pt x="241" y="238"/>
                      </a:lnTo>
                      <a:close/>
                      <a:moveTo>
                        <a:pt x="0" y="0"/>
                      </a:moveTo>
                      <a:lnTo>
                        <a:pt x="0" y="207"/>
                      </a:lnTo>
                      <a:lnTo>
                        <a:pt x="210" y="207"/>
                      </a:lnTo>
                      <a:lnTo>
                        <a:pt x="210" y="0"/>
                      </a:lnTo>
                      <a:lnTo>
                        <a:pt x="0" y="0"/>
                      </a:lnTo>
                      <a:close/>
                      <a:moveTo>
                        <a:pt x="0" y="238"/>
                      </a:moveTo>
                      <a:lnTo>
                        <a:pt x="0" y="446"/>
                      </a:lnTo>
                      <a:lnTo>
                        <a:pt x="210" y="446"/>
                      </a:lnTo>
                      <a:lnTo>
                        <a:pt x="210" y="238"/>
                      </a:lnTo>
                      <a:lnTo>
                        <a:pt x="0" y="238"/>
                      </a:lnTo>
                      <a:close/>
                      <a:moveTo>
                        <a:pt x="0" y="477"/>
                      </a:moveTo>
                      <a:lnTo>
                        <a:pt x="0" y="684"/>
                      </a:lnTo>
                      <a:lnTo>
                        <a:pt x="448" y="684"/>
                      </a:lnTo>
                      <a:lnTo>
                        <a:pt x="448" y="477"/>
                      </a:lnTo>
                      <a:lnTo>
                        <a:pt x="0" y="477"/>
                      </a:lnTo>
                      <a:close/>
                    </a:path>
                  </a:pathLst>
                </a:custGeom>
                <a:solidFill>
                  <a:schemeClr val="accent1"/>
                </a:solidFill>
                <a:ln>
                  <a:noFill/>
                </a:ln>
              </p:spPr>
              <p:txBody>
                <a:bodyPr vert="horz" wrap="square" lIns="91410" tIns="45706" rIns="91410" bIns="45706" numCol="1" anchor="t" anchorCtr="0" compatLnSpc="1">
                  <a:prstTxWarp prst="textNoShape">
                    <a:avLst/>
                  </a:prstTxWarp>
                </a:bodyPr>
                <a:lstStyle/>
                <a:p>
                  <a:pPr defTabSz="913833"/>
                  <a:endParaRPr lang="en-US" sz="1700" dirty="0">
                    <a:solidFill>
                      <a:srgbClr val="000000"/>
                    </a:solidFill>
                  </a:endParaRPr>
                </a:p>
              </p:txBody>
            </p:sp>
            <p:sp>
              <p:nvSpPr>
                <p:cNvPr id="121" name="Freeform 43"/>
                <p:cNvSpPr>
                  <a:spLocks noChangeAspect="1" noEditPoints="1"/>
                </p:cNvSpPr>
                <p:nvPr/>
              </p:nvSpPr>
              <p:spPr bwMode="black">
                <a:xfrm>
                  <a:off x="681416" y="4028239"/>
                  <a:ext cx="196604" cy="378995"/>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chemeClr val="accent1"/>
                </a:solidFill>
                <a:ln>
                  <a:noFill/>
                </a:ln>
              </p:spPr>
              <p:txBody>
                <a:bodyPr vert="horz" wrap="square" lIns="91414" tIns="45706" rIns="91414" bIns="45706" numCol="1" anchor="t" anchorCtr="0" compatLnSpc="1">
                  <a:prstTxWarp prst="textNoShape">
                    <a:avLst/>
                  </a:prstTxWarp>
                </a:bodyPr>
                <a:lstStyle/>
                <a:p>
                  <a:pPr defTabSz="914367"/>
                  <a:endParaRPr lang="en-US">
                    <a:solidFill>
                      <a:srgbClr val="000000"/>
                    </a:solidFill>
                  </a:endParaRPr>
                </a:p>
              </p:txBody>
            </p:sp>
            <p:sp>
              <p:nvSpPr>
                <p:cNvPr id="122" name="Rounded Rectangle 6"/>
                <p:cNvSpPr>
                  <a:spLocks noChangeAspect="1"/>
                </p:cNvSpPr>
                <p:nvPr/>
              </p:nvSpPr>
              <p:spPr bwMode="black">
                <a:xfrm rot="16200000">
                  <a:off x="965318" y="4057868"/>
                  <a:ext cx="289825" cy="410872"/>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78" tIns="41139" rIns="82278" bIns="41139" numCol="1" rtlCol="0" anchor="ctr" anchorCtr="0" compatLnSpc="1">
                  <a:prstTxWarp prst="textNoShape">
                    <a:avLst/>
                  </a:prstTxWarp>
                </a:bodyPr>
                <a:lstStyle/>
                <a:p>
                  <a:pPr defTabSz="740456"/>
                  <a:endParaRPr lang="en-US" dirty="0">
                    <a:solidFill>
                      <a:srgbClr val="000000">
                        <a:lumMod val="50000"/>
                      </a:srgbClr>
                    </a:solidFill>
                  </a:endParaRPr>
                </a:p>
              </p:txBody>
            </p:sp>
          </p:grpSp>
          <p:sp>
            <p:nvSpPr>
              <p:cNvPr id="123" name="TextBox 122"/>
              <p:cNvSpPr txBox="1"/>
              <p:nvPr/>
            </p:nvSpPr>
            <p:spPr>
              <a:xfrm>
                <a:off x="1113632" y="4128634"/>
                <a:ext cx="514563" cy="184666"/>
              </a:xfrm>
              <a:prstGeom prst="rect">
                <a:avLst/>
              </a:prstGeom>
              <a:noFill/>
            </p:spPr>
            <p:txBody>
              <a:bodyPr wrap="none" lIns="0" tIns="0" rIns="0" bIns="0" rtlCol="0">
                <a:spAutoFit/>
              </a:bodyPr>
              <a:lstStyle/>
              <a:p>
                <a:pPr algn="ctr" defTabSz="914367">
                  <a:spcAft>
                    <a:spcPts val="588"/>
                  </a:spcAft>
                </a:pPr>
                <a:r>
                  <a:rPr lang="en-US" sz="1176" dirty="0">
                    <a:solidFill>
                      <a:srgbClr val="505050"/>
                    </a:solidFill>
                  </a:rPr>
                  <a:t>Devices</a:t>
                </a:r>
              </a:p>
            </p:txBody>
          </p:sp>
        </p:grpSp>
        <p:grpSp>
          <p:nvGrpSpPr>
            <p:cNvPr id="15" name="Group 14"/>
            <p:cNvGrpSpPr/>
            <p:nvPr/>
          </p:nvGrpSpPr>
          <p:grpSpPr>
            <a:xfrm>
              <a:off x="1007451" y="4604214"/>
              <a:ext cx="726927" cy="631310"/>
              <a:chOff x="994286" y="4579189"/>
              <a:chExt cx="726927" cy="631310"/>
            </a:xfrm>
          </p:grpSpPr>
          <p:sp>
            <p:nvSpPr>
              <p:cNvPr id="125" name="TextBox 124"/>
              <p:cNvSpPr txBox="1"/>
              <p:nvPr/>
            </p:nvSpPr>
            <p:spPr>
              <a:xfrm>
                <a:off x="994286" y="5025833"/>
                <a:ext cx="726927" cy="184666"/>
              </a:xfrm>
              <a:prstGeom prst="rect">
                <a:avLst/>
              </a:prstGeom>
              <a:noFill/>
            </p:spPr>
            <p:txBody>
              <a:bodyPr wrap="square" lIns="0" tIns="0" rIns="0" bIns="0" rtlCol="0">
                <a:spAutoFit/>
              </a:bodyPr>
              <a:lstStyle/>
              <a:p>
                <a:pPr algn="ctr" defTabSz="914367"/>
                <a:r>
                  <a:rPr lang="en-US" sz="1176" dirty="0">
                    <a:solidFill>
                      <a:srgbClr val="505050"/>
                    </a:solidFill>
                  </a:rPr>
                  <a:t>Sensors</a:t>
                </a:r>
              </a:p>
            </p:txBody>
          </p:sp>
          <p:grpSp>
            <p:nvGrpSpPr>
              <p:cNvPr id="126" name="Group 125"/>
              <p:cNvGrpSpPr/>
              <p:nvPr/>
            </p:nvGrpSpPr>
            <p:grpSpPr>
              <a:xfrm>
                <a:off x="1007450" y="4579189"/>
                <a:ext cx="700598" cy="349068"/>
                <a:chOff x="5416547" y="3144838"/>
                <a:chExt cx="1352553" cy="565150"/>
              </a:xfrm>
              <a:solidFill>
                <a:schemeClr val="accent6"/>
              </a:solidFill>
            </p:grpSpPr>
            <p:sp>
              <p:nvSpPr>
                <p:cNvPr id="127" name="Freeform 21"/>
                <p:cNvSpPr>
                  <a:spLocks/>
                </p:cNvSpPr>
                <p:nvPr/>
              </p:nvSpPr>
              <p:spPr bwMode="auto">
                <a:xfrm>
                  <a:off x="5435600" y="3144838"/>
                  <a:ext cx="1333500" cy="561975"/>
                </a:xfrm>
                <a:custGeom>
                  <a:avLst/>
                  <a:gdLst>
                    <a:gd name="T0" fmla="*/ 316 w 353"/>
                    <a:gd name="T1" fmla="*/ 100 h 147"/>
                    <a:gd name="T2" fmla="*/ 314 w 353"/>
                    <a:gd name="T3" fmla="*/ 97 h 147"/>
                    <a:gd name="T4" fmla="*/ 351 w 353"/>
                    <a:gd name="T5" fmla="*/ 74 h 147"/>
                    <a:gd name="T6" fmla="*/ 47 w 353"/>
                    <a:gd name="T7" fmla="*/ 0 h 147"/>
                    <a:gd name="T8" fmla="*/ 0 w 353"/>
                    <a:gd name="T9" fmla="*/ 16 h 147"/>
                    <a:gd name="T10" fmla="*/ 1 w 353"/>
                    <a:gd name="T11" fmla="*/ 17 h 147"/>
                    <a:gd name="T12" fmla="*/ 304 w 353"/>
                    <a:gd name="T13" fmla="*/ 98 h 147"/>
                    <a:gd name="T14" fmla="*/ 312 w 353"/>
                    <a:gd name="T15" fmla="*/ 108 h 147"/>
                    <a:gd name="T16" fmla="*/ 312 w 353"/>
                    <a:gd name="T17" fmla="*/ 144 h 147"/>
                    <a:gd name="T18" fmla="*/ 312 w 353"/>
                    <a:gd name="T19" fmla="*/ 147 h 147"/>
                    <a:gd name="T20" fmla="*/ 353 w 353"/>
                    <a:gd name="T21" fmla="*/ 77 h 147"/>
                    <a:gd name="T22" fmla="*/ 316 w 353"/>
                    <a:gd name="T23" fmla="*/ 10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3" h="147">
                      <a:moveTo>
                        <a:pt x="316" y="100"/>
                      </a:moveTo>
                      <a:cubicBezTo>
                        <a:pt x="314" y="97"/>
                        <a:pt x="314" y="97"/>
                        <a:pt x="314" y="97"/>
                      </a:cubicBezTo>
                      <a:cubicBezTo>
                        <a:pt x="351" y="74"/>
                        <a:pt x="351" y="74"/>
                        <a:pt x="351" y="74"/>
                      </a:cubicBezTo>
                      <a:cubicBezTo>
                        <a:pt x="47" y="0"/>
                        <a:pt x="47" y="0"/>
                        <a:pt x="47" y="0"/>
                      </a:cubicBezTo>
                      <a:cubicBezTo>
                        <a:pt x="0" y="16"/>
                        <a:pt x="0" y="16"/>
                        <a:pt x="0" y="16"/>
                      </a:cubicBezTo>
                      <a:cubicBezTo>
                        <a:pt x="1" y="16"/>
                        <a:pt x="1" y="16"/>
                        <a:pt x="1" y="17"/>
                      </a:cubicBezTo>
                      <a:cubicBezTo>
                        <a:pt x="304" y="98"/>
                        <a:pt x="304" y="98"/>
                        <a:pt x="304" y="98"/>
                      </a:cubicBezTo>
                      <a:cubicBezTo>
                        <a:pt x="309" y="99"/>
                        <a:pt x="312" y="104"/>
                        <a:pt x="312" y="108"/>
                      </a:cubicBezTo>
                      <a:cubicBezTo>
                        <a:pt x="312" y="144"/>
                        <a:pt x="312" y="144"/>
                        <a:pt x="312" y="144"/>
                      </a:cubicBezTo>
                      <a:cubicBezTo>
                        <a:pt x="312" y="145"/>
                        <a:pt x="312" y="146"/>
                        <a:pt x="312" y="147"/>
                      </a:cubicBezTo>
                      <a:cubicBezTo>
                        <a:pt x="347" y="128"/>
                        <a:pt x="352" y="86"/>
                        <a:pt x="353" y="77"/>
                      </a:cubicBezTo>
                      <a:lnTo>
                        <a:pt x="316" y="10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3833"/>
                  <a:endParaRPr lang="en-US" sz="1700">
                    <a:solidFill>
                      <a:srgbClr val="000000"/>
                    </a:solidFill>
                  </a:endParaRPr>
                </a:p>
              </p:txBody>
            </p:sp>
            <p:sp>
              <p:nvSpPr>
                <p:cNvPr id="128" name="Freeform 22"/>
                <p:cNvSpPr>
                  <a:spLocks noEditPoints="1"/>
                </p:cNvSpPr>
                <p:nvPr/>
              </p:nvSpPr>
              <p:spPr bwMode="auto">
                <a:xfrm>
                  <a:off x="5416547" y="3216276"/>
                  <a:ext cx="1185862" cy="493712"/>
                </a:xfrm>
                <a:custGeom>
                  <a:avLst/>
                  <a:gdLst>
                    <a:gd name="T0" fmla="*/ 308 w 314"/>
                    <a:gd name="T1" fmla="*/ 82 h 129"/>
                    <a:gd name="T2" fmla="*/ 5 w 314"/>
                    <a:gd name="T3" fmla="*/ 0 h 129"/>
                    <a:gd name="T4" fmla="*/ 4 w 314"/>
                    <a:gd name="T5" fmla="*/ 0 h 129"/>
                    <a:gd name="T6" fmla="*/ 0 w 314"/>
                    <a:gd name="T7" fmla="*/ 4 h 129"/>
                    <a:gd name="T8" fmla="*/ 0 w 314"/>
                    <a:gd name="T9" fmla="*/ 40 h 129"/>
                    <a:gd name="T10" fmla="*/ 6 w 314"/>
                    <a:gd name="T11" fmla="*/ 48 h 129"/>
                    <a:gd name="T12" fmla="*/ 309 w 314"/>
                    <a:gd name="T13" fmla="*/ 129 h 129"/>
                    <a:gd name="T14" fmla="*/ 313 w 314"/>
                    <a:gd name="T15" fmla="*/ 128 h 129"/>
                    <a:gd name="T16" fmla="*/ 314 w 314"/>
                    <a:gd name="T17" fmla="*/ 125 h 129"/>
                    <a:gd name="T18" fmla="*/ 314 w 314"/>
                    <a:gd name="T19" fmla="*/ 89 h 129"/>
                    <a:gd name="T20" fmla="*/ 308 w 314"/>
                    <a:gd name="T21" fmla="*/ 82 h 129"/>
                    <a:gd name="T22" fmla="*/ 72 w 314"/>
                    <a:gd name="T23" fmla="*/ 54 h 129"/>
                    <a:gd name="T24" fmla="*/ 60 w 314"/>
                    <a:gd name="T25" fmla="*/ 39 h 129"/>
                    <a:gd name="T26" fmla="*/ 72 w 314"/>
                    <a:gd name="T27" fmla="*/ 30 h 129"/>
                    <a:gd name="T28" fmla="*/ 84 w 314"/>
                    <a:gd name="T29" fmla="*/ 45 h 129"/>
                    <a:gd name="T30" fmla="*/ 72 w 314"/>
                    <a:gd name="T31" fmla="*/ 54 h 129"/>
                    <a:gd name="T32" fmla="*/ 139 w 314"/>
                    <a:gd name="T33" fmla="*/ 72 h 129"/>
                    <a:gd name="T34" fmla="*/ 127 w 314"/>
                    <a:gd name="T35" fmla="*/ 57 h 129"/>
                    <a:gd name="T36" fmla="*/ 139 w 314"/>
                    <a:gd name="T37" fmla="*/ 48 h 129"/>
                    <a:gd name="T38" fmla="*/ 151 w 314"/>
                    <a:gd name="T39" fmla="*/ 63 h 129"/>
                    <a:gd name="T40" fmla="*/ 139 w 314"/>
                    <a:gd name="T41" fmla="*/ 72 h 129"/>
                    <a:gd name="T42" fmla="*/ 175 w 314"/>
                    <a:gd name="T43" fmla="*/ 82 h 129"/>
                    <a:gd name="T44" fmla="*/ 163 w 314"/>
                    <a:gd name="T45" fmla="*/ 66 h 129"/>
                    <a:gd name="T46" fmla="*/ 175 w 314"/>
                    <a:gd name="T47" fmla="*/ 57 h 129"/>
                    <a:gd name="T48" fmla="*/ 188 w 314"/>
                    <a:gd name="T49" fmla="*/ 73 h 129"/>
                    <a:gd name="T50" fmla="*/ 175 w 314"/>
                    <a:gd name="T51" fmla="*/ 8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4" h="129">
                      <a:moveTo>
                        <a:pt x="308" y="82"/>
                      </a:moveTo>
                      <a:cubicBezTo>
                        <a:pt x="5" y="0"/>
                        <a:pt x="5" y="0"/>
                        <a:pt x="5" y="0"/>
                      </a:cubicBezTo>
                      <a:cubicBezTo>
                        <a:pt x="5" y="0"/>
                        <a:pt x="4" y="0"/>
                        <a:pt x="4" y="0"/>
                      </a:cubicBezTo>
                      <a:cubicBezTo>
                        <a:pt x="2" y="0"/>
                        <a:pt x="0" y="2"/>
                        <a:pt x="0" y="4"/>
                      </a:cubicBezTo>
                      <a:cubicBezTo>
                        <a:pt x="0" y="40"/>
                        <a:pt x="0" y="40"/>
                        <a:pt x="0" y="40"/>
                      </a:cubicBezTo>
                      <a:cubicBezTo>
                        <a:pt x="0" y="43"/>
                        <a:pt x="3" y="47"/>
                        <a:pt x="6" y="48"/>
                      </a:cubicBezTo>
                      <a:cubicBezTo>
                        <a:pt x="309" y="129"/>
                        <a:pt x="309" y="129"/>
                        <a:pt x="309" y="129"/>
                      </a:cubicBezTo>
                      <a:cubicBezTo>
                        <a:pt x="311" y="129"/>
                        <a:pt x="312" y="129"/>
                        <a:pt x="313" y="128"/>
                      </a:cubicBezTo>
                      <a:cubicBezTo>
                        <a:pt x="314" y="127"/>
                        <a:pt x="314" y="126"/>
                        <a:pt x="314" y="125"/>
                      </a:cubicBezTo>
                      <a:cubicBezTo>
                        <a:pt x="314" y="89"/>
                        <a:pt x="314" y="89"/>
                        <a:pt x="314" y="89"/>
                      </a:cubicBezTo>
                      <a:cubicBezTo>
                        <a:pt x="314" y="86"/>
                        <a:pt x="311" y="82"/>
                        <a:pt x="308" y="82"/>
                      </a:cubicBezTo>
                      <a:close/>
                      <a:moveTo>
                        <a:pt x="72" y="54"/>
                      </a:moveTo>
                      <a:cubicBezTo>
                        <a:pt x="65" y="52"/>
                        <a:pt x="60" y="45"/>
                        <a:pt x="60" y="39"/>
                      </a:cubicBezTo>
                      <a:cubicBezTo>
                        <a:pt x="60" y="32"/>
                        <a:pt x="65" y="28"/>
                        <a:pt x="72" y="30"/>
                      </a:cubicBezTo>
                      <a:cubicBezTo>
                        <a:pt x="79" y="31"/>
                        <a:pt x="84" y="38"/>
                        <a:pt x="84" y="45"/>
                      </a:cubicBezTo>
                      <a:cubicBezTo>
                        <a:pt x="84" y="52"/>
                        <a:pt x="79" y="56"/>
                        <a:pt x="72" y="54"/>
                      </a:cubicBezTo>
                      <a:close/>
                      <a:moveTo>
                        <a:pt x="139" y="72"/>
                      </a:moveTo>
                      <a:cubicBezTo>
                        <a:pt x="132" y="70"/>
                        <a:pt x="127" y="63"/>
                        <a:pt x="127" y="57"/>
                      </a:cubicBezTo>
                      <a:cubicBezTo>
                        <a:pt x="127" y="50"/>
                        <a:pt x="132" y="46"/>
                        <a:pt x="139" y="48"/>
                      </a:cubicBezTo>
                      <a:cubicBezTo>
                        <a:pt x="146" y="49"/>
                        <a:pt x="151" y="56"/>
                        <a:pt x="151" y="63"/>
                      </a:cubicBezTo>
                      <a:cubicBezTo>
                        <a:pt x="151" y="70"/>
                        <a:pt x="146" y="74"/>
                        <a:pt x="139" y="72"/>
                      </a:cubicBezTo>
                      <a:close/>
                      <a:moveTo>
                        <a:pt x="175" y="82"/>
                      </a:moveTo>
                      <a:cubicBezTo>
                        <a:pt x="169" y="80"/>
                        <a:pt x="163" y="73"/>
                        <a:pt x="163" y="66"/>
                      </a:cubicBezTo>
                      <a:cubicBezTo>
                        <a:pt x="163" y="60"/>
                        <a:pt x="169" y="56"/>
                        <a:pt x="175" y="57"/>
                      </a:cubicBezTo>
                      <a:cubicBezTo>
                        <a:pt x="182" y="59"/>
                        <a:pt x="188" y="66"/>
                        <a:pt x="188" y="73"/>
                      </a:cubicBezTo>
                      <a:cubicBezTo>
                        <a:pt x="188" y="80"/>
                        <a:pt x="182" y="84"/>
                        <a:pt x="175" y="8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3833"/>
                  <a:endParaRPr lang="en-US" sz="1700">
                    <a:solidFill>
                      <a:srgbClr val="000000"/>
                    </a:solidFill>
                  </a:endParaRPr>
                </a:p>
              </p:txBody>
            </p:sp>
            <p:sp>
              <p:nvSpPr>
                <p:cNvPr id="129" name="Freeform 23"/>
                <p:cNvSpPr>
                  <a:spLocks/>
                </p:cNvSpPr>
                <p:nvPr/>
              </p:nvSpPr>
              <p:spPr bwMode="auto">
                <a:xfrm>
                  <a:off x="6046788" y="3576638"/>
                  <a:ext cx="188913" cy="117475"/>
                </a:xfrm>
                <a:custGeom>
                  <a:avLst/>
                  <a:gdLst>
                    <a:gd name="T0" fmla="*/ 0 w 119"/>
                    <a:gd name="T1" fmla="*/ 0 h 74"/>
                    <a:gd name="T2" fmla="*/ 0 w 119"/>
                    <a:gd name="T3" fmla="*/ 12 h 74"/>
                    <a:gd name="T4" fmla="*/ 88 w 119"/>
                    <a:gd name="T5" fmla="*/ 74 h 74"/>
                    <a:gd name="T6" fmla="*/ 119 w 119"/>
                    <a:gd name="T7" fmla="*/ 50 h 74"/>
                    <a:gd name="T8" fmla="*/ 43 w 119"/>
                    <a:gd name="T9" fmla="*/ 12 h 74"/>
                    <a:gd name="T10" fmla="*/ 0 w 119"/>
                    <a:gd name="T11" fmla="*/ 0 h 74"/>
                  </a:gdLst>
                  <a:ahLst/>
                  <a:cxnLst>
                    <a:cxn ang="0">
                      <a:pos x="T0" y="T1"/>
                    </a:cxn>
                    <a:cxn ang="0">
                      <a:pos x="T2" y="T3"/>
                    </a:cxn>
                    <a:cxn ang="0">
                      <a:pos x="T4" y="T5"/>
                    </a:cxn>
                    <a:cxn ang="0">
                      <a:pos x="T6" y="T7"/>
                    </a:cxn>
                    <a:cxn ang="0">
                      <a:pos x="T8" y="T9"/>
                    </a:cxn>
                    <a:cxn ang="0">
                      <a:pos x="T10" y="T11"/>
                    </a:cxn>
                  </a:cxnLst>
                  <a:rect l="0" t="0" r="r" b="b"/>
                  <a:pathLst>
                    <a:path w="119" h="74">
                      <a:moveTo>
                        <a:pt x="0" y="0"/>
                      </a:moveTo>
                      <a:lnTo>
                        <a:pt x="0" y="12"/>
                      </a:lnTo>
                      <a:lnTo>
                        <a:pt x="88" y="74"/>
                      </a:lnTo>
                      <a:lnTo>
                        <a:pt x="119" y="50"/>
                      </a:lnTo>
                      <a:lnTo>
                        <a:pt x="43" y="12"/>
                      </a:ln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3833"/>
                  <a:endParaRPr lang="en-US" sz="1700">
                    <a:solidFill>
                      <a:srgbClr val="000000"/>
                    </a:solidFill>
                  </a:endParaRPr>
                </a:p>
              </p:txBody>
            </p:sp>
            <p:sp>
              <p:nvSpPr>
                <p:cNvPr id="135" name="Freeform 24"/>
                <p:cNvSpPr>
                  <a:spLocks/>
                </p:cNvSpPr>
                <p:nvPr/>
              </p:nvSpPr>
              <p:spPr bwMode="auto">
                <a:xfrm>
                  <a:off x="5808663" y="3549651"/>
                  <a:ext cx="374650" cy="149225"/>
                </a:xfrm>
                <a:custGeom>
                  <a:avLst/>
                  <a:gdLst>
                    <a:gd name="T0" fmla="*/ 148 w 236"/>
                    <a:gd name="T1" fmla="*/ 31 h 94"/>
                    <a:gd name="T2" fmla="*/ 148 w 236"/>
                    <a:gd name="T3" fmla="*/ 17 h 94"/>
                    <a:gd name="T4" fmla="*/ 91 w 236"/>
                    <a:gd name="T5" fmla="*/ 0 h 94"/>
                    <a:gd name="T6" fmla="*/ 91 w 236"/>
                    <a:gd name="T7" fmla="*/ 5 h 94"/>
                    <a:gd name="T8" fmla="*/ 53 w 236"/>
                    <a:gd name="T9" fmla="*/ 7 h 94"/>
                    <a:gd name="T10" fmla="*/ 0 w 236"/>
                    <a:gd name="T11" fmla="*/ 29 h 94"/>
                    <a:gd name="T12" fmla="*/ 91 w 236"/>
                    <a:gd name="T13" fmla="*/ 12 h 94"/>
                    <a:gd name="T14" fmla="*/ 91 w 236"/>
                    <a:gd name="T15" fmla="*/ 14 h 94"/>
                    <a:gd name="T16" fmla="*/ 60 w 236"/>
                    <a:gd name="T17" fmla="*/ 19 h 94"/>
                    <a:gd name="T18" fmla="*/ 0 w 236"/>
                    <a:gd name="T19" fmla="*/ 29 h 94"/>
                    <a:gd name="T20" fmla="*/ 119 w 236"/>
                    <a:gd name="T21" fmla="*/ 63 h 94"/>
                    <a:gd name="T22" fmla="*/ 236 w 236"/>
                    <a:gd name="T23" fmla="*/ 94 h 94"/>
                    <a:gd name="T24" fmla="*/ 176 w 236"/>
                    <a:gd name="T25" fmla="*/ 50 h 94"/>
                    <a:gd name="T26" fmla="*/ 148 w 236"/>
                    <a:gd name="T27" fmla="*/ 3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6" h="94">
                      <a:moveTo>
                        <a:pt x="148" y="31"/>
                      </a:moveTo>
                      <a:lnTo>
                        <a:pt x="148" y="17"/>
                      </a:lnTo>
                      <a:lnTo>
                        <a:pt x="91" y="0"/>
                      </a:lnTo>
                      <a:lnTo>
                        <a:pt x="91" y="5"/>
                      </a:lnTo>
                      <a:lnTo>
                        <a:pt x="53" y="7"/>
                      </a:lnTo>
                      <a:lnTo>
                        <a:pt x="0" y="29"/>
                      </a:lnTo>
                      <a:lnTo>
                        <a:pt x="91" y="12"/>
                      </a:lnTo>
                      <a:lnTo>
                        <a:pt x="91" y="14"/>
                      </a:lnTo>
                      <a:lnTo>
                        <a:pt x="60" y="19"/>
                      </a:lnTo>
                      <a:lnTo>
                        <a:pt x="0" y="29"/>
                      </a:lnTo>
                      <a:lnTo>
                        <a:pt x="119" y="63"/>
                      </a:lnTo>
                      <a:lnTo>
                        <a:pt x="236" y="94"/>
                      </a:lnTo>
                      <a:lnTo>
                        <a:pt x="176" y="50"/>
                      </a:lnTo>
                      <a:lnTo>
                        <a:pt x="148" y="3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3833"/>
                  <a:endParaRPr lang="en-US" sz="1700">
                    <a:solidFill>
                      <a:srgbClr val="000000"/>
                    </a:solidFill>
                  </a:endParaRPr>
                </a:p>
              </p:txBody>
            </p:sp>
          </p:grpSp>
        </p:grpSp>
      </p:grpSp>
      <p:sp>
        <p:nvSpPr>
          <p:cNvPr id="219" name="Right Arrow 218"/>
          <p:cNvSpPr/>
          <p:nvPr/>
        </p:nvSpPr>
        <p:spPr bwMode="auto">
          <a:xfrm>
            <a:off x="8240367" y="2139059"/>
            <a:ext cx="1482572" cy="62732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7" tIns="0" rIns="0" bIns="0" numCol="1" spcCol="0" rtlCol="0" fromWordArt="0" anchor="ctr" anchorCtr="0" forceAA="0" compatLnSpc="1">
            <a:prstTxWarp prst="textNoShape">
              <a:avLst/>
            </a:prstTxWarp>
            <a:noAutofit/>
          </a:bodyPr>
          <a:lstStyle/>
          <a:p>
            <a:pPr defTabSz="913751"/>
            <a:r>
              <a:rPr lang="en-US" sz="1174" dirty="0">
                <a:solidFill>
                  <a:srgbClr val="FFFFFF"/>
                </a:solidFill>
                <a:ea typeface="Segoe UI" pitchFamily="34" charset="0"/>
                <a:cs typeface="Segoe UI" pitchFamily="34" charset="0"/>
              </a:rPr>
              <a:t>Live Dashboards</a:t>
            </a:r>
          </a:p>
        </p:txBody>
      </p:sp>
      <p:grpSp>
        <p:nvGrpSpPr>
          <p:cNvPr id="26" name="Group 25"/>
          <p:cNvGrpSpPr/>
          <p:nvPr/>
        </p:nvGrpSpPr>
        <p:grpSpPr>
          <a:xfrm>
            <a:off x="8240366" y="3345528"/>
            <a:ext cx="1482571" cy="1676557"/>
            <a:chOff x="8405602" y="3412116"/>
            <a:chExt cx="1512300" cy="1710175"/>
          </a:xfrm>
        </p:grpSpPr>
        <p:grpSp>
          <p:nvGrpSpPr>
            <p:cNvPr id="231" name="Group 230"/>
            <p:cNvGrpSpPr/>
            <p:nvPr/>
          </p:nvGrpSpPr>
          <p:grpSpPr>
            <a:xfrm>
              <a:off x="8405602" y="3412116"/>
              <a:ext cx="1512300" cy="701306"/>
              <a:chOff x="8208565" y="3351613"/>
              <a:chExt cx="1773237" cy="822312"/>
            </a:xfrm>
          </p:grpSpPr>
          <p:sp>
            <p:nvSpPr>
              <p:cNvPr id="101" name="Rectangle 100"/>
              <p:cNvSpPr/>
              <p:nvPr/>
            </p:nvSpPr>
            <p:spPr bwMode="auto">
              <a:xfrm>
                <a:off x="8251412" y="3770364"/>
                <a:ext cx="1687543" cy="40356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751" fontAlgn="base">
                  <a:spcBef>
                    <a:spcPct val="0"/>
                  </a:spcBef>
                  <a:spcAft>
                    <a:spcPct val="0"/>
                  </a:spcAft>
                </a:pPr>
                <a:r>
                  <a:rPr lang="en-US" sz="1176" dirty="0">
                    <a:solidFill>
                      <a:srgbClr val="505050"/>
                    </a:solidFill>
                    <a:ea typeface="Segoe UI" pitchFamily="34" charset="0"/>
                    <a:cs typeface="Segoe UI" pitchFamily="34" charset="0"/>
                  </a:rPr>
                  <a:t>Apache HBase on</a:t>
                </a:r>
              </a:p>
              <a:p>
                <a:pPr algn="ctr" defTabSz="913751" fontAlgn="base">
                  <a:spcBef>
                    <a:spcPct val="0"/>
                  </a:spcBef>
                  <a:spcAft>
                    <a:spcPct val="0"/>
                  </a:spcAft>
                </a:pPr>
                <a:r>
                  <a:rPr lang="en-US" sz="1176" dirty="0">
                    <a:solidFill>
                      <a:srgbClr val="505050"/>
                    </a:solidFill>
                    <a:ea typeface="Segoe UI" pitchFamily="34" charset="0"/>
                    <a:cs typeface="Segoe UI" pitchFamily="34" charset="0"/>
                  </a:rPr>
                  <a:t>HDInsight</a:t>
                </a:r>
              </a:p>
            </p:txBody>
          </p:sp>
          <p:grpSp>
            <p:nvGrpSpPr>
              <p:cNvPr id="230" name="Group 229"/>
              <p:cNvGrpSpPr/>
              <p:nvPr/>
            </p:nvGrpSpPr>
            <p:grpSpPr>
              <a:xfrm>
                <a:off x="8208565" y="3351613"/>
                <a:ext cx="1773237" cy="366347"/>
                <a:chOff x="8208565" y="3351613"/>
                <a:chExt cx="1773237" cy="366347"/>
              </a:xfrm>
            </p:grpSpPr>
            <p:pic>
              <p:nvPicPr>
                <p:cNvPr id="98" name="Picture 97"/>
                <p:cNvPicPr>
                  <a:picLocks noChangeAspect="1"/>
                </p:cNvPicPr>
                <p:nvPr/>
              </p:nvPicPr>
              <p:blipFill>
                <a:blip r:embed="rId3"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8762727" y="3416616"/>
                  <a:ext cx="1219075" cy="301344"/>
                </a:xfrm>
                <a:prstGeom prst="rect">
                  <a:avLst/>
                </a:prstGeom>
                <a:noFill/>
              </p:spPr>
            </p:pic>
            <p:sp>
              <p:nvSpPr>
                <p:cNvPr id="96" name="Freeform 95"/>
                <p:cNvSpPr>
                  <a:spLocks/>
                </p:cNvSpPr>
                <p:nvPr/>
              </p:nvSpPr>
              <p:spPr bwMode="auto">
                <a:xfrm>
                  <a:off x="8208565" y="3351613"/>
                  <a:ext cx="470045" cy="366347"/>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rgbClr val="7030A0"/>
                </a:solidFill>
                <a:ln>
                  <a:noFill/>
                </a:ln>
              </p:spPr>
              <p:txBody>
                <a:bodyPr vert="horz" wrap="square" lIns="89642" tIns="44821" rIns="89642" bIns="44821" numCol="1" anchor="t" anchorCtr="0" compatLnSpc="1">
                  <a:prstTxWarp prst="textNoShape">
                    <a:avLst/>
                  </a:prstTxWarp>
                </a:bodyPr>
                <a:lstStyle/>
                <a:p>
                  <a:pPr defTabSz="914367"/>
                  <a:endParaRPr lang="en-IN" sz="1765">
                    <a:solidFill>
                      <a:srgbClr val="000000"/>
                    </a:solidFill>
                  </a:endParaRPr>
                </a:p>
              </p:txBody>
            </p:sp>
          </p:grpSp>
        </p:grpSp>
        <p:sp>
          <p:nvSpPr>
            <p:cNvPr id="87" name="Rectangle 86"/>
            <p:cNvSpPr/>
            <p:nvPr/>
          </p:nvSpPr>
          <p:spPr bwMode="auto">
            <a:xfrm>
              <a:off x="8673057" y="4331703"/>
              <a:ext cx="1171904" cy="7905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4367"/>
              <a:r>
                <a:rPr lang="en-US" sz="1176" dirty="0" err="1">
                  <a:solidFill>
                    <a:srgbClr val="505050"/>
                  </a:solidFill>
                  <a:ea typeface="Segoe UI" pitchFamily="34" charset="0"/>
                  <a:cs typeface="Segoe UI" pitchFamily="34" charset="0"/>
                </a:rPr>
                <a:t>DocumentDB</a:t>
              </a:r>
              <a:endParaRPr lang="en-US" sz="1176" dirty="0">
                <a:solidFill>
                  <a:srgbClr val="505050"/>
                </a:solidFill>
              </a:endParaRPr>
            </a:p>
            <a:p>
              <a:pPr defTabSz="914367"/>
              <a:r>
                <a:rPr lang="en-US" sz="1176" dirty="0" err="1">
                  <a:solidFill>
                    <a:srgbClr val="505050"/>
                  </a:solidFill>
                </a:rPr>
                <a:t>Solr</a:t>
              </a:r>
              <a:r>
                <a:rPr lang="en-US" sz="1176" dirty="0">
                  <a:solidFill>
                    <a:srgbClr val="505050"/>
                  </a:solidFill>
                </a:rPr>
                <a:t> Azure </a:t>
              </a:r>
              <a:br>
                <a:rPr lang="en-US" sz="1176" dirty="0">
                  <a:solidFill>
                    <a:srgbClr val="505050"/>
                  </a:solidFill>
                </a:rPr>
              </a:br>
              <a:r>
                <a:rPr lang="en-US" sz="1176" dirty="0">
                  <a:solidFill>
                    <a:srgbClr val="505050"/>
                  </a:solidFill>
                </a:rPr>
                <a:t>Search</a:t>
              </a:r>
              <a:r>
                <a:rPr lang="en-US" sz="1176" dirty="0">
                  <a:solidFill>
                    <a:srgbClr val="505050"/>
                  </a:solidFill>
                  <a:cs typeface="Segoe UI" pitchFamily="34" charset="0"/>
                </a:rPr>
                <a:t> </a:t>
              </a:r>
            </a:p>
            <a:p>
              <a:pPr defTabSz="914367"/>
              <a:r>
                <a:rPr lang="en-US" sz="1176" dirty="0" err="1">
                  <a:solidFill>
                    <a:srgbClr val="505050"/>
                  </a:solidFill>
                  <a:cs typeface="Segoe UI" pitchFamily="34" charset="0"/>
                </a:rPr>
                <a:t>MongoDB</a:t>
              </a:r>
              <a:r>
                <a:rPr lang="en-US" sz="1176" dirty="0">
                  <a:solidFill>
                    <a:srgbClr val="505050"/>
                  </a:solidFill>
                  <a:cs typeface="Segoe UI" pitchFamily="34" charset="0"/>
                </a:rPr>
                <a:t> SQL </a:t>
              </a:r>
              <a:endParaRPr lang="en-US" sz="1176" dirty="0">
                <a:solidFill>
                  <a:srgbClr val="505050"/>
                </a:solidFill>
              </a:endParaRPr>
            </a:p>
          </p:txBody>
        </p:sp>
      </p:grpSp>
      <p:cxnSp>
        <p:nvCxnSpPr>
          <p:cNvPr id="12" name="Straight Arrow Connector 11"/>
          <p:cNvCxnSpPr/>
          <p:nvPr/>
        </p:nvCxnSpPr>
        <p:spPr>
          <a:xfrm flipV="1">
            <a:off x="1928809" y="4239828"/>
            <a:ext cx="2452146" cy="942966"/>
          </a:xfrm>
          <a:prstGeom prst="straightConnector1">
            <a:avLst/>
          </a:prstGeom>
          <a:ln w="25400">
            <a:solidFill>
              <a:schemeClr val="bg1">
                <a:lumMod val="7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1928808" y="3751931"/>
            <a:ext cx="647314" cy="0"/>
          </a:xfrm>
          <a:prstGeom prst="straightConnector1">
            <a:avLst/>
          </a:prstGeom>
          <a:ln w="25400">
            <a:solidFill>
              <a:schemeClr val="bg1">
                <a:lumMod val="7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grpSp>
        <p:nvGrpSpPr>
          <p:cNvPr id="9" name="Group 8"/>
          <p:cNvGrpSpPr/>
          <p:nvPr/>
        </p:nvGrpSpPr>
        <p:grpSpPr>
          <a:xfrm>
            <a:off x="2627270" y="3444004"/>
            <a:ext cx="1329230" cy="2697202"/>
            <a:chOff x="2679952" y="3512566"/>
            <a:chExt cx="1355884" cy="2751287"/>
          </a:xfrm>
        </p:grpSpPr>
        <p:grpSp>
          <p:nvGrpSpPr>
            <p:cNvPr id="195" name="Group 194"/>
            <p:cNvGrpSpPr/>
            <p:nvPr/>
          </p:nvGrpSpPr>
          <p:grpSpPr>
            <a:xfrm>
              <a:off x="2923947" y="3512566"/>
              <a:ext cx="1111889" cy="896774"/>
              <a:chOff x="2579112" y="3492574"/>
              <a:chExt cx="1678389" cy="1353674"/>
            </a:xfrm>
          </p:grpSpPr>
          <p:sp>
            <p:nvSpPr>
              <p:cNvPr id="181" name="TextBox 180"/>
              <p:cNvSpPr txBox="1"/>
              <p:nvPr/>
            </p:nvSpPr>
            <p:spPr>
              <a:xfrm>
                <a:off x="2640545" y="4288744"/>
                <a:ext cx="1616956" cy="557504"/>
              </a:xfrm>
              <a:prstGeom prst="rect">
                <a:avLst/>
              </a:prstGeom>
              <a:noFill/>
            </p:spPr>
            <p:txBody>
              <a:bodyPr wrap="none" lIns="0" tIns="0" rIns="0" bIns="0" rtlCol="0">
                <a:spAutoFit/>
              </a:bodyPr>
              <a:lstStyle/>
              <a:p>
                <a:pPr defTabSz="914367">
                  <a:spcAft>
                    <a:spcPts val="588"/>
                  </a:spcAft>
                </a:pPr>
                <a:r>
                  <a:rPr lang="en-US" sz="1176" dirty="0">
                    <a:solidFill>
                      <a:srgbClr val="505050"/>
                    </a:solidFill>
                  </a:rPr>
                  <a:t>Cloud gateways</a:t>
                </a:r>
                <a:br>
                  <a:rPr lang="en-US" sz="1176" dirty="0">
                    <a:solidFill>
                      <a:srgbClr val="505050"/>
                    </a:solidFill>
                  </a:rPr>
                </a:br>
                <a:r>
                  <a:rPr lang="en-US" sz="1176" dirty="0">
                    <a:solidFill>
                      <a:srgbClr val="505050"/>
                    </a:solidFill>
                  </a:rPr>
                  <a:t>(web APIs)</a:t>
                </a:r>
              </a:p>
            </p:txBody>
          </p:sp>
          <p:sp>
            <p:nvSpPr>
              <p:cNvPr id="194" name="Freeform 30"/>
              <p:cNvSpPr>
                <a:spLocks noChangeAspect="1" noEditPoints="1"/>
              </p:cNvSpPr>
              <p:nvPr/>
            </p:nvSpPr>
            <p:spPr bwMode="auto">
              <a:xfrm>
                <a:off x="2579112" y="3492574"/>
                <a:ext cx="1188720" cy="76203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chemeClr val="accent1"/>
              </a:solidFill>
              <a:ln>
                <a:noFill/>
              </a:ln>
            </p:spPr>
            <p:txBody>
              <a:bodyPr vert="horz" wrap="square" lIns="89617" tIns="44808" rIns="89617" bIns="44808" numCol="1" anchor="t" anchorCtr="0" compatLnSpc="1">
                <a:prstTxWarp prst="textNoShape">
                  <a:avLst/>
                </a:prstTxWarp>
              </a:bodyPr>
              <a:lstStyle/>
              <a:p>
                <a:pPr defTabSz="914367"/>
                <a:endParaRPr lang="en-US" sz="1765">
                  <a:solidFill>
                    <a:srgbClr val="FFFFFF"/>
                  </a:solidFill>
                </a:endParaRPr>
              </a:p>
            </p:txBody>
          </p:sp>
        </p:grpSp>
        <p:grpSp>
          <p:nvGrpSpPr>
            <p:cNvPr id="197" name="Group 196"/>
            <p:cNvGrpSpPr/>
            <p:nvPr/>
          </p:nvGrpSpPr>
          <p:grpSpPr>
            <a:xfrm>
              <a:off x="2679952" y="5770205"/>
              <a:ext cx="1275487" cy="493648"/>
              <a:chOff x="2734513" y="5493100"/>
              <a:chExt cx="1275848" cy="493788"/>
            </a:xfrm>
          </p:grpSpPr>
          <p:sp>
            <p:nvSpPr>
              <p:cNvPr id="185" name="TextBox 184"/>
              <p:cNvSpPr txBox="1"/>
              <p:nvPr/>
            </p:nvSpPr>
            <p:spPr>
              <a:xfrm>
                <a:off x="3291840" y="5573748"/>
                <a:ext cx="718521" cy="369437"/>
              </a:xfrm>
              <a:prstGeom prst="rect">
                <a:avLst/>
              </a:prstGeom>
              <a:noFill/>
            </p:spPr>
            <p:txBody>
              <a:bodyPr wrap="square" lIns="0" tIns="0" rIns="0" bIns="0" rtlCol="0">
                <a:spAutoFit/>
              </a:bodyPr>
              <a:lstStyle/>
              <a:p>
                <a:pPr defTabSz="914367">
                  <a:spcAft>
                    <a:spcPts val="588"/>
                  </a:spcAft>
                </a:pPr>
                <a:r>
                  <a:rPr lang="en-US" sz="1176" dirty="0">
                    <a:solidFill>
                      <a:srgbClr val="505050"/>
                    </a:solidFill>
                  </a:rPr>
                  <a:t>Field </a:t>
                </a:r>
                <a:br>
                  <a:rPr lang="en-US" sz="1176" dirty="0">
                    <a:solidFill>
                      <a:srgbClr val="505050"/>
                    </a:solidFill>
                  </a:rPr>
                </a:br>
                <a:r>
                  <a:rPr lang="en-US" sz="1176" dirty="0">
                    <a:solidFill>
                      <a:srgbClr val="505050"/>
                    </a:solidFill>
                  </a:rPr>
                  <a:t>gateways</a:t>
                </a:r>
              </a:p>
            </p:txBody>
          </p:sp>
          <p:sp>
            <p:nvSpPr>
              <p:cNvPr id="196" name="Freeform 58"/>
              <p:cNvSpPr>
                <a:spLocks noChangeAspect="1" noEditPoints="1"/>
              </p:cNvSpPr>
              <p:nvPr/>
            </p:nvSpPr>
            <p:spPr bwMode="black">
              <a:xfrm>
                <a:off x="2734513" y="5493100"/>
                <a:ext cx="460702" cy="493788"/>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accent1"/>
              </a:solidFill>
              <a:ln>
                <a:noFill/>
              </a:ln>
            </p:spPr>
            <p:txBody>
              <a:bodyPr vert="horz" wrap="square" lIns="80664" tIns="40332" rIns="80664" bIns="40332" numCol="1" anchor="t" anchorCtr="0" compatLnSpc="1">
                <a:prstTxWarp prst="textNoShape">
                  <a:avLst/>
                </a:prstTxWarp>
              </a:bodyPr>
              <a:lstStyle/>
              <a:p>
                <a:pPr defTabSz="914367"/>
                <a:endParaRPr lang="en-US" sz="1567">
                  <a:solidFill>
                    <a:srgbClr val="000000"/>
                  </a:solidFill>
                </a:endParaRPr>
              </a:p>
            </p:txBody>
          </p:sp>
        </p:grpSp>
      </p:grpSp>
      <p:cxnSp>
        <p:nvCxnSpPr>
          <p:cNvPr id="10" name="Straight Arrow Connector 9"/>
          <p:cNvCxnSpPr/>
          <p:nvPr/>
        </p:nvCxnSpPr>
        <p:spPr>
          <a:xfrm>
            <a:off x="3748874" y="3751931"/>
            <a:ext cx="647314" cy="0"/>
          </a:xfrm>
          <a:prstGeom prst="straightConnector1">
            <a:avLst/>
          </a:prstGeom>
          <a:ln w="25400">
            <a:solidFill>
              <a:schemeClr val="bg1">
                <a:lumMod val="7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3220833" y="4433844"/>
            <a:ext cx="1243273" cy="1074931"/>
          </a:xfrm>
          <a:prstGeom prst="straightConnector1">
            <a:avLst/>
          </a:prstGeom>
          <a:ln w="25400">
            <a:solidFill>
              <a:schemeClr val="bg1">
                <a:lumMod val="7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grpSp>
        <p:nvGrpSpPr>
          <p:cNvPr id="232" name="Group 231"/>
          <p:cNvGrpSpPr/>
          <p:nvPr/>
        </p:nvGrpSpPr>
        <p:grpSpPr>
          <a:xfrm>
            <a:off x="4372045" y="3654398"/>
            <a:ext cx="1579860" cy="1914247"/>
            <a:chOff x="4459713" y="3727180"/>
            <a:chExt cx="1611539" cy="1952632"/>
          </a:xfrm>
        </p:grpSpPr>
        <p:grpSp>
          <p:nvGrpSpPr>
            <p:cNvPr id="30" name="Group 29"/>
            <p:cNvGrpSpPr/>
            <p:nvPr/>
          </p:nvGrpSpPr>
          <p:grpSpPr>
            <a:xfrm>
              <a:off x="4459713" y="4651186"/>
              <a:ext cx="1611539" cy="1028626"/>
              <a:chOff x="4458707" y="4651186"/>
              <a:chExt cx="1611539" cy="1028626"/>
            </a:xfrm>
          </p:grpSpPr>
          <p:sp>
            <p:nvSpPr>
              <p:cNvPr id="76" name="Rectangle 75"/>
              <p:cNvSpPr/>
              <p:nvPr/>
            </p:nvSpPr>
            <p:spPr bwMode="auto">
              <a:xfrm>
                <a:off x="4458707" y="5310480"/>
                <a:ext cx="1611539" cy="3693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914367"/>
                <a:r>
                  <a:rPr lang="en-US" sz="1176" dirty="0">
                    <a:solidFill>
                      <a:srgbClr val="505050"/>
                    </a:solidFill>
                    <a:ea typeface="Segoe UI" pitchFamily="34" charset="0"/>
                    <a:cs typeface="Segoe UI" pitchFamily="34" charset="0"/>
                  </a:rPr>
                  <a:t>Kafka/</a:t>
                </a:r>
                <a:r>
                  <a:rPr lang="en-US" sz="1176" dirty="0" err="1">
                    <a:solidFill>
                      <a:srgbClr val="505050"/>
                    </a:solidFill>
                  </a:rPr>
                  <a:t>RabbitMQ</a:t>
                </a:r>
                <a:r>
                  <a:rPr lang="en-US" sz="1176" dirty="0">
                    <a:solidFill>
                      <a:srgbClr val="505050"/>
                    </a:solidFill>
                  </a:rPr>
                  <a:t>/</a:t>
                </a:r>
              </a:p>
              <a:p>
                <a:pPr algn="ctr" defTabSz="914367"/>
                <a:r>
                  <a:rPr lang="en-US" sz="1176" dirty="0" err="1">
                    <a:solidFill>
                      <a:srgbClr val="505050"/>
                    </a:solidFill>
                  </a:rPr>
                  <a:t>ActiveMQ</a:t>
                </a:r>
                <a:endParaRPr lang="en-US" sz="1176" dirty="0">
                  <a:solidFill>
                    <a:srgbClr val="505050"/>
                  </a:solidFill>
                  <a:ea typeface="Segoe UI" pitchFamily="34" charset="0"/>
                  <a:cs typeface="Segoe UI" pitchFamily="34" charset="0"/>
                </a:endParaRPr>
              </a:p>
            </p:txBody>
          </p:sp>
          <p:grpSp>
            <p:nvGrpSpPr>
              <p:cNvPr id="82" name="Group 81"/>
              <p:cNvGrpSpPr/>
              <p:nvPr/>
            </p:nvGrpSpPr>
            <p:grpSpPr>
              <a:xfrm>
                <a:off x="5108817" y="4651186"/>
                <a:ext cx="311318" cy="546009"/>
                <a:chOff x="4678589" y="4672516"/>
                <a:chExt cx="402849" cy="706544"/>
              </a:xfrm>
            </p:grpSpPr>
            <p:sp>
              <p:nvSpPr>
                <p:cNvPr id="2" name="Oval 1"/>
                <p:cNvSpPr/>
                <p:nvPr/>
              </p:nvSpPr>
              <p:spPr bwMode="auto">
                <a:xfrm>
                  <a:off x="4678589" y="4925204"/>
                  <a:ext cx="201168" cy="201168"/>
                </a:xfrm>
                <a:prstGeom prst="ellipse">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92" name="Oval 91"/>
                <p:cNvSpPr/>
                <p:nvPr/>
              </p:nvSpPr>
              <p:spPr bwMode="auto">
                <a:xfrm>
                  <a:off x="4944278" y="5144975"/>
                  <a:ext cx="137160" cy="137160"/>
                </a:xfrm>
                <a:prstGeom prst="ellipse">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grpSp>
              <p:nvGrpSpPr>
                <p:cNvPr id="79" name="Group 78"/>
                <p:cNvGrpSpPr/>
                <p:nvPr/>
              </p:nvGrpSpPr>
              <p:grpSpPr>
                <a:xfrm>
                  <a:off x="4686778" y="4672516"/>
                  <a:ext cx="385134" cy="706544"/>
                  <a:chOff x="4710593" y="4672516"/>
                  <a:chExt cx="385134" cy="706544"/>
                </a:xfrm>
              </p:grpSpPr>
              <p:sp>
                <p:nvSpPr>
                  <p:cNvPr id="90" name="Oval 89"/>
                  <p:cNvSpPr/>
                  <p:nvPr/>
                </p:nvSpPr>
                <p:spPr bwMode="auto">
                  <a:xfrm>
                    <a:off x="4710593" y="4672516"/>
                    <a:ext cx="137160" cy="137160"/>
                  </a:xfrm>
                  <a:prstGeom prst="ellipse">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91" name="Oval 90"/>
                  <p:cNvSpPr/>
                  <p:nvPr/>
                </p:nvSpPr>
                <p:spPr bwMode="auto">
                  <a:xfrm>
                    <a:off x="4958567" y="4767057"/>
                    <a:ext cx="137160" cy="137160"/>
                  </a:xfrm>
                  <a:prstGeom prst="ellipse">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93" name="Oval 92"/>
                  <p:cNvSpPr/>
                  <p:nvPr/>
                </p:nvSpPr>
                <p:spPr bwMode="auto">
                  <a:xfrm>
                    <a:off x="4710593" y="5241900"/>
                    <a:ext cx="137160" cy="137160"/>
                  </a:xfrm>
                  <a:prstGeom prst="ellipse">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cxnSp>
                <p:nvCxnSpPr>
                  <p:cNvPr id="5" name="Straight Connector 4"/>
                  <p:cNvCxnSpPr>
                    <a:stCxn id="2" idx="0"/>
                    <a:endCxn id="90" idx="4"/>
                  </p:cNvCxnSpPr>
                  <p:nvPr/>
                </p:nvCxnSpPr>
                <p:spPr>
                  <a:xfrm flipV="1">
                    <a:off x="4779173" y="4809677"/>
                    <a:ext cx="0" cy="115527"/>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a:stCxn id="2" idx="7"/>
                    <a:endCxn id="91" idx="3"/>
                  </p:cNvCxnSpPr>
                  <p:nvPr/>
                </p:nvCxnSpPr>
                <p:spPr>
                  <a:xfrm flipV="1">
                    <a:off x="4874112" y="4884130"/>
                    <a:ext cx="104542" cy="70534"/>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a:stCxn id="2" idx="5"/>
                    <a:endCxn id="92" idx="1"/>
                  </p:cNvCxnSpPr>
                  <p:nvPr/>
                </p:nvCxnSpPr>
                <p:spPr>
                  <a:xfrm>
                    <a:off x="4874112" y="5096912"/>
                    <a:ext cx="114068" cy="68150"/>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a:stCxn id="93" idx="0"/>
                    <a:endCxn id="2" idx="4"/>
                  </p:cNvCxnSpPr>
                  <p:nvPr/>
                </p:nvCxnSpPr>
                <p:spPr>
                  <a:xfrm flipV="1">
                    <a:off x="4779173" y="5126372"/>
                    <a:ext cx="0" cy="115528"/>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grpSp>
          <p:nvGrpSpPr>
            <p:cNvPr id="28" name="Group 27"/>
            <p:cNvGrpSpPr/>
            <p:nvPr/>
          </p:nvGrpSpPr>
          <p:grpSpPr>
            <a:xfrm>
              <a:off x="4496194" y="3727180"/>
              <a:ext cx="1538577" cy="814981"/>
              <a:chOff x="4495188" y="3727180"/>
              <a:chExt cx="1538577" cy="814981"/>
            </a:xfrm>
          </p:grpSpPr>
          <p:sp>
            <p:nvSpPr>
              <p:cNvPr id="80" name="Oval 79"/>
              <p:cNvSpPr/>
              <p:nvPr/>
            </p:nvSpPr>
            <p:spPr bwMode="auto">
              <a:xfrm>
                <a:off x="4495188" y="4132095"/>
                <a:ext cx="1538577" cy="410066"/>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8" rIns="0" bIns="0" numCol="1" spcCol="0" rtlCol="0" fromWordArt="0" anchor="t" anchorCtr="0" forceAA="0" compatLnSpc="1">
                <a:prstTxWarp prst="textNoShape">
                  <a:avLst/>
                </a:prstTxWarp>
                <a:noAutofit/>
              </a:bodyPr>
              <a:lstStyle/>
              <a:p>
                <a:pPr algn="ctr" defTabSz="913751" fontAlgn="base">
                  <a:spcBef>
                    <a:spcPct val="0"/>
                  </a:spcBef>
                  <a:spcAft>
                    <a:spcPct val="0"/>
                  </a:spcAft>
                </a:pPr>
                <a:r>
                  <a:rPr lang="en-US" sz="1176" dirty="0">
                    <a:solidFill>
                      <a:srgbClr val="505050"/>
                    </a:solidFill>
                    <a:ea typeface="Segoe UI" pitchFamily="34" charset="0"/>
                    <a:cs typeface="Segoe UI" pitchFamily="34" charset="0"/>
                  </a:rPr>
                  <a:t>Event hubs</a:t>
                </a:r>
              </a:p>
            </p:txBody>
          </p:sp>
          <p:grpSp>
            <p:nvGrpSpPr>
              <p:cNvPr id="200" name="Group 199"/>
              <p:cNvGrpSpPr/>
              <p:nvPr/>
            </p:nvGrpSpPr>
            <p:grpSpPr>
              <a:xfrm>
                <a:off x="5010698" y="3727180"/>
                <a:ext cx="507556" cy="422962"/>
                <a:chOff x="10407690" y="6565900"/>
                <a:chExt cx="918249" cy="774700"/>
              </a:xfrm>
              <a:solidFill>
                <a:schemeClr val="accent6"/>
              </a:solidFill>
            </p:grpSpPr>
            <p:grpSp>
              <p:nvGrpSpPr>
                <p:cNvPr id="201" name="Group 200"/>
                <p:cNvGrpSpPr/>
                <p:nvPr/>
              </p:nvGrpSpPr>
              <p:grpSpPr>
                <a:xfrm>
                  <a:off x="10407690" y="6565900"/>
                  <a:ext cx="918249" cy="205801"/>
                  <a:chOff x="10452140" y="6610350"/>
                  <a:chExt cx="918249" cy="205801"/>
                </a:xfrm>
                <a:grpFill/>
              </p:grpSpPr>
              <p:sp>
                <p:nvSpPr>
                  <p:cNvPr id="224" name="Rectangle 223"/>
                  <p:cNvSpPr/>
                  <p:nvPr/>
                </p:nvSpPr>
                <p:spPr bwMode="auto">
                  <a:xfrm>
                    <a:off x="10452140" y="6610350"/>
                    <a:ext cx="914400" cy="1143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225" name="Rectangle 224"/>
                  <p:cNvSpPr/>
                  <p:nvPr/>
                </p:nvSpPr>
                <p:spPr bwMode="auto">
                  <a:xfrm>
                    <a:off x="10452141" y="6610350"/>
                    <a:ext cx="120094" cy="205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226" name="Rectangle 225"/>
                  <p:cNvSpPr/>
                  <p:nvPr/>
                </p:nvSpPr>
                <p:spPr bwMode="auto">
                  <a:xfrm>
                    <a:off x="11245924" y="6610350"/>
                    <a:ext cx="124465" cy="205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grpSp>
            <p:grpSp>
              <p:nvGrpSpPr>
                <p:cNvPr id="205" name="Group 204"/>
                <p:cNvGrpSpPr/>
                <p:nvPr/>
              </p:nvGrpSpPr>
              <p:grpSpPr>
                <a:xfrm>
                  <a:off x="10407690" y="6739951"/>
                  <a:ext cx="918249" cy="600649"/>
                  <a:chOff x="10407690" y="6739951"/>
                  <a:chExt cx="918249" cy="600649"/>
                </a:xfrm>
                <a:grpFill/>
              </p:grpSpPr>
              <p:grpSp>
                <p:nvGrpSpPr>
                  <p:cNvPr id="206" name="Group 205"/>
                  <p:cNvGrpSpPr/>
                  <p:nvPr/>
                </p:nvGrpSpPr>
                <p:grpSpPr>
                  <a:xfrm>
                    <a:off x="10407690" y="7134799"/>
                    <a:ext cx="918249" cy="205801"/>
                    <a:chOff x="10452140" y="6988749"/>
                    <a:chExt cx="918249" cy="205801"/>
                  </a:xfrm>
                  <a:grpFill/>
                </p:grpSpPr>
                <p:sp>
                  <p:nvSpPr>
                    <p:cNvPr id="221" name="Rectangle 220"/>
                    <p:cNvSpPr/>
                    <p:nvPr/>
                  </p:nvSpPr>
                  <p:spPr bwMode="auto">
                    <a:xfrm>
                      <a:off x="10452140" y="7080250"/>
                      <a:ext cx="914400" cy="1143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222" name="Rectangle 221"/>
                    <p:cNvSpPr/>
                    <p:nvPr/>
                  </p:nvSpPr>
                  <p:spPr bwMode="auto">
                    <a:xfrm>
                      <a:off x="10452141" y="6988749"/>
                      <a:ext cx="120094" cy="205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223" name="Rectangle 222"/>
                    <p:cNvSpPr/>
                    <p:nvPr/>
                  </p:nvSpPr>
                  <p:spPr bwMode="auto">
                    <a:xfrm>
                      <a:off x="11245924" y="6988749"/>
                      <a:ext cx="124465" cy="205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grpSp>
              <p:sp>
                <p:nvSpPr>
                  <p:cNvPr id="207" name="Rectangle 206"/>
                  <p:cNvSpPr/>
                  <p:nvPr/>
                </p:nvSpPr>
                <p:spPr bwMode="auto">
                  <a:xfrm>
                    <a:off x="10648118" y="6739951"/>
                    <a:ext cx="137160" cy="1097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208" name="Rectangle 207"/>
                  <p:cNvSpPr/>
                  <p:nvPr/>
                </p:nvSpPr>
                <p:spPr bwMode="auto">
                  <a:xfrm>
                    <a:off x="10648118" y="6898071"/>
                    <a:ext cx="137160" cy="1097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215" name="Rectangle 214"/>
                  <p:cNvSpPr/>
                  <p:nvPr/>
                </p:nvSpPr>
                <p:spPr bwMode="auto">
                  <a:xfrm>
                    <a:off x="10648118" y="7055835"/>
                    <a:ext cx="137160" cy="1097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216" name="Rectangle 215"/>
                  <p:cNvSpPr/>
                  <p:nvPr/>
                </p:nvSpPr>
                <p:spPr bwMode="auto">
                  <a:xfrm>
                    <a:off x="10833137" y="6975941"/>
                    <a:ext cx="137160" cy="1097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217" name="Rectangle 216"/>
                  <p:cNvSpPr/>
                  <p:nvPr/>
                </p:nvSpPr>
                <p:spPr bwMode="auto">
                  <a:xfrm>
                    <a:off x="10833137" y="6819846"/>
                    <a:ext cx="137160" cy="1097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220" name="Rectangle 219"/>
                  <p:cNvSpPr/>
                  <p:nvPr/>
                </p:nvSpPr>
                <p:spPr bwMode="auto">
                  <a:xfrm>
                    <a:off x="11018157" y="6916390"/>
                    <a:ext cx="137160" cy="1097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grpSp>
          </p:grpSp>
        </p:grpSp>
      </p:grpSp>
      <p:grpSp>
        <p:nvGrpSpPr>
          <p:cNvPr id="27" name="Group 26"/>
          <p:cNvGrpSpPr/>
          <p:nvPr/>
        </p:nvGrpSpPr>
        <p:grpSpPr>
          <a:xfrm>
            <a:off x="6369966" y="1975573"/>
            <a:ext cx="1426034" cy="3862723"/>
            <a:chOff x="6497696" y="2014690"/>
            <a:chExt cx="1454629" cy="3940179"/>
          </a:xfrm>
        </p:grpSpPr>
        <p:grpSp>
          <p:nvGrpSpPr>
            <p:cNvPr id="242" name="Group 241"/>
            <p:cNvGrpSpPr/>
            <p:nvPr/>
          </p:nvGrpSpPr>
          <p:grpSpPr>
            <a:xfrm>
              <a:off x="6685092" y="2014690"/>
              <a:ext cx="1079837" cy="852251"/>
              <a:chOff x="6830679" y="2014690"/>
              <a:chExt cx="1079837" cy="852251"/>
            </a:xfrm>
          </p:grpSpPr>
          <p:sp>
            <p:nvSpPr>
              <p:cNvPr id="89" name="Rectangle 88"/>
              <p:cNvSpPr/>
              <p:nvPr/>
            </p:nvSpPr>
            <p:spPr bwMode="auto">
              <a:xfrm>
                <a:off x="6830679" y="2680835"/>
                <a:ext cx="1079837" cy="18610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4367"/>
                <a:r>
                  <a:rPr lang="en-US" sz="1176" dirty="0">
                    <a:solidFill>
                      <a:srgbClr val="505050"/>
                    </a:solidFill>
                    <a:ea typeface="Segoe UI" pitchFamily="34" charset="0"/>
                    <a:cs typeface="Segoe UI" pitchFamily="34" charset="0"/>
                  </a:rPr>
                  <a:t>Azure ML</a:t>
                </a:r>
              </a:p>
            </p:txBody>
          </p:sp>
          <p:pic>
            <p:nvPicPr>
              <p:cNvPr id="7" name="Picture 6"/>
              <p:cNvPicPr>
                <a:picLocks noChangeAspect="1"/>
              </p:cNvPicPr>
              <p:nvPr/>
            </p:nvPicPr>
            <p:blipFill>
              <a:blip r:embed="rId4">
                <a:extLst>
                  <a:ext uri="{BEBA8EAE-BF5A-486C-A8C5-ECC9F3942E4B}">
                    <a14:imgProps xmlns:a14="http://schemas.microsoft.com/office/drawing/2010/main">
                      <a14:imgLayer r:embed="rId5">
                        <a14:imgEffect>
                          <a14:backgroundRemoval t="481" b="100000" l="308" r="100000"/>
                        </a14:imgEffect>
                      </a14:imgLayer>
                    </a14:imgProps>
                  </a:ext>
                </a:extLst>
              </a:blip>
              <a:stretch>
                <a:fillRect/>
              </a:stretch>
            </p:blipFill>
            <p:spPr>
              <a:xfrm>
                <a:off x="6843004" y="2014690"/>
                <a:ext cx="1055186" cy="675320"/>
              </a:xfrm>
              <a:prstGeom prst="rect">
                <a:avLst/>
              </a:prstGeom>
              <a:noFill/>
              <a:ln>
                <a:noFill/>
              </a:ln>
            </p:spPr>
          </p:pic>
        </p:grpSp>
        <p:grpSp>
          <p:nvGrpSpPr>
            <p:cNvPr id="243" name="Group 242"/>
            <p:cNvGrpSpPr/>
            <p:nvPr/>
          </p:nvGrpSpPr>
          <p:grpSpPr>
            <a:xfrm>
              <a:off x="6497696" y="5176376"/>
              <a:ext cx="1454629" cy="778493"/>
              <a:chOff x="6576857" y="5176376"/>
              <a:chExt cx="1454629" cy="778493"/>
            </a:xfrm>
          </p:grpSpPr>
          <p:grpSp>
            <p:nvGrpSpPr>
              <p:cNvPr id="171" name="Group 170"/>
              <p:cNvGrpSpPr/>
              <p:nvPr/>
            </p:nvGrpSpPr>
            <p:grpSpPr>
              <a:xfrm>
                <a:off x="6698935" y="5176376"/>
                <a:ext cx="1210470" cy="428750"/>
                <a:chOff x="6549004" y="5079838"/>
                <a:chExt cx="1210809" cy="428871"/>
              </a:xfrm>
            </p:grpSpPr>
            <p:sp>
              <p:nvSpPr>
                <p:cNvPr id="158" name="Freeform 87"/>
                <p:cNvSpPr>
                  <a:spLocks noChangeAspect="1" noEditPoints="1"/>
                </p:cNvSpPr>
                <p:nvPr/>
              </p:nvSpPr>
              <p:spPr bwMode="black">
                <a:xfrm flipH="1">
                  <a:off x="6549004" y="5079838"/>
                  <a:ext cx="527171" cy="428871"/>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1"/>
                </a:solidFill>
                <a:ln>
                  <a:noFill/>
                </a:ln>
                <a:extLst/>
              </p:spPr>
              <p:txBody>
                <a:bodyPr vert="horz" wrap="square" lIns="89617" tIns="44808" rIns="89617" bIns="44808" numCol="1" anchor="t" anchorCtr="0" compatLnSpc="1">
                  <a:prstTxWarp prst="textNoShape">
                    <a:avLst/>
                  </a:prstTxWarp>
                </a:bodyPr>
                <a:lstStyle/>
                <a:p>
                  <a:pPr defTabSz="914367"/>
                  <a:endParaRPr lang="en-US" sz="1765">
                    <a:solidFill>
                      <a:srgbClr val="000000"/>
                    </a:solidFill>
                  </a:endParaRPr>
                </a:p>
              </p:txBody>
            </p:sp>
            <p:sp>
              <p:nvSpPr>
                <p:cNvPr id="170" name="TextBox 169"/>
                <p:cNvSpPr txBox="1"/>
                <p:nvPr/>
              </p:nvSpPr>
              <p:spPr>
                <a:xfrm>
                  <a:off x="7169935" y="5121122"/>
                  <a:ext cx="589878" cy="369436"/>
                </a:xfrm>
                <a:prstGeom prst="rect">
                  <a:avLst/>
                </a:prstGeom>
                <a:noFill/>
              </p:spPr>
              <p:txBody>
                <a:bodyPr wrap="none" lIns="0" tIns="0" rIns="0" bIns="0" rtlCol="0">
                  <a:spAutoFit/>
                </a:bodyPr>
                <a:lstStyle/>
                <a:p>
                  <a:pPr defTabSz="914367">
                    <a:spcAft>
                      <a:spcPts val="588"/>
                    </a:spcAft>
                  </a:pPr>
                  <a:r>
                    <a:rPr lang="en-US" sz="1176" dirty="0">
                      <a:solidFill>
                        <a:srgbClr val="505050"/>
                      </a:solidFill>
                    </a:rPr>
                    <a:t>Storage </a:t>
                  </a:r>
                  <a:br>
                    <a:rPr lang="en-US" sz="1176" dirty="0">
                      <a:solidFill>
                        <a:srgbClr val="505050"/>
                      </a:solidFill>
                    </a:rPr>
                  </a:br>
                  <a:r>
                    <a:rPr lang="en-US" sz="1176" dirty="0">
                      <a:solidFill>
                        <a:srgbClr val="505050"/>
                      </a:solidFill>
                    </a:rPr>
                    <a:t>adapters</a:t>
                  </a:r>
                </a:p>
              </p:txBody>
            </p:sp>
          </p:grpSp>
          <p:sp>
            <p:nvSpPr>
              <p:cNvPr id="174" name="TextBox 173"/>
              <p:cNvSpPr txBox="1"/>
              <p:nvPr/>
            </p:nvSpPr>
            <p:spPr>
              <a:xfrm>
                <a:off x="6576857" y="5770203"/>
                <a:ext cx="1454629" cy="184666"/>
              </a:xfrm>
              <a:prstGeom prst="rect">
                <a:avLst/>
              </a:prstGeom>
              <a:noFill/>
            </p:spPr>
            <p:txBody>
              <a:bodyPr wrap="square" lIns="0" tIns="0" rIns="0" bIns="0" rtlCol="0">
                <a:spAutoFit/>
              </a:bodyPr>
              <a:lstStyle/>
              <a:p>
                <a:pPr algn="ctr" defTabSz="914367">
                  <a:spcAft>
                    <a:spcPts val="588"/>
                  </a:spcAft>
                </a:pPr>
                <a:r>
                  <a:rPr lang="en-US" sz="1176" dirty="0">
                    <a:solidFill>
                      <a:srgbClr val="505050"/>
                    </a:solidFill>
                  </a:rPr>
                  <a:t>Stream processing</a:t>
                </a:r>
              </a:p>
            </p:txBody>
          </p:sp>
        </p:grpSp>
      </p:grpSp>
      <p:cxnSp>
        <p:nvCxnSpPr>
          <p:cNvPr id="88" name="Straight Arrow Connector 87"/>
          <p:cNvCxnSpPr/>
          <p:nvPr/>
        </p:nvCxnSpPr>
        <p:spPr>
          <a:xfrm>
            <a:off x="5756509" y="4311458"/>
            <a:ext cx="810740" cy="592620"/>
          </a:xfrm>
          <a:prstGeom prst="straightConnector1">
            <a:avLst/>
          </a:prstGeom>
          <a:ln w="25400">
            <a:solidFill>
              <a:schemeClr val="bg1">
                <a:lumMod val="7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227" name="Right Arrow 226"/>
          <p:cNvSpPr/>
          <p:nvPr/>
        </p:nvSpPr>
        <p:spPr bwMode="auto">
          <a:xfrm>
            <a:off x="7661674" y="4217512"/>
            <a:ext cx="741287" cy="62732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7" tIns="0" rIns="0" bIns="0" numCol="1" spcCol="0" rtlCol="0" fromWordArt="0" anchor="ctr" anchorCtr="0" forceAA="0" compatLnSpc="1">
            <a:prstTxWarp prst="textNoShape">
              <a:avLst/>
            </a:prstTxWarp>
            <a:noAutofit/>
          </a:bodyPr>
          <a:lstStyle/>
          <a:p>
            <a:pPr defTabSz="913751"/>
            <a:endParaRPr lang="en-US" sz="1174" dirty="0">
              <a:solidFill>
                <a:srgbClr val="FFFFFF"/>
              </a:solidFill>
              <a:ea typeface="Segoe UI" pitchFamily="34" charset="0"/>
              <a:cs typeface="Segoe UI" pitchFamily="34" charset="0"/>
            </a:endParaRPr>
          </a:p>
        </p:txBody>
      </p:sp>
      <p:cxnSp>
        <p:nvCxnSpPr>
          <p:cNvPr id="8" name="Straight Arrow Connector 7"/>
          <p:cNvCxnSpPr/>
          <p:nvPr/>
        </p:nvCxnSpPr>
        <p:spPr>
          <a:xfrm>
            <a:off x="1612619" y="2507403"/>
            <a:ext cx="2870291" cy="1081545"/>
          </a:xfrm>
          <a:prstGeom prst="straightConnector1">
            <a:avLst/>
          </a:prstGeom>
          <a:ln w="25400">
            <a:solidFill>
              <a:schemeClr val="bg1">
                <a:lumMod val="7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228" name="Right Arrow 227"/>
          <p:cNvSpPr/>
          <p:nvPr/>
        </p:nvSpPr>
        <p:spPr bwMode="auto">
          <a:xfrm>
            <a:off x="9551828" y="4217512"/>
            <a:ext cx="741287" cy="62732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7" tIns="0" rIns="0" bIns="0" numCol="1" spcCol="0" rtlCol="0" fromWordArt="0" anchor="ctr" anchorCtr="0" forceAA="0" compatLnSpc="1">
            <a:prstTxWarp prst="textNoShape">
              <a:avLst/>
            </a:prstTxWarp>
            <a:noAutofit/>
          </a:bodyPr>
          <a:lstStyle/>
          <a:p>
            <a:pPr defTabSz="913751"/>
            <a:endParaRPr lang="en-US" sz="1174" dirty="0">
              <a:solidFill>
                <a:srgbClr val="FFFFFF"/>
              </a:solidFill>
              <a:ea typeface="Segoe UI" pitchFamily="34" charset="0"/>
              <a:cs typeface="Segoe UI" pitchFamily="34" charset="0"/>
            </a:endParaRPr>
          </a:p>
        </p:txBody>
      </p:sp>
      <p:sp>
        <p:nvSpPr>
          <p:cNvPr id="20" name="Left-Right Arrow 19"/>
          <p:cNvSpPr/>
          <p:nvPr/>
        </p:nvSpPr>
        <p:spPr bwMode="auto">
          <a:xfrm>
            <a:off x="5913426" y="1493498"/>
            <a:ext cx="406937" cy="268851"/>
          </a:xfrm>
          <a:prstGeom prst="leftRightArrow">
            <a:avLst/>
          </a:prstGeom>
          <a:solidFill>
            <a:schemeClr val="accent1"/>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spcBef>
                <a:spcPct val="0"/>
              </a:spcBef>
              <a:spcAft>
                <a:spcPct val="0"/>
              </a:spcAft>
            </a:pPr>
            <a:endParaRPr lang="en-US" sz="1961" dirty="0" err="1">
              <a:gradFill>
                <a:gsLst>
                  <a:gs pos="0">
                    <a:srgbClr val="FFFFFF"/>
                  </a:gs>
                  <a:gs pos="100000">
                    <a:srgbClr val="FFFFFF"/>
                  </a:gs>
                </a:gsLst>
                <a:lin ang="5400000" scaled="1"/>
              </a:gradFill>
              <a:ea typeface="Segoe UI" pitchFamily="34" charset="0"/>
              <a:cs typeface="Segoe UI" pitchFamily="34" charset="0"/>
            </a:endParaRPr>
          </a:p>
        </p:txBody>
      </p:sp>
      <p:sp>
        <p:nvSpPr>
          <p:cNvPr id="18" name="Slide Number Placeholder 17"/>
          <p:cNvSpPr>
            <a:spLocks noGrp="1"/>
          </p:cNvSpPr>
          <p:nvPr>
            <p:ph type="sldNum" sz="quarter" idx="11"/>
          </p:nvPr>
        </p:nvSpPr>
        <p:spPr/>
        <p:txBody>
          <a:bodyPr/>
          <a:lstStyle/>
          <a:p>
            <a:pPr>
              <a:defRPr/>
            </a:pPr>
            <a:fld id="{F8A0AC42-AA1D-4944-8D96-660DE70C7E1B}" type="slidenum">
              <a:rPr lang="en-IN"/>
              <a:pPr>
                <a:defRPr/>
              </a:pPr>
              <a:t>71</a:t>
            </a:fld>
            <a:endParaRPr lang="en-IN" dirty="0"/>
          </a:p>
        </p:txBody>
      </p:sp>
      <p:grpSp>
        <p:nvGrpSpPr>
          <p:cNvPr id="235" name="Group 234"/>
          <p:cNvGrpSpPr/>
          <p:nvPr/>
        </p:nvGrpSpPr>
        <p:grpSpPr>
          <a:xfrm>
            <a:off x="6186645" y="2908625"/>
            <a:ext cx="1864854" cy="1604696"/>
            <a:chOff x="8210628" y="1316430"/>
            <a:chExt cx="1902248" cy="1636874"/>
          </a:xfrm>
        </p:grpSpPr>
        <p:sp>
          <p:nvSpPr>
            <p:cNvPr id="234" name="Oval 233"/>
            <p:cNvSpPr/>
            <p:nvPr/>
          </p:nvSpPr>
          <p:spPr bwMode="auto">
            <a:xfrm>
              <a:off x="8210628" y="1316430"/>
              <a:ext cx="1902248" cy="1636874"/>
            </a:xfrm>
            <a:prstGeom prst="ellipse">
              <a:avLst/>
            </a:prstGeom>
            <a:solidFill>
              <a:schemeClr val="bg1"/>
            </a:solidFill>
            <a:ln w="285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150" name="Freeform 149"/>
            <p:cNvSpPr>
              <a:spLocks/>
            </p:cNvSpPr>
            <p:nvPr/>
          </p:nvSpPr>
          <p:spPr bwMode="auto">
            <a:xfrm>
              <a:off x="8455106" y="1627525"/>
              <a:ext cx="691403" cy="538871"/>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rgbClr val="7030A0"/>
            </a:solidFill>
            <a:ln>
              <a:noFill/>
            </a:ln>
          </p:spPr>
          <p:txBody>
            <a:bodyPr vert="horz" wrap="square" lIns="89642" tIns="44821" rIns="89642" bIns="44821" numCol="1" anchor="t" anchorCtr="0" compatLnSpc="1">
              <a:prstTxWarp prst="textNoShape">
                <a:avLst/>
              </a:prstTxWarp>
            </a:bodyPr>
            <a:lstStyle/>
            <a:p>
              <a:pPr defTabSz="914367"/>
              <a:endParaRPr lang="en-IN" sz="1765">
                <a:solidFill>
                  <a:srgbClr val="000000"/>
                </a:solidFill>
              </a:endParaRPr>
            </a:p>
          </p:txBody>
        </p:sp>
        <p:pic>
          <p:nvPicPr>
            <p:cNvPr id="151" name="Picture 150"/>
            <p:cNvPicPr>
              <a:picLocks noChangeAspect="1"/>
            </p:cNvPicPr>
            <p:nvPr/>
          </p:nvPicPr>
          <p:blipFill>
            <a:blip r:embed="rId6">
              <a:clrChange>
                <a:clrFrom>
                  <a:srgbClr val="FFFFFF"/>
                </a:clrFrom>
                <a:clrTo>
                  <a:srgbClr val="FFFFFF">
                    <a:alpha val="0"/>
                  </a:srgbClr>
                </a:clrTo>
              </a:clrChange>
              <a:biLevel thresh="75000"/>
            </a:blip>
            <a:stretch>
              <a:fillRect/>
            </a:stretch>
          </p:blipFill>
          <p:spPr>
            <a:xfrm>
              <a:off x="9167017" y="1541170"/>
              <a:ext cx="764202" cy="712728"/>
            </a:xfrm>
            <a:prstGeom prst="rect">
              <a:avLst/>
            </a:prstGeom>
            <a:noFill/>
          </p:spPr>
        </p:pic>
        <p:sp>
          <p:nvSpPr>
            <p:cNvPr id="152" name="Rectangle 151"/>
            <p:cNvSpPr/>
            <p:nvPr/>
          </p:nvSpPr>
          <p:spPr bwMode="auto">
            <a:xfrm>
              <a:off x="8328943" y="2213889"/>
              <a:ext cx="1647850" cy="4322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8" rIns="0" bIns="0" numCol="1" spcCol="0" rtlCol="0" fromWordArt="0" anchor="t" anchorCtr="0" forceAA="0" compatLnSpc="1">
              <a:prstTxWarp prst="textNoShape">
                <a:avLst/>
              </a:prstTxWarp>
              <a:noAutofit/>
            </a:bodyPr>
            <a:lstStyle/>
            <a:p>
              <a:pPr algn="ctr" defTabSz="913751" fontAlgn="base">
                <a:spcBef>
                  <a:spcPct val="0"/>
                </a:spcBef>
                <a:spcAft>
                  <a:spcPct val="0"/>
                </a:spcAft>
              </a:pPr>
              <a:r>
                <a:rPr lang="en-US" sz="1568" dirty="0">
                  <a:solidFill>
                    <a:srgbClr val="68217A"/>
                  </a:solidFill>
                  <a:latin typeface="Segoe UI Semibold" panose="020B0702040204020203" pitchFamily="34" charset="0"/>
                  <a:ea typeface="Segoe UI" pitchFamily="34" charset="0"/>
                  <a:cs typeface="Segoe UI Semibold" panose="020B0702040204020203" pitchFamily="34" charset="0"/>
                </a:rPr>
                <a:t>Apache Storm </a:t>
              </a:r>
              <a:br>
                <a:rPr lang="en-US" sz="1568" dirty="0">
                  <a:solidFill>
                    <a:srgbClr val="68217A"/>
                  </a:solidFill>
                  <a:latin typeface="Segoe UI Semibold" panose="020B0702040204020203" pitchFamily="34" charset="0"/>
                  <a:ea typeface="Segoe UI" pitchFamily="34" charset="0"/>
                  <a:cs typeface="Segoe UI Semibold" panose="020B0702040204020203" pitchFamily="34" charset="0"/>
                </a:rPr>
              </a:br>
              <a:r>
                <a:rPr lang="en-US" sz="1568" dirty="0">
                  <a:solidFill>
                    <a:srgbClr val="68217A"/>
                  </a:solidFill>
                  <a:latin typeface="Segoe UI Semibold" panose="020B0702040204020203" pitchFamily="34" charset="0"/>
                  <a:ea typeface="Segoe UI" pitchFamily="34" charset="0"/>
                  <a:cs typeface="Segoe UI Semibold" panose="020B0702040204020203" pitchFamily="34" charset="0"/>
                </a:rPr>
                <a:t>on HDInsight</a:t>
              </a:r>
            </a:p>
          </p:txBody>
        </p:sp>
      </p:grpSp>
      <p:cxnSp>
        <p:nvCxnSpPr>
          <p:cNvPr id="29" name="Straight Arrow Connector 28"/>
          <p:cNvCxnSpPr/>
          <p:nvPr/>
        </p:nvCxnSpPr>
        <p:spPr>
          <a:xfrm flipV="1">
            <a:off x="5725747" y="3932597"/>
            <a:ext cx="434745" cy="221272"/>
          </a:xfrm>
          <a:prstGeom prst="straightConnector1">
            <a:avLst/>
          </a:prstGeom>
          <a:ln w="25400">
            <a:solidFill>
              <a:schemeClr val="bg1">
                <a:lumMod val="7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8990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236"/>
                                        </p:tgtEl>
                                        <p:attrNameLst>
                                          <p:attrName>style.visibility</p:attrName>
                                        </p:attrNameLst>
                                      </p:cBhvr>
                                      <p:to>
                                        <p:strVal val="visible"/>
                                      </p:to>
                                    </p:set>
                                    <p:animEffect transition="in" filter="wipe(left)">
                                      <p:cBhvr>
                                        <p:cTn id="7" dur="500"/>
                                        <p:tgtEl>
                                          <p:spTgt spid="236"/>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500"/>
                                        <p:tgtEl>
                                          <p:spTgt spid="3"/>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140"/>
                                        </p:tgtEl>
                                        <p:attrNameLst>
                                          <p:attrName>style.visibility</p:attrName>
                                        </p:attrNameLst>
                                      </p:cBhvr>
                                      <p:to>
                                        <p:strVal val="visible"/>
                                      </p:to>
                                    </p:set>
                                    <p:animEffect transition="in" filter="wipe(left)">
                                      <p:cBhvr>
                                        <p:cTn id="15" dur="500"/>
                                        <p:tgtEl>
                                          <p:spTgt spid="140"/>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8" fill="hold" nodeType="clickEffect">
                                  <p:stCondLst>
                                    <p:cond delay="0"/>
                                  </p:stCondLst>
                                  <p:childTnLst>
                                    <p:set>
                                      <p:cBhvr>
                                        <p:cTn id="19" dur="1" fill="hold">
                                          <p:stCondLst>
                                            <p:cond delay="0"/>
                                          </p:stCondLst>
                                        </p:cTn>
                                        <p:tgtEl>
                                          <p:spTgt spid="237"/>
                                        </p:tgtEl>
                                        <p:attrNameLst>
                                          <p:attrName>style.visibility</p:attrName>
                                        </p:attrNameLst>
                                      </p:cBhvr>
                                      <p:to>
                                        <p:strVal val="visible"/>
                                      </p:to>
                                    </p:set>
                                    <p:animEffect transition="in" filter="wipe(left)">
                                      <p:cBhvr>
                                        <p:cTn id="20" dur="500"/>
                                        <p:tgtEl>
                                          <p:spTgt spid="237"/>
                                        </p:tgtEl>
                                      </p:cBhvr>
                                    </p:animEffect>
                                  </p:childTnLst>
                                </p:cTn>
                              </p:par>
                            </p:childTnLst>
                          </p:cTn>
                        </p:par>
                        <p:par>
                          <p:cTn id="21" fill="hold">
                            <p:stCondLst>
                              <p:cond delay="500"/>
                            </p:stCondLst>
                            <p:childTnLst>
                              <p:par>
                                <p:cTn id="22" presetID="10" presetClass="entr" presetSubtype="0" fill="hold" nodeType="afterEffect">
                                  <p:stCondLst>
                                    <p:cond delay="0"/>
                                  </p:stCondLst>
                                  <p:childTnLst>
                                    <p:set>
                                      <p:cBhvr>
                                        <p:cTn id="23" dur="1" fill="hold">
                                          <p:stCondLst>
                                            <p:cond delay="0"/>
                                          </p:stCondLst>
                                        </p:cTn>
                                        <p:tgtEl>
                                          <p:spTgt spid="9"/>
                                        </p:tgtEl>
                                        <p:attrNameLst>
                                          <p:attrName>style.visibility</p:attrName>
                                        </p:attrNameLst>
                                      </p:cBhvr>
                                      <p:to>
                                        <p:strVal val="visible"/>
                                      </p:to>
                                    </p:set>
                                    <p:animEffect transition="in" filter="fade">
                                      <p:cBhvr>
                                        <p:cTn id="24" dur="500"/>
                                        <p:tgtEl>
                                          <p:spTgt spid="9"/>
                                        </p:tgtEl>
                                      </p:cBhvr>
                                    </p:animEffect>
                                  </p:childTnLst>
                                </p:cTn>
                              </p:par>
                            </p:childTnLst>
                          </p:cTn>
                        </p:par>
                        <p:par>
                          <p:cTn id="25" fill="hold">
                            <p:stCondLst>
                              <p:cond delay="1000"/>
                            </p:stCondLst>
                            <p:childTnLst>
                              <p:par>
                                <p:cTn id="26" presetID="22" presetClass="entr" presetSubtype="8" fill="hold" nodeType="afterEffect">
                                  <p:stCondLst>
                                    <p:cond delay="0"/>
                                  </p:stCondLst>
                                  <p:childTnLst>
                                    <p:set>
                                      <p:cBhvr>
                                        <p:cTn id="27" dur="1" fill="hold">
                                          <p:stCondLst>
                                            <p:cond delay="0"/>
                                          </p:stCondLst>
                                        </p:cTn>
                                        <p:tgtEl>
                                          <p:spTgt spid="71"/>
                                        </p:tgtEl>
                                        <p:attrNameLst>
                                          <p:attrName>style.visibility</p:attrName>
                                        </p:attrNameLst>
                                      </p:cBhvr>
                                      <p:to>
                                        <p:strVal val="visible"/>
                                      </p:to>
                                    </p:set>
                                    <p:animEffect transition="in" filter="wipe(left)">
                                      <p:cBhvr>
                                        <p:cTn id="28" dur="500"/>
                                        <p:tgtEl>
                                          <p:spTgt spid="71"/>
                                        </p:tgtEl>
                                      </p:cBhvr>
                                    </p:animEffect>
                                  </p:childTnLst>
                                </p:cTn>
                              </p:par>
                            </p:childTnLst>
                          </p:cTn>
                        </p:par>
                        <p:par>
                          <p:cTn id="29" fill="hold">
                            <p:stCondLst>
                              <p:cond delay="1500"/>
                            </p:stCondLst>
                            <p:childTnLst>
                              <p:par>
                                <p:cTn id="30" presetID="22" presetClass="entr" presetSubtype="8" fill="hold" grpId="0" nodeType="afterEffect">
                                  <p:stCondLst>
                                    <p:cond delay="0"/>
                                  </p:stCondLst>
                                  <p:childTnLst>
                                    <p:set>
                                      <p:cBhvr>
                                        <p:cTn id="31" dur="1" fill="hold">
                                          <p:stCondLst>
                                            <p:cond delay="0"/>
                                          </p:stCondLst>
                                        </p:cTn>
                                        <p:tgtEl>
                                          <p:spTgt spid="137"/>
                                        </p:tgtEl>
                                        <p:attrNameLst>
                                          <p:attrName>style.visibility</p:attrName>
                                        </p:attrNameLst>
                                      </p:cBhvr>
                                      <p:to>
                                        <p:strVal val="visible"/>
                                      </p:to>
                                    </p:set>
                                    <p:animEffect transition="in" filter="wipe(left)">
                                      <p:cBhvr>
                                        <p:cTn id="32" dur="500"/>
                                        <p:tgtEl>
                                          <p:spTgt spid="137"/>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8" fill="hold" nodeType="clickEffect">
                                  <p:stCondLst>
                                    <p:cond delay="0"/>
                                  </p:stCondLst>
                                  <p:childTnLst>
                                    <p:set>
                                      <p:cBhvr>
                                        <p:cTn id="36" dur="1" fill="hold">
                                          <p:stCondLst>
                                            <p:cond delay="0"/>
                                          </p:stCondLst>
                                        </p:cTn>
                                        <p:tgtEl>
                                          <p:spTgt spid="238"/>
                                        </p:tgtEl>
                                        <p:attrNameLst>
                                          <p:attrName>style.visibility</p:attrName>
                                        </p:attrNameLst>
                                      </p:cBhvr>
                                      <p:to>
                                        <p:strVal val="visible"/>
                                      </p:to>
                                    </p:set>
                                    <p:animEffect transition="in" filter="wipe(left)">
                                      <p:cBhvr>
                                        <p:cTn id="37" dur="500"/>
                                        <p:tgtEl>
                                          <p:spTgt spid="238"/>
                                        </p:tgtEl>
                                      </p:cBhvr>
                                    </p:animEffect>
                                  </p:childTnLst>
                                </p:cTn>
                              </p:par>
                            </p:childTnLst>
                          </p:cTn>
                        </p:par>
                        <p:par>
                          <p:cTn id="38" fill="hold">
                            <p:stCondLst>
                              <p:cond delay="500"/>
                            </p:stCondLst>
                            <p:childTnLst>
                              <p:par>
                                <p:cTn id="39" presetID="10" presetClass="entr" presetSubtype="0" fill="hold" nodeType="afterEffect">
                                  <p:stCondLst>
                                    <p:cond delay="0"/>
                                  </p:stCondLst>
                                  <p:childTnLst>
                                    <p:set>
                                      <p:cBhvr>
                                        <p:cTn id="40" dur="1" fill="hold">
                                          <p:stCondLst>
                                            <p:cond delay="0"/>
                                          </p:stCondLst>
                                        </p:cTn>
                                        <p:tgtEl>
                                          <p:spTgt spid="232"/>
                                        </p:tgtEl>
                                        <p:attrNameLst>
                                          <p:attrName>style.visibility</p:attrName>
                                        </p:attrNameLst>
                                      </p:cBhvr>
                                      <p:to>
                                        <p:strVal val="visible"/>
                                      </p:to>
                                    </p:set>
                                    <p:animEffect transition="in" filter="fade">
                                      <p:cBhvr>
                                        <p:cTn id="41" dur="500"/>
                                        <p:tgtEl>
                                          <p:spTgt spid="232"/>
                                        </p:tgtEl>
                                      </p:cBhvr>
                                    </p:animEffect>
                                  </p:childTnLst>
                                </p:cTn>
                              </p:par>
                            </p:childTnLst>
                          </p:cTn>
                        </p:par>
                        <p:par>
                          <p:cTn id="42" fill="hold">
                            <p:stCondLst>
                              <p:cond delay="1000"/>
                            </p:stCondLst>
                            <p:childTnLst>
                              <p:par>
                                <p:cTn id="43" presetID="22" presetClass="entr" presetSubtype="8" fill="hold" nodeType="afterEffect">
                                  <p:stCondLst>
                                    <p:cond delay="0"/>
                                  </p:stCondLst>
                                  <p:childTnLst>
                                    <p:set>
                                      <p:cBhvr>
                                        <p:cTn id="44" dur="1" fill="hold">
                                          <p:stCondLst>
                                            <p:cond delay="0"/>
                                          </p:stCondLst>
                                        </p:cTn>
                                        <p:tgtEl>
                                          <p:spTgt spid="8"/>
                                        </p:tgtEl>
                                        <p:attrNameLst>
                                          <p:attrName>style.visibility</p:attrName>
                                        </p:attrNameLst>
                                      </p:cBhvr>
                                      <p:to>
                                        <p:strVal val="visible"/>
                                      </p:to>
                                    </p:set>
                                    <p:animEffect transition="in" filter="wipe(left)">
                                      <p:cBhvr>
                                        <p:cTn id="45" dur="500"/>
                                        <p:tgtEl>
                                          <p:spTgt spid="8"/>
                                        </p:tgtEl>
                                      </p:cBhvr>
                                    </p:animEffect>
                                  </p:childTnLst>
                                </p:cTn>
                              </p:par>
                            </p:childTnLst>
                          </p:cTn>
                        </p:par>
                        <p:par>
                          <p:cTn id="46" fill="hold">
                            <p:stCondLst>
                              <p:cond delay="1500"/>
                            </p:stCondLst>
                            <p:childTnLst>
                              <p:par>
                                <p:cTn id="47" presetID="22" presetClass="entr" presetSubtype="8" fill="hold" nodeType="afterEffect">
                                  <p:stCondLst>
                                    <p:cond delay="0"/>
                                  </p:stCondLst>
                                  <p:childTnLst>
                                    <p:set>
                                      <p:cBhvr>
                                        <p:cTn id="48" dur="1" fill="hold">
                                          <p:stCondLst>
                                            <p:cond delay="0"/>
                                          </p:stCondLst>
                                        </p:cTn>
                                        <p:tgtEl>
                                          <p:spTgt spid="10"/>
                                        </p:tgtEl>
                                        <p:attrNameLst>
                                          <p:attrName>style.visibility</p:attrName>
                                        </p:attrNameLst>
                                      </p:cBhvr>
                                      <p:to>
                                        <p:strVal val="visible"/>
                                      </p:to>
                                    </p:set>
                                    <p:animEffect transition="in" filter="wipe(left)">
                                      <p:cBhvr>
                                        <p:cTn id="49" dur="500"/>
                                        <p:tgtEl>
                                          <p:spTgt spid="10"/>
                                        </p:tgtEl>
                                      </p:cBhvr>
                                    </p:animEffect>
                                  </p:childTnLst>
                                </p:cTn>
                              </p:par>
                            </p:childTnLst>
                          </p:cTn>
                        </p:par>
                        <p:par>
                          <p:cTn id="50" fill="hold">
                            <p:stCondLst>
                              <p:cond delay="2000"/>
                            </p:stCondLst>
                            <p:childTnLst>
                              <p:par>
                                <p:cTn id="51" presetID="22" presetClass="entr" presetSubtype="8" fill="hold" nodeType="afterEffect">
                                  <p:stCondLst>
                                    <p:cond delay="0"/>
                                  </p:stCondLst>
                                  <p:childTnLst>
                                    <p:set>
                                      <p:cBhvr>
                                        <p:cTn id="52" dur="1" fill="hold">
                                          <p:stCondLst>
                                            <p:cond delay="0"/>
                                          </p:stCondLst>
                                        </p:cTn>
                                        <p:tgtEl>
                                          <p:spTgt spid="12"/>
                                        </p:tgtEl>
                                        <p:attrNameLst>
                                          <p:attrName>style.visibility</p:attrName>
                                        </p:attrNameLst>
                                      </p:cBhvr>
                                      <p:to>
                                        <p:strVal val="visible"/>
                                      </p:to>
                                    </p:set>
                                    <p:animEffect transition="in" filter="wipe(left)">
                                      <p:cBhvr>
                                        <p:cTn id="53" dur="500"/>
                                        <p:tgtEl>
                                          <p:spTgt spid="12"/>
                                        </p:tgtEl>
                                      </p:cBhvr>
                                    </p:animEffect>
                                  </p:childTnLst>
                                </p:cTn>
                              </p:par>
                            </p:childTnLst>
                          </p:cTn>
                        </p:par>
                        <p:par>
                          <p:cTn id="54" fill="hold">
                            <p:stCondLst>
                              <p:cond delay="2500"/>
                            </p:stCondLst>
                            <p:childTnLst>
                              <p:par>
                                <p:cTn id="55" presetID="22" presetClass="entr" presetSubtype="8" fill="hold" nodeType="afterEffect">
                                  <p:stCondLst>
                                    <p:cond delay="0"/>
                                  </p:stCondLst>
                                  <p:childTnLst>
                                    <p:set>
                                      <p:cBhvr>
                                        <p:cTn id="56" dur="1" fill="hold">
                                          <p:stCondLst>
                                            <p:cond delay="0"/>
                                          </p:stCondLst>
                                        </p:cTn>
                                        <p:tgtEl>
                                          <p:spTgt spid="16"/>
                                        </p:tgtEl>
                                        <p:attrNameLst>
                                          <p:attrName>style.visibility</p:attrName>
                                        </p:attrNameLst>
                                      </p:cBhvr>
                                      <p:to>
                                        <p:strVal val="visible"/>
                                      </p:to>
                                    </p:set>
                                    <p:animEffect transition="in" filter="wipe(left)">
                                      <p:cBhvr>
                                        <p:cTn id="57" dur="500"/>
                                        <p:tgtEl>
                                          <p:spTgt spid="16"/>
                                        </p:tgtEl>
                                      </p:cBhvr>
                                    </p:animEffect>
                                  </p:childTnLst>
                                </p:cTn>
                              </p:par>
                            </p:childTnLst>
                          </p:cTn>
                        </p:par>
                        <p:par>
                          <p:cTn id="58" fill="hold">
                            <p:stCondLst>
                              <p:cond delay="3000"/>
                            </p:stCondLst>
                            <p:childTnLst>
                              <p:par>
                                <p:cTn id="59" presetID="16" presetClass="entr" presetSubtype="37" fill="hold" grpId="0" nodeType="afterEffect">
                                  <p:stCondLst>
                                    <p:cond delay="0"/>
                                  </p:stCondLst>
                                  <p:childTnLst>
                                    <p:set>
                                      <p:cBhvr>
                                        <p:cTn id="60" dur="1" fill="hold">
                                          <p:stCondLst>
                                            <p:cond delay="0"/>
                                          </p:stCondLst>
                                        </p:cTn>
                                        <p:tgtEl>
                                          <p:spTgt spid="20"/>
                                        </p:tgtEl>
                                        <p:attrNameLst>
                                          <p:attrName>style.visibility</p:attrName>
                                        </p:attrNameLst>
                                      </p:cBhvr>
                                      <p:to>
                                        <p:strVal val="visible"/>
                                      </p:to>
                                    </p:set>
                                    <p:animEffect transition="in" filter="barn(outVertical)">
                                      <p:cBhvr>
                                        <p:cTn id="61" dur="500"/>
                                        <p:tgtEl>
                                          <p:spTgt spid="20"/>
                                        </p:tgtEl>
                                      </p:cBhvr>
                                    </p:animEffect>
                                  </p:childTnLst>
                                </p:cTn>
                              </p:par>
                            </p:childTnLst>
                          </p:cTn>
                        </p:par>
                      </p:childTnLst>
                    </p:cTn>
                  </p:par>
                  <p:par>
                    <p:cTn id="62" fill="hold">
                      <p:stCondLst>
                        <p:cond delay="indefinite"/>
                      </p:stCondLst>
                      <p:childTnLst>
                        <p:par>
                          <p:cTn id="63" fill="hold">
                            <p:stCondLst>
                              <p:cond delay="0"/>
                            </p:stCondLst>
                            <p:childTnLst>
                              <p:par>
                                <p:cTn id="64" presetID="22" presetClass="entr" presetSubtype="8" fill="hold" nodeType="clickEffect">
                                  <p:stCondLst>
                                    <p:cond delay="0"/>
                                  </p:stCondLst>
                                  <p:childTnLst>
                                    <p:set>
                                      <p:cBhvr>
                                        <p:cTn id="65" dur="1" fill="hold">
                                          <p:stCondLst>
                                            <p:cond delay="0"/>
                                          </p:stCondLst>
                                        </p:cTn>
                                        <p:tgtEl>
                                          <p:spTgt spid="21"/>
                                        </p:tgtEl>
                                        <p:attrNameLst>
                                          <p:attrName>style.visibility</p:attrName>
                                        </p:attrNameLst>
                                      </p:cBhvr>
                                      <p:to>
                                        <p:strVal val="visible"/>
                                      </p:to>
                                    </p:set>
                                    <p:animEffect transition="in" filter="wipe(left)">
                                      <p:cBhvr>
                                        <p:cTn id="66" dur="500"/>
                                        <p:tgtEl>
                                          <p:spTgt spid="21"/>
                                        </p:tgtEl>
                                      </p:cBhvr>
                                    </p:animEffect>
                                  </p:childTnLst>
                                </p:cTn>
                              </p:par>
                              <p:par>
                                <p:cTn id="67" presetID="10" presetClass="entr" presetSubtype="0" fill="hold" nodeType="withEffect">
                                  <p:stCondLst>
                                    <p:cond delay="0"/>
                                  </p:stCondLst>
                                  <p:childTnLst>
                                    <p:set>
                                      <p:cBhvr>
                                        <p:cTn id="68" dur="1" fill="hold">
                                          <p:stCondLst>
                                            <p:cond delay="0"/>
                                          </p:stCondLst>
                                        </p:cTn>
                                        <p:tgtEl>
                                          <p:spTgt spid="27"/>
                                        </p:tgtEl>
                                        <p:attrNameLst>
                                          <p:attrName>style.visibility</p:attrName>
                                        </p:attrNameLst>
                                      </p:cBhvr>
                                      <p:to>
                                        <p:strVal val="visible"/>
                                      </p:to>
                                    </p:set>
                                    <p:animEffect transition="in" filter="fade">
                                      <p:cBhvr>
                                        <p:cTn id="69" dur="500"/>
                                        <p:tgtEl>
                                          <p:spTgt spid="27"/>
                                        </p:tgtEl>
                                      </p:cBhvr>
                                    </p:animEffect>
                                  </p:childTnLst>
                                </p:cTn>
                              </p:par>
                              <p:par>
                                <p:cTn id="70" presetID="22" presetClass="entr" presetSubtype="8" fill="hold" nodeType="withEffect">
                                  <p:stCondLst>
                                    <p:cond delay="0"/>
                                  </p:stCondLst>
                                  <p:childTnLst>
                                    <p:set>
                                      <p:cBhvr>
                                        <p:cTn id="71" dur="1" fill="hold">
                                          <p:stCondLst>
                                            <p:cond delay="0"/>
                                          </p:stCondLst>
                                        </p:cTn>
                                        <p:tgtEl>
                                          <p:spTgt spid="29"/>
                                        </p:tgtEl>
                                        <p:attrNameLst>
                                          <p:attrName>style.visibility</p:attrName>
                                        </p:attrNameLst>
                                      </p:cBhvr>
                                      <p:to>
                                        <p:strVal val="visible"/>
                                      </p:to>
                                    </p:set>
                                    <p:animEffect transition="in" filter="wipe(left)">
                                      <p:cBhvr>
                                        <p:cTn id="72" dur="500"/>
                                        <p:tgtEl>
                                          <p:spTgt spid="29"/>
                                        </p:tgtEl>
                                      </p:cBhvr>
                                    </p:animEffect>
                                  </p:childTnLst>
                                </p:cTn>
                              </p:par>
                              <p:par>
                                <p:cTn id="73" presetID="22" presetClass="entr" presetSubtype="8" fill="hold" nodeType="withEffect">
                                  <p:stCondLst>
                                    <p:cond delay="0"/>
                                  </p:stCondLst>
                                  <p:childTnLst>
                                    <p:set>
                                      <p:cBhvr>
                                        <p:cTn id="74" dur="1" fill="hold">
                                          <p:stCondLst>
                                            <p:cond delay="0"/>
                                          </p:stCondLst>
                                        </p:cTn>
                                        <p:tgtEl>
                                          <p:spTgt spid="88"/>
                                        </p:tgtEl>
                                        <p:attrNameLst>
                                          <p:attrName>style.visibility</p:attrName>
                                        </p:attrNameLst>
                                      </p:cBhvr>
                                      <p:to>
                                        <p:strVal val="visible"/>
                                      </p:to>
                                    </p:set>
                                    <p:animEffect transition="in" filter="wipe(left)">
                                      <p:cBhvr>
                                        <p:cTn id="75" dur="500"/>
                                        <p:tgtEl>
                                          <p:spTgt spid="88"/>
                                        </p:tgtEl>
                                      </p:cBhvr>
                                    </p:animEffect>
                                  </p:childTnLst>
                                </p:cTn>
                              </p:par>
                              <p:par>
                                <p:cTn id="76" presetID="16" presetClass="entr" presetSubtype="37" fill="hold" grpId="0" nodeType="withEffect">
                                  <p:stCondLst>
                                    <p:cond delay="0"/>
                                  </p:stCondLst>
                                  <p:childTnLst>
                                    <p:set>
                                      <p:cBhvr>
                                        <p:cTn id="77" dur="1" fill="hold">
                                          <p:stCondLst>
                                            <p:cond delay="0"/>
                                          </p:stCondLst>
                                        </p:cTn>
                                        <p:tgtEl>
                                          <p:spTgt spid="133"/>
                                        </p:tgtEl>
                                        <p:attrNameLst>
                                          <p:attrName>style.visibility</p:attrName>
                                        </p:attrNameLst>
                                      </p:cBhvr>
                                      <p:to>
                                        <p:strVal val="visible"/>
                                      </p:to>
                                    </p:set>
                                    <p:animEffect transition="in" filter="barn(outVertical)">
                                      <p:cBhvr>
                                        <p:cTn id="78" dur="500"/>
                                        <p:tgtEl>
                                          <p:spTgt spid="133"/>
                                        </p:tgtEl>
                                      </p:cBhvr>
                                    </p:animEffect>
                                  </p:childTnLst>
                                </p:cTn>
                              </p:par>
                              <p:par>
                                <p:cTn id="79" presetID="10" presetClass="entr" presetSubtype="0" fill="hold" nodeType="withEffect">
                                  <p:stCondLst>
                                    <p:cond delay="0"/>
                                  </p:stCondLst>
                                  <p:childTnLst>
                                    <p:set>
                                      <p:cBhvr>
                                        <p:cTn id="80" dur="1" fill="hold">
                                          <p:stCondLst>
                                            <p:cond delay="0"/>
                                          </p:stCondLst>
                                        </p:cTn>
                                        <p:tgtEl>
                                          <p:spTgt spid="235"/>
                                        </p:tgtEl>
                                        <p:attrNameLst>
                                          <p:attrName>style.visibility</p:attrName>
                                        </p:attrNameLst>
                                      </p:cBhvr>
                                      <p:to>
                                        <p:strVal val="visible"/>
                                      </p:to>
                                    </p:set>
                                    <p:animEffect transition="in" filter="fade">
                                      <p:cBhvr>
                                        <p:cTn id="81" dur="500"/>
                                        <p:tgtEl>
                                          <p:spTgt spid="235"/>
                                        </p:tgtEl>
                                      </p:cBhvr>
                                    </p:animEffect>
                                  </p:childTnLst>
                                </p:cTn>
                              </p:par>
                            </p:childTnLst>
                          </p:cTn>
                        </p:par>
                      </p:childTnLst>
                    </p:cTn>
                  </p:par>
                  <p:par>
                    <p:cTn id="82" fill="hold">
                      <p:stCondLst>
                        <p:cond delay="indefinite"/>
                      </p:stCondLst>
                      <p:childTnLst>
                        <p:par>
                          <p:cTn id="83" fill="hold">
                            <p:stCondLst>
                              <p:cond delay="0"/>
                            </p:stCondLst>
                            <p:childTnLst>
                              <p:par>
                                <p:cTn id="84" presetID="22" presetClass="entr" presetSubtype="8" fill="hold" nodeType="clickEffect">
                                  <p:stCondLst>
                                    <p:cond delay="0"/>
                                  </p:stCondLst>
                                  <p:childTnLst>
                                    <p:set>
                                      <p:cBhvr>
                                        <p:cTn id="85" dur="1" fill="hold">
                                          <p:stCondLst>
                                            <p:cond delay="0"/>
                                          </p:stCondLst>
                                        </p:cTn>
                                        <p:tgtEl>
                                          <p:spTgt spid="240"/>
                                        </p:tgtEl>
                                        <p:attrNameLst>
                                          <p:attrName>style.visibility</p:attrName>
                                        </p:attrNameLst>
                                      </p:cBhvr>
                                      <p:to>
                                        <p:strVal val="visible"/>
                                      </p:to>
                                    </p:set>
                                    <p:animEffect transition="in" filter="wipe(left)">
                                      <p:cBhvr>
                                        <p:cTn id="86" dur="500"/>
                                        <p:tgtEl>
                                          <p:spTgt spid="240"/>
                                        </p:tgtEl>
                                      </p:cBhvr>
                                    </p:animEffect>
                                  </p:childTnLst>
                                </p:cTn>
                              </p:par>
                            </p:childTnLst>
                          </p:cTn>
                        </p:par>
                        <p:par>
                          <p:cTn id="87" fill="hold">
                            <p:stCondLst>
                              <p:cond delay="500"/>
                            </p:stCondLst>
                            <p:childTnLst>
                              <p:par>
                                <p:cTn id="88" presetID="10" presetClass="entr" presetSubtype="0" fill="hold" nodeType="afterEffect">
                                  <p:stCondLst>
                                    <p:cond delay="0"/>
                                  </p:stCondLst>
                                  <p:childTnLst>
                                    <p:set>
                                      <p:cBhvr>
                                        <p:cTn id="89" dur="1" fill="hold">
                                          <p:stCondLst>
                                            <p:cond delay="0"/>
                                          </p:stCondLst>
                                        </p:cTn>
                                        <p:tgtEl>
                                          <p:spTgt spid="26"/>
                                        </p:tgtEl>
                                        <p:attrNameLst>
                                          <p:attrName>style.visibility</p:attrName>
                                        </p:attrNameLst>
                                      </p:cBhvr>
                                      <p:to>
                                        <p:strVal val="visible"/>
                                      </p:to>
                                    </p:set>
                                    <p:animEffect transition="in" filter="fade">
                                      <p:cBhvr>
                                        <p:cTn id="90" dur="500"/>
                                        <p:tgtEl>
                                          <p:spTgt spid="26"/>
                                        </p:tgtEl>
                                      </p:cBhvr>
                                    </p:animEffect>
                                  </p:childTnLst>
                                </p:cTn>
                              </p:par>
                            </p:childTnLst>
                          </p:cTn>
                        </p:par>
                        <p:par>
                          <p:cTn id="91" fill="hold">
                            <p:stCondLst>
                              <p:cond delay="1000"/>
                            </p:stCondLst>
                            <p:childTnLst>
                              <p:par>
                                <p:cTn id="92" presetID="10" presetClass="entr" presetSubtype="0" fill="hold" grpId="0" nodeType="afterEffect">
                                  <p:stCondLst>
                                    <p:cond delay="0"/>
                                  </p:stCondLst>
                                  <p:childTnLst>
                                    <p:set>
                                      <p:cBhvr>
                                        <p:cTn id="93" dur="1" fill="hold">
                                          <p:stCondLst>
                                            <p:cond delay="0"/>
                                          </p:stCondLst>
                                        </p:cTn>
                                        <p:tgtEl>
                                          <p:spTgt spid="219"/>
                                        </p:tgtEl>
                                        <p:attrNameLst>
                                          <p:attrName>style.visibility</p:attrName>
                                        </p:attrNameLst>
                                      </p:cBhvr>
                                      <p:to>
                                        <p:strVal val="visible"/>
                                      </p:to>
                                    </p:set>
                                    <p:animEffect transition="in" filter="fade">
                                      <p:cBhvr>
                                        <p:cTn id="94" dur="500"/>
                                        <p:tgtEl>
                                          <p:spTgt spid="219"/>
                                        </p:tgtEl>
                                      </p:cBhvr>
                                    </p:animEffect>
                                  </p:childTnLst>
                                </p:cTn>
                              </p:par>
                            </p:childTnLst>
                          </p:cTn>
                        </p:par>
                        <p:par>
                          <p:cTn id="95" fill="hold">
                            <p:stCondLst>
                              <p:cond delay="1500"/>
                            </p:stCondLst>
                            <p:childTnLst>
                              <p:par>
                                <p:cTn id="96" presetID="22" presetClass="entr" presetSubtype="8" fill="hold" grpId="0" nodeType="afterEffect">
                                  <p:stCondLst>
                                    <p:cond delay="0"/>
                                  </p:stCondLst>
                                  <p:childTnLst>
                                    <p:set>
                                      <p:cBhvr>
                                        <p:cTn id="97" dur="1" fill="hold">
                                          <p:stCondLst>
                                            <p:cond delay="0"/>
                                          </p:stCondLst>
                                        </p:cTn>
                                        <p:tgtEl>
                                          <p:spTgt spid="227"/>
                                        </p:tgtEl>
                                        <p:attrNameLst>
                                          <p:attrName>style.visibility</p:attrName>
                                        </p:attrNameLst>
                                      </p:cBhvr>
                                      <p:to>
                                        <p:strVal val="visible"/>
                                      </p:to>
                                    </p:set>
                                    <p:animEffect transition="in" filter="wipe(left)">
                                      <p:cBhvr>
                                        <p:cTn id="98" dur="500"/>
                                        <p:tgtEl>
                                          <p:spTgt spid="227"/>
                                        </p:tgtEl>
                                      </p:cBhvr>
                                    </p:animEffect>
                                  </p:childTnLst>
                                </p:cTn>
                              </p:par>
                            </p:childTnLst>
                          </p:cTn>
                        </p:par>
                        <p:par>
                          <p:cTn id="99" fill="hold">
                            <p:stCondLst>
                              <p:cond delay="2000"/>
                            </p:stCondLst>
                            <p:childTnLst>
                              <p:par>
                                <p:cTn id="100" presetID="22" presetClass="entr" presetSubtype="8" fill="hold" grpId="0" nodeType="afterEffect">
                                  <p:stCondLst>
                                    <p:cond delay="0"/>
                                  </p:stCondLst>
                                  <p:childTnLst>
                                    <p:set>
                                      <p:cBhvr>
                                        <p:cTn id="101" dur="1" fill="hold">
                                          <p:stCondLst>
                                            <p:cond delay="0"/>
                                          </p:stCondLst>
                                        </p:cTn>
                                        <p:tgtEl>
                                          <p:spTgt spid="134"/>
                                        </p:tgtEl>
                                        <p:attrNameLst>
                                          <p:attrName>style.visibility</p:attrName>
                                        </p:attrNameLst>
                                      </p:cBhvr>
                                      <p:to>
                                        <p:strVal val="visible"/>
                                      </p:to>
                                    </p:set>
                                    <p:animEffect transition="in" filter="wipe(left)">
                                      <p:cBhvr>
                                        <p:cTn id="102" dur="500"/>
                                        <p:tgtEl>
                                          <p:spTgt spid="134"/>
                                        </p:tgtEl>
                                      </p:cBhvr>
                                    </p:animEffect>
                                  </p:childTnLst>
                                </p:cTn>
                              </p:par>
                            </p:childTnLst>
                          </p:cTn>
                        </p:par>
                      </p:childTnLst>
                    </p:cTn>
                  </p:par>
                  <p:par>
                    <p:cTn id="103" fill="hold">
                      <p:stCondLst>
                        <p:cond delay="indefinite"/>
                      </p:stCondLst>
                      <p:childTnLst>
                        <p:par>
                          <p:cTn id="104" fill="hold">
                            <p:stCondLst>
                              <p:cond delay="0"/>
                            </p:stCondLst>
                            <p:childTnLst>
                              <p:par>
                                <p:cTn id="105" presetID="22" presetClass="entr" presetSubtype="8" fill="hold" nodeType="clickEffect">
                                  <p:stCondLst>
                                    <p:cond delay="0"/>
                                  </p:stCondLst>
                                  <p:childTnLst>
                                    <p:set>
                                      <p:cBhvr>
                                        <p:cTn id="106" dur="1" fill="hold">
                                          <p:stCondLst>
                                            <p:cond delay="0"/>
                                          </p:stCondLst>
                                        </p:cTn>
                                        <p:tgtEl>
                                          <p:spTgt spid="241"/>
                                        </p:tgtEl>
                                        <p:attrNameLst>
                                          <p:attrName>style.visibility</p:attrName>
                                        </p:attrNameLst>
                                      </p:cBhvr>
                                      <p:to>
                                        <p:strVal val="visible"/>
                                      </p:to>
                                    </p:set>
                                    <p:animEffect transition="in" filter="wipe(left)">
                                      <p:cBhvr>
                                        <p:cTn id="107" dur="500"/>
                                        <p:tgtEl>
                                          <p:spTgt spid="241"/>
                                        </p:tgtEl>
                                      </p:cBhvr>
                                    </p:animEffect>
                                  </p:childTnLst>
                                </p:cTn>
                              </p:par>
                            </p:childTnLst>
                          </p:cTn>
                        </p:par>
                        <p:par>
                          <p:cTn id="108" fill="hold">
                            <p:stCondLst>
                              <p:cond delay="500"/>
                            </p:stCondLst>
                            <p:childTnLst>
                              <p:par>
                                <p:cTn id="109" presetID="10" presetClass="entr" presetSubtype="0" fill="hold" nodeType="afterEffect">
                                  <p:stCondLst>
                                    <p:cond delay="0"/>
                                  </p:stCondLst>
                                  <p:childTnLst>
                                    <p:set>
                                      <p:cBhvr>
                                        <p:cTn id="110" dur="1" fill="hold">
                                          <p:stCondLst>
                                            <p:cond delay="0"/>
                                          </p:stCondLst>
                                        </p:cTn>
                                        <p:tgtEl>
                                          <p:spTgt spid="233"/>
                                        </p:tgtEl>
                                        <p:attrNameLst>
                                          <p:attrName>style.visibility</p:attrName>
                                        </p:attrNameLst>
                                      </p:cBhvr>
                                      <p:to>
                                        <p:strVal val="visible"/>
                                      </p:to>
                                    </p:set>
                                    <p:animEffect transition="in" filter="fade">
                                      <p:cBhvr>
                                        <p:cTn id="111" dur="500"/>
                                        <p:tgtEl>
                                          <p:spTgt spid="233"/>
                                        </p:tgtEl>
                                      </p:cBhvr>
                                    </p:animEffect>
                                  </p:childTnLst>
                                </p:cTn>
                              </p:par>
                            </p:childTnLst>
                          </p:cTn>
                        </p:par>
                        <p:par>
                          <p:cTn id="112" fill="hold">
                            <p:stCondLst>
                              <p:cond delay="1000"/>
                            </p:stCondLst>
                            <p:childTnLst>
                              <p:par>
                                <p:cTn id="113" presetID="22" presetClass="entr" presetSubtype="8" fill="hold" grpId="0" nodeType="afterEffect">
                                  <p:stCondLst>
                                    <p:cond delay="0"/>
                                  </p:stCondLst>
                                  <p:childTnLst>
                                    <p:set>
                                      <p:cBhvr>
                                        <p:cTn id="114" dur="1" fill="hold">
                                          <p:stCondLst>
                                            <p:cond delay="0"/>
                                          </p:stCondLst>
                                        </p:cTn>
                                        <p:tgtEl>
                                          <p:spTgt spid="228"/>
                                        </p:tgtEl>
                                        <p:attrNameLst>
                                          <p:attrName>style.visibility</p:attrName>
                                        </p:attrNameLst>
                                      </p:cBhvr>
                                      <p:to>
                                        <p:strVal val="visible"/>
                                      </p:to>
                                    </p:set>
                                    <p:animEffect transition="in" filter="wipe(left)">
                                      <p:cBhvr>
                                        <p:cTn id="115" dur="500"/>
                                        <p:tgtEl>
                                          <p:spTgt spid="228"/>
                                        </p:tgtEl>
                                      </p:cBhvr>
                                    </p:animEffect>
                                  </p:childTnLst>
                                </p:cTn>
                              </p:par>
                            </p:childTnLst>
                          </p:cTn>
                        </p:par>
                        <p:par>
                          <p:cTn id="116" fill="hold">
                            <p:stCondLst>
                              <p:cond delay="1500"/>
                            </p:stCondLst>
                            <p:childTnLst>
                              <p:par>
                                <p:cTn id="117" presetID="22" presetClass="entr" presetSubtype="8" fill="hold" grpId="0" nodeType="afterEffect">
                                  <p:stCondLst>
                                    <p:cond delay="0"/>
                                  </p:stCondLst>
                                  <p:childTnLst>
                                    <p:set>
                                      <p:cBhvr>
                                        <p:cTn id="118" dur="1" fill="hold">
                                          <p:stCondLst>
                                            <p:cond delay="0"/>
                                          </p:stCondLst>
                                        </p:cTn>
                                        <p:tgtEl>
                                          <p:spTgt spid="229"/>
                                        </p:tgtEl>
                                        <p:attrNameLst>
                                          <p:attrName>style.visibility</p:attrName>
                                        </p:attrNameLst>
                                      </p:cBhvr>
                                      <p:to>
                                        <p:strVal val="visible"/>
                                      </p:to>
                                    </p:set>
                                    <p:animEffect transition="in" filter="wipe(left)">
                                      <p:cBhvr>
                                        <p:cTn id="119" dur="500"/>
                                        <p:tgtEl>
                                          <p:spTgt spid="2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4" grpId="0" animBg="1"/>
      <p:bldP spid="137" grpId="0" animBg="1"/>
      <p:bldP spid="133" grpId="0" animBg="1"/>
      <p:bldP spid="229" grpId="0" animBg="1"/>
      <p:bldP spid="140" grpId="0" animBg="1"/>
      <p:bldP spid="219" grpId="0" animBg="1"/>
      <p:bldP spid="227" grpId="0" animBg="1"/>
      <p:bldP spid="228" grpId="0" animBg="1"/>
      <p:bldP spid="20" grpId="0" animBg="1"/>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 name="Right Arrow 134"/>
          <p:cNvSpPr/>
          <p:nvPr/>
        </p:nvSpPr>
        <p:spPr bwMode="auto">
          <a:xfrm>
            <a:off x="2265040" y="3827580"/>
            <a:ext cx="7628292" cy="365760"/>
          </a:xfrm>
          <a:prstGeom prst="rightArrow">
            <a:avLst/>
          </a:prstGeom>
          <a:solidFill>
            <a:schemeClr val="tx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850" b="1" dirty="0">
              <a:solidFill>
                <a:schemeClr val="bg1"/>
              </a:soli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a:t>Storm Application in 5 steps</a:t>
            </a:r>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72</a:t>
            </a:fld>
            <a:endParaRPr lang="en-US" dirty="0"/>
          </a:p>
        </p:txBody>
      </p:sp>
      <p:sp>
        <p:nvSpPr>
          <p:cNvPr id="10" name="Rounded Rectangle 9"/>
          <p:cNvSpPr/>
          <p:nvPr/>
        </p:nvSpPr>
        <p:spPr bwMode="auto">
          <a:xfrm>
            <a:off x="4938156" y="2380408"/>
            <a:ext cx="2107890" cy="3260104"/>
          </a:xfrm>
          <a:prstGeom prst="roundRect">
            <a:avLst/>
          </a:prstGeom>
          <a:solidFill>
            <a:schemeClr val="bg2">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1" name="Rounded Rectangle 10"/>
          <p:cNvSpPr/>
          <p:nvPr/>
        </p:nvSpPr>
        <p:spPr bwMode="auto">
          <a:xfrm>
            <a:off x="7415744" y="2380408"/>
            <a:ext cx="2107890" cy="3260104"/>
          </a:xfrm>
          <a:prstGeom prst="round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2" name="Rounded Rectangle 11"/>
          <p:cNvSpPr/>
          <p:nvPr/>
        </p:nvSpPr>
        <p:spPr bwMode="auto">
          <a:xfrm>
            <a:off x="9893332" y="2380408"/>
            <a:ext cx="2107890" cy="3260104"/>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3" name="Rounded Rectangle 12"/>
          <p:cNvSpPr/>
          <p:nvPr/>
        </p:nvSpPr>
        <p:spPr bwMode="auto">
          <a:xfrm>
            <a:off x="157150" y="2380408"/>
            <a:ext cx="2107890" cy="3260104"/>
          </a:xfrm>
          <a:prstGeom prst="round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14367">
              <a:defRPr/>
            </a:pPr>
            <a:endParaRPr lang="en-US" sz="2000" dirty="0">
              <a:solidFill>
                <a:schemeClr val="tx1">
                  <a:lumMod val="85000"/>
                  <a:lumOff val="15000"/>
                </a:schemeClr>
              </a:solidFill>
            </a:endParaRPr>
          </a:p>
        </p:txBody>
      </p:sp>
      <p:sp>
        <p:nvSpPr>
          <p:cNvPr id="14" name="Rounded Rectangle 13"/>
          <p:cNvSpPr/>
          <p:nvPr/>
        </p:nvSpPr>
        <p:spPr bwMode="auto">
          <a:xfrm>
            <a:off x="2547653" y="2380408"/>
            <a:ext cx="2107890" cy="3260104"/>
          </a:xfrm>
          <a:prstGeom prst="round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5" name="Rectangle 4"/>
          <p:cNvSpPr/>
          <p:nvPr/>
        </p:nvSpPr>
        <p:spPr>
          <a:xfrm>
            <a:off x="382453" y="1734077"/>
            <a:ext cx="1613761" cy="661720"/>
          </a:xfrm>
          <a:prstGeom prst="rect">
            <a:avLst/>
          </a:prstGeom>
        </p:spPr>
        <p:txBody>
          <a:bodyPr wrap="square">
            <a:spAutoFit/>
          </a:bodyPr>
          <a:lstStyle/>
          <a:p>
            <a:pPr algn="ctr"/>
            <a:r>
              <a:rPr lang="en-US" sz="1850" dirty="0">
                <a:solidFill>
                  <a:schemeClr val="tx1">
                    <a:lumMod val="75000"/>
                    <a:lumOff val="25000"/>
                  </a:schemeClr>
                </a:solidFill>
                <a:latin typeface="Segoe UI Semibold" panose="020B0702040204020203" pitchFamily="34" charset="0"/>
                <a:cs typeface="Segoe UI Semibold" panose="020B0702040204020203" pitchFamily="34" charset="0"/>
              </a:rPr>
              <a:t>Create a Storm cluster</a:t>
            </a:r>
            <a:endParaRPr lang="en-US" sz="1850" i="1" dirty="0">
              <a:solidFill>
                <a:schemeClr val="tx1">
                  <a:lumMod val="75000"/>
                  <a:lumOff val="25000"/>
                </a:schemeClr>
              </a:solidFill>
              <a:latin typeface="Segoe UI Semibold" panose="020B0702040204020203" pitchFamily="34" charset="0"/>
              <a:cs typeface="Segoe UI Semibold" panose="020B0702040204020203" pitchFamily="34" charset="0"/>
            </a:endParaRPr>
          </a:p>
        </p:txBody>
      </p:sp>
      <p:sp>
        <p:nvSpPr>
          <p:cNvPr id="15" name="Rectangle 14"/>
          <p:cNvSpPr/>
          <p:nvPr/>
        </p:nvSpPr>
        <p:spPr>
          <a:xfrm>
            <a:off x="200714" y="3600500"/>
            <a:ext cx="1977241" cy="1515800"/>
          </a:xfrm>
          <a:prstGeom prst="rect">
            <a:avLst/>
          </a:prstGeom>
        </p:spPr>
        <p:txBody>
          <a:bodyPr wrap="square">
            <a:spAutoFit/>
          </a:bodyPr>
          <a:lstStyle/>
          <a:p>
            <a:pPr defTabSz="914367">
              <a:defRPr/>
            </a:pPr>
            <a:r>
              <a:rPr lang="en-US" sz="1850" dirty="0">
                <a:solidFill>
                  <a:schemeClr val="bg1"/>
                </a:solidFill>
              </a:rPr>
              <a:t>A cluster consists of one or more Zookeeper and Supervisor nodes</a:t>
            </a:r>
          </a:p>
        </p:txBody>
      </p:sp>
      <p:sp>
        <p:nvSpPr>
          <p:cNvPr id="16" name="Rectangle 15"/>
          <p:cNvSpPr/>
          <p:nvPr/>
        </p:nvSpPr>
        <p:spPr>
          <a:xfrm>
            <a:off x="2812588" y="1734077"/>
            <a:ext cx="1712306" cy="661720"/>
          </a:xfrm>
          <a:prstGeom prst="rect">
            <a:avLst/>
          </a:prstGeom>
        </p:spPr>
        <p:txBody>
          <a:bodyPr wrap="square">
            <a:spAutoFit/>
          </a:bodyPr>
          <a:lstStyle/>
          <a:p>
            <a:r>
              <a:rPr lang="en-US" sz="1850" dirty="0">
                <a:solidFill>
                  <a:schemeClr val="tx1">
                    <a:lumMod val="75000"/>
                    <a:lumOff val="25000"/>
                  </a:schemeClr>
                </a:solidFill>
                <a:latin typeface="Segoe UI Semibold" panose="020B0702040204020203" pitchFamily="34" charset="0"/>
                <a:cs typeface="Segoe UI Semibold" panose="020B0702040204020203" pitchFamily="34" charset="0"/>
              </a:rPr>
              <a:t>Write one or more Spouts</a:t>
            </a:r>
          </a:p>
        </p:txBody>
      </p:sp>
      <p:sp>
        <p:nvSpPr>
          <p:cNvPr id="17" name="Rectangle 16"/>
          <p:cNvSpPr/>
          <p:nvPr/>
        </p:nvSpPr>
        <p:spPr>
          <a:xfrm>
            <a:off x="2542272" y="3600500"/>
            <a:ext cx="2086936" cy="1515800"/>
          </a:xfrm>
          <a:prstGeom prst="rect">
            <a:avLst/>
          </a:prstGeom>
        </p:spPr>
        <p:txBody>
          <a:bodyPr wrap="square">
            <a:spAutoFit/>
          </a:bodyPr>
          <a:lstStyle/>
          <a:p>
            <a:pPr defTabSz="914367">
              <a:defRPr/>
            </a:pPr>
            <a:r>
              <a:rPr lang="en-US" sz="1850" dirty="0">
                <a:solidFill>
                  <a:schemeClr val="bg1"/>
                </a:solidFill>
              </a:rPr>
              <a:t>A Spout is</a:t>
            </a:r>
          </a:p>
          <a:p>
            <a:pPr defTabSz="914367">
              <a:defRPr/>
            </a:pPr>
            <a:r>
              <a:rPr lang="en-US" sz="1850" dirty="0">
                <a:solidFill>
                  <a:schemeClr val="bg1"/>
                </a:solidFill>
              </a:rPr>
              <a:t>a program that consumes data from a source and emits </a:t>
            </a:r>
            <a:r>
              <a:rPr lang="en-US" sz="1850" b="1" i="1" dirty="0">
                <a:solidFill>
                  <a:schemeClr val="bg1"/>
                </a:solidFill>
              </a:rPr>
              <a:t>tuples</a:t>
            </a:r>
          </a:p>
        </p:txBody>
      </p:sp>
      <p:sp>
        <p:nvSpPr>
          <p:cNvPr id="18" name="Rectangle 17"/>
          <p:cNvSpPr/>
          <p:nvPr/>
        </p:nvSpPr>
        <p:spPr>
          <a:xfrm>
            <a:off x="5203090" y="1734076"/>
            <a:ext cx="1584181" cy="661720"/>
          </a:xfrm>
          <a:prstGeom prst="rect">
            <a:avLst/>
          </a:prstGeom>
        </p:spPr>
        <p:txBody>
          <a:bodyPr wrap="square">
            <a:spAutoFit/>
          </a:bodyPr>
          <a:lstStyle/>
          <a:p>
            <a:pPr defTabSz="914367">
              <a:defRPr/>
            </a:pPr>
            <a:r>
              <a:rPr lang="en-US" sz="1850" dirty="0">
                <a:solidFill>
                  <a:schemeClr val="tx1">
                    <a:lumMod val="75000"/>
                    <a:lumOff val="25000"/>
                  </a:schemeClr>
                </a:solidFill>
                <a:latin typeface="Segoe UI Semibold" panose="020B0702040204020203" pitchFamily="34" charset="0"/>
                <a:cs typeface="Segoe UI Semibold" panose="020B0702040204020203" pitchFamily="34" charset="0"/>
              </a:rPr>
              <a:t>Write one or more Bolts </a:t>
            </a:r>
          </a:p>
        </p:txBody>
      </p:sp>
      <p:sp>
        <p:nvSpPr>
          <p:cNvPr id="19" name="Rectangle 18"/>
          <p:cNvSpPr/>
          <p:nvPr/>
        </p:nvSpPr>
        <p:spPr>
          <a:xfrm>
            <a:off x="4938156" y="3600500"/>
            <a:ext cx="2181896" cy="1629677"/>
          </a:xfrm>
          <a:prstGeom prst="rect">
            <a:avLst/>
          </a:prstGeom>
        </p:spPr>
        <p:txBody>
          <a:bodyPr wrap="square">
            <a:spAutoFit/>
          </a:bodyPr>
          <a:lstStyle/>
          <a:p>
            <a:pPr marL="17" lvl="0">
              <a:lnSpc>
                <a:spcPct val="90000"/>
              </a:lnSpc>
              <a:spcAft>
                <a:spcPts val="600"/>
              </a:spcAft>
            </a:pPr>
            <a:r>
              <a:rPr lang="en-US" sz="1850" dirty="0">
                <a:solidFill>
                  <a:schemeClr val="bg1"/>
                </a:solidFill>
              </a:rPr>
              <a:t>Bolt is a processing step in a pipeline that consumes &amp; emit tuples from/to other Bolts/Spouts</a:t>
            </a:r>
          </a:p>
        </p:txBody>
      </p:sp>
      <p:sp>
        <p:nvSpPr>
          <p:cNvPr id="20" name="Rectangle 19"/>
          <p:cNvSpPr/>
          <p:nvPr/>
        </p:nvSpPr>
        <p:spPr>
          <a:xfrm>
            <a:off x="7846124" y="1745919"/>
            <a:ext cx="1196241" cy="661720"/>
          </a:xfrm>
          <a:prstGeom prst="rect">
            <a:avLst/>
          </a:prstGeom>
        </p:spPr>
        <p:txBody>
          <a:bodyPr wrap="square">
            <a:spAutoFit/>
          </a:bodyPr>
          <a:lstStyle/>
          <a:p>
            <a:r>
              <a:rPr lang="en-US" sz="1850" dirty="0">
                <a:solidFill>
                  <a:schemeClr val="tx1">
                    <a:lumMod val="75000"/>
                    <a:lumOff val="25000"/>
                  </a:schemeClr>
                </a:solidFill>
                <a:latin typeface="Segoe UI Semibold" panose="020B0702040204020203" pitchFamily="34" charset="0"/>
                <a:cs typeface="Segoe UI Semibold" panose="020B0702040204020203" pitchFamily="34" charset="0"/>
              </a:rPr>
              <a:t>Create a Topology</a:t>
            </a:r>
            <a:endParaRPr lang="en-US" sz="1850" i="1" dirty="0">
              <a:solidFill>
                <a:schemeClr val="tx1">
                  <a:lumMod val="75000"/>
                  <a:lumOff val="25000"/>
                </a:schemeClr>
              </a:solidFill>
              <a:latin typeface="Segoe UI Semibold" panose="020B0702040204020203" pitchFamily="34" charset="0"/>
              <a:cs typeface="Segoe UI Semibold" panose="020B0702040204020203" pitchFamily="34" charset="0"/>
            </a:endParaRPr>
          </a:p>
        </p:txBody>
      </p:sp>
      <p:sp>
        <p:nvSpPr>
          <p:cNvPr id="21" name="Rectangle 20"/>
          <p:cNvSpPr/>
          <p:nvPr/>
        </p:nvSpPr>
        <p:spPr>
          <a:xfrm>
            <a:off x="7402489" y="3600500"/>
            <a:ext cx="2134401" cy="946413"/>
          </a:xfrm>
          <a:prstGeom prst="rect">
            <a:avLst/>
          </a:prstGeom>
        </p:spPr>
        <p:txBody>
          <a:bodyPr wrap="square">
            <a:spAutoFit/>
          </a:bodyPr>
          <a:lstStyle/>
          <a:p>
            <a:pPr defTabSz="914367">
              <a:defRPr/>
            </a:pPr>
            <a:r>
              <a:rPr lang="en-US" sz="1850" dirty="0">
                <a:solidFill>
                  <a:schemeClr val="bg1"/>
                </a:solidFill>
              </a:rPr>
              <a:t>Wire the Spouts and Bolts to create a network</a:t>
            </a:r>
          </a:p>
        </p:txBody>
      </p:sp>
      <p:sp>
        <p:nvSpPr>
          <p:cNvPr id="22" name="Rectangle 21"/>
          <p:cNvSpPr/>
          <p:nvPr/>
        </p:nvSpPr>
        <p:spPr>
          <a:xfrm>
            <a:off x="10251648" y="1734076"/>
            <a:ext cx="1391257" cy="661720"/>
          </a:xfrm>
          <a:prstGeom prst="rect">
            <a:avLst/>
          </a:prstGeom>
        </p:spPr>
        <p:txBody>
          <a:bodyPr wrap="square">
            <a:spAutoFit/>
          </a:bodyPr>
          <a:lstStyle/>
          <a:p>
            <a:r>
              <a:rPr lang="en-US" sz="1850" dirty="0">
                <a:solidFill>
                  <a:schemeClr val="tx1">
                    <a:lumMod val="75000"/>
                    <a:lumOff val="25000"/>
                  </a:schemeClr>
                </a:solidFill>
                <a:latin typeface="Segoe UI Semibold" panose="020B0702040204020203" pitchFamily="34" charset="0"/>
                <a:cs typeface="Segoe UI Semibold" panose="020B0702040204020203" pitchFamily="34" charset="0"/>
              </a:rPr>
              <a:t>Launch the Topology</a:t>
            </a:r>
          </a:p>
        </p:txBody>
      </p:sp>
      <p:sp>
        <p:nvSpPr>
          <p:cNvPr id="23" name="Rectangle 22"/>
          <p:cNvSpPr/>
          <p:nvPr/>
        </p:nvSpPr>
        <p:spPr>
          <a:xfrm>
            <a:off x="9832582" y="3600500"/>
            <a:ext cx="2262724" cy="1338828"/>
          </a:xfrm>
          <a:prstGeom prst="rect">
            <a:avLst/>
          </a:prstGeom>
        </p:spPr>
        <p:txBody>
          <a:bodyPr wrap="square">
            <a:spAutoFit/>
          </a:bodyPr>
          <a:lstStyle/>
          <a:p>
            <a:pPr marL="17" lvl="0">
              <a:lnSpc>
                <a:spcPct val="90000"/>
              </a:lnSpc>
              <a:spcAft>
                <a:spcPts val="600"/>
              </a:spcAft>
            </a:pPr>
            <a:r>
              <a:rPr lang="en-US" dirty="0">
                <a:solidFill>
                  <a:schemeClr val="bg1"/>
                </a:solidFill>
              </a:rPr>
              <a:t>Storm will distribute the Topology code to all the nodes of the cluster and start the Spouts and Bolts </a:t>
            </a:r>
          </a:p>
        </p:txBody>
      </p:sp>
      <p:grpSp>
        <p:nvGrpSpPr>
          <p:cNvPr id="44" name="Group 43"/>
          <p:cNvGrpSpPr/>
          <p:nvPr/>
        </p:nvGrpSpPr>
        <p:grpSpPr>
          <a:xfrm>
            <a:off x="533632" y="2731915"/>
            <a:ext cx="1285553" cy="763141"/>
            <a:chOff x="3325091" y="1268866"/>
            <a:chExt cx="7980448" cy="5606574"/>
          </a:xfrm>
        </p:grpSpPr>
        <p:grpSp>
          <p:nvGrpSpPr>
            <p:cNvPr id="45" name="Group 44"/>
            <p:cNvGrpSpPr/>
            <p:nvPr/>
          </p:nvGrpSpPr>
          <p:grpSpPr>
            <a:xfrm>
              <a:off x="6655956" y="1268866"/>
              <a:ext cx="4649583" cy="5606574"/>
              <a:chOff x="6789420" y="1293813"/>
              <a:chExt cx="4742816" cy="5718998"/>
            </a:xfrm>
          </p:grpSpPr>
          <p:sp>
            <p:nvSpPr>
              <p:cNvPr id="51" name="Oval 50"/>
              <p:cNvSpPr/>
              <p:nvPr/>
            </p:nvSpPr>
            <p:spPr bwMode="auto">
              <a:xfrm>
                <a:off x="10495599" y="1293813"/>
                <a:ext cx="1036637" cy="1036637"/>
              </a:xfrm>
              <a:prstGeom prst="ellipse">
                <a:avLst/>
              </a:prstGeom>
              <a:solidFill>
                <a:schemeClr val="bg1">
                  <a:lumMod val="95000"/>
                </a:schemeClr>
              </a:solidFill>
              <a:ln>
                <a:solidFill>
                  <a:schemeClr val="bg1"/>
                </a:solidFill>
                <a:headEnd type="none" w="med" len="med"/>
                <a:tailEnd type="none" w="med" len="med"/>
              </a:ln>
              <a:effectLst>
                <a:outerShdw dist="25400" dir="8100000" algn="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dirty="0">
                  <a:solidFill>
                    <a:srgbClr val="FFFFFF"/>
                  </a:solidFill>
                  <a:latin typeface="Segoe UI Light"/>
                  <a:ea typeface="Segoe UI" pitchFamily="34" charset="0"/>
                  <a:cs typeface="Segoe UI" pitchFamily="34" charset="0"/>
                </a:endParaRPr>
              </a:p>
            </p:txBody>
          </p:sp>
          <p:sp>
            <p:nvSpPr>
              <p:cNvPr id="52" name="Oval 51"/>
              <p:cNvSpPr/>
              <p:nvPr/>
            </p:nvSpPr>
            <p:spPr bwMode="auto">
              <a:xfrm>
                <a:off x="10495599" y="2513552"/>
                <a:ext cx="1036637" cy="1036637"/>
              </a:xfrm>
              <a:prstGeom prst="ellipse">
                <a:avLst/>
              </a:prstGeom>
              <a:solidFill>
                <a:schemeClr val="bg1">
                  <a:lumMod val="95000"/>
                </a:schemeClr>
              </a:solidFill>
              <a:ln>
                <a:solidFill>
                  <a:schemeClr val="bg1"/>
                </a:solidFill>
                <a:headEnd type="none" w="med" len="med"/>
                <a:tailEnd type="none" w="med" len="med"/>
              </a:ln>
              <a:effectLst>
                <a:outerShdw dist="25400" dir="8100000" algn="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dirty="0">
                  <a:solidFill>
                    <a:srgbClr val="FFFFFF"/>
                  </a:solidFill>
                  <a:latin typeface="Segoe UI Light"/>
                  <a:ea typeface="Segoe UI" pitchFamily="34" charset="0"/>
                  <a:cs typeface="Segoe UI" pitchFamily="34" charset="0"/>
                </a:endParaRPr>
              </a:p>
            </p:txBody>
          </p:sp>
          <p:sp>
            <p:nvSpPr>
              <p:cNvPr id="53" name="Oval 52"/>
              <p:cNvSpPr/>
              <p:nvPr/>
            </p:nvSpPr>
            <p:spPr bwMode="auto">
              <a:xfrm>
                <a:off x="10495599" y="3733291"/>
                <a:ext cx="1036637" cy="1036637"/>
              </a:xfrm>
              <a:prstGeom prst="ellipse">
                <a:avLst/>
              </a:prstGeom>
              <a:solidFill>
                <a:schemeClr val="bg1">
                  <a:lumMod val="95000"/>
                </a:schemeClr>
              </a:solidFill>
              <a:ln>
                <a:solidFill>
                  <a:schemeClr val="bg1"/>
                </a:solidFill>
                <a:headEnd type="none" w="med" len="med"/>
                <a:tailEnd type="none" w="med" len="med"/>
              </a:ln>
              <a:effectLst>
                <a:outerShdw dist="25400" dir="8100000" algn="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dirty="0">
                  <a:solidFill>
                    <a:srgbClr val="FFFFFF"/>
                  </a:solidFill>
                  <a:latin typeface="Segoe UI Light"/>
                  <a:ea typeface="Segoe UI" pitchFamily="34" charset="0"/>
                  <a:cs typeface="Segoe UI" pitchFamily="34" charset="0"/>
                </a:endParaRPr>
              </a:p>
            </p:txBody>
          </p:sp>
          <p:sp>
            <p:nvSpPr>
              <p:cNvPr id="54" name="TextBox 53"/>
              <p:cNvSpPr txBox="1"/>
              <p:nvPr/>
            </p:nvSpPr>
            <p:spPr>
              <a:xfrm>
                <a:off x="11025375" y="6122599"/>
                <a:ext cx="268" cy="890212"/>
              </a:xfrm>
              <a:prstGeom prst="rect">
                <a:avLst/>
              </a:prstGeom>
              <a:noFill/>
            </p:spPr>
            <p:txBody>
              <a:bodyPr wrap="none" lIns="0" tIns="0" rIns="0" bIns="0" rtlCol="0">
                <a:spAutoFit/>
              </a:bodyPr>
              <a:lstStyle/>
              <a:p>
                <a:pPr algn="ctr" defTabSz="914367">
                  <a:lnSpc>
                    <a:spcPct val="90000"/>
                  </a:lnSpc>
                  <a:spcAft>
                    <a:spcPts val="588"/>
                  </a:spcAft>
                </a:pPr>
                <a:endParaRPr lang="en-US" sz="1961" dirty="0">
                  <a:solidFill>
                    <a:srgbClr val="505050"/>
                  </a:solidFill>
                  <a:latin typeface="Segoe UI Semibold" panose="020B0702040204020203" pitchFamily="34" charset="0"/>
                  <a:cs typeface="Segoe UI Semibold" panose="020B0702040204020203" pitchFamily="34" charset="0"/>
                </a:endParaRPr>
              </a:p>
            </p:txBody>
          </p:sp>
          <p:sp>
            <p:nvSpPr>
              <p:cNvPr id="55" name="Freeform 54"/>
              <p:cNvSpPr>
                <a:spLocks/>
              </p:cNvSpPr>
              <p:nvPr/>
            </p:nvSpPr>
            <p:spPr bwMode="auto">
              <a:xfrm>
                <a:off x="10737239" y="1470570"/>
                <a:ext cx="553356" cy="683122"/>
              </a:xfrm>
              <a:custGeom>
                <a:avLst/>
                <a:gdLst>
                  <a:gd name="connsiteX0" fmla="*/ 1771650 w 5226051"/>
                  <a:gd name="connsiteY0" fmla="*/ 5702301 h 6451600"/>
                  <a:gd name="connsiteX1" fmla="*/ 1762125 w 5226051"/>
                  <a:gd name="connsiteY1" fmla="*/ 5711826 h 6451600"/>
                  <a:gd name="connsiteX2" fmla="*/ 1755775 w 5226051"/>
                  <a:gd name="connsiteY2" fmla="*/ 5721351 h 6451600"/>
                  <a:gd name="connsiteX3" fmla="*/ 1749425 w 5226051"/>
                  <a:gd name="connsiteY3" fmla="*/ 5734051 h 6451600"/>
                  <a:gd name="connsiteX4" fmla="*/ 1746250 w 5226051"/>
                  <a:gd name="connsiteY4" fmla="*/ 5749926 h 6451600"/>
                  <a:gd name="connsiteX5" fmla="*/ 1743075 w 5226051"/>
                  <a:gd name="connsiteY5" fmla="*/ 5784851 h 6451600"/>
                  <a:gd name="connsiteX6" fmla="*/ 1746250 w 5226051"/>
                  <a:gd name="connsiteY6" fmla="*/ 5822951 h 6451600"/>
                  <a:gd name="connsiteX7" fmla="*/ 1749425 w 5226051"/>
                  <a:gd name="connsiteY7" fmla="*/ 5861051 h 6451600"/>
                  <a:gd name="connsiteX8" fmla="*/ 1749425 w 5226051"/>
                  <a:gd name="connsiteY8" fmla="*/ 5899151 h 6451600"/>
                  <a:gd name="connsiteX9" fmla="*/ 1746250 w 5226051"/>
                  <a:gd name="connsiteY9" fmla="*/ 5930901 h 6451600"/>
                  <a:gd name="connsiteX10" fmla="*/ 1739900 w 5226051"/>
                  <a:gd name="connsiteY10" fmla="*/ 5946776 h 6451600"/>
                  <a:gd name="connsiteX11" fmla="*/ 1733550 w 5226051"/>
                  <a:gd name="connsiteY11" fmla="*/ 5956301 h 6451600"/>
                  <a:gd name="connsiteX12" fmla="*/ 3486150 w 5226051"/>
                  <a:gd name="connsiteY12" fmla="*/ 5956301 h 6451600"/>
                  <a:gd name="connsiteX13" fmla="*/ 3486150 w 5226051"/>
                  <a:gd name="connsiteY13" fmla="*/ 5715001 h 6451600"/>
                  <a:gd name="connsiteX14" fmla="*/ 3279775 w 5226051"/>
                  <a:gd name="connsiteY14" fmla="*/ 5708651 h 6451600"/>
                  <a:gd name="connsiteX15" fmla="*/ 3067050 w 5226051"/>
                  <a:gd name="connsiteY15" fmla="*/ 5702301 h 6451600"/>
                  <a:gd name="connsiteX16" fmla="*/ 2854325 w 5226051"/>
                  <a:gd name="connsiteY16" fmla="*/ 5702301 h 6451600"/>
                  <a:gd name="connsiteX17" fmla="*/ 2638425 w 5226051"/>
                  <a:gd name="connsiteY17" fmla="*/ 5702301 h 6451600"/>
                  <a:gd name="connsiteX18" fmla="*/ 2203450 w 5226051"/>
                  <a:gd name="connsiteY18" fmla="*/ 5705476 h 6451600"/>
                  <a:gd name="connsiteX19" fmla="*/ 1987550 w 5226051"/>
                  <a:gd name="connsiteY19" fmla="*/ 5705476 h 6451600"/>
                  <a:gd name="connsiteX20" fmla="*/ 1746250 w 5226051"/>
                  <a:gd name="connsiteY20" fmla="*/ 5219701 h 6451600"/>
                  <a:gd name="connsiteX21" fmla="*/ 1746250 w 5226051"/>
                  <a:gd name="connsiteY21" fmla="*/ 5264151 h 6451600"/>
                  <a:gd name="connsiteX22" fmla="*/ 1746250 w 5226051"/>
                  <a:gd name="connsiteY22" fmla="*/ 5327651 h 6451600"/>
                  <a:gd name="connsiteX23" fmla="*/ 1746250 w 5226051"/>
                  <a:gd name="connsiteY23" fmla="*/ 5397501 h 6451600"/>
                  <a:gd name="connsiteX24" fmla="*/ 1746250 w 5226051"/>
                  <a:gd name="connsiteY24" fmla="*/ 5461001 h 6451600"/>
                  <a:gd name="connsiteX25" fmla="*/ 3473450 w 5226051"/>
                  <a:gd name="connsiteY25" fmla="*/ 5461001 h 6451600"/>
                  <a:gd name="connsiteX26" fmla="*/ 3482975 w 5226051"/>
                  <a:gd name="connsiteY26" fmla="*/ 5438776 h 6451600"/>
                  <a:gd name="connsiteX27" fmla="*/ 3486150 w 5226051"/>
                  <a:gd name="connsiteY27" fmla="*/ 5410201 h 6451600"/>
                  <a:gd name="connsiteX28" fmla="*/ 3489325 w 5226051"/>
                  <a:gd name="connsiteY28" fmla="*/ 5381626 h 6451600"/>
                  <a:gd name="connsiteX29" fmla="*/ 3489325 w 5226051"/>
                  <a:gd name="connsiteY29" fmla="*/ 5349876 h 6451600"/>
                  <a:gd name="connsiteX30" fmla="*/ 3486150 w 5226051"/>
                  <a:gd name="connsiteY30" fmla="*/ 5283201 h 6451600"/>
                  <a:gd name="connsiteX31" fmla="*/ 3486150 w 5226051"/>
                  <a:gd name="connsiteY31" fmla="*/ 5251451 h 6451600"/>
                  <a:gd name="connsiteX32" fmla="*/ 3486150 w 5226051"/>
                  <a:gd name="connsiteY32" fmla="*/ 5219701 h 6451600"/>
                  <a:gd name="connsiteX33" fmla="*/ 1758950 w 5226051"/>
                  <a:gd name="connsiteY33" fmla="*/ 2120901 h 6451600"/>
                  <a:gd name="connsiteX34" fmla="*/ 1749425 w 5226051"/>
                  <a:gd name="connsiteY34" fmla="*/ 2143126 h 6451600"/>
                  <a:gd name="connsiteX35" fmla="*/ 1746250 w 5226051"/>
                  <a:gd name="connsiteY35" fmla="*/ 2171701 h 6451600"/>
                  <a:gd name="connsiteX36" fmla="*/ 1746250 w 5226051"/>
                  <a:gd name="connsiteY36" fmla="*/ 2203451 h 6451600"/>
                  <a:gd name="connsiteX37" fmla="*/ 1746250 w 5226051"/>
                  <a:gd name="connsiteY37" fmla="*/ 2235201 h 6451600"/>
                  <a:gd name="connsiteX38" fmla="*/ 1749425 w 5226051"/>
                  <a:gd name="connsiteY38" fmla="*/ 2301876 h 6451600"/>
                  <a:gd name="connsiteX39" fmla="*/ 1749425 w 5226051"/>
                  <a:gd name="connsiteY39" fmla="*/ 2333626 h 6451600"/>
                  <a:gd name="connsiteX40" fmla="*/ 1746250 w 5226051"/>
                  <a:gd name="connsiteY40" fmla="*/ 2362201 h 6451600"/>
                  <a:gd name="connsiteX41" fmla="*/ 3486150 w 5226051"/>
                  <a:gd name="connsiteY41" fmla="*/ 2362201 h 6451600"/>
                  <a:gd name="connsiteX42" fmla="*/ 3486150 w 5226051"/>
                  <a:gd name="connsiteY42" fmla="*/ 2120901 h 6451600"/>
                  <a:gd name="connsiteX43" fmla="*/ 3321050 w 5226051"/>
                  <a:gd name="connsiteY43" fmla="*/ 1352550 h 6451600"/>
                  <a:gd name="connsiteX44" fmla="*/ 3397250 w 5226051"/>
                  <a:gd name="connsiteY44" fmla="*/ 1355725 h 6451600"/>
                  <a:gd name="connsiteX45" fmla="*/ 3473450 w 5226051"/>
                  <a:gd name="connsiteY45" fmla="*/ 1358900 h 6451600"/>
                  <a:gd name="connsiteX46" fmla="*/ 3543300 w 5226051"/>
                  <a:gd name="connsiteY46" fmla="*/ 1365250 h 6451600"/>
                  <a:gd name="connsiteX47" fmla="*/ 3606800 w 5226051"/>
                  <a:gd name="connsiteY47" fmla="*/ 1371600 h 6451600"/>
                  <a:gd name="connsiteX48" fmla="*/ 3667125 w 5226051"/>
                  <a:gd name="connsiteY48" fmla="*/ 1384300 h 6451600"/>
                  <a:gd name="connsiteX49" fmla="*/ 3717925 w 5226051"/>
                  <a:gd name="connsiteY49" fmla="*/ 1403350 h 6451600"/>
                  <a:gd name="connsiteX50" fmla="*/ 3740150 w 5226051"/>
                  <a:gd name="connsiteY50" fmla="*/ 1412875 h 6451600"/>
                  <a:gd name="connsiteX51" fmla="*/ 3759200 w 5226051"/>
                  <a:gd name="connsiteY51" fmla="*/ 1422400 h 6451600"/>
                  <a:gd name="connsiteX52" fmla="*/ 3778250 w 5226051"/>
                  <a:gd name="connsiteY52" fmla="*/ 1435100 h 6451600"/>
                  <a:gd name="connsiteX53" fmla="*/ 3790950 w 5226051"/>
                  <a:gd name="connsiteY53" fmla="*/ 1447800 h 6451600"/>
                  <a:gd name="connsiteX54" fmla="*/ 3806825 w 5226051"/>
                  <a:gd name="connsiteY54" fmla="*/ 1466850 h 6451600"/>
                  <a:gd name="connsiteX55" fmla="*/ 3816350 w 5226051"/>
                  <a:gd name="connsiteY55" fmla="*/ 1485900 h 6451600"/>
                  <a:gd name="connsiteX56" fmla="*/ 3829050 w 5226051"/>
                  <a:gd name="connsiteY56" fmla="*/ 1511300 h 6451600"/>
                  <a:gd name="connsiteX57" fmla="*/ 3835400 w 5226051"/>
                  <a:gd name="connsiteY57" fmla="*/ 1539875 h 6451600"/>
                  <a:gd name="connsiteX58" fmla="*/ 3841750 w 5226051"/>
                  <a:gd name="connsiteY58" fmla="*/ 1571625 h 6451600"/>
                  <a:gd name="connsiteX59" fmla="*/ 3848100 w 5226051"/>
                  <a:gd name="connsiteY59" fmla="*/ 1606550 h 6451600"/>
                  <a:gd name="connsiteX60" fmla="*/ 3854450 w 5226051"/>
                  <a:gd name="connsiteY60" fmla="*/ 1682750 h 6451600"/>
                  <a:gd name="connsiteX61" fmla="*/ 3857625 w 5226051"/>
                  <a:gd name="connsiteY61" fmla="*/ 1762125 h 6451600"/>
                  <a:gd name="connsiteX62" fmla="*/ 3857625 w 5226051"/>
                  <a:gd name="connsiteY62" fmla="*/ 1847850 h 6451600"/>
                  <a:gd name="connsiteX63" fmla="*/ 3854450 w 5226051"/>
                  <a:gd name="connsiteY63" fmla="*/ 2019300 h 6451600"/>
                  <a:gd name="connsiteX64" fmla="*/ 3854450 w 5226051"/>
                  <a:gd name="connsiteY64" fmla="*/ 6451600 h 6451600"/>
                  <a:gd name="connsiteX65" fmla="*/ 1365250 w 5226051"/>
                  <a:gd name="connsiteY65" fmla="*/ 6451600 h 6451600"/>
                  <a:gd name="connsiteX66" fmla="*/ 1365250 w 5226051"/>
                  <a:gd name="connsiteY66" fmla="*/ 2133600 h 6451600"/>
                  <a:gd name="connsiteX67" fmla="*/ 1362075 w 5226051"/>
                  <a:gd name="connsiteY67" fmla="*/ 1997075 h 6451600"/>
                  <a:gd name="connsiteX68" fmla="*/ 1358900 w 5226051"/>
                  <a:gd name="connsiteY68" fmla="*/ 1866900 h 6451600"/>
                  <a:gd name="connsiteX69" fmla="*/ 1358900 w 5226051"/>
                  <a:gd name="connsiteY69" fmla="*/ 1746250 h 6451600"/>
                  <a:gd name="connsiteX70" fmla="*/ 1362075 w 5226051"/>
                  <a:gd name="connsiteY70" fmla="*/ 1689100 h 6451600"/>
                  <a:gd name="connsiteX71" fmla="*/ 1368425 w 5226051"/>
                  <a:gd name="connsiteY71" fmla="*/ 1635125 h 6451600"/>
                  <a:gd name="connsiteX72" fmla="*/ 1377950 w 5226051"/>
                  <a:gd name="connsiteY72" fmla="*/ 1584325 h 6451600"/>
                  <a:gd name="connsiteX73" fmla="*/ 1390650 w 5226051"/>
                  <a:gd name="connsiteY73" fmla="*/ 1536700 h 6451600"/>
                  <a:gd name="connsiteX74" fmla="*/ 1409700 w 5226051"/>
                  <a:gd name="connsiteY74" fmla="*/ 1495425 h 6451600"/>
                  <a:gd name="connsiteX75" fmla="*/ 1419225 w 5226051"/>
                  <a:gd name="connsiteY75" fmla="*/ 1479550 h 6451600"/>
                  <a:gd name="connsiteX76" fmla="*/ 1431925 w 5226051"/>
                  <a:gd name="connsiteY76" fmla="*/ 1460500 h 6451600"/>
                  <a:gd name="connsiteX77" fmla="*/ 1447800 w 5226051"/>
                  <a:gd name="connsiteY77" fmla="*/ 1444625 h 6451600"/>
                  <a:gd name="connsiteX78" fmla="*/ 1463675 w 5226051"/>
                  <a:gd name="connsiteY78" fmla="*/ 1428750 h 6451600"/>
                  <a:gd name="connsiteX79" fmla="*/ 1479550 w 5226051"/>
                  <a:gd name="connsiteY79" fmla="*/ 1416050 h 6451600"/>
                  <a:gd name="connsiteX80" fmla="*/ 1498600 w 5226051"/>
                  <a:gd name="connsiteY80" fmla="*/ 1403350 h 6451600"/>
                  <a:gd name="connsiteX81" fmla="*/ 1520825 w 5226051"/>
                  <a:gd name="connsiteY81" fmla="*/ 1393825 h 6451600"/>
                  <a:gd name="connsiteX82" fmla="*/ 1543050 w 5226051"/>
                  <a:gd name="connsiteY82" fmla="*/ 1384300 h 6451600"/>
                  <a:gd name="connsiteX83" fmla="*/ 1568450 w 5226051"/>
                  <a:gd name="connsiteY83" fmla="*/ 1377950 h 6451600"/>
                  <a:gd name="connsiteX84" fmla="*/ 1593850 w 5226051"/>
                  <a:gd name="connsiteY84" fmla="*/ 1371600 h 6451600"/>
                  <a:gd name="connsiteX85" fmla="*/ 1660525 w 5226051"/>
                  <a:gd name="connsiteY85" fmla="*/ 1362075 h 6451600"/>
                  <a:gd name="connsiteX86" fmla="*/ 1730375 w 5226051"/>
                  <a:gd name="connsiteY86" fmla="*/ 1358900 h 6451600"/>
                  <a:gd name="connsiteX87" fmla="*/ 1800225 w 5226051"/>
                  <a:gd name="connsiteY87" fmla="*/ 1358900 h 6451600"/>
                  <a:gd name="connsiteX88" fmla="*/ 1873250 w 5226051"/>
                  <a:gd name="connsiteY88" fmla="*/ 1362075 h 6451600"/>
                  <a:gd name="connsiteX89" fmla="*/ 2022475 w 5226051"/>
                  <a:gd name="connsiteY89" fmla="*/ 1368425 h 6451600"/>
                  <a:gd name="connsiteX90" fmla="*/ 2095500 w 5226051"/>
                  <a:gd name="connsiteY90" fmla="*/ 1371600 h 6451600"/>
                  <a:gd name="connsiteX91" fmla="*/ 2165350 w 5226051"/>
                  <a:gd name="connsiteY91" fmla="*/ 1371600 h 6451600"/>
                  <a:gd name="connsiteX92" fmla="*/ 2736850 w 5226051"/>
                  <a:gd name="connsiteY92" fmla="*/ 1371600 h 6451600"/>
                  <a:gd name="connsiteX93" fmla="*/ 2860675 w 5226051"/>
                  <a:gd name="connsiteY93" fmla="*/ 1368425 h 6451600"/>
                  <a:gd name="connsiteX94" fmla="*/ 3006725 w 5226051"/>
                  <a:gd name="connsiteY94" fmla="*/ 1362075 h 6451600"/>
                  <a:gd name="connsiteX95" fmla="*/ 3162300 w 5226051"/>
                  <a:gd name="connsiteY95" fmla="*/ 1355725 h 6451600"/>
                  <a:gd name="connsiteX96" fmla="*/ 3117851 w 5226051"/>
                  <a:gd name="connsiteY96" fmla="*/ 762001 h 6451600"/>
                  <a:gd name="connsiteX97" fmla="*/ 3111501 w 5226051"/>
                  <a:gd name="connsiteY97" fmla="*/ 784226 h 6451600"/>
                  <a:gd name="connsiteX98" fmla="*/ 3105151 w 5226051"/>
                  <a:gd name="connsiteY98" fmla="*/ 812801 h 6451600"/>
                  <a:gd name="connsiteX99" fmla="*/ 3105151 w 5226051"/>
                  <a:gd name="connsiteY99" fmla="*/ 841376 h 6451600"/>
                  <a:gd name="connsiteX100" fmla="*/ 3105151 w 5226051"/>
                  <a:gd name="connsiteY100" fmla="*/ 876301 h 6451600"/>
                  <a:gd name="connsiteX101" fmla="*/ 3108326 w 5226051"/>
                  <a:gd name="connsiteY101" fmla="*/ 939801 h 6451600"/>
                  <a:gd name="connsiteX102" fmla="*/ 3108326 w 5226051"/>
                  <a:gd name="connsiteY102" fmla="*/ 974726 h 6451600"/>
                  <a:gd name="connsiteX103" fmla="*/ 3105151 w 5226051"/>
                  <a:gd name="connsiteY103" fmla="*/ 1003301 h 6451600"/>
                  <a:gd name="connsiteX104" fmla="*/ 4845051 w 5226051"/>
                  <a:gd name="connsiteY104" fmla="*/ 1003301 h 6451600"/>
                  <a:gd name="connsiteX105" fmla="*/ 4845051 w 5226051"/>
                  <a:gd name="connsiteY105" fmla="*/ 762001 h 6451600"/>
                  <a:gd name="connsiteX106" fmla="*/ 387350 w 5226051"/>
                  <a:gd name="connsiteY106" fmla="*/ 762001 h 6451600"/>
                  <a:gd name="connsiteX107" fmla="*/ 381000 w 5226051"/>
                  <a:gd name="connsiteY107" fmla="*/ 784226 h 6451600"/>
                  <a:gd name="connsiteX108" fmla="*/ 374650 w 5226051"/>
                  <a:gd name="connsiteY108" fmla="*/ 815976 h 6451600"/>
                  <a:gd name="connsiteX109" fmla="*/ 371475 w 5226051"/>
                  <a:gd name="connsiteY109" fmla="*/ 847726 h 6451600"/>
                  <a:gd name="connsiteX110" fmla="*/ 371475 w 5226051"/>
                  <a:gd name="connsiteY110" fmla="*/ 882651 h 6451600"/>
                  <a:gd name="connsiteX111" fmla="*/ 374650 w 5226051"/>
                  <a:gd name="connsiteY111" fmla="*/ 917576 h 6451600"/>
                  <a:gd name="connsiteX112" fmla="*/ 377825 w 5226051"/>
                  <a:gd name="connsiteY112" fmla="*/ 949326 h 6451600"/>
                  <a:gd name="connsiteX113" fmla="*/ 381000 w 5226051"/>
                  <a:gd name="connsiteY113" fmla="*/ 981076 h 6451600"/>
                  <a:gd name="connsiteX114" fmla="*/ 387350 w 5226051"/>
                  <a:gd name="connsiteY114" fmla="*/ 1003301 h 6451600"/>
                  <a:gd name="connsiteX115" fmla="*/ 2114550 w 5226051"/>
                  <a:gd name="connsiteY115" fmla="*/ 1003301 h 6451600"/>
                  <a:gd name="connsiteX116" fmla="*/ 2114550 w 5226051"/>
                  <a:gd name="connsiteY116" fmla="*/ 762001 h 6451600"/>
                  <a:gd name="connsiteX117" fmla="*/ 3073401 w 5226051"/>
                  <a:gd name="connsiteY117" fmla="*/ 6350 h 6451600"/>
                  <a:gd name="connsiteX118" fmla="*/ 3127376 w 5226051"/>
                  <a:gd name="connsiteY118" fmla="*/ 6350 h 6451600"/>
                  <a:gd name="connsiteX119" fmla="*/ 3248026 w 5226051"/>
                  <a:gd name="connsiteY119" fmla="*/ 6350 h 6451600"/>
                  <a:gd name="connsiteX120" fmla="*/ 3368676 w 5226051"/>
                  <a:gd name="connsiteY120" fmla="*/ 9525 h 6451600"/>
                  <a:gd name="connsiteX121" fmla="*/ 3486151 w 5226051"/>
                  <a:gd name="connsiteY121" fmla="*/ 12700 h 6451600"/>
                  <a:gd name="connsiteX122" fmla="*/ 4578351 w 5226051"/>
                  <a:gd name="connsiteY122" fmla="*/ 12700 h 6451600"/>
                  <a:gd name="connsiteX123" fmla="*/ 4679951 w 5226051"/>
                  <a:gd name="connsiteY123" fmla="*/ 12700 h 6451600"/>
                  <a:gd name="connsiteX124" fmla="*/ 4778376 w 5226051"/>
                  <a:gd name="connsiteY124" fmla="*/ 9525 h 6451600"/>
                  <a:gd name="connsiteX125" fmla="*/ 4873626 w 5226051"/>
                  <a:gd name="connsiteY125" fmla="*/ 9525 h 6451600"/>
                  <a:gd name="connsiteX126" fmla="*/ 4921251 w 5226051"/>
                  <a:gd name="connsiteY126" fmla="*/ 12700 h 6451600"/>
                  <a:gd name="connsiteX127" fmla="*/ 4965701 w 5226051"/>
                  <a:gd name="connsiteY127" fmla="*/ 15875 h 6451600"/>
                  <a:gd name="connsiteX128" fmla="*/ 5006976 w 5226051"/>
                  <a:gd name="connsiteY128" fmla="*/ 22225 h 6451600"/>
                  <a:gd name="connsiteX129" fmla="*/ 5045076 w 5226051"/>
                  <a:gd name="connsiteY129" fmla="*/ 31750 h 6451600"/>
                  <a:gd name="connsiteX130" fmla="*/ 5080001 w 5226051"/>
                  <a:gd name="connsiteY130" fmla="*/ 41275 h 6451600"/>
                  <a:gd name="connsiteX131" fmla="*/ 5111751 w 5226051"/>
                  <a:gd name="connsiteY131" fmla="*/ 57150 h 6451600"/>
                  <a:gd name="connsiteX132" fmla="*/ 5140326 w 5226051"/>
                  <a:gd name="connsiteY132" fmla="*/ 79375 h 6451600"/>
                  <a:gd name="connsiteX133" fmla="*/ 5165726 w 5226051"/>
                  <a:gd name="connsiteY133" fmla="*/ 101600 h 6451600"/>
                  <a:gd name="connsiteX134" fmla="*/ 5187951 w 5226051"/>
                  <a:gd name="connsiteY134" fmla="*/ 130175 h 6451600"/>
                  <a:gd name="connsiteX135" fmla="*/ 5200651 w 5226051"/>
                  <a:gd name="connsiteY135" fmla="*/ 165100 h 6451600"/>
                  <a:gd name="connsiteX136" fmla="*/ 5210176 w 5226051"/>
                  <a:gd name="connsiteY136" fmla="*/ 190500 h 6451600"/>
                  <a:gd name="connsiteX137" fmla="*/ 5216526 w 5226051"/>
                  <a:gd name="connsiteY137" fmla="*/ 219075 h 6451600"/>
                  <a:gd name="connsiteX138" fmla="*/ 5222876 w 5226051"/>
                  <a:gd name="connsiteY138" fmla="*/ 285750 h 6451600"/>
                  <a:gd name="connsiteX139" fmla="*/ 5226051 w 5226051"/>
                  <a:gd name="connsiteY139" fmla="*/ 361950 h 6451600"/>
                  <a:gd name="connsiteX140" fmla="*/ 5226051 w 5226051"/>
                  <a:gd name="connsiteY140" fmla="*/ 444500 h 6451600"/>
                  <a:gd name="connsiteX141" fmla="*/ 5219701 w 5226051"/>
                  <a:gd name="connsiteY141" fmla="*/ 612775 h 6451600"/>
                  <a:gd name="connsiteX142" fmla="*/ 5216526 w 5226051"/>
                  <a:gd name="connsiteY142" fmla="*/ 695325 h 6451600"/>
                  <a:gd name="connsiteX143" fmla="*/ 5213351 w 5226051"/>
                  <a:gd name="connsiteY143" fmla="*/ 774700 h 6451600"/>
                  <a:gd name="connsiteX144" fmla="*/ 5213351 w 5226051"/>
                  <a:gd name="connsiteY144" fmla="*/ 5092700 h 6451600"/>
                  <a:gd name="connsiteX145" fmla="*/ 5073651 w 5226051"/>
                  <a:gd name="connsiteY145" fmla="*/ 5092700 h 6451600"/>
                  <a:gd name="connsiteX146" fmla="*/ 4933951 w 5226051"/>
                  <a:gd name="connsiteY146" fmla="*/ 5092700 h 6451600"/>
                  <a:gd name="connsiteX147" fmla="*/ 4648201 w 5226051"/>
                  <a:gd name="connsiteY147" fmla="*/ 5095875 h 6451600"/>
                  <a:gd name="connsiteX148" fmla="*/ 4505326 w 5226051"/>
                  <a:gd name="connsiteY148" fmla="*/ 5095875 h 6451600"/>
                  <a:gd name="connsiteX149" fmla="*/ 4365626 w 5226051"/>
                  <a:gd name="connsiteY149" fmla="*/ 5095875 h 6451600"/>
                  <a:gd name="connsiteX150" fmla="*/ 4229101 w 5226051"/>
                  <a:gd name="connsiteY150" fmla="*/ 5089525 h 6451600"/>
                  <a:gd name="connsiteX151" fmla="*/ 4095751 w 5226051"/>
                  <a:gd name="connsiteY151" fmla="*/ 5080000 h 6451600"/>
                  <a:gd name="connsiteX152" fmla="*/ 4095751 w 5226051"/>
                  <a:gd name="connsiteY152" fmla="*/ 4597400 h 6451600"/>
                  <a:gd name="connsiteX153" fmla="*/ 4832351 w 5226051"/>
                  <a:gd name="connsiteY153" fmla="*/ 4597400 h 6451600"/>
                  <a:gd name="connsiteX154" fmla="*/ 4841876 w 5226051"/>
                  <a:gd name="connsiteY154" fmla="*/ 4575175 h 6451600"/>
                  <a:gd name="connsiteX155" fmla="*/ 4848226 w 5226051"/>
                  <a:gd name="connsiteY155" fmla="*/ 4546600 h 6451600"/>
                  <a:gd name="connsiteX156" fmla="*/ 4848226 w 5226051"/>
                  <a:gd name="connsiteY156" fmla="*/ 4518025 h 6451600"/>
                  <a:gd name="connsiteX157" fmla="*/ 4848226 w 5226051"/>
                  <a:gd name="connsiteY157" fmla="*/ 4486275 h 6451600"/>
                  <a:gd name="connsiteX158" fmla="*/ 4845051 w 5226051"/>
                  <a:gd name="connsiteY158" fmla="*/ 4419600 h 6451600"/>
                  <a:gd name="connsiteX159" fmla="*/ 4845051 w 5226051"/>
                  <a:gd name="connsiteY159" fmla="*/ 4387850 h 6451600"/>
                  <a:gd name="connsiteX160" fmla="*/ 4845051 w 5226051"/>
                  <a:gd name="connsiteY160" fmla="*/ 4356100 h 6451600"/>
                  <a:gd name="connsiteX161" fmla="*/ 4108451 w 5226051"/>
                  <a:gd name="connsiteY161" fmla="*/ 4356100 h 6451600"/>
                  <a:gd name="connsiteX162" fmla="*/ 4102101 w 5226051"/>
                  <a:gd name="connsiteY162" fmla="*/ 4330700 h 6451600"/>
                  <a:gd name="connsiteX163" fmla="*/ 4095751 w 5226051"/>
                  <a:gd name="connsiteY163" fmla="*/ 4302125 h 6451600"/>
                  <a:gd name="connsiteX164" fmla="*/ 4095751 w 5226051"/>
                  <a:gd name="connsiteY164" fmla="*/ 4270375 h 6451600"/>
                  <a:gd name="connsiteX165" fmla="*/ 4095751 w 5226051"/>
                  <a:gd name="connsiteY165" fmla="*/ 4238625 h 6451600"/>
                  <a:gd name="connsiteX166" fmla="*/ 4098926 w 5226051"/>
                  <a:gd name="connsiteY166" fmla="*/ 4168775 h 6451600"/>
                  <a:gd name="connsiteX167" fmla="*/ 4098926 w 5226051"/>
                  <a:gd name="connsiteY167" fmla="*/ 4133850 h 6451600"/>
                  <a:gd name="connsiteX168" fmla="*/ 4095751 w 5226051"/>
                  <a:gd name="connsiteY168" fmla="*/ 4102100 h 6451600"/>
                  <a:gd name="connsiteX169" fmla="*/ 4832351 w 5226051"/>
                  <a:gd name="connsiteY169" fmla="*/ 4102100 h 6451600"/>
                  <a:gd name="connsiteX170" fmla="*/ 4841876 w 5226051"/>
                  <a:gd name="connsiteY170" fmla="*/ 4079875 h 6451600"/>
                  <a:gd name="connsiteX171" fmla="*/ 4848226 w 5226051"/>
                  <a:gd name="connsiteY171" fmla="*/ 4051300 h 6451600"/>
                  <a:gd name="connsiteX172" fmla="*/ 4848226 w 5226051"/>
                  <a:gd name="connsiteY172" fmla="*/ 4022725 h 6451600"/>
                  <a:gd name="connsiteX173" fmla="*/ 4848226 w 5226051"/>
                  <a:gd name="connsiteY173" fmla="*/ 3990975 h 6451600"/>
                  <a:gd name="connsiteX174" fmla="*/ 4845051 w 5226051"/>
                  <a:gd name="connsiteY174" fmla="*/ 3924300 h 6451600"/>
                  <a:gd name="connsiteX175" fmla="*/ 4845051 w 5226051"/>
                  <a:gd name="connsiteY175" fmla="*/ 3892550 h 6451600"/>
                  <a:gd name="connsiteX176" fmla="*/ 4845051 w 5226051"/>
                  <a:gd name="connsiteY176" fmla="*/ 3860800 h 6451600"/>
                  <a:gd name="connsiteX177" fmla="*/ 4759326 w 5226051"/>
                  <a:gd name="connsiteY177" fmla="*/ 3854450 h 6451600"/>
                  <a:gd name="connsiteX178" fmla="*/ 4670426 w 5226051"/>
                  <a:gd name="connsiteY178" fmla="*/ 3848100 h 6451600"/>
                  <a:gd name="connsiteX179" fmla="*/ 4575176 w 5226051"/>
                  <a:gd name="connsiteY179" fmla="*/ 3848100 h 6451600"/>
                  <a:gd name="connsiteX180" fmla="*/ 4479926 w 5226051"/>
                  <a:gd name="connsiteY180" fmla="*/ 3848100 h 6451600"/>
                  <a:gd name="connsiteX181" fmla="*/ 4286251 w 5226051"/>
                  <a:gd name="connsiteY181" fmla="*/ 3851275 h 6451600"/>
                  <a:gd name="connsiteX182" fmla="*/ 4191001 w 5226051"/>
                  <a:gd name="connsiteY182" fmla="*/ 3851275 h 6451600"/>
                  <a:gd name="connsiteX183" fmla="*/ 4095751 w 5226051"/>
                  <a:gd name="connsiteY183" fmla="*/ 3848100 h 6451600"/>
                  <a:gd name="connsiteX184" fmla="*/ 4095751 w 5226051"/>
                  <a:gd name="connsiteY184" fmla="*/ 2095500 h 6451600"/>
                  <a:gd name="connsiteX185" fmla="*/ 4098926 w 5226051"/>
                  <a:gd name="connsiteY185" fmla="*/ 2012950 h 6451600"/>
                  <a:gd name="connsiteX186" fmla="*/ 4102101 w 5226051"/>
                  <a:gd name="connsiteY186" fmla="*/ 1924050 h 6451600"/>
                  <a:gd name="connsiteX187" fmla="*/ 4105276 w 5226051"/>
                  <a:gd name="connsiteY187" fmla="*/ 1746250 h 6451600"/>
                  <a:gd name="connsiteX188" fmla="*/ 4105276 w 5226051"/>
                  <a:gd name="connsiteY188" fmla="*/ 1660525 h 6451600"/>
                  <a:gd name="connsiteX189" fmla="*/ 4102101 w 5226051"/>
                  <a:gd name="connsiteY189" fmla="*/ 1581150 h 6451600"/>
                  <a:gd name="connsiteX190" fmla="*/ 4095751 w 5226051"/>
                  <a:gd name="connsiteY190" fmla="*/ 1546225 h 6451600"/>
                  <a:gd name="connsiteX191" fmla="*/ 4089401 w 5226051"/>
                  <a:gd name="connsiteY191" fmla="*/ 1511300 h 6451600"/>
                  <a:gd name="connsiteX192" fmla="*/ 4083051 w 5226051"/>
                  <a:gd name="connsiteY192" fmla="*/ 1476375 h 6451600"/>
                  <a:gd name="connsiteX193" fmla="*/ 4070351 w 5226051"/>
                  <a:gd name="connsiteY193" fmla="*/ 1447800 h 6451600"/>
                  <a:gd name="connsiteX194" fmla="*/ 4057651 w 5226051"/>
                  <a:gd name="connsiteY194" fmla="*/ 1419225 h 6451600"/>
                  <a:gd name="connsiteX195" fmla="*/ 4044951 w 5226051"/>
                  <a:gd name="connsiteY195" fmla="*/ 1390650 h 6451600"/>
                  <a:gd name="connsiteX196" fmla="*/ 4025901 w 5226051"/>
                  <a:gd name="connsiteY196" fmla="*/ 1362075 h 6451600"/>
                  <a:gd name="connsiteX197" fmla="*/ 4010026 w 5226051"/>
                  <a:gd name="connsiteY197" fmla="*/ 1333500 h 6451600"/>
                  <a:gd name="connsiteX198" fmla="*/ 3987801 w 5226051"/>
                  <a:gd name="connsiteY198" fmla="*/ 1308100 h 6451600"/>
                  <a:gd name="connsiteX199" fmla="*/ 3968751 w 5226051"/>
                  <a:gd name="connsiteY199" fmla="*/ 1285875 h 6451600"/>
                  <a:gd name="connsiteX200" fmla="*/ 3946526 w 5226051"/>
                  <a:gd name="connsiteY200" fmla="*/ 1260475 h 6451600"/>
                  <a:gd name="connsiteX201" fmla="*/ 3921126 w 5226051"/>
                  <a:gd name="connsiteY201" fmla="*/ 1238250 h 6451600"/>
                  <a:gd name="connsiteX202" fmla="*/ 3895726 w 5226051"/>
                  <a:gd name="connsiteY202" fmla="*/ 1219200 h 6451600"/>
                  <a:gd name="connsiteX203" fmla="*/ 3867151 w 5226051"/>
                  <a:gd name="connsiteY203" fmla="*/ 1200150 h 6451600"/>
                  <a:gd name="connsiteX204" fmla="*/ 3838576 w 5226051"/>
                  <a:gd name="connsiteY204" fmla="*/ 1184275 h 6451600"/>
                  <a:gd name="connsiteX205" fmla="*/ 3810001 w 5226051"/>
                  <a:gd name="connsiteY205" fmla="*/ 1168400 h 6451600"/>
                  <a:gd name="connsiteX206" fmla="*/ 3778251 w 5226051"/>
                  <a:gd name="connsiteY206" fmla="*/ 1155700 h 6451600"/>
                  <a:gd name="connsiteX207" fmla="*/ 3746501 w 5226051"/>
                  <a:gd name="connsiteY207" fmla="*/ 1146175 h 6451600"/>
                  <a:gd name="connsiteX208" fmla="*/ 3711576 w 5226051"/>
                  <a:gd name="connsiteY208" fmla="*/ 1136650 h 6451600"/>
                  <a:gd name="connsiteX209" fmla="*/ 3676651 w 5226051"/>
                  <a:gd name="connsiteY209" fmla="*/ 1130300 h 6451600"/>
                  <a:gd name="connsiteX210" fmla="*/ 3629026 w 5226051"/>
                  <a:gd name="connsiteY210" fmla="*/ 1123950 h 6451600"/>
                  <a:gd name="connsiteX211" fmla="*/ 3578226 w 5226051"/>
                  <a:gd name="connsiteY211" fmla="*/ 1120775 h 6451600"/>
                  <a:gd name="connsiteX212" fmla="*/ 3470276 w 5226051"/>
                  <a:gd name="connsiteY212" fmla="*/ 1117600 h 6451600"/>
                  <a:gd name="connsiteX213" fmla="*/ 3359151 w 5226051"/>
                  <a:gd name="connsiteY213" fmla="*/ 1120775 h 6451600"/>
                  <a:gd name="connsiteX214" fmla="*/ 3238501 w 5226051"/>
                  <a:gd name="connsiteY214" fmla="*/ 1127125 h 6451600"/>
                  <a:gd name="connsiteX215" fmla="*/ 3117851 w 5226051"/>
                  <a:gd name="connsiteY215" fmla="*/ 1133475 h 6451600"/>
                  <a:gd name="connsiteX216" fmla="*/ 2994026 w 5226051"/>
                  <a:gd name="connsiteY216" fmla="*/ 1136650 h 6451600"/>
                  <a:gd name="connsiteX217" fmla="*/ 2867026 w 5226051"/>
                  <a:gd name="connsiteY217" fmla="*/ 1136650 h 6451600"/>
                  <a:gd name="connsiteX218" fmla="*/ 2800351 w 5226051"/>
                  <a:gd name="connsiteY218" fmla="*/ 1133475 h 6451600"/>
                  <a:gd name="connsiteX219" fmla="*/ 2736851 w 5226051"/>
                  <a:gd name="connsiteY219" fmla="*/ 1130300 h 6451600"/>
                  <a:gd name="connsiteX220" fmla="*/ 2736851 w 5226051"/>
                  <a:gd name="connsiteY220" fmla="*/ 190500 h 6451600"/>
                  <a:gd name="connsiteX221" fmla="*/ 2743201 w 5226051"/>
                  <a:gd name="connsiteY221" fmla="*/ 168275 h 6451600"/>
                  <a:gd name="connsiteX222" fmla="*/ 2752726 w 5226051"/>
                  <a:gd name="connsiteY222" fmla="*/ 149225 h 6451600"/>
                  <a:gd name="connsiteX223" fmla="*/ 2762251 w 5226051"/>
                  <a:gd name="connsiteY223" fmla="*/ 130175 h 6451600"/>
                  <a:gd name="connsiteX224" fmla="*/ 2774951 w 5226051"/>
                  <a:gd name="connsiteY224" fmla="*/ 114300 h 6451600"/>
                  <a:gd name="connsiteX225" fmla="*/ 2787651 w 5226051"/>
                  <a:gd name="connsiteY225" fmla="*/ 98425 h 6451600"/>
                  <a:gd name="connsiteX226" fmla="*/ 2803526 w 5226051"/>
                  <a:gd name="connsiteY226" fmla="*/ 85725 h 6451600"/>
                  <a:gd name="connsiteX227" fmla="*/ 2838451 w 5226051"/>
                  <a:gd name="connsiteY227" fmla="*/ 60325 h 6451600"/>
                  <a:gd name="connsiteX228" fmla="*/ 2876551 w 5226051"/>
                  <a:gd name="connsiteY228" fmla="*/ 41275 h 6451600"/>
                  <a:gd name="connsiteX229" fmla="*/ 2921001 w 5226051"/>
                  <a:gd name="connsiteY229" fmla="*/ 28575 h 6451600"/>
                  <a:gd name="connsiteX230" fmla="*/ 2968626 w 5226051"/>
                  <a:gd name="connsiteY230" fmla="*/ 19050 h 6451600"/>
                  <a:gd name="connsiteX231" fmla="*/ 3019426 w 5226051"/>
                  <a:gd name="connsiteY231" fmla="*/ 12700 h 6451600"/>
                  <a:gd name="connsiteX232" fmla="*/ 387350 w 5226051"/>
                  <a:gd name="connsiteY232" fmla="*/ 0 h 6451600"/>
                  <a:gd name="connsiteX233" fmla="*/ 454025 w 5226051"/>
                  <a:gd name="connsiteY233" fmla="*/ 3175 h 6451600"/>
                  <a:gd name="connsiteX234" fmla="*/ 596900 w 5226051"/>
                  <a:gd name="connsiteY234" fmla="*/ 9525 h 6451600"/>
                  <a:gd name="connsiteX235" fmla="*/ 742950 w 5226051"/>
                  <a:gd name="connsiteY235" fmla="*/ 12700 h 6451600"/>
                  <a:gd name="connsiteX236" fmla="*/ 1809750 w 5226051"/>
                  <a:gd name="connsiteY236" fmla="*/ 12700 h 6451600"/>
                  <a:gd name="connsiteX237" fmla="*/ 2016125 w 5226051"/>
                  <a:gd name="connsiteY237" fmla="*/ 9525 h 6451600"/>
                  <a:gd name="connsiteX238" fmla="*/ 2117725 w 5226051"/>
                  <a:gd name="connsiteY238" fmla="*/ 9525 h 6451600"/>
                  <a:gd name="connsiteX239" fmla="*/ 2165350 w 5226051"/>
                  <a:gd name="connsiteY239" fmla="*/ 12700 h 6451600"/>
                  <a:gd name="connsiteX240" fmla="*/ 2212975 w 5226051"/>
                  <a:gd name="connsiteY240" fmla="*/ 15875 h 6451600"/>
                  <a:gd name="connsiteX241" fmla="*/ 2257425 w 5226051"/>
                  <a:gd name="connsiteY241" fmla="*/ 22225 h 6451600"/>
                  <a:gd name="connsiteX242" fmla="*/ 2301875 w 5226051"/>
                  <a:gd name="connsiteY242" fmla="*/ 28575 h 6451600"/>
                  <a:gd name="connsiteX243" fmla="*/ 2339975 w 5226051"/>
                  <a:gd name="connsiteY243" fmla="*/ 41275 h 6451600"/>
                  <a:gd name="connsiteX244" fmla="*/ 2374900 w 5226051"/>
                  <a:gd name="connsiteY244" fmla="*/ 53975 h 6451600"/>
                  <a:gd name="connsiteX245" fmla="*/ 2406650 w 5226051"/>
                  <a:gd name="connsiteY245" fmla="*/ 73025 h 6451600"/>
                  <a:gd name="connsiteX246" fmla="*/ 2432050 w 5226051"/>
                  <a:gd name="connsiteY246" fmla="*/ 95250 h 6451600"/>
                  <a:gd name="connsiteX247" fmla="*/ 2454275 w 5226051"/>
                  <a:gd name="connsiteY247" fmla="*/ 120650 h 6451600"/>
                  <a:gd name="connsiteX248" fmla="*/ 2470150 w 5226051"/>
                  <a:gd name="connsiteY248" fmla="*/ 152400 h 6451600"/>
                  <a:gd name="connsiteX249" fmla="*/ 2479675 w 5226051"/>
                  <a:gd name="connsiteY249" fmla="*/ 177800 h 6451600"/>
                  <a:gd name="connsiteX250" fmla="*/ 2486025 w 5226051"/>
                  <a:gd name="connsiteY250" fmla="*/ 203200 h 6451600"/>
                  <a:gd name="connsiteX251" fmla="*/ 2495550 w 5226051"/>
                  <a:gd name="connsiteY251" fmla="*/ 263525 h 6451600"/>
                  <a:gd name="connsiteX252" fmla="*/ 2498725 w 5226051"/>
                  <a:gd name="connsiteY252" fmla="*/ 323850 h 6451600"/>
                  <a:gd name="connsiteX253" fmla="*/ 2495550 w 5226051"/>
                  <a:gd name="connsiteY253" fmla="*/ 390525 h 6451600"/>
                  <a:gd name="connsiteX254" fmla="*/ 2489200 w 5226051"/>
                  <a:gd name="connsiteY254" fmla="*/ 517525 h 6451600"/>
                  <a:gd name="connsiteX255" fmla="*/ 2486025 w 5226051"/>
                  <a:gd name="connsiteY255" fmla="*/ 581025 h 6451600"/>
                  <a:gd name="connsiteX256" fmla="*/ 2482850 w 5226051"/>
                  <a:gd name="connsiteY256" fmla="*/ 635000 h 6451600"/>
                  <a:gd name="connsiteX257" fmla="*/ 2482850 w 5226051"/>
                  <a:gd name="connsiteY257" fmla="*/ 1130300 h 6451600"/>
                  <a:gd name="connsiteX258" fmla="*/ 2413000 w 5226051"/>
                  <a:gd name="connsiteY258" fmla="*/ 1136650 h 6451600"/>
                  <a:gd name="connsiteX259" fmla="*/ 2343150 w 5226051"/>
                  <a:gd name="connsiteY259" fmla="*/ 1139825 h 6451600"/>
                  <a:gd name="connsiteX260" fmla="*/ 2270125 w 5226051"/>
                  <a:gd name="connsiteY260" fmla="*/ 1139825 h 6451600"/>
                  <a:gd name="connsiteX261" fmla="*/ 2197100 w 5226051"/>
                  <a:gd name="connsiteY261" fmla="*/ 1136650 h 6451600"/>
                  <a:gd name="connsiteX262" fmla="*/ 2051050 w 5226051"/>
                  <a:gd name="connsiteY262" fmla="*/ 1130300 h 6451600"/>
                  <a:gd name="connsiteX263" fmla="*/ 1908175 w 5226051"/>
                  <a:gd name="connsiteY263" fmla="*/ 1123950 h 6451600"/>
                  <a:gd name="connsiteX264" fmla="*/ 1771650 w 5226051"/>
                  <a:gd name="connsiteY264" fmla="*/ 1120775 h 6451600"/>
                  <a:gd name="connsiteX265" fmla="*/ 1704975 w 5226051"/>
                  <a:gd name="connsiteY265" fmla="*/ 1120775 h 6451600"/>
                  <a:gd name="connsiteX266" fmla="*/ 1641475 w 5226051"/>
                  <a:gd name="connsiteY266" fmla="*/ 1123950 h 6451600"/>
                  <a:gd name="connsiteX267" fmla="*/ 1577975 w 5226051"/>
                  <a:gd name="connsiteY267" fmla="*/ 1130300 h 6451600"/>
                  <a:gd name="connsiteX268" fmla="*/ 1520825 w 5226051"/>
                  <a:gd name="connsiteY268" fmla="*/ 1136650 h 6451600"/>
                  <a:gd name="connsiteX269" fmla="*/ 1466850 w 5226051"/>
                  <a:gd name="connsiteY269" fmla="*/ 1152525 h 6451600"/>
                  <a:gd name="connsiteX270" fmla="*/ 1416050 w 5226051"/>
                  <a:gd name="connsiteY270" fmla="*/ 1168400 h 6451600"/>
                  <a:gd name="connsiteX271" fmla="*/ 1390650 w 5226051"/>
                  <a:gd name="connsiteY271" fmla="*/ 1181100 h 6451600"/>
                  <a:gd name="connsiteX272" fmla="*/ 1368425 w 5226051"/>
                  <a:gd name="connsiteY272" fmla="*/ 1193800 h 6451600"/>
                  <a:gd name="connsiteX273" fmla="*/ 1320800 w 5226051"/>
                  <a:gd name="connsiteY273" fmla="*/ 1225550 h 6451600"/>
                  <a:gd name="connsiteX274" fmla="*/ 1273175 w 5226051"/>
                  <a:gd name="connsiteY274" fmla="*/ 1263650 h 6451600"/>
                  <a:gd name="connsiteX275" fmla="*/ 1231900 w 5226051"/>
                  <a:gd name="connsiteY275" fmla="*/ 1308100 h 6451600"/>
                  <a:gd name="connsiteX276" fmla="*/ 1193800 w 5226051"/>
                  <a:gd name="connsiteY276" fmla="*/ 1358900 h 6451600"/>
                  <a:gd name="connsiteX277" fmla="*/ 1162050 w 5226051"/>
                  <a:gd name="connsiteY277" fmla="*/ 1412875 h 6451600"/>
                  <a:gd name="connsiteX278" fmla="*/ 1149350 w 5226051"/>
                  <a:gd name="connsiteY278" fmla="*/ 1438275 h 6451600"/>
                  <a:gd name="connsiteX279" fmla="*/ 1139825 w 5226051"/>
                  <a:gd name="connsiteY279" fmla="*/ 1466850 h 6451600"/>
                  <a:gd name="connsiteX280" fmla="*/ 1130300 w 5226051"/>
                  <a:gd name="connsiteY280" fmla="*/ 1495425 h 6451600"/>
                  <a:gd name="connsiteX281" fmla="*/ 1123950 w 5226051"/>
                  <a:gd name="connsiteY281" fmla="*/ 1524000 h 6451600"/>
                  <a:gd name="connsiteX282" fmla="*/ 1117600 w 5226051"/>
                  <a:gd name="connsiteY282" fmla="*/ 1587500 h 6451600"/>
                  <a:gd name="connsiteX283" fmla="*/ 1111250 w 5226051"/>
                  <a:gd name="connsiteY283" fmla="*/ 1657350 h 6451600"/>
                  <a:gd name="connsiteX284" fmla="*/ 1111250 w 5226051"/>
                  <a:gd name="connsiteY284" fmla="*/ 1727200 h 6451600"/>
                  <a:gd name="connsiteX285" fmla="*/ 1114425 w 5226051"/>
                  <a:gd name="connsiteY285" fmla="*/ 1800225 h 6451600"/>
                  <a:gd name="connsiteX286" fmla="*/ 1120775 w 5226051"/>
                  <a:gd name="connsiteY286" fmla="*/ 1952625 h 6451600"/>
                  <a:gd name="connsiteX287" fmla="*/ 1123950 w 5226051"/>
                  <a:gd name="connsiteY287" fmla="*/ 2032000 h 6451600"/>
                  <a:gd name="connsiteX288" fmla="*/ 1123950 w 5226051"/>
                  <a:gd name="connsiteY288" fmla="*/ 2108200 h 6451600"/>
                  <a:gd name="connsiteX289" fmla="*/ 1123950 w 5226051"/>
                  <a:gd name="connsiteY289" fmla="*/ 3848100 h 6451600"/>
                  <a:gd name="connsiteX290" fmla="*/ 387350 w 5226051"/>
                  <a:gd name="connsiteY290" fmla="*/ 3848100 h 6451600"/>
                  <a:gd name="connsiteX291" fmla="*/ 381000 w 5226051"/>
                  <a:gd name="connsiteY291" fmla="*/ 3873500 h 6451600"/>
                  <a:gd name="connsiteX292" fmla="*/ 374650 w 5226051"/>
                  <a:gd name="connsiteY292" fmla="*/ 3898900 h 6451600"/>
                  <a:gd name="connsiteX293" fmla="*/ 374650 w 5226051"/>
                  <a:gd name="connsiteY293" fmla="*/ 3930650 h 6451600"/>
                  <a:gd name="connsiteX294" fmla="*/ 374650 w 5226051"/>
                  <a:gd name="connsiteY294" fmla="*/ 3962400 h 6451600"/>
                  <a:gd name="connsiteX295" fmla="*/ 374650 w 5226051"/>
                  <a:gd name="connsiteY295" fmla="*/ 4029075 h 6451600"/>
                  <a:gd name="connsiteX296" fmla="*/ 374650 w 5226051"/>
                  <a:gd name="connsiteY296" fmla="*/ 4060825 h 6451600"/>
                  <a:gd name="connsiteX297" fmla="*/ 374650 w 5226051"/>
                  <a:gd name="connsiteY297" fmla="*/ 4089400 h 6451600"/>
                  <a:gd name="connsiteX298" fmla="*/ 460375 w 5226051"/>
                  <a:gd name="connsiteY298" fmla="*/ 4098925 h 6451600"/>
                  <a:gd name="connsiteX299" fmla="*/ 552450 w 5226051"/>
                  <a:gd name="connsiteY299" fmla="*/ 4102100 h 6451600"/>
                  <a:gd name="connsiteX300" fmla="*/ 644525 w 5226051"/>
                  <a:gd name="connsiteY300" fmla="*/ 4105275 h 6451600"/>
                  <a:gd name="connsiteX301" fmla="*/ 742950 w 5226051"/>
                  <a:gd name="connsiteY301" fmla="*/ 4105275 h 6451600"/>
                  <a:gd name="connsiteX302" fmla="*/ 936625 w 5226051"/>
                  <a:gd name="connsiteY302" fmla="*/ 4102100 h 6451600"/>
                  <a:gd name="connsiteX303" fmla="*/ 1031875 w 5226051"/>
                  <a:gd name="connsiteY303" fmla="*/ 4102100 h 6451600"/>
                  <a:gd name="connsiteX304" fmla="*/ 1123950 w 5226051"/>
                  <a:gd name="connsiteY304" fmla="*/ 4102100 h 6451600"/>
                  <a:gd name="connsiteX305" fmla="*/ 1123950 w 5226051"/>
                  <a:gd name="connsiteY305" fmla="*/ 4133850 h 6451600"/>
                  <a:gd name="connsiteX306" fmla="*/ 1123950 w 5226051"/>
                  <a:gd name="connsiteY306" fmla="*/ 4168775 h 6451600"/>
                  <a:gd name="connsiteX307" fmla="*/ 1127125 w 5226051"/>
                  <a:gd name="connsiteY307" fmla="*/ 4238625 h 6451600"/>
                  <a:gd name="connsiteX308" fmla="*/ 1127125 w 5226051"/>
                  <a:gd name="connsiteY308" fmla="*/ 4270375 h 6451600"/>
                  <a:gd name="connsiteX309" fmla="*/ 1123950 w 5226051"/>
                  <a:gd name="connsiteY309" fmla="*/ 4302125 h 6451600"/>
                  <a:gd name="connsiteX310" fmla="*/ 1120775 w 5226051"/>
                  <a:gd name="connsiteY310" fmla="*/ 4330700 h 6451600"/>
                  <a:gd name="connsiteX311" fmla="*/ 1111250 w 5226051"/>
                  <a:gd name="connsiteY311" fmla="*/ 4356100 h 6451600"/>
                  <a:gd name="connsiteX312" fmla="*/ 387350 w 5226051"/>
                  <a:gd name="connsiteY312" fmla="*/ 4356100 h 6451600"/>
                  <a:gd name="connsiteX313" fmla="*/ 377825 w 5226051"/>
                  <a:gd name="connsiteY313" fmla="*/ 4381500 h 6451600"/>
                  <a:gd name="connsiteX314" fmla="*/ 374650 w 5226051"/>
                  <a:gd name="connsiteY314" fmla="*/ 4406900 h 6451600"/>
                  <a:gd name="connsiteX315" fmla="*/ 371475 w 5226051"/>
                  <a:gd name="connsiteY315" fmla="*/ 4438650 h 6451600"/>
                  <a:gd name="connsiteX316" fmla="*/ 374650 w 5226051"/>
                  <a:gd name="connsiteY316" fmla="*/ 4470400 h 6451600"/>
                  <a:gd name="connsiteX317" fmla="*/ 374650 w 5226051"/>
                  <a:gd name="connsiteY317" fmla="*/ 4537075 h 6451600"/>
                  <a:gd name="connsiteX318" fmla="*/ 377825 w 5226051"/>
                  <a:gd name="connsiteY318" fmla="*/ 4568825 h 6451600"/>
                  <a:gd name="connsiteX319" fmla="*/ 374650 w 5226051"/>
                  <a:gd name="connsiteY319" fmla="*/ 4597400 h 6451600"/>
                  <a:gd name="connsiteX320" fmla="*/ 1123950 w 5226051"/>
                  <a:gd name="connsiteY320" fmla="*/ 4597400 h 6451600"/>
                  <a:gd name="connsiteX321" fmla="*/ 1123950 w 5226051"/>
                  <a:gd name="connsiteY321" fmla="*/ 5080000 h 6451600"/>
                  <a:gd name="connsiteX322" fmla="*/ 990600 w 5226051"/>
                  <a:gd name="connsiteY322" fmla="*/ 5089525 h 6451600"/>
                  <a:gd name="connsiteX323" fmla="*/ 854075 w 5226051"/>
                  <a:gd name="connsiteY323" fmla="*/ 5095875 h 6451600"/>
                  <a:gd name="connsiteX324" fmla="*/ 714375 w 5226051"/>
                  <a:gd name="connsiteY324" fmla="*/ 5095875 h 6451600"/>
                  <a:gd name="connsiteX325" fmla="*/ 574675 w 5226051"/>
                  <a:gd name="connsiteY325" fmla="*/ 5095875 h 6451600"/>
                  <a:gd name="connsiteX326" fmla="*/ 288925 w 5226051"/>
                  <a:gd name="connsiteY326" fmla="*/ 5092700 h 6451600"/>
                  <a:gd name="connsiteX327" fmla="*/ 146050 w 5226051"/>
                  <a:gd name="connsiteY327" fmla="*/ 5092700 h 6451600"/>
                  <a:gd name="connsiteX328" fmla="*/ 6350 w 5226051"/>
                  <a:gd name="connsiteY328" fmla="*/ 5092700 h 6451600"/>
                  <a:gd name="connsiteX329" fmla="*/ 6350 w 5226051"/>
                  <a:gd name="connsiteY329" fmla="*/ 762000 h 6451600"/>
                  <a:gd name="connsiteX330" fmla="*/ 3175 w 5226051"/>
                  <a:gd name="connsiteY330" fmla="*/ 631825 h 6451600"/>
                  <a:gd name="connsiteX331" fmla="*/ 0 w 5226051"/>
                  <a:gd name="connsiteY331" fmla="*/ 508000 h 6451600"/>
                  <a:gd name="connsiteX332" fmla="*/ 0 w 5226051"/>
                  <a:gd name="connsiteY332" fmla="*/ 387350 h 6451600"/>
                  <a:gd name="connsiteX333" fmla="*/ 3175 w 5226051"/>
                  <a:gd name="connsiteY333" fmla="*/ 330200 h 6451600"/>
                  <a:gd name="connsiteX334" fmla="*/ 9525 w 5226051"/>
                  <a:gd name="connsiteY334" fmla="*/ 279400 h 6451600"/>
                  <a:gd name="connsiteX335" fmla="*/ 15875 w 5226051"/>
                  <a:gd name="connsiteY335" fmla="*/ 228600 h 6451600"/>
                  <a:gd name="connsiteX336" fmla="*/ 28575 w 5226051"/>
                  <a:gd name="connsiteY336" fmla="*/ 180975 h 6451600"/>
                  <a:gd name="connsiteX337" fmla="*/ 44450 w 5226051"/>
                  <a:gd name="connsiteY337" fmla="*/ 139700 h 6451600"/>
                  <a:gd name="connsiteX338" fmla="*/ 66675 w 5226051"/>
                  <a:gd name="connsiteY338" fmla="*/ 104775 h 6451600"/>
                  <a:gd name="connsiteX339" fmla="*/ 79375 w 5226051"/>
                  <a:gd name="connsiteY339" fmla="*/ 85725 h 6451600"/>
                  <a:gd name="connsiteX340" fmla="*/ 92075 w 5226051"/>
                  <a:gd name="connsiteY340" fmla="*/ 73025 h 6451600"/>
                  <a:gd name="connsiteX341" fmla="*/ 107950 w 5226051"/>
                  <a:gd name="connsiteY341" fmla="*/ 57150 h 6451600"/>
                  <a:gd name="connsiteX342" fmla="*/ 123825 w 5226051"/>
                  <a:gd name="connsiteY342" fmla="*/ 47625 h 6451600"/>
                  <a:gd name="connsiteX343" fmla="*/ 142875 w 5226051"/>
                  <a:gd name="connsiteY343" fmla="*/ 34925 h 6451600"/>
                  <a:gd name="connsiteX344" fmla="*/ 161925 w 5226051"/>
                  <a:gd name="connsiteY344" fmla="*/ 25400 h 6451600"/>
                  <a:gd name="connsiteX345" fmla="*/ 184150 w 5226051"/>
                  <a:gd name="connsiteY345" fmla="*/ 19050 h 6451600"/>
                  <a:gd name="connsiteX346" fmla="*/ 209550 w 5226051"/>
                  <a:gd name="connsiteY346" fmla="*/ 12700 h 6451600"/>
                  <a:gd name="connsiteX347" fmla="*/ 263525 w 5226051"/>
                  <a:gd name="connsiteY347" fmla="*/ 6350 h 6451600"/>
                  <a:gd name="connsiteX348" fmla="*/ 320675 w 5226051"/>
                  <a:gd name="connsiteY348" fmla="*/ 3175 h 645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Lst>
                <a:rect l="l" t="t" r="r" b="b"/>
                <a:pathLst>
                  <a:path w="5226051" h="6451600">
                    <a:moveTo>
                      <a:pt x="1771650" y="5702301"/>
                    </a:moveTo>
                    <a:lnTo>
                      <a:pt x="1762125" y="5711826"/>
                    </a:lnTo>
                    <a:lnTo>
                      <a:pt x="1755775" y="5721351"/>
                    </a:lnTo>
                    <a:lnTo>
                      <a:pt x="1749425" y="5734051"/>
                    </a:lnTo>
                    <a:lnTo>
                      <a:pt x="1746250" y="5749926"/>
                    </a:lnTo>
                    <a:lnTo>
                      <a:pt x="1743075" y="5784851"/>
                    </a:lnTo>
                    <a:lnTo>
                      <a:pt x="1746250" y="5822951"/>
                    </a:lnTo>
                    <a:lnTo>
                      <a:pt x="1749425" y="5861051"/>
                    </a:lnTo>
                    <a:lnTo>
                      <a:pt x="1749425" y="5899151"/>
                    </a:lnTo>
                    <a:lnTo>
                      <a:pt x="1746250" y="5930901"/>
                    </a:lnTo>
                    <a:lnTo>
                      <a:pt x="1739900" y="5946776"/>
                    </a:lnTo>
                    <a:lnTo>
                      <a:pt x="1733550" y="5956301"/>
                    </a:lnTo>
                    <a:lnTo>
                      <a:pt x="3486150" y="5956301"/>
                    </a:lnTo>
                    <a:lnTo>
                      <a:pt x="3486150" y="5715001"/>
                    </a:lnTo>
                    <a:lnTo>
                      <a:pt x="3279775" y="5708651"/>
                    </a:lnTo>
                    <a:lnTo>
                      <a:pt x="3067050" y="5702301"/>
                    </a:lnTo>
                    <a:lnTo>
                      <a:pt x="2854325" y="5702301"/>
                    </a:lnTo>
                    <a:lnTo>
                      <a:pt x="2638425" y="5702301"/>
                    </a:lnTo>
                    <a:lnTo>
                      <a:pt x="2203450" y="5705476"/>
                    </a:lnTo>
                    <a:lnTo>
                      <a:pt x="1987550" y="5705476"/>
                    </a:lnTo>
                    <a:close/>
                    <a:moveTo>
                      <a:pt x="1746250" y="5219701"/>
                    </a:moveTo>
                    <a:lnTo>
                      <a:pt x="1746250" y="5264151"/>
                    </a:lnTo>
                    <a:lnTo>
                      <a:pt x="1746250" y="5327651"/>
                    </a:lnTo>
                    <a:lnTo>
                      <a:pt x="1746250" y="5397501"/>
                    </a:lnTo>
                    <a:lnTo>
                      <a:pt x="1746250" y="5461001"/>
                    </a:lnTo>
                    <a:lnTo>
                      <a:pt x="3473450" y="5461001"/>
                    </a:lnTo>
                    <a:lnTo>
                      <a:pt x="3482975" y="5438776"/>
                    </a:lnTo>
                    <a:lnTo>
                      <a:pt x="3486150" y="5410201"/>
                    </a:lnTo>
                    <a:lnTo>
                      <a:pt x="3489325" y="5381626"/>
                    </a:lnTo>
                    <a:lnTo>
                      <a:pt x="3489325" y="5349876"/>
                    </a:lnTo>
                    <a:lnTo>
                      <a:pt x="3486150" y="5283201"/>
                    </a:lnTo>
                    <a:lnTo>
                      <a:pt x="3486150" y="5251451"/>
                    </a:lnTo>
                    <a:lnTo>
                      <a:pt x="3486150" y="5219701"/>
                    </a:lnTo>
                    <a:close/>
                    <a:moveTo>
                      <a:pt x="1758950" y="2120901"/>
                    </a:moveTo>
                    <a:lnTo>
                      <a:pt x="1749425" y="2143126"/>
                    </a:lnTo>
                    <a:lnTo>
                      <a:pt x="1746250" y="2171701"/>
                    </a:lnTo>
                    <a:lnTo>
                      <a:pt x="1746250" y="2203451"/>
                    </a:lnTo>
                    <a:lnTo>
                      <a:pt x="1746250" y="2235201"/>
                    </a:lnTo>
                    <a:lnTo>
                      <a:pt x="1749425" y="2301876"/>
                    </a:lnTo>
                    <a:lnTo>
                      <a:pt x="1749425" y="2333626"/>
                    </a:lnTo>
                    <a:lnTo>
                      <a:pt x="1746250" y="2362201"/>
                    </a:lnTo>
                    <a:lnTo>
                      <a:pt x="3486150" y="2362201"/>
                    </a:lnTo>
                    <a:lnTo>
                      <a:pt x="3486150" y="2120901"/>
                    </a:lnTo>
                    <a:close/>
                    <a:moveTo>
                      <a:pt x="3321050" y="1352550"/>
                    </a:moveTo>
                    <a:lnTo>
                      <a:pt x="3397250" y="1355725"/>
                    </a:lnTo>
                    <a:lnTo>
                      <a:pt x="3473450" y="1358900"/>
                    </a:lnTo>
                    <a:lnTo>
                      <a:pt x="3543300" y="1365250"/>
                    </a:lnTo>
                    <a:lnTo>
                      <a:pt x="3606800" y="1371600"/>
                    </a:lnTo>
                    <a:lnTo>
                      <a:pt x="3667125" y="1384300"/>
                    </a:lnTo>
                    <a:lnTo>
                      <a:pt x="3717925" y="1403350"/>
                    </a:lnTo>
                    <a:lnTo>
                      <a:pt x="3740150" y="1412875"/>
                    </a:lnTo>
                    <a:lnTo>
                      <a:pt x="3759200" y="1422400"/>
                    </a:lnTo>
                    <a:lnTo>
                      <a:pt x="3778250" y="1435100"/>
                    </a:lnTo>
                    <a:lnTo>
                      <a:pt x="3790950" y="1447800"/>
                    </a:lnTo>
                    <a:lnTo>
                      <a:pt x="3806825" y="1466850"/>
                    </a:lnTo>
                    <a:lnTo>
                      <a:pt x="3816350" y="1485900"/>
                    </a:lnTo>
                    <a:lnTo>
                      <a:pt x="3829050" y="1511300"/>
                    </a:lnTo>
                    <a:lnTo>
                      <a:pt x="3835400" y="1539875"/>
                    </a:lnTo>
                    <a:lnTo>
                      <a:pt x="3841750" y="1571625"/>
                    </a:lnTo>
                    <a:lnTo>
                      <a:pt x="3848100" y="1606550"/>
                    </a:lnTo>
                    <a:lnTo>
                      <a:pt x="3854450" y="1682750"/>
                    </a:lnTo>
                    <a:lnTo>
                      <a:pt x="3857625" y="1762125"/>
                    </a:lnTo>
                    <a:lnTo>
                      <a:pt x="3857625" y="1847850"/>
                    </a:lnTo>
                    <a:lnTo>
                      <a:pt x="3854450" y="2019300"/>
                    </a:lnTo>
                    <a:lnTo>
                      <a:pt x="3854450" y="6451600"/>
                    </a:lnTo>
                    <a:lnTo>
                      <a:pt x="1365250" y="6451600"/>
                    </a:lnTo>
                    <a:lnTo>
                      <a:pt x="1365250" y="2133600"/>
                    </a:lnTo>
                    <a:lnTo>
                      <a:pt x="1362075" y="1997075"/>
                    </a:lnTo>
                    <a:lnTo>
                      <a:pt x="1358900" y="1866900"/>
                    </a:lnTo>
                    <a:lnTo>
                      <a:pt x="1358900" y="1746250"/>
                    </a:lnTo>
                    <a:lnTo>
                      <a:pt x="1362075" y="1689100"/>
                    </a:lnTo>
                    <a:lnTo>
                      <a:pt x="1368425" y="1635125"/>
                    </a:lnTo>
                    <a:lnTo>
                      <a:pt x="1377950" y="1584325"/>
                    </a:lnTo>
                    <a:lnTo>
                      <a:pt x="1390650" y="1536700"/>
                    </a:lnTo>
                    <a:lnTo>
                      <a:pt x="1409700" y="1495425"/>
                    </a:lnTo>
                    <a:lnTo>
                      <a:pt x="1419225" y="1479550"/>
                    </a:lnTo>
                    <a:lnTo>
                      <a:pt x="1431925" y="1460500"/>
                    </a:lnTo>
                    <a:lnTo>
                      <a:pt x="1447800" y="1444625"/>
                    </a:lnTo>
                    <a:lnTo>
                      <a:pt x="1463675" y="1428750"/>
                    </a:lnTo>
                    <a:lnTo>
                      <a:pt x="1479550" y="1416050"/>
                    </a:lnTo>
                    <a:lnTo>
                      <a:pt x="1498600" y="1403350"/>
                    </a:lnTo>
                    <a:lnTo>
                      <a:pt x="1520825" y="1393825"/>
                    </a:lnTo>
                    <a:lnTo>
                      <a:pt x="1543050" y="1384300"/>
                    </a:lnTo>
                    <a:lnTo>
                      <a:pt x="1568450" y="1377950"/>
                    </a:lnTo>
                    <a:lnTo>
                      <a:pt x="1593850" y="1371600"/>
                    </a:lnTo>
                    <a:lnTo>
                      <a:pt x="1660525" y="1362075"/>
                    </a:lnTo>
                    <a:lnTo>
                      <a:pt x="1730375" y="1358900"/>
                    </a:lnTo>
                    <a:lnTo>
                      <a:pt x="1800225" y="1358900"/>
                    </a:lnTo>
                    <a:lnTo>
                      <a:pt x="1873250" y="1362075"/>
                    </a:lnTo>
                    <a:lnTo>
                      <a:pt x="2022475" y="1368425"/>
                    </a:lnTo>
                    <a:lnTo>
                      <a:pt x="2095500" y="1371600"/>
                    </a:lnTo>
                    <a:lnTo>
                      <a:pt x="2165350" y="1371600"/>
                    </a:lnTo>
                    <a:lnTo>
                      <a:pt x="2736850" y="1371600"/>
                    </a:lnTo>
                    <a:lnTo>
                      <a:pt x="2860675" y="1368425"/>
                    </a:lnTo>
                    <a:lnTo>
                      <a:pt x="3006725" y="1362075"/>
                    </a:lnTo>
                    <a:lnTo>
                      <a:pt x="3162300" y="1355725"/>
                    </a:lnTo>
                    <a:close/>
                    <a:moveTo>
                      <a:pt x="3117851" y="762001"/>
                    </a:moveTo>
                    <a:lnTo>
                      <a:pt x="3111501" y="784226"/>
                    </a:lnTo>
                    <a:lnTo>
                      <a:pt x="3105151" y="812801"/>
                    </a:lnTo>
                    <a:lnTo>
                      <a:pt x="3105151" y="841376"/>
                    </a:lnTo>
                    <a:lnTo>
                      <a:pt x="3105151" y="876301"/>
                    </a:lnTo>
                    <a:lnTo>
                      <a:pt x="3108326" y="939801"/>
                    </a:lnTo>
                    <a:lnTo>
                      <a:pt x="3108326" y="974726"/>
                    </a:lnTo>
                    <a:lnTo>
                      <a:pt x="3105151" y="1003301"/>
                    </a:lnTo>
                    <a:lnTo>
                      <a:pt x="4845051" y="1003301"/>
                    </a:lnTo>
                    <a:lnTo>
                      <a:pt x="4845051" y="762001"/>
                    </a:lnTo>
                    <a:close/>
                    <a:moveTo>
                      <a:pt x="387350" y="762001"/>
                    </a:moveTo>
                    <a:lnTo>
                      <a:pt x="381000" y="784226"/>
                    </a:lnTo>
                    <a:lnTo>
                      <a:pt x="374650" y="815976"/>
                    </a:lnTo>
                    <a:lnTo>
                      <a:pt x="371475" y="847726"/>
                    </a:lnTo>
                    <a:lnTo>
                      <a:pt x="371475" y="882651"/>
                    </a:lnTo>
                    <a:lnTo>
                      <a:pt x="374650" y="917576"/>
                    </a:lnTo>
                    <a:lnTo>
                      <a:pt x="377825" y="949326"/>
                    </a:lnTo>
                    <a:lnTo>
                      <a:pt x="381000" y="981076"/>
                    </a:lnTo>
                    <a:lnTo>
                      <a:pt x="387350" y="1003301"/>
                    </a:lnTo>
                    <a:lnTo>
                      <a:pt x="2114550" y="1003301"/>
                    </a:lnTo>
                    <a:lnTo>
                      <a:pt x="2114550" y="762001"/>
                    </a:lnTo>
                    <a:close/>
                    <a:moveTo>
                      <a:pt x="3073401" y="6350"/>
                    </a:moveTo>
                    <a:lnTo>
                      <a:pt x="3127376" y="6350"/>
                    </a:lnTo>
                    <a:lnTo>
                      <a:pt x="3248026" y="6350"/>
                    </a:lnTo>
                    <a:lnTo>
                      <a:pt x="3368676" y="9525"/>
                    </a:lnTo>
                    <a:lnTo>
                      <a:pt x="3486151" y="12700"/>
                    </a:lnTo>
                    <a:lnTo>
                      <a:pt x="4578351" y="12700"/>
                    </a:lnTo>
                    <a:lnTo>
                      <a:pt x="4679951" y="12700"/>
                    </a:lnTo>
                    <a:lnTo>
                      <a:pt x="4778376" y="9525"/>
                    </a:lnTo>
                    <a:lnTo>
                      <a:pt x="4873626" y="9525"/>
                    </a:lnTo>
                    <a:lnTo>
                      <a:pt x="4921251" y="12700"/>
                    </a:lnTo>
                    <a:lnTo>
                      <a:pt x="4965701" y="15875"/>
                    </a:lnTo>
                    <a:lnTo>
                      <a:pt x="5006976" y="22225"/>
                    </a:lnTo>
                    <a:lnTo>
                      <a:pt x="5045076" y="31750"/>
                    </a:lnTo>
                    <a:lnTo>
                      <a:pt x="5080001" y="41275"/>
                    </a:lnTo>
                    <a:lnTo>
                      <a:pt x="5111751" y="57150"/>
                    </a:lnTo>
                    <a:lnTo>
                      <a:pt x="5140326" y="79375"/>
                    </a:lnTo>
                    <a:lnTo>
                      <a:pt x="5165726" y="101600"/>
                    </a:lnTo>
                    <a:lnTo>
                      <a:pt x="5187951" y="130175"/>
                    </a:lnTo>
                    <a:lnTo>
                      <a:pt x="5200651" y="165100"/>
                    </a:lnTo>
                    <a:lnTo>
                      <a:pt x="5210176" y="190500"/>
                    </a:lnTo>
                    <a:lnTo>
                      <a:pt x="5216526" y="219075"/>
                    </a:lnTo>
                    <a:lnTo>
                      <a:pt x="5222876" y="285750"/>
                    </a:lnTo>
                    <a:lnTo>
                      <a:pt x="5226051" y="361950"/>
                    </a:lnTo>
                    <a:lnTo>
                      <a:pt x="5226051" y="444500"/>
                    </a:lnTo>
                    <a:lnTo>
                      <a:pt x="5219701" y="612775"/>
                    </a:lnTo>
                    <a:lnTo>
                      <a:pt x="5216526" y="695325"/>
                    </a:lnTo>
                    <a:lnTo>
                      <a:pt x="5213351" y="774700"/>
                    </a:lnTo>
                    <a:lnTo>
                      <a:pt x="5213351" y="5092700"/>
                    </a:lnTo>
                    <a:lnTo>
                      <a:pt x="5073651" y="5092700"/>
                    </a:lnTo>
                    <a:lnTo>
                      <a:pt x="4933951" y="5092700"/>
                    </a:lnTo>
                    <a:lnTo>
                      <a:pt x="4648201" y="5095875"/>
                    </a:lnTo>
                    <a:lnTo>
                      <a:pt x="4505326" y="5095875"/>
                    </a:lnTo>
                    <a:lnTo>
                      <a:pt x="4365626" y="5095875"/>
                    </a:lnTo>
                    <a:lnTo>
                      <a:pt x="4229101" y="5089525"/>
                    </a:lnTo>
                    <a:lnTo>
                      <a:pt x="4095751" y="5080000"/>
                    </a:lnTo>
                    <a:lnTo>
                      <a:pt x="4095751" y="4597400"/>
                    </a:lnTo>
                    <a:lnTo>
                      <a:pt x="4832351" y="4597400"/>
                    </a:lnTo>
                    <a:lnTo>
                      <a:pt x="4841876" y="4575175"/>
                    </a:lnTo>
                    <a:lnTo>
                      <a:pt x="4848226" y="4546600"/>
                    </a:lnTo>
                    <a:lnTo>
                      <a:pt x="4848226" y="4518025"/>
                    </a:lnTo>
                    <a:lnTo>
                      <a:pt x="4848226" y="4486275"/>
                    </a:lnTo>
                    <a:lnTo>
                      <a:pt x="4845051" y="4419600"/>
                    </a:lnTo>
                    <a:lnTo>
                      <a:pt x="4845051" y="4387850"/>
                    </a:lnTo>
                    <a:lnTo>
                      <a:pt x="4845051" y="4356100"/>
                    </a:lnTo>
                    <a:lnTo>
                      <a:pt x="4108451" y="4356100"/>
                    </a:lnTo>
                    <a:lnTo>
                      <a:pt x="4102101" y="4330700"/>
                    </a:lnTo>
                    <a:lnTo>
                      <a:pt x="4095751" y="4302125"/>
                    </a:lnTo>
                    <a:lnTo>
                      <a:pt x="4095751" y="4270375"/>
                    </a:lnTo>
                    <a:lnTo>
                      <a:pt x="4095751" y="4238625"/>
                    </a:lnTo>
                    <a:lnTo>
                      <a:pt x="4098926" y="4168775"/>
                    </a:lnTo>
                    <a:lnTo>
                      <a:pt x="4098926" y="4133850"/>
                    </a:lnTo>
                    <a:lnTo>
                      <a:pt x="4095751" y="4102100"/>
                    </a:lnTo>
                    <a:lnTo>
                      <a:pt x="4832351" y="4102100"/>
                    </a:lnTo>
                    <a:lnTo>
                      <a:pt x="4841876" y="4079875"/>
                    </a:lnTo>
                    <a:lnTo>
                      <a:pt x="4848226" y="4051300"/>
                    </a:lnTo>
                    <a:lnTo>
                      <a:pt x="4848226" y="4022725"/>
                    </a:lnTo>
                    <a:lnTo>
                      <a:pt x="4848226" y="3990975"/>
                    </a:lnTo>
                    <a:lnTo>
                      <a:pt x="4845051" y="3924300"/>
                    </a:lnTo>
                    <a:lnTo>
                      <a:pt x="4845051" y="3892550"/>
                    </a:lnTo>
                    <a:lnTo>
                      <a:pt x="4845051" y="3860800"/>
                    </a:lnTo>
                    <a:lnTo>
                      <a:pt x="4759326" y="3854450"/>
                    </a:lnTo>
                    <a:lnTo>
                      <a:pt x="4670426" y="3848100"/>
                    </a:lnTo>
                    <a:lnTo>
                      <a:pt x="4575176" y="3848100"/>
                    </a:lnTo>
                    <a:lnTo>
                      <a:pt x="4479926" y="3848100"/>
                    </a:lnTo>
                    <a:lnTo>
                      <a:pt x="4286251" y="3851275"/>
                    </a:lnTo>
                    <a:lnTo>
                      <a:pt x="4191001" y="3851275"/>
                    </a:lnTo>
                    <a:lnTo>
                      <a:pt x="4095751" y="3848100"/>
                    </a:lnTo>
                    <a:lnTo>
                      <a:pt x="4095751" y="2095500"/>
                    </a:lnTo>
                    <a:lnTo>
                      <a:pt x="4098926" y="2012950"/>
                    </a:lnTo>
                    <a:lnTo>
                      <a:pt x="4102101" y="1924050"/>
                    </a:lnTo>
                    <a:lnTo>
                      <a:pt x="4105276" y="1746250"/>
                    </a:lnTo>
                    <a:lnTo>
                      <a:pt x="4105276" y="1660525"/>
                    </a:lnTo>
                    <a:lnTo>
                      <a:pt x="4102101" y="1581150"/>
                    </a:lnTo>
                    <a:lnTo>
                      <a:pt x="4095751" y="1546225"/>
                    </a:lnTo>
                    <a:lnTo>
                      <a:pt x="4089401" y="1511300"/>
                    </a:lnTo>
                    <a:lnTo>
                      <a:pt x="4083051" y="1476375"/>
                    </a:lnTo>
                    <a:lnTo>
                      <a:pt x="4070351" y="1447800"/>
                    </a:lnTo>
                    <a:lnTo>
                      <a:pt x="4057651" y="1419225"/>
                    </a:lnTo>
                    <a:lnTo>
                      <a:pt x="4044951" y="1390650"/>
                    </a:lnTo>
                    <a:lnTo>
                      <a:pt x="4025901" y="1362075"/>
                    </a:lnTo>
                    <a:lnTo>
                      <a:pt x="4010026" y="1333500"/>
                    </a:lnTo>
                    <a:lnTo>
                      <a:pt x="3987801" y="1308100"/>
                    </a:lnTo>
                    <a:lnTo>
                      <a:pt x="3968751" y="1285875"/>
                    </a:lnTo>
                    <a:lnTo>
                      <a:pt x="3946526" y="1260475"/>
                    </a:lnTo>
                    <a:lnTo>
                      <a:pt x="3921126" y="1238250"/>
                    </a:lnTo>
                    <a:lnTo>
                      <a:pt x="3895726" y="1219200"/>
                    </a:lnTo>
                    <a:lnTo>
                      <a:pt x="3867151" y="1200150"/>
                    </a:lnTo>
                    <a:lnTo>
                      <a:pt x="3838576" y="1184275"/>
                    </a:lnTo>
                    <a:lnTo>
                      <a:pt x="3810001" y="1168400"/>
                    </a:lnTo>
                    <a:lnTo>
                      <a:pt x="3778251" y="1155700"/>
                    </a:lnTo>
                    <a:lnTo>
                      <a:pt x="3746501" y="1146175"/>
                    </a:lnTo>
                    <a:lnTo>
                      <a:pt x="3711576" y="1136650"/>
                    </a:lnTo>
                    <a:lnTo>
                      <a:pt x="3676651" y="1130300"/>
                    </a:lnTo>
                    <a:lnTo>
                      <a:pt x="3629026" y="1123950"/>
                    </a:lnTo>
                    <a:lnTo>
                      <a:pt x="3578226" y="1120775"/>
                    </a:lnTo>
                    <a:lnTo>
                      <a:pt x="3470276" y="1117600"/>
                    </a:lnTo>
                    <a:lnTo>
                      <a:pt x="3359151" y="1120775"/>
                    </a:lnTo>
                    <a:lnTo>
                      <a:pt x="3238501" y="1127125"/>
                    </a:lnTo>
                    <a:lnTo>
                      <a:pt x="3117851" y="1133475"/>
                    </a:lnTo>
                    <a:lnTo>
                      <a:pt x="2994026" y="1136650"/>
                    </a:lnTo>
                    <a:lnTo>
                      <a:pt x="2867026" y="1136650"/>
                    </a:lnTo>
                    <a:lnTo>
                      <a:pt x="2800351" y="1133475"/>
                    </a:lnTo>
                    <a:lnTo>
                      <a:pt x="2736851" y="1130300"/>
                    </a:lnTo>
                    <a:lnTo>
                      <a:pt x="2736851" y="190500"/>
                    </a:lnTo>
                    <a:lnTo>
                      <a:pt x="2743201" y="168275"/>
                    </a:lnTo>
                    <a:lnTo>
                      <a:pt x="2752726" y="149225"/>
                    </a:lnTo>
                    <a:lnTo>
                      <a:pt x="2762251" y="130175"/>
                    </a:lnTo>
                    <a:lnTo>
                      <a:pt x="2774951" y="114300"/>
                    </a:lnTo>
                    <a:lnTo>
                      <a:pt x="2787651" y="98425"/>
                    </a:lnTo>
                    <a:lnTo>
                      <a:pt x="2803526" y="85725"/>
                    </a:lnTo>
                    <a:lnTo>
                      <a:pt x="2838451" y="60325"/>
                    </a:lnTo>
                    <a:lnTo>
                      <a:pt x="2876551" y="41275"/>
                    </a:lnTo>
                    <a:lnTo>
                      <a:pt x="2921001" y="28575"/>
                    </a:lnTo>
                    <a:lnTo>
                      <a:pt x="2968626" y="19050"/>
                    </a:lnTo>
                    <a:lnTo>
                      <a:pt x="3019426" y="12700"/>
                    </a:lnTo>
                    <a:close/>
                    <a:moveTo>
                      <a:pt x="387350" y="0"/>
                    </a:moveTo>
                    <a:lnTo>
                      <a:pt x="454025" y="3175"/>
                    </a:lnTo>
                    <a:lnTo>
                      <a:pt x="596900" y="9525"/>
                    </a:lnTo>
                    <a:lnTo>
                      <a:pt x="742950" y="12700"/>
                    </a:lnTo>
                    <a:lnTo>
                      <a:pt x="1809750" y="12700"/>
                    </a:lnTo>
                    <a:lnTo>
                      <a:pt x="2016125" y="9525"/>
                    </a:lnTo>
                    <a:lnTo>
                      <a:pt x="2117725" y="9525"/>
                    </a:lnTo>
                    <a:lnTo>
                      <a:pt x="2165350" y="12700"/>
                    </a:lnTo>
                    <a:lnTo>
                      <a:pt x="2212975" y="15875"/>
                    </a:lnTo>
                    <a:lnTo>
                      <a:pt x="2257425" y="22225"/>
                    </a:lnTo>
                    <a:lnTo>
                      <a:pt x="2301875" y="28575"/>
                    </a:lnTo>
                    <a:lnTo>
                      <a:pt x="2339975" y="41275"/>
                    </a:lnTo>
                    <a:lnTo>
                      <a:pt x="2374900" y="53975"/>
                    </a:lnTo>
                    <a:lnTo>
                      <a:pt x="2406650" y="73025"/>
                    </a:lnTo>
                    <a:lnTo>
                      <a:pt x="2432050" y="95250"/>
                    </a:lnTo>
                    <a:lnTo>
                      <a:pt x="2454275" y="120650"/>
                    </a:lnTo>
                    <a:lnTo>
                      <a:pt x="2470150" y="152400"/>
                    </a:lnTo>
                    <a:lnTo>
                      <a:pt x="2479675" y="177800"/>
                    </a:lnTo>
                    <a:lnTo>
                      <a:pt x="2486025" y="203200"/>
                    </a:lnTo>
                    <a:lnTo>
                      <a:pt x="2495550" y="263525"/>
                    </a:lnTo>
                    <a:lnTo>
                      <a:pt x="2498725" y="323850"/>
                    </a:lnTo>
                    <a:lnTo>
                      <a:pt x="2495550" y="390525"/>
                    </a:lnTo>
                    <a:lnTo>
                      <a:pt x="2489200" y="517525"/>
                    </a:lnTo>
                    <a:lnTo>
                      <a:pt x="2486025" y="581025"/>
                    </a:lnTo>
                    <a:lnTo>
                      <a:pt x="2482850" y="635000"/>
                    </a:lnTo>
                    <a:lnTo>
                      <a:pt x="2482850" y="1130300"/>
                    </a:lnTo>
                    <a:lnTo>
                      <a:pt x="2413000" y="1136650"/>
                    </a:lnTo>
                    <a:lnTo>
                      <a:pt x="2343150" y="1139825"/>
                    </a:lnTo>
                    <a:lnTo>
                      <a:pt x="2270125" y="1139825"/>
                    </a:lnTo>
                    <a:lnTo>
                      <a:pt x="2197100" y="1136650"/>
                    </a:lnTo>
                    <a:lnTo>
                      <a:pt x="2051050" y="1130300"/>
                    </a:lnTo>
                    <a:lnTo>
                      <a:pt x="1908175" y="1123950"/>
                    </a:lnTo>
                    <a:lnTo>
                      <a:pt x="1771650" y="1120775"/>
                    </a:lnTo>
                    <a:lnTo>
                      <a:pt x="1704975" y="1120775"/>
                    </a:lnTo>
                    <a:lnTo>
                      <a:pt x="1641475" y="1123950"/>
                    </a:lnTo>
                    <a:lnTo>
                      <a:pt x="1577975" y="1130300"/>
                    </a:lnTo>
                    <a:lnTo>
                      <a:pt x="1520825" y="1136650"/>
                    </a:lnTo>
                    <a:lnTo>
                      <a:pt x="1466850" y="1152525"/>
                    </a:lnTo>
                    <a:lnTo>
                      <a:pt x="1416050" y="1168400"/>
                    </a:lnTo>
                    <a:lnTo>
                      <a:pt x="1390650" y="1181100"/>
                    </a:lnTo>
                    <a:lnTo>
                      <a:pt x="1368425" y="1193800"/>
                    </a:lnTo>
                    <a:lnTo>
                      <a:pt x="1320800" y="1225550"/>
                    </a:lnTo>
                    <a:lnTo>
                      <a:pt x="1273175" y="1263650"/>
                    </a:lnTo>
                    <a:lnTo>
                      <a:pt x="1231900" y="1308100"/>
                    </a:lnTo>
                    <a:lnTo>
                      <a:pt x="1193800" y="1358900"/>
                    </a:lnTo>
                    <a:lnTo>
                      <a:pt x="1162050" y="1412875"/>
                    </a:lnTo>
                    <a:lnTo>
                      <a:pt x="1149350" y="1438275"/>
                    </a:lnTo>
                    <a:lnTo>
                      <a:pt x="1139825" y="1466850"/>
                    </a:lnTo>
                    <a:lnTo>
                      <a:pt x="1130300" y="1495425"/>
                    </a:lnTo>
                    <a:lnTo>
                      <a:pt x="1123950" y="1524000"/>
                    </a:lnTo>
                    <a:lnTo>
                      <a:pt x="1117600" y="1587500"/>
                    </a:lnTo>
                    <a:lnTo>
                      <a:pt x="1111250" y="1657350"/>
                    </a:lnTo>
                    <a:lnTo>
                      <a:pt x="1111250" y="1727200"/>
                    </a:lnTo>
                    <a:lnTo>
                      <a:pt x="1114425" y="1800225"/>
                    </a:lnTo>
                    <a:lnTo>
                      <a:pt x="1120775" y="1952625"/>
                    </a:lnTo>
                    <a:lnTo>
                      <a:pt x="1123950" y="2032000"/>
                    </a:lnTo>
                    <a:lnTo>
                      <a:pt x="1123950" y="2108200"/>
                    </a:lnTo>
                    <a:lnTo>
                      <a:pt x="1123950" y="3848100"/>
                    </a:lnTo>
                    <a:lnTo>
                      <a:pt x="387350" y="3848100"/>
                    </a:lnTo>
                    <a:lnTo>
                      <a:pt x="381000" y="3873500"/>
                    </a:lnTo>
                    <a:lnTo>
                      <a:pt x="374650" y="3898900"/>
                    </a:lnTo>
                    <a:lnTo>
                      <a:pt x="374650" y="3930650"/>
                    </a:lnTo>
                    <a:lnTo>
                      <a:pt x="374650" y="3962400"/>
                    </a:lnTo>
                    <a:lnTo>
                      <a:pt x="374650" y="4029075"/>
                    </a:lnTo>
                    <a:lnTo>
                      <a:pt x="374650" y="4060825"/>
                    </a:lnTo>
                    <a:lnTo>
                      <a:pt x="374650" y="4089400"/>
                    </a:lnTo>
                    <a:lnTo>
                      <a:pt x="460375" y="4098925"/>
                    </a:lnTo>
                    <a:lnTo>
                      <a:pt x="552450" y="4102100"/>
                    </a:lnTo>
                    <a:lnTo>
                      <a:pt x="644525" y="4105275"/>
                    </a:lnTo>
                    <a:lnTo>
                      <a:pt x="742950" y="4105275"/>
                    </a:lnTo>
                    <a:lnTo>
                      <a:pt x="936625" y="4102100"/>
                    </a:lnTo>
                    <a:lnTo>
                      <a:pt x="1031875" y="4102100"/>
                    </a:lnTo>
                    <a:lnTo>
                      <a:pt x="1123950" y="4102100"/>
                    </a:lnTo>
                    <a:lnTo>
                      <a:pt x="1123950" y="4133850"/>
                    </a:lnTo>
                    <a:lnTo>
                      <a:pt x="1123950" y="4168775"/>
                    </a:lnTo>
                    <a:lnTo>
                      <a:pt x="1127125" y="4238625"/>
                    </a:lnTo>
                    <a:lnTo>
                      <a:pt x="1127125" y="4270375"/>
                    </a:lnTo>
                    <a:lnTo>
                      <a:pt x="1123950" y="4302125"/>
                    </a:lnTo>
                    <a:lnTo>
                      <a:pt x="1120775" y="4330700"/>
                    </a:lnTo>
                    <a:lnTo>
                      <a:pt x="1111250" y="4356100"/>
                    </a:lnTo>
                    <a:lnTo>
                      <a:pt x="387350" y="4356100"/>
                    </a:lnTo>
                    <a:lnTo>
                      <a:pt x="377825" y="4381500"/>
                    </a:lnTo>
                    <a:lnTo>
                      <a:pt x="374650" y="4406900"/>
                    </a:lnTo>
                    <a:lnTo>
                      <a:pt x="371475" y="4438650"/>
                    </a:lnTo>
                    <a:lnTo>
                      <a:pt x="374650" y="4470400"/>
                    </a:lnTo>
                    <a:lnTo>
                      <a:pt x="374650" y="4537075"/>
                    </a:lnTo>
                    <a:lnTo>
                      <a:pt x="377825" y="4568825"/>
                    </a:lnTo>
                    <a:lnTo>
                      <a:pt x="374650" y="4597400"/>
                    </a:lnTo>
                    <a:lnTo>
                      <a:pt x="1123950" y="4597400"/>
                    </a:lnTo>
                    <a:lnTo>
                      <a:pt x="1123950" y="5080000"/>
                    </a:lnTo>
                    <a:lnTo>
                      <a:pt x="990600" y="5089525"/>
                    </a:lnTo>
                    <a:lnTo>
                      <a:pt x="854075" y="5095875"/>
                    </a:lnTo>
                    <a:lnTo>
                      <a:pt x="714375" y="5095875"/>
                    </a:lnTo>
                    <a:lnTo>
                      <a:pt x="574675" y="5095875"/>
                    </a:lnTo>
                    <a:lnTo>
                      <a:pt x="288925" y="5092700"/>
                    </a:lnTo>
                    <a:lnTo>
                      <a:pt x="146050" y="5092700"/>
                    </a:lnTo>
                    <a:lnTo>
                      <a:pt x="6350" y="5092700"/>
                    </a:lnTo>
                    <a:lnTo>
                      <a:pt x="6350" y="762000"/>
                    </a:lnTo>
                    <a:lnTo>
                      <a:pt x="3175" y="631825"/>
                    </a:lnTo>
                    <a:lnTo>
                      <a:pt x="0" y="508000"/>
                    </a:lnTo>
                    <a:lnTo>
                      <a:pt x="0" y="387350"/>
                    </a:lnTo>
                    <a:lnTo>
                      <a:pt x="3175" y="330200"/>
                    </a:lnTo>
                    <a:lnTo>
                      <a:pt x="9525" y="279400"/>
                    </a:lnTo>
                    <a:lnTo>
                      <a:pt x="15875" y="228600"/>
                    </a:lnTo>
                    <a:lnTo>
                      <a:pt x="28575" y="180975"/>
                    </a:lnTo>
                    <a:lnTo>
                      <a:pt x="44450" y="139700"/>
                    </a:lnTo>
                    <a:lnTo>
                      <a:pt x="66675" y="104775"/>
                    </a:lnTo>
                    <a:lnTo>
                      <a:pt x="79375" y="85725"/>
                    </a:lnTo>
                    <a:lnTo>
                      <a:pt x="92075" y="73025"/>
                    </a:lnTo>
                    <a:lnTo>
                      <a:pt x="107950" y="57150"/>
                    </a:lnTo>
                    <a:lnTo>
                      <a:pt x="123825" y="47625"/>
                    </a:lnTo>
                    <a:lnTo>
                      <a:pt x="142875" y="34925"/>
                    </a:lnTo>
                    <a:lnTo>
                      <a:pt x="161925" y="25400"/>
                    </a:lnTo>
                    <a:lnTo>
                      <a:pt x="184150" y="19050"/>
                    </a:lnTo>
                    <a:lnTo>
                      <a:pt x="209550" y="12700"/>
                    </a:lnTo>
                    <a:lnTo>
                      <a:pt x="263525" y="6350"/>
                    </a:lnTo>
                    <a:lnTo>
                      <a:pt x="320675" y="3175"/>
                    </a:lnTo>
                    <a:close/>
                  </a:path>
                </a:pathLst>
              </a:custGeom>
              <a:solidFill>
                <a:schemeClr val="accent1"/>
              </a:solidFill>
              <a:ln>
                <a:noFill/>
              </a:ln>
            </p:spPr>
            <p:txBody>
              <a:bodyPr vert="horz" wrap="square" lIns="89642" tIns="44821" rIns="89642" bIns="44821" numCol="1" anchor="t" anchorCtr="0" compatLnSpc="1">
                <a:prstTxWarp prst="textNoShape">
                  <a:avLst/>
                </a:prstTxWarp>
                <a:noAutofit/>
              </a:bodyPr>
              <a:lstStyle/>
              <a:p>
                <a:pPr defTabSz="914367"/>
                <a:endParaRPr lang="en-IN" sz="1765">
                  <a:solidFill>
                    <a:srgbClr val="000000"/>
                  </a:solidFill>
                </a:endParaRPr>
              </a:p>
            </p:txBody>
          </p:sp>
          <p:sp>
            <p:nvSpPr>
              <p:cNvPr id="56" name="Freeform 55"/>
              <p:cNvSpPr>
                <a:spLocks/>
              </p:cNvSpPr>
              <p:nvPr/>
            </p:nvSpPr>
            <p:spPr bwMode="auto">
              <a:xfrm>
                <a:off x="10737239" y="2690309"/>
                <a:ext cx="553356" cy="683122"/>
              </a:xfrm>
              <a:custGeom>
                <a:avLst/>
                <a:gdLst>
                  <a:gd name="connsiteX0" fmla="*/ 1771650 w 5226051"/>
                  <a:gd name="connsiteY0" fmla="*/ 5702301 h 6451600"/>
                  <a:gd name="connsiteX1" fmla="*/ 1762125 w 5226051"/>
                  <a:gd name="connsiteY1" fmla="*/ 5711826 h 6451600"/>
                  <a:gd name="connsiteX2" fmla="*/ 1755775 w 5226051"/>
                  <a:gd name="connsiteY2" fmla="*/ 5721351 h 6451600"/>
                  <a:gd name="connsiteX3" fmla="*/ 1749425 w 5226051"/>
                  <a:gd name="connsiteY3" fmla="*/ 5734051 h 6451600"/>
                  <a:gd name="connsiteX4" fmla="*/ 1746250 w 5226051"/>
                  <a:gd name="connsiteY4" fmla="*/ 5749926 h 6451600"/>
                  <a:gd name="connsiteX5" fmla="*/ 1743075 w 5226051"/>
                  <a:gd name="connsiteY5" fmla="*/ 5784851 h 6451600"/>
                  <a:gd name="connsiteX6" fmla="*/ 1746250 w 5226051"/>
                  <a:gd name="connsiteY6" fmla="*/ 5822951 h 6451600"/>
                  <a:gd name="connsiteX7" fmla="*/ 1749425 w 5226051"/>
                  <a:gd name="connsiteY7" fmla="*/ 5861051 h 6451600"/>
                  <a:gd name="connsiteX8" fmla="*/ 1749425 w 5226051"/>
                  <a:gd name="connsiteY8" fmla="*/ 5899151 h 6451600"/>
                  <a:gd name="connsiteX9" fmla="*/ 1746250 w 5226051"/>
                  <a:gd name="connsiteY9" fmla="*/ 5930901 h 6451600"/>
                  <a:gd name="connsiteX10" fmla="*/ 1739900 w 5226051"/>
                  <a:gd name="connsiteY10" fmla="*/ 5946776 h 6451600"/>
                  <a:gd name="connsiteX11" fmla="*/ 1733550 w 5226051"/>
                  <a:gd name="connsiteY11" fmla="*/ 5956301 h 6451600"/>
                  <a:gd name="connsiteX12" fmla="*/ 3486150 w 5226051"/>
                  <a:gd name="connsiteY12" fmla="*/ 5956301 h 6451600"/>
                  <a:gd name="connsiteX13" fmla="*/ 3486150 w 5226051"/>
                  <a:gd name="connsiteY13" fmla="*/ 5715001 h 6451600"/>
                  <a:gd name="connsiteX14" fmla="*/ 3279775 w 5226051"/>
                  <a:gd name="connsiteY14" fmla="*/ 5708651 h 6451600"/>
                  <a:gd name="connsiteX15" fmla="*/ 3067050 w 5226051"/>
                  <a:gd name="connsiteY15" fmla="*/ 5702301 h 6451600"/>
                  <a:gd name="connsiteX16" fmla="*/ 2854325 w 5226051"/>
                  <a:gd name="connsiteY16" fmla="*/ 5702301 h 6451600"/>
                  <a:gd name="connsiteX17" fmla="*/ 2638425 w 5226051"/>
                  <a:gd name="connsiteY17" fmla="*/ 5702301 h 6451600"/>
                  <a:gd name="connsiteX18" fmla="*/ 2203450 w 5226051"/>
                  <a:gd name="connsiteY18" fmla="*/ 5705476 h 6451600"/>
                  <a:gd name="connsiteX19" fmla="*/ 1987550 w 5226051"/>
                  <a:gd name="connsiteY19" fmla="*/ 5705476 h 6451600"/>
                  <a:gd name="connsiteX20" fmla="*/ 1746250 w 5226051"/>
                  <a:gd name="connsiteY20" fmla="*/ 5219701 h 6451600"/>
                  <a:gd name="connsiteX21" fmla="*/ 1746250 w 5226051"/>
                  <a:gd name="connsiteY21" fmla="*/ 5264151 h 6451600"/>
                  <a:gd name="connsiteX22" fmla="*/ 1746250 w 5226051"/>
                  <a:gd name="connsiteY22" fmla="*/ 5327651 h 6451600"/>
                  <a:gd name="connsiteX23" fmla="*/ 1746250 w 5226051"/>
                  <a:gd name="connsiteY23" fmla="*/ 5397501 h 6451600"/>
                  <a:gd name="connsiteX24" fmla="*/ 1746250 w 5226051"/>
                  <a:gd name="connsiteY24" fmla="*/ 5461001 h 6451600"/>
                  <a:gd name="connsiteX25" fmla="*/ 3473450 w 5226051"/>
                  <a:gd name="connsiteY25" fmla="*/ 5461001 h 6451600"/>
                  <a:gd name="connsiteX26" fmla="*/ 3482975 w 5226051"/>
                  <a:gd name="connsiteY26" fmla="*/ 5438776 h 6451600"/>
                  <a:gd name="connsiteX27" fmla="*/ 3486150 w 5226051"/>
                  <a:gd name="connsiteY27" fmla="*/ 5410201 h 6451600"/>
                  <a:gd name="connsiteX28" fmla="*/ 3489325 w 5226051"/>
                  <a:gd name="connsiteY28" fmla="*/ 5381626 h 6451600"/>
                  <a:gd name="connsiteX29" fmla="*/ 3489325 w 5226051"/>
                  <a:gd name="connsiteY29" fmla="*/ 5349876 h 6451600"/>
                  <a:gd name="connsiteX30" fmla="*/ 3486150 w 5226051"/>
                  <a:gd name="connsiteY30" fmla="*/ 5283201 h 6451600"/>
                  <a:gd name="connsiteX31" fmla="*/ 3486150 w 5226051"/>
                  <a:gd name="connsiteY31" fmla="*/ 5251451 h 6451600"/>
                  <a:gd name="connsiteX32" fmla="*/ 3486150 w 5226051"/>
                  <a:gd name="connsiteY32" fmla="*/ 5219701 h 6451600"/>
                  <a:gd name="connsiteX33" fmla="*/ 1758950 w 5226051"/>
                  <a:gd name="connsiteY33" fmla="*/ 2120901 h 6451600"/>
                  <a:gd name="connsiteX34" fmla="*/ 1749425 w 5226051"/>
                  <a:gd name="connsiteY34" fmla="*/ 2143126 h 6451600"/>
                  <a:gd name="connsiteX35" fmla="*/ 1746250 w 5226051"/>
                  <a:gd name="connsiteY35" fmla="*/ 2171701 h 6451600"/>
                  <a:gd name="connsiteX36" fmla="*/ 1746250 w 5226051"/>
                  <a:gd name="connsiteY36" fmla="*/ 2203451 h 6451600"/>
                  <a:gd name="connsiteX37" fmla="*/ 1746250 w 5226051"/>
                  <a:gd name="connsiteY37" fmla="*/ 2235201 h 6451600"/>
                  <a:gd name="connsiteX38" fmla="*/ 1749425 w 5226051"/>
                  <a:gd name="connsiteY38" fmla="*/ 2301876 h 6451600"/>
                  <a:gd name="connsiteX39" fmla="*/ 1749425 w 5226051"/>
                  <a:gd name="connsiteY39" fmla="*/ 2333626 h 6451600"/>
                  <a:gd name="connsiteX40" fmla="*/ 1746250 w 5226051"/>
                  <a:gd name="connsiteY40" fmla="*/ 2362201 h 6451600"/>
                  <a:gd name="connsiteX41" fmla="*/ 3486150 w 5226051"/>
                  <a:gd name="connsiteY41" fmla="*/ 2362201 h 6451600"/>
                  <a:gd name="connsiteX42" fmla="*/ 3486150 w 5226051"/>
                  <a:gd name="connsiteY42" fmla="*/ 2120901 h 6451600"/>
                  <a:gd name="connsiteX43" fmla="*/ 3321050 w 5226051"/>
                  <a:gd name="connsiteY43" fmla="*/ 1352550 h 6451600"/>
                  <a:gd name="connsiteX44" fmla="*/ 3397250 w 5226051"/>
                  <a:gd name="connsiteY44" fmla="*/ 1355725 h 6451600"/>
                  <a:gd name="connsiteX45" fmla="*/ 3473450 w 5226051"/>
                  <a:gd name="connsiteY45" fmla="*/ 1358900 h 6451600"/>
                  <a:gd name="connsiteX46" fmla="*/ 3543300 w 5226051"/>
                  <a:gd name="connsiteY46" fmla="*/ 1365250 h 6451600"/>
                  <a:gd name="connsiteX47" fmla="*/ 3606800 w 5226051"/>
                  <a:gd name="connsiteY47" fmla="*/ 1371600 h 6451600"/>
                  <a:gd name="connsiteX48" fmla="*/ 3667125 w 5226051"/>
                  <a:gd name="connsiteY48" fmla="*/ 1384300 h 6451600"/>
                  <a:gd name="connsiteX49" fmla="*/ 3717925 w 5226051"/>
                  <a:gd name="connsiteY49" fmla="*/ 1403350 h 6451600"/>
                  <a:gd name="connsiteX50" fmla="*/ 3740150 w 5226051"/>
                  <a:gd name="connsiteY50" fmla="*/ 1412875 h 6451600"/>
                  <a:gd name="connsiteX51" fmla="*/ 3759200 w 5226051"/>
                  <a:gd name="connsiteY51" fmla="*/ 1422400 h 6451600"/>
                  <a:gd name="connsiteX52" fmla="*/ 3778250 w 5226051"/>
                  <a:gd name="connsiteY52" fmla="*/ 1435100 h 6451600"/>
                  <a:gd name="connsiteX53" fmla="*/ 3790950 w 5226051"/>
                  <a:gd name="connsiteY53" fmla="*/ 1447800 h 6451600"/>
                  <a:gd name="connsiteX54" fmla="*/ 3806825 w 5226051"/>
                  <a:gd name="connsiteY54" fmla="*/ 1466850 h 6451600"/>
                  <a:gd name="connsiteX55" fmla="*/ 3816350 w 5226051"/>
                  <a:gd name="connsiteY55" fmla="*/ 1485900 h 6451600"/>
                  <a:gd name="connsiteX56" fmla="*/ 3829050 w 5226051"/>
                  <a:gd name="connsiteY56" fmla="*/ 1511300 h 6451600"/>
                  <a:gd name="connsiteX57" fmla="*/ 3835400 w 5226051"/>
                  <a:gd name="connsiteY57" fmla="*/ 1539875 h 6451600"/>
                  <a:gd name="connsiteX58" fmla="*/ 3841750 w 5226051"/>
                  <a:gd name="connsiteY58" fmla="*/ 1571625 h 6451600"/>
                  <a:gd name="connsiteX59" fmla="*/ 3848100 w 5226051"/>
                  <a:gd name="connsiteY59" fmla="*/ 1606550 h 6451600"/>
                  <a:gd name="connsiteX60" fmla="*/ 3854450 w 5226051"/>
                  <a:gd name="connsiteY60" fmla="*/ 1682750 h 6451600"/>
                  <a:gd name="connsiteX61" fmla="*/ 3857625 w 5226051"/>
                  <a:gd name="connsiteY61" fmla="*/ 1762125 h 6451600"/>
                  <a:gd name="connsiteX62" fmla="*/ 3857625 w 5226051"/>
                  <a:gd name="connsiteY62" fmla="*/ 1847850 h 6451600"/>
                  <a:gd name="connsiteX63" fmla="*/ 3854450 w 5226051"/>
                  <a:gd name="connsiteY63" fmla="*/ 2019300 h 6451600"/>
                  <a:gd name="connsiteX64" fmla="*/ 3854450 w 5226051"/>
                  <a:gd name="connsiteY64" fmla="*/ 6451600 h 6451600"/>
                  <a:gd name="connsiteX65" fmla="*/ 1365250 w 5226051"/>
                  <a:gd name="connsiteY65" fmla="*/ 6451600 h 6451600"/>
                  <a:gd name="connsiteX66" fmla="*/ 1365250 w 5226051"/>
                  <a:gd name="connsiteY66" fmla="*/ 2133600 h 6451600"/>
                  <a:gd name="connsiteX67" fmla="*/ 1362075 w 5226051"/>
                  <a:gd name="connsiteY67" fmla="*/ 1997075 h 6451600"/>
                  <a:gd name="connsiteX68" fmla="*/ 1358900 w 5226051"/>
                  <a:gd name="connsiteY68" fmla="*/ 1866900 h 6451600"/>
                  <a:gd name="connsiteX69" fmla="*/ 1358900 w 5226051"/>
                  <a:gd name="connsiteY69" fmla="*/ 1746250 h 6451600"/>
                  <a:gd name="connsiteX70" fmla="*/ 1362075 w 5226051"/>
                  <a:gd name="connsiteY70" fmla="*/ 1689100 h 6451600"/>
                  <a:gd name="connsiteX71" fmla="*/ 1368425 w 5226051"/>
                  <a:gd name="connsiteY71" fmla="*/ 1635125 h 6451600"/>
                  <a:gd name="connsiteX72" fmla="*/ 1377950 w 5226051"/>
                  <a:gd name="connsiteY72" fmla="*/ 1584325 h 6451600"/>
                  <a:gd name="connsiteX73" fmla="*/ 1390650 w 5226051"/>
                  <a:gd name="connsiteY73" fmla="*/ 1536700 h 6451600"/>
                  <a:gd name="connsiteX74" fmla="*/ 1409700 w 5226051"/>
                  <a:gd name="connsiteY74" fmla="*/ 1495425 h 6451600"/>
                  <a:gd name="connsiteX75" fmla="*/ 1419225 w 5226051"/>
                  <a:gd name="connsiteY75" fmla="*/ 1479550 h 6451600"/>
                  <a:gd name="connsiteX76" fmla="*/ 1431925 w 5226051"/>
                  <a:gd name="connsiteY76" fmla="*/ 1460500 h 6451600"/>
                  <a:gd name="connsiteX77" fmla="*/ 1447800 w 5226051"/>
                  <a:gd name="connsiteY77" fmla="*/ 1444625 h 6451600"/>
                  <a:gd name="connsiteX78" fmla="*/ 1463675 w 5226051"/>
                  <a:gd name="connsiteY78" fmla="*/ 1428750 h 6451600"/>
                  <a:gd name="connsiteX79" fmla="*/ 1479550 w 5226051"/>
                  <a:gd name="connsiteY79" fmla="*/ 1416050 h 6451600"/>
                  <a:gd name="connsiteX80" fmla="*/ 1498600 w 5226051"/>
                  <a:gd name="connsiteY80" fmla="*/ 1403350 h 6451600"/>
                  <a:gd name="connsiteX81" fmla="*/ 1520825 w 5226051"/>
                  <a:gd name="connsiteY81" fmla="*/ 1393825 h 6451600"/>
                  <a:gd name="connsiteX82" fmla="*/ 1543050 w 5226051"/>
                  <a:gd name="connsiteY82" fmla="*/ 1384300 h 6451600"/>
                  <a:gd name="connsiteX83" fmla="*/ 1568450 w 5226051"/>
                  <a:gd name="connsiteY83" fmla="*/ 1377950 h 6451600"/>
                  <a:gd name="connsiteX84" fmla="*/ 1593850 w 5226051"/>
                  <a:gd name="connsiteY84" fmla="*/ 1371600 h 6451600"/>
                  <a:gd name="connsiteX85" fmla="*/ 1660525 w 5226051"/>
                  <a:gd name="connsiteY85" fmla="*/ 1362075 h 6451600"/>
                  <a:gd name="connsiteX86" fmla="*/ 1730375 w 5226051"/>
                  <a:gd name="connsiteY86" fmla="*/ 1358900 h 6451600"/>
                  <a:gd name="connsiteX87" fmla="*/ 1800225 w 5226051"/>
                  <a:gd name="connsiteY87" fmla="*/ 1358900 h 6451600"/>
                  <a:gd name="connsiteX88" fmla="*/ 1873250 w 5226051"/>
                  <a:gd name="connsiteY88" fmla="*/ 1362075 h 6451600"/>
                  <a:gd name="connsiteX89" fmla="*/ 2022475 w 5226051"/>
                  <a:gd name="connsiteY89" fmla="*/ 1368425 h 6451600"/>
                  <a:gd name="connsiteX90" fmla="*/ 2095500 w 5226051"/>
                  <a:gd name="connsiteY90" fmla="*/ 1371600 h 6451600"/>
                  <a:gd name="connsiteX91" fmla="*/ 2165350 w 5226051"/>
                  <a:gd name="connsiteY91" fmla="*/ 1371600 h 6451600"/>
                  <a:gd name="connsiteX92" fmla="*/ 2736850 w 5226051"/>
                  <a:gd name="connsiteY92" fmla="*/ 1371600 h 6451600"/>
                  <a:gd name="connsiteX93" fmla="*/ 2860675 w 5226051"/>
                  <a:gd name="connsiteY93" fmla="*/ 1368425 h 6451600"/>
                  <a:gd name="connsiteX94" fmla="*/ 3006725 w 5226051"/>
                  <a:gd name="connsiteY94" fmla="*/ 1362075 h 6451600"/>
                  <a:gd name="connsiteX95" fmla="*/ 3162300 w 5226051"/>
                  <a:gd name="connsiteY95" fmla="*/ 1355725 h 6451600"/>
                  <a:gd name="connsiteX96" fmla="*/ 3117851 w 5226051"/>
                  <a:gd name="connsiteY96" fmla="*/ 762001 h 6451600"/>
                  <a:gd name="connsiteX97" fmla="*/ 3111501 w 5226051"/>
                  <a:gd name="connsiteY97" fmla="*/ 784226 h 6451600"/>
                  <a:gd name="connsiteX98" fmla="*/ 3105151 w 5226051"/>
                  <a:gd name="connsiteY98" fmla="*/ 812801 h 6451600"/>
                  <a:gd name="connsiteX99" fmla="*/ 3105151 w 5226051"/>
                  <a:gd name="connsiteY99" fmla="*/ 841376 h 6451600"/>
                  <a:gd name="connsiteX100" fmla="*/ 3105151 w 5226051"/>
                  <a:gd name="connsiteY100" fmla="*/ 876301 h 6451600"/>
                  <a:gd name="connsiteX101" fmla="*/ 3108326 w 5226051"/>
                  <a:gd name="connsiteY101" fmla="*/ 939801 h 6451600"/>
                  <a:gd name="connsiteX102" fmla="*/ 3108326 w 5226051"/>
                  <a:gd name="connsiteY102" fmla="*/ 974726 h 6451600"/>
                  <a:gd name="connsiteX103" fmla="*/ 3105151 w 5226051"/>
                  <a:gd name="connsiteY103" fmla="*/ 1003301 h 6451600"/>
                  <a:gd name="connsiteX104" fmla="*/ 4845051 w 5226051"/>
                  <a:gd name="connsiteY104" fmla="*/ 1003301 h 6451600"/>
                  <a:gd name="connsiteX105" fmla="*/ 4845051 w 5226051"/>
                  <a:gd name="connsiteY105" fmla="*/ 762001 h 6451600"/>
                  <a:gd name="connsiteX106" fmla="*/ 387350 w 5226051"/>
                  <a:gd name="connsiteY106" fmla="*/ 762001 h 6451600"/>
                  <a:gd name="connsiteX107" fmla="*/ 381000 w 5226051"/>
                  <a:gd name="connsiteY107" fmla="*/ 784226 h 6451600"/>
                  <a:gd name="connsiteX108" fmla="*/ 374650 w 5226051"/>
                  <a:gd name="connsiteY108" fmla="*/ 815976 h 6451600"/>
                  <a:gd name="connsiteX109" fmla="*/ 371475 w 5226051"/>
                  <a:gd name="connsiteY109" fmla="*/ 847726 h 6451600"/>
                  <a:gd name="connsiteX110" fmla="*/ 371475 w 5226051"/>
                  <a:gd name="connsiteY110" fmla="*/ 882651 h 6451600"/>
                  <a:gd name="connsiteX111" fmla="*/ 374650 w 5226051"/>
                  <a:gd name="connsiteY111" fmla="*/ 917576 h 6451600"/>
                  <a:gd name="connsiteX112" fmla="*/ 377825 w 5226051"/>
                  <a:gd name="connsiteY112" fmla="*/ 949326 h 6451600"/>
                  <a:gd name="connsiteX113" fmla="*/ 381000 w 5226051"/>
                  <a:gd name="connsiteY113" fmla="*/ 981076 h 6451600"/>
                  <a:gd name="connsiteX114" fmla="*/ 387350 w 5226051"/>
                  <a:gd name="connsiteY114" fmla="*/ 1003301 h 6451600"/>
                  <a:gd name="connsiteX115" fmla="*/ 2114550 w 5226051"/>
                  <a:gd name="connsiteY115" fmla="*/ 1003301 h 6451600"/>
                  <a:gd name="connsiteX116" fmla="*/ 2114550 w 5226051"/>
                  <a:gd name="connsiteY116" fmla="*/ 762001 h 6451600"/>
                  <a:gd name="connsiteX117" fmla="*/ 3073401 w 5226051"/>
                  <a:gd name="connsiteY117" fmla="*/ 6350 h 6451600"/>
                  <a:gd name="connsiteX118" fmla="*/ 3127376 w 5226051"/>
                  <a:gd name="connsiteY118" fmla="*/ 6350 h 6451600"/>
                  <a:gd name="connsiteX119" fmla="*/ 3248026 w 5226051"/>
                  <a:gd name="connsiteY119" fmla="*/ 6350 h 6451600"/>
                  <a:gd name="connsiteX120" fmla="*/ 3368676 w 5226051"/>
                  <a:gd name="connsiteY120" fmla="*/ 9525 h 6451600"/>
                  <a:gd name="connsiteX121" fmla="*/ 3486151 w 5226051"/>
                  <a:gd name="connsiteY121" fmla="*/ 12700 h 6451600"/>
                  <a:gd name="connsiteX122" fmla="*/ 4578351 w 5226051"/>
                  <a:gd name="connsiteY122" fmla="*/ 12700 h 6451600"/>
                  <a:gd name="connsiteX123" fmla="*/ 4679951 w 5226051"/>
                  <a:gd name="connsiteY123" fmla="*/ 12700 h 6451600"/>
                  <a:gd name="connsiteX124" fmla="*/ 4778376 w 5226051"/>
                  <a:gd name="connsiteY124" fmla="*/ 9525 h 6451600"/>
                  <a:gd name="connsiteX125" fmla="*/ 4873626 w 5226051"/>
                  <a:gd name="connsiteY125" fmla="*/ 9525 h 6451600"/>
                  <a:gd name="connsiteX126" fmla="*/ 4921251 w 5226051"/>
                  <a:gd name="connsiteY126" fmla="*/ 12700 h 6451600"/>
                  <a:gd name="connsiteX127" fmla="*/ 4965701 w 5226051"/>
                  <a:gd name="connsiteY127" fmla="*/ 15875 h 6451600"/>
                  <a:gd name="connsiteX128" fmla="*/ 5006976 w 5226051"/>
                  <a:gd name="connsiteY128" fmla="*/ 22225 h 6451600"/>
                  <a:gd name="connsiteX129" fmla="*/ 5045076 w 5226051"/>
                  <a:gd name="connsiteY129" fmla="*/ 31750 h 6451600"/>
                  <a:gd name="connsiteX130" fmla="*/ 5080001 w 5226051"/>
                  <a:gd name="connsiteY130" fmla="*/ 41275 h 6451600"/>
                  <a:gd name="connsiteX131" fmla="*/ 5111751 w 5226051"/>
                  <a:gd name="connsiteY131" fmla="*/ 57150 h 6451600"/>
                  <a:gd name="connsiteX132" fmla="*/ 5140326 w 5226051"/>
                  <a:gd name="connsiteY132" fmla="*/ 79375 h 6451600"/>
                  <a:gd name="connsiteX133" fmla="*/ 5165726 w 5226051"/>
                  <a:gd name="connsiteY133" fmla="*/ 101600 h 6451600"/>
                  <a:gd name="connsiteX134" fmla="*/ 5187951 w 5226051"/>
                  <a:gd name="connsiteY134" fmla="*/ 130175 h 6451600"/>
                  <a:gd name="connsiteX135" fmla="*/ 5200651 w 5226051"/>
                  <a:gd name="connsiteY135" fmla="*/ 165100 h 6451600"/>
                  <a:gd name="connsiteX136" fmla="*/ 5210176 w 5226051"/>
                  <a:gd name="connsiteY136" fmla="*/ 190500 h 6451600"/>
                  <a:gd name="connsiteX137" fmla="*/ 5216526 w 5226051"/>
                  <a:gd name="connsiteY137" fmla="*/ 219075 h 6451600"/>
                  <a:gd name="connsiteX138" fmla="*/ 5222876 w 5226051"/>
                  <a:gd name="connsiteY138" fmla="*/ 285750 h 6451600"/>
                  <a:gd name="connsiteX139" fmla="*/ 5226051 w 5226051"/>
                  <a:gd name="connsiteY139" fmla="*/ 361950 h 6451600"/>
                  <a:gd name="connsiteX140" fmla="*/ 5226051 w 5226051"/>
                  <a:gd name="connsiteY140" fmla="*/ 444500 h 6451600"/>
                  <a:gd name="connsiteX141" fmla="*/ 5219701 w 5226051"/>
                  <a:gd name="connsiteY141" fmla="*/ 612775 h 6451600"/>
                  <a:gd name="connsiteX142" fmla="*/ 5216526 w 5226051"/>
                  <a:gd name="connsiteY142" fmla="*/ 695325 h 6451600"/>
                  <a:gd name="connsiteX143" fmla="*/ 5213351 w 5226051"/>
                  <a:gd name="connsiteY143" fmla="*/ 774700 h 6451600"/>
                  <a:gd name="connsiteX144" fmla="*/ 5213351 w 5226051"/>
                  <a:gd name="connsiteY144" fmla="*/ 5092700 h 6451600"/>
                  <a:gd name="connsiteX145" fmla="*/ 5073651 w 5226051"/>
                  <a:gd name="connsiteY145" fmla="*/ 5092700 h 6451600"/>
                  <a:gd name="connsiteX146" fmla="*/ 4933951 w 5226051"/>
                  <a:gd name="connsiteY146" fmla="*/ 5092700 h 6451600"/>
                  <a:gd name="connsiteX147" fmla="*/ 4648201 w 5226051"/>
                  <a:gd name="connsiteY147" fmla="*/ 5095875 h 6451600"/>
                  <a:gd name="connsiteX148" fmla="*/ 4505326 w 5226051"/>
                  <a:gd name="connsiteY148" fmla="*/ 5095875 h 6451600"/>
                  <a:gd name="connsiteX149" fmla="*/ 4365626 w 5226051"/>
                  <a:gd name="connsiteY149" fmla="*/ 5095875 h 6451600"/>
                  <a:gd name="connsiteX150" fmla="*/ 4229101 w 5226051"/>
                  <a:gd name="connsiteY150" fmla="*/ 5089525 h 6451600"/>
                  <a:gd name="connsiteX151" fmla="*/ 4095751 w 5226051"/>
                  <a:gd name="connsiteY151" fmla="*/ 5080000 h 6451600"/>
                  <a:gd name="connsiteX152" fmla="*/ 4095751 w 5226051"/>
                  <a:gd name="connsiteY152" fmla="*/ 4597400 h 6451600"/>
                  <a:gd name="connsiteX153" fmla="*/ 4832351 w 5226051"/>
                  <a:gd name="connsiteY153" fmla="*/ 4597400 h 6451600"/>
                  <a:gd name="connsiteX154" fmla="*/ 4841876 w 5226051"/>
                  <a:gd name="connsiteY154" fmla="*/ 4575175 h 6451600"/>
                  <a:gd name="connsiteX155" fmla="*/ 4848226 w 5226051"/>
                  <a:gd name="connsiteY155" fmla="*/ 4546600 h 6451600"/>
                  <a:gd name="connsiteX156" fmla="*/ 4848226 w 5226051"/>
                  <a:gd name="connsiteY156" fmla="*/ 4518025 h 6451600"/>
                  <a:gd name="connsiteX157" fmla="*/ 4848226 w 5226051"/>
                  <a:gd name="connsiteY157" fmla="*/ 4486275 h 6451600"/>
                  <a:gd name="connsiteX158" fmla="*/ 4845051 w 5226051"/>
                  <a:gd name="connsiteY158" fmla="*/ 4419600 h 6451600"/>
                  <a:gd name="connsiteX159" fmla="*/ 4845051 w 5226051"/>
                  <a:gd name="connsiteY159" fmla="*/ 4387850 h 6451600"/>
                  <a:gd name="connsiteX160" fmla="*/ 4845051 w 5226051"/>
                  <a:gd name="connsiteY160" fmla="*/ 4356100 h 6451600"/>
                  <a:gd name="connsiteX161" fmla="*/ 4108451 w 5226051"/>
                  <a:gd name="connsiteY161" fmla="*/ 4356100 h 6451600"/>
                  <a:gd name="connsiteX162" fmla="*/ 4102101 w 5226051"/>
                  <a:gd name="connsiteY162" fmla="*/ 4330700 h 6451600"/>
                  <a:gd name="connsiteX163" fmla="*/ 4095751 w 5226051"/>
                  <a:gd name="connsiteY163" fmla="*/ 4302125 h 6451600"/>
                  <a:gd name="connsiteX164" fmla="*/ 4095751 w 5226051"/>
                  <a:gd name="connsiteY164" fmla="*/ 4270375 h 6451600"/>
                  <a:gd name="connsiteX165" fmla="*/ 4095751 w 5226051"/>
                  <a:gd name="connsiteY165" fmla="*/ 4238625 h 6451600"/>
                  <a:gd name="connsiteX166" fmla="*/ 4098926 w 5226051"/>
                  <a:gd name="connsiteY166" fmla="*/ 4168775 h 6451600"/>
                  <a:gd name="connsiteX167" fmla="*/ 4098926 w 5226051"/>
                  <a:gd name="connsiteY167" fmla="*/ 4133850 h 6451600"/>
                  <a:gd name="connsiteX168" fmla="*/ 4095751 w 5226051"/>
                  <a:gd name="connsiteY168" fmla="*/ 4102100 h 6451600"/>
                  <a:gd name="connsiteX169" fmla="*/ 4832351 w 5226051"/>
                  <a:gd name="connsiteY169" fmla="*/ 4102100 h 6451600"/>
                  <a:gd name="connsiteX170" fmla="*/ 4841876 w 5226051"/>
                  <a:gd name="connsiteY170" fmla="*/ 4079875 h 6451600"/>
                  <a:gd name="connsiteX171" fmla="*/ 4848226 w 5226051"/>
                  <a:gd name="connsiteY171" fmla="*/ 4051300 h 6451600"/>
                  <a:gd name="connsiteX172" fmla="*/ 4848226 w 5226051"/>
                  <a:gd name="connsiteY172" fmla="*/ 4022725 h 6451600"/>
                  <a:gd name="connsiteX173" fmla="*/ 4848226 w 5226051"/>
                  <a:gd name="connsiteY173" fmla="*/ 3990975 h 6451600"/>
                  <a:gd name="connsiteX174" fmla="*/ 4845051 w 5226051"/>
                  <a:gd name="connsiteY174" fmla="*/ 3924300 h 6451600"/>
                  <a:gd name="connsiteX175" fmla="*/ 4845051 w 5226051"/>
                  <a:gd name="connsiteY175" fmla="*/ 3892550 h 6451600"/>
                  <a:gd name="connsiteX176" fmla="*/ 4845051 w 5226051"/>
                  <a:gd name="connsiteY176" fmla="*/ 3860800 h 6451600"/>
                  <a:gd name="connsiteX177" fmla="*/ 4759326 w 5226051"/>
                  <a:gd name="connsiteY177" fmla="*/ 3854450 h 6451600"/>
                  <a:gd name="connsiteX178" fmla="*/ 4670426 w 5226051"/>
                  <a:gd name="connsiteY178" fmla="*/ 3848100 h 6451600"/>
                  <a:gd name="connsiteX179" fmla="*/ 4575176 w 5226051"/>
                  <a:gd name="connsiteY179" fmla="*/ 3848100 h 6451600"/>
                  <a:gd name="connsiteX180" fmla="*/ 4479926 w 5226051"/>
                  <a:gd name="connsiteY180" fmla="*/ 3848100 h 6451600"/>
                  <a:gd name="connsiteX181" fmla="*/ 4286251 w 5226051"/>
                  <a:gd name="connsiteY181" fmla="*/ 3851275 h 6451600"/>
                  <a:gd name="connsiteX182" fmla="*/ 4191001 w 5226051"/>
                  <a:gd name="connsiteY182" fmla="*/ 3851275 h 6451600"/>
                  <a:gd name="connsiteX183" fmla="*/ 4095751 w 5226051"/>
                  <a:gd name="connsiteY183" fmla="*/ 3848100 h 6451600"/>
                  <a:gd name="connsiteX184" fmla="*/ 4095751 w 5226051"/>
                  <a:gd name="connsiteY184" fmla="*/ 2095500 h 6451600"/>
                  <a:gd name="connsiteX185" fmla="*/ 4098926 w 5226051"/>
                  <a:gd name="connsiteY185" fmla="*/ 2012950 h 6451600"/>
                  <a:gd name="connsiteX186" fmla="*/ 4102101 w 5226051"/>
                  <a:gd name="connsiteY186" fmla="*/ 1924050 h 6451600"/>
                  <a:gd name="connsiteX187" fmla="*/ 4105276 w 5226051"/>
                  <a:gd name="connsiteY187" fmla="*/ 1746250 h 6451600"/>
                  <a:gd name="connsiteX188" fmla="*/ 4105276 w 5226051"/>
                  <a:gd name="connsiteY188" fmla="*/ 1660525 h 6451600"/>
                  <a:gd name="connsiteX189" fmla="*/ 4102101 w 5226051"/>
                  <a:gd name="connsiteY189" fmla="*/ 1581150 h 6451600"/>
                  <a:gd name="connsiteX190" fmla="*/ 4095751 w 5226051"/>
                  <a:gd name="connsiteY190" fmla="*/ 1546225 h 6451600"/>
                  <a:gd name="connsiteX191" fmla="*/ 4089401 w 5226051"/>
                  <a:gd name="connsiteY191" fmla="*/ 1511300 h 6451600"/>
                  <a:gd name="connsiteX192" fmla="*/ 4083051 w 5226051"/>
                  <a:gd name="connsiteY192" fmla="*/ 1476375 h 6451600"/>
                  <a:gd name="connsiteX193" fmla="*/ 4070351 w 5226051"/>
                  <a:gd name="connsiteY193" fmla="*/ 1447800 h 6451600"/>
                  <a:gd name="connsiteX194" fmla="*/ 4057651 w 5226051"/>
                  <a:gd name="connsiteY194" fmla="*/ 1419225 h 6451600"/>
                  <a:gd name="connsiteX195" fmla="*/ 4044951 w 5226051"/>
                  <a:gd name="connsiteY195" fmla="*/ 1390650 h 6451600"/>
                  <a:gd name="connsiteX196" fmla="*/ 4025901 w 5226051"/>
                  <a:gd name="connsiteY196" fmla="*/ 1362075 h 6451600"/>
                  <a:gd name="connsiteX197" fmla="*/ 4010026 w 5226051"/>
                  <a:gd name="connsiteY197" fmla="*/ 1333500 h 6451600"/>
                  <a:gd name="connsiteX198" fmla="*/ 3987801 w 5226051"/>
                  <a:gd name="connsiteY198" fmla="*/ 1308100 h 6451600"/>
                  <a:gd name="connsiteX199" fmla="*/ 3968751 w 5226051"/>
                  <a:gd name="connsiteY199" fmla="*/ 1285875 h 6451600"/>
                  <a:gd name="connsiteX200" fmla="*/ 3946526 w 5226051"/>
                  <a:gd name="connsiteY200" fmla="*/ 1260475 h 6451600"/>
                  <a:gd name="connsiteX201" fmla="*/ 3921126 w 5226051"/>
                  <a:gd name="connsiteY201" fmla="*/ 1238250 h 6451600"/>
                  <a:gd name="connsiteX202" fmla="*/ 3895726 w 5226051"/>
                  <a:gd name="connsiteY202" fmla="*/ 1219200 h 6451600"/>
                  <a:gd name="connsiteX203" fmla="*/ 3867151 w 5226051"/>
                  <a:gd name="connsiteY203" fmla="*/ 1200150 h 6451600"/>
                  <a:gd name="connsiteX204" fmla="*/ 3838576 w 5226051"/>
                  <a:gd name="connsiteY204" fmla="*/ 1184275 h 6451600"/>
                  <a:gd name="connsiteX205" fmla="*/ 3810001 w 5226051"/>
                  <a:gd name="connsiteY205" fmla="*/ 1168400 h 6451600"/>
                  <a:gd name="connsiteX206" fmla="*/ 3778251 w 5226051"/>
                  <a:gd name="connsiteY206" fmla="*/ 1155700 h 6451600"/>
                  <a:gd name="connsiteX207" fmla="*/ 3746501 w 5226051"/>
                  <a:gd name="connsiteY207" fmla="*/ 1146175 h 6451600"/>
                  <a:gd name="connsiteX208" fmla="*/ 3711576 w 5226051"/>
                  <a:gd name="connsiteY208" fmla="*/ 1136650 h 6451600"/>
                  <a:gd name="connsiteX209" fmla="*/ 3676651 w 5226051"/>
                  <a:gd name="connsiteY209" fmla="*/ 1130300 h 6451600"/>
                  <a:gd name="connsiteX210" fmla="*/ 3629026 w 5226051"/>
                  <a:gd name="connsiteY210" fmla="*/ 1123950 h 6451600"/>
                  <a:gd name="connsiteX211" fmla="*/ 3578226 w 5226051"/>
                  <a:gd name="connsiteY211" fmla="*/ 1120775 h 6451600"/>
                  <a:gd name="connsiteX212" fmla="*/ 3470276 w 5226051"/>
                  <a:gd name="connsiteY212" fmla="*/ 1117600 h 6451600"/>
                  <a:gd name="connsiteX213" fmla="*/ 3359151 w 5226051"/>
                  <a:gd name="connsiteY213" fmla="*/ 1120775 h 6451600"/>
                  <a:gd name="connsiteX214" fmla="*/ 3238501 w 5226051"/>
                  <a:gd name="connsiteY214" fmla="*/ 1127125 h 6451600"/>
                  <a:gd name="connsiteX215" fmla="*/ 3117851 w 5226051"/>
                  <a:gd name="connsiteY215" fmla="*/ 1133475 h 6451600"/>
                  <a:gd name="connsiteX216" fmla="*/ 2994026 w 5226051"/>
                  <a:gd name="connsiteY216" fmla="*/ 1136650 h 6451600"/>
                  <a:gd name="connsiteX217" fmla="*/ 2867026 w 5226051"/>
                  <a:gd name="connsiteY217" fmla="*/ 1136650 h 6451600"/>
                  <a:gd name="connsiteX218" fmla="*/ 2800351 w 5226051"/>
                  <a:gd name="connsiteY218" fmla="*/ 1133475 h 6451600"/>
                  <a:gd name="connsiteX219" fmla="*/ 2736851 w 5226051"/>
                  <a:gd name="connsiteY219" fmla="*/ 1130300 h 6451600"/>
                  <a:gd name="connsiteX220" fmla="*/ 2736851 w 5226051"/>
                  <a:gd name="connsiteY220" fmla="*/ 190500 h 6451600"/>
                  <a:gd name="connsiteX221" fmla="*/ 2743201 w 5226051"/>
                  <a:gd name="connsiteY221" fmla="*/ 168275 h 6451600"/>
                  <a:gd name="connsiteX222" fmla="*/ 2752726 w 5226051"/>
                  <a:gd name="connsiteY222" fmla="*/ 149225 h 6451600"/>
                  <a:gd name="connsiteX223" fmla="*/ 2762251 w 5226051"/>
                  <a:gd name="connsiteY223" fmla="*/ 130175 h 6451600"/>
                  <a:gd name="connsiteX224" fmla="*/ 2774951 w 5226051"/>
                  <a:gd name="connsiteY224" fmla="*/ 114300 h 6451600"/>
                  <a:gd name="connsiteX225" fmla="*/ 2787651 w 5226051"/>
                  <a:gd name="connsiteY225" fmla="*/ 98425 h 6451600"/>
                  <a:gd name="connsiteX226" fmla="*/ 2803526 w 5226051"/>
                  <a:gd name="connsiteY226" fmla="*/ 85725 h 6451600"/>
                  <a:gd name="connsiteX227" fmla="*/ 2838451 w 5226051"/>
                  <a:gd name="connsiteY227" fmla="*/ 60325 h 6451600"/>
                  <a:gd name="connsiteX228" fmla="*/ 2876551 w 5226051"/>
                  <a:gd name="connsiteY228" fmla="*/ 41275 h 6451600"/>
                  <a:gd name="connsiteX229" fmla="*/ 2921001 w 5226051"/>
                  <a:gd name="connsiteY229" fmla="*/ 28575 h 6451600"/>
                  <a:gd name="connsiteX230" fmla="*/ 2968626 w 5226051"/>
                  <a:gd name="connsiteY230" fmla="*/ 19050 h 6451600"/>
                  <a:gd name="connsiteX231" fmla="*/ 3019426 w 5226051"/>
                  <a:gd name="connsiteY231" fmla="*/ 12700 h 6451600"/>
                  <a:gd name="connsiteX232" fmla="*/ 387350 w 5226051"/>
                  <a:gd name="connsiteY232" fmla="*/ 0 h 6451600"/>
                  <a:gd name="connsiteX233" fmla="*/ 454025 w 5226051"/>
                  <a:gd name="connsiteY233" fmla="*/ 3175 h 6451600"/>
                  <a:gd name="connsiteX234" fmla="*/ 596900 w 5226051"/>
                  <a:gd name="connsiteY234" fmla="*/ 9525 h 6451600"/>
                  <a:gd name="connsiteX235" fmla="*/ 742950 w 5226051"/>
                  <a:gd name="connsiteY235" fmla="*/ 12700 h 6451600"/>
                  <a:gd name="connsiteX236" fmla="*/ 1809750 w 5226051"/>
                  <a:gd name="connsiteY236" fmla="*/ 12700 h 6451600"/>
                  <a:gd name="connsiteX237" fmla="*/ 2016125 w 5226051"/>
                  <a:gd name="connsiteY237" fmla="*/ 9525 h 6451600"/>
                  <a:gd name="connsiteX238" fmla="*/ 2117725 w 5226051"/>
                  <a:gd name="connsiteY238" fmla="*/ 9525 h 6451600"/>
                  <a:gd name="connsiteX239" fmla="*/ 2165350 w 5226051"/>
                  <a:gd name="connsiteY239" fmla="*/ 12700 h 6451600"/>
                  <a:gd name="connsiteX240" fmla="*/ 2212975 w 5226051"/>
                  <a:gd name="connsiteY240" fmla="*/ 15875 h 6451600"/>
                  <a:gd name="connsiteX241" fmla="*/ 2257425 w 5226051"/>
                  <a:gd name="connsiteY241" fmla="*/ 22225 h 6451600"/>
                  <a:gd name="connsiteX242" fmla="*/ 2301875 w 5226051"/>
                  <a:gd name="connsiteY242" fmla="*/ 28575 h 6451600"/>
                  <a:gd name="connsiteX243" fmla="*/ 2339975 w 5226051"/>
                  <a:gd name="connsiteY243" fmla="*/ 41275 h 6451600"/>
                  <a:gd name="connsiteX244" fmla="*/ 2374900 w 5226051"/>
                  <a:gd name="connsiteY244" fmla="*/ 53975 h 6451600"/>
                  <a:gd name="connsiteX245" fmla="*/ 2406650 w 5226051"/>
                  <a:gd name="connsiteY245" fmla="*/ 73025 h 6451600"/>
                  <a:gd name="connsiteX246" fmla="*/ 2432050 w 5226051"/>
                  <a:gd name="connsiteY246" fmla="*/ 95250 h 6451600"/>
                  <a:gd name="connsiteX247" fmla="*/ 2454275 w 5226051"/>
                  <a:gd name="connsiteY247" fmla="*/ 120650 h 6451600"/>
                  <a:gd name="connsiteX248" fmla="*/ 2470150 w 5226051"/>
                  <a:gd name="connsiteY248" fmla="*/ 152400 h 6451600"/>
                  <a:gd name="connsiteX249" fmla="*/ 2479675 w 5226051"/>
                  <a:gd name="connsiteY249" fmla="*/ 177800 h 6451600"/>
                  <a:gd name="connsiteX250" fmla="*/ 2486025 w 5226051"/>
                  <a:gd name="connsiteY250" fmla="*/ 203200 h 6451600"/>
                  <a:gd name="connsiteX251" fmla="*/ 2495550 w 5226051"/>
                  <a:gd name="connsiteY251" fmla="*/ 263525 h 6451600"/>
                  <a:gd name="connsiteX252" fmla="*/ 2498725 w 5226051"/>
                  <a:gd name="connsiteY252" fmla="*/ 323850 h 6451600"/>
                  <a:gd name="connsiteX253" fmla="*/ 2495550 w 5226051"/>
                  <a:gd name="connsiteY253" fmla="*/ 390525 h 6451600"/>
                  <a:gd name="connsiteX254" fmla="*/ 2489200 w 5226051"/>
                  <a:gd name="connsiteY254" fmla="*/ 517525 h 6451600"/>
                  <a:gd name="connsiteX255" fmla="*/ 2486025 w 5226051"/>
                  <a:gd name="connsiteY255" fmla="*/ 581025 h 6451600"/>
                  <a:gd name="connsiteX256" fmla="*/ 2482850 w 5226051"/>
                  <a:gd name="connsiteY256" fmla="*/ 635000 h 6451600"/>
                  <a:gd name="connsiteX257" fmla="*/ 2482850 w 5226051"/>
                  <a:gd name="connsiteY257" fmla="*/ 1130300 h 6451600"/>
                  <a:gd name="connsiteX258" fmla="*/ 2413000 w 5226051"/>
                  <a:gd name="connsiteY258" fmla="*/ 1136650 h 6451600"/>
                  <a:gd name="connsiteX259" fmla="*/ 2343150 w 5226051"/>
                  <a:gd name="connsiteY259" fmla="*/ 1139825 h 6451600"/>
                  <a:gd name="connsiteX260" fmla="*/ 2270125 w 5226051"/>
                  <a:gd name="connsiteY260" fmla="*/ 1139825 h 6451600"/>
                  <a:gd name="connsiteX261" fmla="*/ 2197100 w 5226051"/>
                  <a:gd name="connsiteY261" fmla="*/ 1136650 h 6451600"/>
                  <a:gd name="connsiteX262" fmla="*/ 2051050 w 5226051"/>
                  <a:gd name="connsiteY262" fmla="*/ 1130300 h 6451600"/>
                  <a:gd name="connsiteX263" fmla="*/ 1908175 w 5226051"/>
                  <a:gd name="connsiteY263" fmla="*/ 1123950 h 6451600"/>
                  <a:gd name="connsiteX264" fmla="*/ 1771650 w 5226051"/>
                  <a:gd name="connsiteY264" fmla="*/ 1120775 h 6451600"/>
                  <a:gd name="connsiteX265" fmla="*/ 1704975 w 5226051"/>
                  <a:gd name="connsiteY265" fmla="*/ 1120775 h 6451600"/>
                  <a:gd name="connsiteX266" fmla="*/ 1641475 w 5226051"/>
                  <a:gd name="connsiteY266" fmla="*/ 1123950 h 6451600"/>
                  <a:gd name="connsiteX267" fmla="*/ 1577975 w 5226051"/>
                  <a:gd name="connsiteY267" fmla="*/ 1130300 h 6451600"/>
                  <a:gd name="connsiteX268" fmla="*/ 1520825 w 5226051"/>
                  <a:gd name="connsiteY268" fmla="*/ 1136650 h 6451600"/>
                  <a:gd name="connsiteX269" fmla="*/ 1466850 w 5226051"/>
                  <a:gd name="connsiteY269" fmla="*/ 1152525 h 6451600"/>
                  <a:gd name="connsiteX270" fmla="*/ 1416050 w 5226051"/>
                  <a:gd name="connsiteY270" fmla="*/ 1168400 h 6451600"/>
                  <a:gd name="connsiteX271" fmla="*/ 1390650 w 5226051"/>
                  <a:gd name="connsiteY271" fmla="*/ 1181100 h 6451600"/>
                  <a:gd name="connsiteX272" fmla="*/ 1368425 w 5226051"/>
                  <a:gd name="connsiteY272" fmla="*/ 1193800 h 6451600"/>
                  <a:gd name="connsiteX273" fmla="*/ 1320800 w 5226051"/>
                  <a:gd name="connsiteY273" fmla="*/ 1225550 h 6451600"/>
                  <a:gd name="connsiteX274" fmla="*/ 1273175 w 5226051"/>
                  <a:gd name="connsiteY274" fmla="*/ 1263650 h 6451600"/>
                  <a:gd name="connsiteX275" fmla="*/ 1231900 w 5226051"/>
                  <a:gd name="connsiteY275" fmla="*/ 1308100 h 6451600"/>
                  <a:gd name="connsiteX276" fmla="*/ 1193800 w 5226051"/>
                  <a:gd name="connsiteY276" fmla="*/ 1358900 h 6451600"/>
                  <a:gd name="connsiteX277" fmla="*/ 1162050 w 5226051"/>
                  <a:gd name="connsiteY277" fmla="*/ 1412875 h 6451600"/>
                  <a:gd name="connsiteX278" fmla="*/ 1149350 w 5226051"/>
                  <a:gd name="connsiteY278" fmla="*/ 1438275 h 6451600"/>
                  <a:gd name="connsiteX279" fmla="*/ 1139825 w 5226051"/>
                  <a:gd name="connsiteY279" fmla="*/ 1466850 h 6451600"/>
                  <a:gd name="connsiteX280" fmla="*/ 1130300 w 5226051"/>
                  <a:gd name="connsiteY280" fmla="*/ 1495425 h 6451600"/>
                  <a:gd name="connsiteX281" fmla="*/ 1123950 w 5226051"/>
                  <a:gd name="connsiteY281" fmla="*/ 1524000 h 6451600"/>
                  <a:gd name="connsiteX282" fmla="*/ 1117600 w 5226051"/>
                  <a:gd name="connsiteY282" fmla="*/ 1587500 h 6451600"/>
                  <a:gd name="connsiteX283" fmla="*/ 1111250 w 5226051"/>
                  <a:gd name="connsiteY283" fmla="*/ 1657350 h 6451600"/>
                  <a:gd name="connsiteX284" fmla="*/ 1111250 w 5226051"/>
                  <a:gd name="connsiteY284" fmla="*/ 1727200 h 6451600"/>
                  <a:gd name="connsiteX285" fmla="*/ 1114425 w 5226051"/>
                  <a:gd name="connsiteY285" fmla="*/ 1800225 h 6451600"/>
                  <a:gd name="connsiteX286" fmla="*/ 1120775 w 5226051"/>
                  <a:gd name="connsiteY286" fmla="*/ 1952625 h 6451600"/>
                  <a:gd name="connsiteX287" fmla="*/ 1123950 w 5226051"/>
                  <a:gd name="connsiteY287" fmla="*/ 2032000 h 6451600"/>
                  <a:gd name="connsiteX288" fmla="*/ 1123950 w 5226051"/>
                  <a:gd name="connsiteY288" fmla="*/ 2108200 h 6451600"/>
                  <a:gd name="connsiteX289" fmla="*/ 1123950 w 5226051"/>
                  <a:gd name="connsiteY289" fmla="*/ 3848100 h 6451600"/>
                  <a:gd name="connsiteX290" fmla="*/ 387350 w 5226051"/>
                  <a:gd name="connsiteY290" fmla="*/ 3848100 h 6451600"/>
                  <a:gd name="connsiteX291" fmla="*/ 381000 w 5226051"/>
                  <a:gd name="connsiteY291" fmla="*/ 3873500 h 6451600"/>
                  <a:gd name="connsiteX292" fmla="*/ 374650 w 5226051"/>
                  <a:gd name="connsiteY292" fmla="*/ 3898900 h 6451600"/>
                  <a:gd name="connsiteX293" fmla="*/ 374650 w 5226051"/>
                  <a:gd name="connsiteY293" fmla="*/ 3930650 h 6451600"/>
                  <a:gd name="connsiteX294" fmla="*/ 374650 w 5226051"/>
                  <a:gd name="connsiteY294" fmla="*/ 3962400 h 6451600"/>
                  <a:gd name="connsiteX295" fmla="*/ 374650 w 5226051"/>
                  <a:gd name="connsiteY295" fmla="*/ 4029075 h 6451600"/>
                  <a:gd name="connsiteX296" fmla="*/ 374650 w 5226051"/>
                  <a:gd name="connsiteY296" fmla="*/ 4060825 h 6451600"/>
                  <a:gd name="connsiteX297" fmla="*/ 374650 w 5226051"/>
                  <a:gd name="connsiteY297" fmla="*/ 4089400 h 6451600"/>
                  <a:gd name="connsiteX298" fmla="*/ 460375 w 5226051"/>
                  <a:gd name="connsiteY298" fmla="*/ 4098925 h 6451600"/>
                  <a:gd name="connsiteX299" fmla="*/ 552450 w 5226051"/>
                  <a:gd name="connsiteY299" fmla="*/ 4102100 h 6451600"/>
                  <a:gd name="connsiteX300" fmla="*/ 644525 w 5226051"/>
                  <a:gd name="connsiteY300" fmla="*/ 4105275 h 6451600"/>
                  <a:gd name="connsiteX301" fmla="*/ 742950 w 5226051"/>
                  <a:gd name="connsiteY301" fmla="*/ 4105275 h 6451600"/>
                  <a:gd name="connsiteX302" fmla="*/ 936625 w 5226051"/>
                  <a:gd name="connsiteY302" fmla="*/ 4102100 h 6451600"/>
                  <a:gd name="connsiteX303" fmla="*/ 1031875 w 5226051"/>
                  <a:gd name="connsiteY303" fmla="*/ 4102100 h 6451600"/>
                  <a:gd name="connsiteX304" fmla="*/ 1123950 w 5226051"/>
                  <a:gd name="connsiteY304" fmla="*/ 4102100 h 6451600"/>
                  <a:gd name="connsiteX305" fmla="*/ 1123950 w 5226051"/>
                  <a:gd name="connsiteY305" fmla="*/ 4133850 h 6451600"/>
                  <a:gd name="connsiteX306" fmla="*/ 1123950 w 5226051"/>
                  <a:gd name="connsiteY306" fmla="*/ 4168775 h 6451600"/>
                  <a:gd name="connsiteX307" fmla="*/ 1127125 w 5226051"/>
                  <a:gd name="connsiteY307" fmla="*/ 4238625 h 6451600"/>
                  <a:gd name="connsiteX308" fmla="*/ 1127125 w 5226051"/>
                  <a:gd name="connsiteY308" fmla="*/ 4270375 h 6451600"/>
                  <a:gd name="connsiteX309" fmla="*/ 1123950 w 5226051"/>
                  <a:gd name="connsiteY309" fmla="*/ 4302125 h 6451600"/>
                  <a:gd name="connsiteX310" fmla="*/ 1120775 w 5226051"/>
                  <a:gd name="connsiteY310" fmla="*/ 4330700 h 6451600"/>
                  <a:gd name="connsiteX311" fmla="*/ 1111250 w 5226051"/>
                  <a:gd name="connsiteY311" fmla="*/ 4356100 h 6451600"/>
                  <a:gd name="connsiteX312" fmla="*/ 387350 w 5226051"/>
                  <a:gd name="connsiteY312" fmla="*/ 4356100 h 6451600"/>
                  <a:gd name="connsiteX313" fmla="*/ 377825 w 5226051"/>
                  <a:gd name="connsiteY313" fmla="*/ 4381500 h 6451600"/>
                  <a:gd name="connsiteX314" fmla="*/ 374650 w 5226051"/>
                  <a:gd name="connsiteY314" fmla="*/ 4406900 h 6451600"/>
                  <a:gd name="connsiteX315" fmla="*/ 371475 w 5226051"/>
                  <a:gd name="connsiteY315" fmla="*/ 4438650 h 6451600"/>
                  <a:gd name="connsiteX316" fmla="*/ 374650 w 5226051"/>
                  <a:gd name="connsiteY316" fmla="*/ 4470400 h 6451600"/>
                  <a:gd name="connsiteX317" fmla="*/ 374650 w 5226051"/>
                  <a:gd name="connsiteY317" fmla="*/ 4537075 h 6451600"/>
                  <a:gd name="connsiteX318" fmla="*/ 377825 w 5226051"/>
                  <a:gd name="connsiteY318" fmla="*/ 4568825 h 6451600"/>
                  <a:gd name="connsiteX319" fmla="*/ 374650 w 5226051"/>
                  <a:gd name="connsiteY319" fmla="*/ 4597400 h 6451600"/>
                  <a:gd name="connsiteX320" fmla="*/ 1123950 w 5226051"/>
                  <a:gd name="connsiteY320" fmla="*/ 4597400 h 6451600"/>
                  <a:gd name="connsiteX321" fmla="*/ 1123950 w 5226051"/>
                  <a:gd name="connsiteY321" fmla="*/ 5080000 h 6451600"/>
                  <a:gd name="connsiteX322" fmla="*/ 990600 w 5226051"/>
                  <a:gd name="connsiteY322" fmla="*/ 5089525 h 6451600"/>
                  <a:gd name="connsiteX323" fmla="*/ 854075 w 5226051"/>
                  <a:gd name="connsiteY323" fmla="*/ 5095875 h 6451600"/>
                  <a:gd name="connsiteX324" fmla="*/ 714375 w 5226051"/>
                  <a:gd name="connsiteY324" fmla="*/ 5095875 h 6451600"/>
                  <a:gd name="connsiteX325" fmla="*/ 574675 w 5226051"/>
                  <a:gd name="connsiteY325" fmla="*/ 5095875 h 6451600"/>
                  <a:gd name="connsiteX326" fmla="*/ 288925 w 5226051"/>
                  <a:gd name="connsiteY326" fmla="*/ 5092700 h 6451600"/>
                  <a:gd name="connsiteX327" fmla="*/ 146050 w 5226051"/>
                  <a:gd name="connsiteY327" fmla="*/ 5092700 h 6451600"/>
                  <a:gd name="connsiteX328" fmla="*/ 6350 w 5226051"/>
                  <a:gd name="connsiteY328" fmla="*/ 5092700 h 6451600"/>
                  <a:gd name="connsiteX329" fmla="*/ 6350 w 5226051"/>
                  <a:gd name="connsiteY329" fmla="*/ 762000 h 6451600"/>
                  <a:gd name="connsiteX330" fmla="*/ 3175 w 5226051"/>
                  <a:gd name="connsiteY330" fmla="*/ 631825 h 6451600"/>
                  <a:gd name="connsiteX331" fmla="*/ 0 w 5226051"/>
                  <a:gd name="connsiteY331" fmla="*/ 508000 h 6451600"/>
                  <a:gd name="connsiteX332" fmla="*/ 0 w 5226051"/>
                  <a:gd name="connsiteY332" fmla="*/ 387350 h 6451600"/>
                  <a:gd name="connsiteX333" fmla="*/ 3175 w 5226051"/>
                  <a:gd name="connsiteY333" fmla="*/ 330200 h 6451600"/>
                  <a:gd name="connsiteX334" fmla="*/ 9525 w 5226051"/>
                  <a:gd name="connsiteY334" fmla="*/ 279400 h 6451600"/>
                  <a:gd name="connsiteX335" fmla="*/ 15875 w 5226051"/>
                  <a:gd name="connsiteY335" fmla="*/ 228600 h 6451600"/>
                  <a:gd name="connsiteX336" fmla="*/ 28575 w 5226051"/>
                  <a:gd name="connsiteY336" fmla="*/ 180975 h 6451600"/>
                  <a:gd name="connsiteX337" fmla="*/ 44450 w 5226051"/>
                  <a:gd name="connsiteY337" fmla="*/ 139700 h 6451600"/>
                  <a:gd name="connsiteX338" fmla="*/ 66675 w 5226051"/>
                  <a:gd name="connsiteY338" fmla="*/ 104775 h 6451600"/>
                  <a:gd name="connsiteX339" fmla="*/ 79375 w 5226051"/>
                  <a:gd name="connsiteY339" fmla="*/ 85725 h 6451600"/>
                  <a:gd name="connsiteX340" fmla="*/ 92075 w 5226051"/>
                  <a:gd name="connsiteY340" fmla="*/ 73025 h 6451600"/>
                  <a:gd name="connsiteX341" fmla="*/ 107950 w 5226051"/>
                  <a:gd name="connsiteY341" fmla="*/ 57150 h 6451600"/>
                  <a:gd name="connsiteX342" fmla="*/ 123825 w 5226051"/>
                  <a:gd name="connsiteY342" fmla="*/ 47625 h 6451600"/>
                  <a:gd name="connsiteX343" fmla="*/ 142875 w 5226051"/>
                  <a:gd name="connsiteY343" fmla="*/ 34925 h 6451600"/>
                  <a:gd name="connsiteX344" fmla="*/ 161925 w 5226051"/>
                  <a:gd name="connsiteY344" fmla="*/ 25400 h 6451600"/>
                  <a:gd name="connsiteX345" fmla="*/ 184150 w 5226051"/>
                  <a:gd name="connsiteY345" fmla="*/ 19050 h 6451600"/>
                  <a:gd name="connsiteX346" fmla="*/ 209550 w 5226051"/>
                  <a:gd name="connsiteY346" fmla="*/ 12700 h 6451600"/>
                  <a:gd name="connsiteX347" fmla="*/ 263525 w 5226051"/>
                  <a:gd name="connsiteY347" fmla="*/ 6350 h 6451600"/>
                  <a:gd name="connsiteX348" fmla="*/ 320675 w 5226051"/>
                  <a:gd name="connsiteY348" fmla="*/ 3175 h 645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Lst>
                <a:rect l="l" t="t" r="r" b="b"/>
                <a:pathLst>
                  <a:path w="5226051" h="6451600">
                    <a:moveTo>
                      <a:pt x="1771650" y="5702301"/>
                    </a:moveTo>
                    <a:lnTo>
                      <a:pt x="1762125" y="5711826"/>
                    </a:lnTo>
                    <a:lnTo>
                      <a:pt x="1755775" y="5721351"/>
                    </a:lnTo>
                    <a:lnTo>
                      <a:pt x="1749425" y="5734051"/>
                    </a:lnTo>
                    <a:lnTo>
                      <a:pt x="1746250" y="5749926"/>
                    </a:lnTo>
                    <a:lnTo>
                      <a:pt x="1743075" y="5784851"/>
                    </a:lnTo>
                    <a:lnTo>
                      <a:pt x="1746250" y="5822951"/>
                    </a:lnTo>
                    <a:lnTo>
                      <a:pt x="1749425" y="5861051"/>
                    </a:lnTo>
                    <a:lnTo>
                      <a:pt x="1749425" y="5899151"/>
                    </a:lnTo>
                    <a:lnTo>
                      <a:pt x="1746250" y="5930901"/>
                    </a:lnTo>
                    <a:lnTo>
                      <a:pt x="1739900" y="5946776"/>
                    </a:lnTo>
                    <a:lnTo>
                      <a:pt x="1733550" y="5956301"/>
                    </a:lnTo>
                    <a:lnTo>
                      <a:pt x="3486150" y="5956301"/>
                    </a:lnTo>
                    <a:lnTo>
                      <a:pt x="3486150" y="5715001"/>
                    </a:lnTo>
                    <a:lnTo>
                      <a:pt x="3279775" y="5708651"/>
                    </a:lnTo>
                    <a:lnTo>
                      <a:pt x="3067050" y="5702301"/>
                    </a:lnTo>
                    <a:lnTo>
                      <a:pt x="2854325" y="5702301"/>
                    </a:lnTo>
                    <a:lnTo>
                      <a:pt x="2638425" y="5702301"/>
                    </a:lnTo>
                    <a:lnTo>
                      <a:pt x="2203450" y="5705476"/>
                    </a:lnTo>
                    <a:lnTo>
                      <a:pt x="1987550" y="5705476"/>
                    </a:lnTo>
                    <a:close/>
                    <a:moveTo>
                      <a:pt x="1746250" y="5219701"/>
                    </a:moveTo>
                    <a:lnTo>
                      <a:pt x="1746250" y="5264151"/>
                    </a:lnTo>
                    <a:lnTo>
                      <a:pt x="1746250" y="5327651"/>
                    </a:lnTo>
                    <a:lnTo>
                      <a:pt x="1746250" y="5397501"/>
                    </a:lnTo>
                    <a:lnTo>
                      <a:pt x="1746250" y="5461001"/>
                    </a:lnTo>
                    <a:lnTo>
                      <a:pt x="3473450" y="5461001"/>
                    </a:lnTo>
                    <a:lnTo>
                      <a:pt x="3482975" y="5438776"/>
                    </a:lnTo>
                    <a:lnTo>
                      <a:pt x="3486150" y="5410201"/>
                    </a:lnTo>
                    <a:lnTo>
                      <a:pt x="3489325" y="5381626"/>
                    </a:lnTo>
                    <a:lnTo>
                      <a:pt x="3489325" y="5349876"/>
                    </a:lnTo>
                    <a:lnTo>
                      <a:pt x="3486150" y="5283201"/>
                    </a:lnTo>
                    <a:lnTo>
                      <a:pt x="3486150" y="5251451"/>
                    </a:lnTo>
                    <a:lnTo>
                      <a:pt x="3486150" y="5219701"/>
                    </a:lnTo>
                    <a:close/>
                    <a:moveTo>
                      <a:pt x="1758950" y="2120901"/>
                    </a:moveTo>
                    <a:lnTo>
                      <a:pt x="1749425" y="2143126"/>
                    </a:lnTo>
                    <a:lnTo>
                      <a:pt x="1746250" y="2171701"/>
                    </a:lnTo>
                    <a:lnTo>
                      <a:pt x="1746250" y="2203451"/>
                    </a:lnTo>
                    <a:lnTo>
                      <a:pt x="1746250" y="2235201"/>
                    </a:lnTo>
                    <a:lnTo>
                      <a:pt x="1749425" y="2301876"/>
                    </a:lnTo>
                    <a:lnTo>
                      <a:pt x="1749425" y="2333626"/>
                    </a:lnTo>
                    <a:lnTo>
                      <a:pt x="1746250" y="2362201"/>
                    </a:lnTo>
                    <a:lnTo>
                      <a:pt x="3486150" y="2362201"/>
                    </a:lnTo>
                    <a:lnTo>
                      <a:pt x="3486150" y="2120901"/>
                    </a:lnTo>
                    <a:close/>
                    <a:moveTo>
                      <a:pt x="3321050" y="1352550"/>
                    </a:moveTo>
                    <a:lnTo>
                      <a:pt x="3397250" y="1355725"/>
                    </a:lnTo>
                    <a:lnTo>
                      <a:pt x="3473450" y="1358900"/>
                    </a:lnTo>
                    <a:lnTo>
                      <a:pt x="3543300" y="1365250"/>
                    </a:lnTo>
                    <a:lnTo>
                      <a:pt x="3606800" y="1371600"/>
                    </a:lnTo>
                    <a:lnTo>
                      <a:pt x="3667125" y="1384300"/>
                    </a:lnTo>
                    <a:lnTo>
                      <a:pt x="3717925" y="1403350"/>
                    </a:lnTo>
                    <a:lnTo>
                      <a:pt x="3740150" y="1412875"/>
                    </a:lnTo>
                    <a:lnTo>
                      <a:pt x="3759200" y="1422400"/>
                    </a:lnTo>
                    <a:lnTo>
                      <a:pt x="3778250" y="1435100"/>
                    </a:lnTo>
                    <a:lnTo>
                      <a:pt x="3790950" y="1447800"/>
                    </a:lnTo>
                    <a:lnTo>
                      <a:pt x="3806825" y="1466850"/>
                    </a:lnTo>
                    <a:lnTo>
                      <a:pt x="3816350" y="1485900"/>
                    </a:lnTo>
                    <a:lnTo>
                      <a:pt x="3829050" y="1511300"/>
                    </a:lnTo>
                    <a:lnTo>
                      <a:pt x="3835400" y="1539875"/>
                    </a:lnTo>
                    <a:lnTo>
                      <a:pt x="3841750" y="1571625"/>
                    </a:lnTo>
                    <a:lnTo>
                      <a:pt x="3848100" y="1606550"/>
                    </a:lnTo>
                    <a:lnTo>
                      <a:pt x="3854450" y="1682750"/>
                    </a:lnTo>
                    <a:lnTo>
                      <a:pt x="3857625" y="1762125"/>
                    </a:lnTo>
                    <a:lnTo>
                      <a:pt x="3857625" y="1847850"/>
                    </a:lnTo>
                    <a:lnTo>
                      <a:pt x="3854450" y="2019300"/>
                    </a:lnTo>
                    <a:lnTo>
                      <a:pt x="3854450" y="6451600"/>
                    </a:lnTo>
                    <a:lnTo>
                      <a:pt x="1365250" y="6451600"/>
                    </a:lnTo>
                    <a:lnTo>
                      <a:pt x="1365250" y="2133600"/>
                    </a:lnTo>
                    <a:lnTo>
                      <a:pt x="1362075" y="1997075"/>
                    </a:lnTo>
                    <a:lnTo>
                      <a:pt x="1358900" y="1866900"/>
                    </a:lnTo>
                    <a:lnTo>
                      <a:pt x="1358900" y="1746250"/>
                    </a:lnTo>
                    <a:lnTo>
                      <a:pt x="1362075" y="1689100"/>
                    </a:lnTo>
                    <a:lnTo>
                      <a:pt x="1368425" y="1635125"/>
                    </a:lnTo>
                    <a:lnTo>
                      <a:pt x="1377950" y="1584325"/>
                    </a:lnTo>
                    <a:lnTo>
                      <a:pt x="1390650" y="1536700"/>
                    </a:lnTo>
                    <a:lnTo>
                      <a:pt x="1409700" y="1495425"/>
                    </a:lnTo>
                    <a:lnTo>
                      <a:pt x="1419225" y="1479550"/>
                    </a:lnTo>
                    <a:lnTo>
                      <a:pt x="1431925" y="1460500"/>
                    </a:lnTo>
                    <a:lnTo>
                      <a:pt x="1447800" y="1444625"/>
                    </a:lnTo>
                    <a:lnTo>
                      <a:pt x="1463675" y="1428750"/>
                    </a:lnTo>
                    <a:lnTo>
                      <a:pt x="1479550" y="1416050"/>
                    </a:lnTo>
                    <a:lnTo>
                      <a:pt x="1498600" y="1403350"/>
                    </a:lnTo>
                    <a:lnTo>
                      <a:pt x="1520825" y="1393825"/>
                    </a:lnTo>
                    <a:lnTo>
                      <a:pt x="1543050" y="1384300"/>
                    </a:lnTo>
                    <a:lnTo>
                      <a:pt x="1568450" y="1377950"/>
                    </a:lnTo>
                    <a:lnTo>
                      <a:pt x="1593850" y="1371600"/>
                    </a:lnTo>
                    <a:lnTo>
                      <a:pt x="1660525" y="1362075"/>
                    </a:lnTo>
                    <a:lnTo>
                      <a:pt x="1730375" y="1358900"/>
                    </a:lnTo>
                    <a:lnTo>
                      <a:pt x="1800225" y="1358900"/>
                    </a:lnTo>
                    <a:lnTo>
                      <a:pt x="1873250" y="1362075"/>
                    </a:lnTo>
                    <a:lnTo>
                      <a:pt x="2022475" y="1368425"/>
                    </a:lnTo>
                    <a:lnTo>
                      <a:pt x="2095500" y="1371600"/>
                    </a:lnTo>
                    <a:lnTo>
                      <a:pt x="2165350" y="1371600"/>
                    </a:lnTo>
                    <a:lnTo>
                      <a:pt x="2736850" y="1371600"/>
                    </a:lnTo>
                    <a:lnTo>
                      <a:pt x="2860675" y="1368425"/>
                    </a:lnTo>
                    <a:lnTo>
                      <a:pt x="3006725" y="1362075"/>
                    </a:lnTo>
                    <a:lnTo>
                      <a:pt x="3162300" y="1355725"/>
                    </a:lnTo>
                    <a:close/>
                    <a:moveTo>
                      <a:pt x="3117851" y="762001"/>
                    </a:moveTo>
                    <a:lnTo>
                      <a:pt x="3111501" y="784226"/>
                    </a:lnTo>
                    <a:lnTo>
                      <a:pt x="3105151" y="812801"/>
                    </a:lnTo>
                    <a:lnTo>
                      <a:pt x="3105151" y="841376"/>
                    </a:lnTo>
                    <a:lnTo>
                      <a:pt x="3105151" y="876301"/>
                    </a:lnTo>
                    <a:lnTo>
                      <a:pt x="3108326" y="939801"/>
                    </a:lnTo>
                    <a:lnTo>
                      <a:pt x="3108326" y="974726"/>
                    </a:lnTo>
                    <a:lnTo>
                      <a:pt x="3105151" y="1003301"/>
                    </a:lnTo>
                    <a:lnTo>
                      <a:pt x="4845051" y="1003301"/>
                    </a:lnTo>
                    <a:lnTo>
                      <a:pt x="4845051" y="762001"/>
                    </a:lnTo>
                    <a:close/>
                    <a:moveTo>
                      <a:pt x="387350" y="762001"/>
                    </a:moveTo>
                    <a:lnTo>
                      <a:pt x="381000" y="784226"/>
                    </a:lnTo>
                    <a:lnTo>
                      <a:pt x="374650" y="815976"/>
                    </a:lnTo>
                    <a:lnTo>
                      <a:pt x="371475" y="847726"/>
                    </a:lnTo>
                    <a:lnTo>
                      <a:pt x="371475" y="882651"/>
                    </a:lnTo>
                    <a:lnTo>
                      <a:pt x="374650" y="917576"/>
                    </a:lnTo>
                    <a:lnTo>
                      <a:pt x="377825" y="949326"/>
                    </a:lnTo>
                    <a:lnTo>
                      <a:pt x="381000" y="981076"/>
                    </a:lnTo>
                    <a:lnTo>
                      <a:pt x="387350" y="1003301"/>
                    </a:lnTo>
                    <a:lnTo>
                      <a:pt x="2114550" y="1003301"/>
                    </a:lnTo>
                    <a:lnTo>
                      <a:pt x="2114550" y="762001"/>
                    </a:lnTo>
                    <a:close/>
                    <a:moveTo>
                      <a:pt x="3073401" y="6350"/>
                    </a:moveTo>
                    <a:lnTo>
                      <a:pt x="3127376" y="6350"/>
                    </a:lnTo>
                    <a:lnTo>
                      <a:pt x="3248026" y="6350"/>
                    </a:lnTo>
                    <a:lnTo>
                      <a:pt x="3368676" y="9525"/>
                    </a:lnTo>
                    <a:lnTo>
                      <a:pt x="3486151" y="12700"/>
                    </a:lnTo>
                    <a:lnTo>
                      <a:pt x="4578351" y="12700"/>
                    </a:lnTo>
                    <a:lnTo>
                      <a:pt x="4679951" y="12700"/>
                    </a:lnTo>
                    <a:lnTo>
                      <a:pt x="4778376" y="9525"/>
                    </a:lnTo>
                    <a:lnTo>
                      <a:pt x="4873626" y="9525"/>
                    </a:lnTo>
                    <a:lnTo>
                      <a:pt x="4921251" y="12700"/>
                    </a:lnTo>
                    <a:lnTo>
                      <a:pt x="4965701" y="15875"/>
                    </a:lnTo>
                    <a:lnTo>
                      <a:pt x="5006976" y="22225"/>
                    </a:lnTo>
                    <a:lnTo>
                      <a:pt x="5045076" y="31750"/>
                    </a:lnTo>
                    <a:lnTo>
                      <a:pt x="5080001" y="41275"/>
                    </a:lnTo>
                    <a:lnTo>
                      <a:pt x="5111751" y="57150"/>
                    </a:lnTo>
                    <a:lnTo>
                      <a:pt x="5140326" y="79375"/>
                    </a:lnTo>
                    <a:lnTo>
                      <a:pt x="5165726" y="101600"/>
                    </a:lnTo>
                    <a:lnTo>
                      <a:pt x="5187951" y="130175"/>
                    </a:lnTo>
                    <a:lnTo>
                      <a:pt x="5200651" y="165100"/>
                    </a:lnTo>
                    <a:lnTo>
                      <a:pt x="5210176" y="190500"/>
                    </a:lnTo>
                    <a:lnTo>
                      <a:pt x="5216526" y="219075"/>
                    </a:lnTo>
                    <a:lnTo>
                      <a:pt x="5222876" y="285750"/>
                    </a:lnTo>
                    <a:lnTo>
                      <a:pt x="5226051" y="361950"/>
                    </a:lnTo>
                    <a:lnTo>
                      <a:pt x="5226051" y="444500"/>
                    </a:lnTo>
                    <a:lnTo>
                      <a:pt x="5219701" y="612775"/>
                    </a:lnTo>
                    <a:lnTo>
                      <a:pt x="5216526" y="695325"/>
                    </a:lnTo>
                    <a:lnTo>
                      <a:pt x="5213351" y="774700"/>
                    </a:lnTo>
                    <a:lnTo>
                      <a:pt x="5213351" y="5092700"/>
                    </a:lnTo>
                    <a:lnTo>
                      <a:pt x="5073651" y="5092700"/>
                    </a:lnTo>
                    <a:lnTo>
                      <a:pt x="4933951" y="5092700"/>
                    </a:lnTo>
                    <a:lnTo>
                      <a:pt x="4648201" y="5095875"/>
                    </a:lnTo>
                    <a:lnTo>
                      <a:pt x="4505326" y="5095875"/>
                    </a:lnTo>
                    <a:lnTo>
                      <a:pt x="4365626" y="5095875"/>
                    </a:lnTo>
                    <a:lnTo>
                      <a:pt x="4229101" y="5089525"/>
                    </a:lnTo>
                    <a:lnTo>
                      <a:pt x="4095751" y="5080000"/>
                    </a:lnTo>
                    <a:lnTo>
                      <a:pt x="4095751" y="4597400"/>
                    </a:lnTo>
                    <a:lnTo>
                      <a:pt x="4832351" y="4597400"/>
                    </a:lnTo>
                    <a:lnTo>
                      <a:pt x="4841876" y="4575175"/>
                    </a:lnTo>
                    <a:lnTo>
                      <a:pt x="4848226" y="4546600"/>
                    </a:lnTo>
                    <a:lnTo>
                      <a:pt x="4848226" y="4518025"/>
                    </a:lnTo>
                    <a:lnTo>
                      <a:pt x="4848226" y="4486275"/>
                    </a:lnTo>
                    <a:lnTo>
                      <a:pt x="4845051" y="4419600"/>
                    </a:lnTo>
                    <a:lnTo>
                      <a:pt x="4845051" y="4387850"/>
                    </a:lnTo>
                    <a:lnTo>
                      <a:pt x="4845051" y="4356100"/>
                    </a:lnTo>
                    <a:lnTo>
                      <a:pt x="4108451" y="4356100"/>
                    </a:lnTo>
                    <a:lnTo>
                      <a:pt x="4102101" y="4330700"/>
                    </a:lnTo>
                    <a:lnTo>
                      <a:pt x="4095751" y="4302125"/>
                    </a:lnTo>
                    <a:lnTo>
                      <a:pt x="4095751" y="4270375"/>
                    </a:lnTo>
                    <a:lnTo>
                      <a:pt x="4095751" y="4238625"/>
                    </a:lnTo>
                    <a:lnTo>
                      <a:pt x="4098926" y="4168775"/>
                    </a:lnTo>
                    <a:lnTo>
                      <a:pt x="4098926" y="4133850"/>
                    </a:lnTo>
                    <a:lnTo>
                      <a:pt x="4095751" y="4102100"/>
                    </a:lnTo>
                    <a:lnTo>
                      <a:pt x="4832351" y="4102100"/>
                    </a:lnTo>
                    <a:lnTo>
                      <a:pt x="4841876" y="4079875"/>
                    </a:lnTo>
                    <a:lnTo>
                      <a:pt x="4848226" y="4051300"/>
                    </a:lnTo>
                    <a:lnTo>
                      <a:pt x="4848226" y="4022725"/>
                    </a:lnTo>
                    <a:lnTo>
                      <a:pt x="4848226" y="3990975"/>
                    </a:lnTo>
                    <a:lnTo>
                      <a:pt x="4845051" y="3924300"/>
                    </a:lnTo>
                    <a:lnTo>
                      <a:pt x="4845051" y="3892550"/>
                    </a:lnTo>
                    <a:lnTo>
                      <a:pt x="4845051" y="3860800"/>
                    </a:lnTo>
                    <a:lnTo>
                      <a:pt x="4759326" y="3854450"/>
                    </a:lnTo>
                    <a:lnTo>
                      <a:pt x="4670426" y="3848100"/>
                    </a:lnTo>
                    <a:lnTo>
                      <a:pt x="4575176" y="3848100"/>
                    </a:lnTo>
                    <a:lnTo>
                      <a:pt x="4479926" y="3848100"/>
                    </a:lnTo>
                    <a:lnTo>
                      <a:pt x="4286251" y="3851275"/>
                    </a:lnTo>
                    <a:lnTo>
                      <a:pt x="4191001" y="3851275"/>
                    </a:lnTo>
                    <a:lnTo>
                      <a:pt x="4095751" y="3848100"/>
                    </a:lnTo>
                    <a:lnTo>
                      <a:pt x="4095751" y="2095500"/>
                    </a:lnTo>
                    <a:lnTo>
                      <a:pt x="4098926" y="2012950"/>
                    </a:lnTo>
                    <a:lnTo>
                      <a:pt x="4102101" y="1924050"/>
                    </a:lnTo>
                    <a:lnTo>
                      <a:pt x="4105276" y="1746250"/>
                    </a:lnTo>
                    <a:lnTo>
                      <a:pt x="4105276" y="1660525"/>
                    </a:lnTo>
                    <a:lnTo>
                      <a:pt x="4102101" y="1581150"/>
                    </a:lnTo>
                    <a:lnTo>
                      <a:pt x="4095751" y="1546225"/>
                    </a:lnTo>
                    <a:lnTo>
                      <a:pt x="4089401" y="1511300"/>
                    </a:lnTo>
                    <a:lnTo>
                      <a:pt x="4083051" y="1476375"/>
                    </a:lnTo>
                    <a:lnTo>
                      <a:pt x="4070351" y="1447800"/>
                    </a:lnTo>
                    <a:lnTo>
                      <a:pt x="4057651" y="1419225"/>
                    </a:lnTo>
                    <a:lnTo>
                      <a:pt x="4044951" y="1390650"/>
                    </a:lnTo>
                    <a:lnTo>
                      <a:pt x="4025901" y="1362075"/>
                    </a:lnTo>
                    <a:lnTo>
                      <a:pt x="4010026" y="1333500"/>
                    </a:lnTo>
                    <a:lnTo>
                      <a:pt x="3987801" y="1308100"/>
                    </a:lnTo>
                    <a:lnTo>
                      <a:pt x="3968751" y="1285875"/>
                    </a:lnTo>
                    <a:lnTo>
                      <a:pt x="3946526" y="1260475"/>
                    </a:lnTo>
                    <a:lnTo>
                      <a:pt x="3921126" y="1238250"/>
                    </a:lnTo>
                    <a:lnTo>
                      <a:pt x="3895726" y="1219200"/>
                    </a:lnTo>
                    <a:lnTo>
                      <a:pt x="3867151" y="1200150"/>
                    </a:lnTo>
                    <a:lnTo>
                      <a:pt x="3838576" y="1184275"/>
                    </a:lnTo>
                    <a:lnTo>
                      <a:pt x="3810001" y="1168400"/>
                    </a:lnTo>
                    <a:lnTo>
                      <a:pt x="3778251" y="1155700"/>
                    </a:lnTo>
                    <a:lnTo>
                      <a:pt x="3746501" y="1146175"/>
                    </a:lnTo>
                    <a:lnTo>
                      <a:pt x="3711576" y="1136650"/>
                    </a:lnTo>
                    <a:lnTo>
                      <a:pt x="3676651" y="1130300"/>
                    </a:lnTo>
                    <a:lnTo>
                      <a:pt x="3629026" y="1123950"/>
                    </a:lnTo>
                    <a:lnTo>
                      <a:pt x="3578226" y="1120775"/>
                    </a:lnTo>
                    <a:lnTo>
                      <a:pt x="3470276" y="1117600"/>
                    </a:lnTo>
                    <a:lnTo>
                      <a:pt x="3359151" y="1120775"/>
                    </a:lnTo>
                    <a:lnTo>
                      <a:pt x="3238501" y="1127125"/>
                    </a:lnTo>
                    <a:lnTo>
                      <a:pt x="3117851" y="1133475"/>
                    </a:lnTo>
                    <a:lnTo>
                      <a:pt x="2994026" y="1136650"/>
                    </a:lnTo>
                    <a:lnTo>
                      <a:pt x="2867026" y="1136650"/>
                    </a:lnTo>
                    <a:lnTo>
                      <a:pt x="2800351" y="1133475"/>
                    </a:lnTo>
                    <a:lnTo>
                      <a:pt x="2736851" y="1130300"/>
                    </a:lnTo>
                    <a:lnTo>
                      <a:pt x="2736851" y="190500"/>
                    </a:lnTo>
                    <a:lnTo>
                      <a:pt x="2743201" y="168275"/>
                    </a:lnTo>
                    <a:lnTo>
                      <a:pt x="2752726" y="149225"/>
                    </a:lnTo>
                    <a:lnTo>
                      <a:pt x="2762251" y="130175"/>
                    </a:lnTo>
                    <a:lnTo>
                      <a:pt x="2774951" y="114300"/>
                    </a:lnTo>
                    <a:lnTo>
                      <a:pt x="2787651" y="98425"/>
                    </a:lnTo>
                    <a:lnTo>
                      <a:pt x="2803526" y="85725"/>
                    </a:lnTo>
                    <a:lnTo>
                      <a:pt x="2838451" y="60325"/>
                    </a:lnTo>
                    <a:lnTo>
                      <a:pt x="2876551" y="41275"/>
                    </a:lnTo>
                    <a:lnTo>
                      <a:pt x="2921001" y="28575"/>
                    </a:lnTo>
                    <a:lnTo>
                      <a:pt x="2968626" y="19050"/>
                    </a:lnTo>
                    <a:lnTo>
                      <a:pt x="3019426" y="12700"/>
                    </a:lnTo>
                    <a:close/>
                    <a:moveTo>
                      <a:pt x="387350" y="0"/>
                    </a:moveTo>
                    <a:lnTo>
                      <a:pt x="454025" y="3175"/>
                    </a:lnTo>
                    <a:lnTo>
                      <a:pt x="596900" y="9525"/>
                    </a:lnTo>
                    <a:lnTo>
                      <a:pt x="742950" y="12700"/>
                    </a:lnTo>
                    <a:lnTo>
                      <a:pt x="1809750" y="12700"/>
                    </a:lnTo>
                    <a:lnTo>
                      <a:pt x="2016125" y="9525"/>
                    </a:lnTo>
                    <a:lnTo>
                      <a:pt x="2117725" y="9525"/>
                    </a:lnTo>
                    <a:lnTo>
                      <a:pt x="2165350" y="12700"/>
                    </a:lnTo>
                    <a:lnTo>
                      <a:pt x="2212975" y="15875"/>
                    </a:lnTo>
                    <a:lnTo>
                      <a:pt x="2257425" y="22225"/>
                    </a:lnTo>
                    <a:lnTo>
                      <a:pt x="2301875" y="28575"/>
                    </a:lnTo>
                    <a:lnTo>
                      <a:pt x="2339975" y="41275"/>
                    </a:lnTo>
                    <a:lnTo>
                      <a:pt x="2374900" y="53975"/>
                    </a:lnTo>
                    <a:lnTo>
                      <a:pt x="2406650" y="73025"/>
                    </a:lnTo>
                    <a:lnTo>
                      <a:pt x="2432050" y="95250"/>
                    </a:lnTo>
                    <a:lnTo>
                      <a:pt x="2454275" y="120650"/>
                    </a:lnTo>
                    <a:lnTo>
                      <a:pt x="2470150" y="152400"/>
                    </a:lnTo>
                    <a:lnTo>
                      <a:pt x="2479675" y="177800"/>
                    </a:lnTo>
                    <a:lnTo>
                      <a:pt x="2486025" y="203200"/>
                    </a:lnTo>
                    <a:lnTo>
                      <a:pt x="2495550" y="263525"/>
                    </a:lnTo>
                    <a:lnTo>
                      <a:pt x="2498725" y="323850"/>
                    </a:lnTo>
                    <a:lnTo>
                      <a:pt x="2495550" y="390525"/>
                    </a:lnTo>
                    <a:lnTo>
                      <a:pt x="2489200" y="517525"/>
                    </a:lnTo>
                    <a:lnTo>
                      <a:pt x="2486025" y="581025"/>
                    </a:lnTo>
                    <a:lnTo>
                      <a:pt x="2482850" y="635000"/>
                    </a:lnTo>
                    <a:lnTo>
                      <a:pt x="2482850" y="1130300"/>
                    </a:lnTo>
                    <a:lnTo>
                      <a:pt x="2413000" y="1136650"/>
                    </a:lnTo>
                    <a:lnTo>
                      <a:pt x="2343150" y="1139825"/>
                    </a:lnTo>
                    <a:lnTo>
                      <a:pt x="2270125" y="1139825"/>
                    </a:lnTo>
                    <a:lnTo>
                      <a:pt x="2197100" y="1136650"/>
                    </a:lnTo>
                    <a:lnTo>
                      <a:pt x="2051050" y="1130300"/>
                    </a:lnTo>
                    <a:lnTo>
                      <a:pt x="1908175" y="1123950"/>
                    </a:lnTo>
                    <a:lnTo>
                      <a:pt x="1771650" y="1120775"/>
                    </a:lnTo>
                    <a:lnTo>
                      <a:pt x="1704975" y="1120775"/>
                    </a:lnTo>
                    <a:lnTo>
                      <a:pt x="1641475" y="1123950"/>
                    </a:lnTo>
                    <a:lnTo>
                      <a:pt x="1577975" y="1130300"/>
                    </a:lnTo>
                    <a:lnTo>
                      <a:pt x="1520825" y="1136650"/>
                    </a:lnTo>
                    <a:lnTo>
                      <a:pt x="1466850" y="1152525"/>
                    </a:lnTo>
                    <a:lnTo>
                      <a:pt x="1416050" y="1168400"/>
                    </a:lnTo>
                    <a:lnTo>
                      <a:pt x="1390650" y="1181100"/>
                    </a:lnTo>
                    <a:lnTo>
                      <a:pt x="1368425" y="1193800"/>
                    </a:lnTo>
                    <a:lnTo>
                      <a:pt x="1320800" y="1225550"/>
                    </a:lnTo>
                    <a:lnTo>
                      <a:pt x="1273175" y="1263650"/>
                    </a:lnTo>
                    <a:lnTo>
                      <a:pt x="1231900" y="1308100"/>
                    </a:lnTo>
                    <a:lnTo>
                      <a:pt x="1193800" y="1358900"/>
                    </a:lnTo>
                    <a:lnTo>
                      <a:pt x="1162050" y="1412875"/>
                    </a:lnTo>
                    <a:lnTo>
                      <a:pt x="1149350" y="1438275"/>
                    </a:lnTo>
                    <a:lnTo>
                      <a:pt x="1139825" y="1466850"/>
                    </a:lnTo>
                    <a:lnTo>
                      <a:pt x="1130300" y="1495425"/>
                    </a:lnTo>
                    <a:lnTo>
                      <a:pt x="1123950" y="1524000"/>
                    </a:lnTo>
                    <a:lnTo>
                      <a:pt x="1117600" y="1587500"/>
                    </a:lnTo>
                    <a:lnTo>
                      <a:pt x="1111250" y="1657350"/>
                    </a:lnTo>
                    <a:lnTo>
                      <a:pt x="1111250" y="1727200"/>
                    </a:lnTo>
                    <a:lnTo>
                      <a:pt x="1114425" y="1800225"/>
                    </a:lnTo>
                    <a:lnTo>
                      <a:pt x="1120775" y="1952625"/>
                    </a:lnTo>
                    <a:lnTo>
                      <a:pt x="1123950" y="2032000"/>
                    </a:lnTo>
                    <a:lnTo>
                      <a:pt x="1123950" y="2108200"/>
                    </a:lnTo>
                    <a:lnTo>
                      <a:pt x="1123950" y="3848100"/>
                    </a:lnTo>
                    <a:lnTo>
                      <a:pt x="387350" y="3848100"/>
                    </a:lnTo>
                    <a:lnTo>
                      <a:pt x="381000" y="3873500"/>
                    </a:lnTo>
                    <a:lnTo>
                      <a:pt x="374650" y="3898900"/>
                    </a:lnTo>
                    <a:lnTo>
                      <a:pt x="374650" y="3930650"/>
                    </a:lnTo>
                    <a:lnTo>
                      <a:pt x="374650" y="3962400"/>
                    </a:lnTo>
                    <a:lnTo>
                      <a:pt x="374650" y="4029075"/>
                    </a:lnTo>
                    <a:lnTo>
                      <a:pt x="374650" y="4060825"/>
                    </a:lnTo>
                    <a:lnTo>
                      <a:pt x="374650" y="4089400"/>
                    </a:lnTo>
                    <a:lnTo>
                      <a:pt x="460375" y="4098925"/>
                    </a:lnTo>
                    <a:lnTo>
                      <a:pt x="552450" y="4102100"/>
                    </a:lnTo>
                    <a:lnTo>
                      <a:pt x="644525" y="4105275"/>
                    </a:lnTo>
                    <a:lnTo>
                      <a:pt x="742950" y="4105275"/>
                    </a:lnTo>
                    <a:lnTo>
                      <a:pt x="936625" y="4102100"/>
                    </a:lnTo>
                    <a:lnTo>
                      <a:pt x="1031875" y="4102100"/>
                    </a:lnTo>
                    <a:lnTo>
                      <a:pt x="1123950" y="4102100"/>
                    </a:lnTo>
                    <a:lnTo>
                      <a:pt x="1123950" y="4133850"/>
                    </a:lnTo>
                    <a:lnTo>
                      <a:pt x="1123950" y="4168775"/>
                    </a:lnTo>
                    <a:lnTo>
                      <a:pt x="1127125" y="4238625"/>
                    </a:lnTo>
                    <a:lnTo>
                      <a:pt x="1127125" y="4270375"/>
                    </a:lnTo>
                    <a:lnTo>
                      <a:pt x="1123950" y="4302125"/>
                    </a:lnTo>
                    <a:lnTo>
                      <a:pt x="1120775" y="4330700"/>
                    </a:lnTo>
                    <a:lnTo>
                      <a:pt x="1111250" y="4356100"/>
                    </a:lnTo>
                    <a:lnTo>
                      <a:pt x="387350" y="4356100"/>
                    </a:lnTo>
                    <a:lnTo>
                      <a:pt x="377825" y="4381500"/>
                    </a:lnTo>
                    <a:lnTo>
                      <a:pt x="374650" y="4406900"/>
                    </a:lnTo>
                    <a:lnTo>
                      <a:pt x="371475" y="4438650"/>
                    </a:lnTo>
                    <a:lnTo>
                      <a:pt x="374650" y="4470400"/>
                    </a:lnTo>
                    <a:lnTo>
                      <a:pt x="374650" y="4537075"/>
                    </a:lnTo>
                    <a:lnTo>
                      <a:pt x="377825" y="4568825"/>
                    </a:lnTo>
                    <a:lnTo>
                      <a:pt x="374650" y="4597400"/>
                    </a:lnTo>
                    <a:lnTo>
                      <a:pt x="1123950" y="4597400"/>
                    </a:lnTo>
                    <a:lnTo>
                      <a:pt x="1123950" y="5080000"/>
                    </a:lnTo>
                    <a:lnTo>
                      <a:pt x="990600" y="5089525"/>
                    </a:lnTo>
                    <a:lnTo>
                      <a:pt x="854075" y="5095875"/>
                    </a:lnTo>
                    <a:lnTo>
                      <a:pt x="714375" y="5095875"/>
                    </a:lnTo>
                    <a:lnTo>
                      <a:pt x="574675" y="5095875"/>
                    </a:lnTo>
                    <a:lnTo>
                      <a:pt x="288925" y="5092700"/>
                    </a:lnTo>
                    <a:lnTo>
                      <a:pt x="146050" y="5092700"/>
                    </a:lnTo>
                    <a:lnTo>
                      <a:pt x="6350" y="5092700"/>
                    </a:lnTo>
                    <a:lnTo>
                      <a:pt x="6350" y="762000"/>
                    </a:lnTo>
                    <a:lnTo>
                      <a:pt x="3175" y="631825"/>
                    </a:lnTo>
                    <a:lnTo>
                      <a:pt x="0" y="508000"/>
                    </a:lnTo>
                    <a:lnTo>
                      <a:pt x="0" y="387350"/>
                    </a:lnTo>
                    <a:lnTo>
                      <a:pt x="3175" y="330200"/>
                    </a:lnTo>
                    <a:lnTo>
                      <a:pt x="9525" y="279400"/>
                    </a:lnTo>
                    <a:lnTo>
                      <a:pt x="15875" y="228600"/>
                    </a:lnTo>
                    <a:lnTo>
                      <a:pt x="28575" y="180975"/>
                    </a:lnTo>
                    <a:lnTo>
                      <a:pt x="44450" y="139700"/>
                    </a:lnTo>
                    <a:lnTo>
                      <a:pt x="66675" y="104775"/>
                    </a:lnTo>
                    <a:lnTo>
                      <a:pt x="79375" y="85725"/>
                    </a:lnTo>
                    <a:lnTo>
                      <a:pt x="92075" y="73025"/>
                    </a:lnTo>
                    <a:lnTo>
                      <a:pt x="107950" y="57150"/>
                    </a:lnTo>
                    <a:lnTo>
                      <a:pt x="123825" y="47625"/>
                    </a:lnTo>
                    <a:lnTo>
                      <a:pt x="142875" y="34925"/>
                    </a:lnTo>
                    <a:lnTo>
                      <a:pt x="161925" y="25400"/>
                    </a:lnTo>
                    <a:lnTo>
                      <a:pt x="184150" y="19050"/>
                    </a:lnTo>
                    <a:lnTo>
                      <a:pt x="209550" y="12700"/>
                    </a:lnTo>
                    <a:lnTo>
                      <a:pt x="263525" y="6350"/>
                    </a:lnTo>
                    <a:lnTo>
                      <a:pt x="320675" y="3175"/>
                    </a:lnTo>
                    <a:close/>
                  </a:path>
                </a:pathLst>
              </a:custGeom>
              <a:solidFill>
                <a:schemeClr val="accent1"/>
              </a:solidFill>
              <a:ln>
                <a:noFill/>
              </a:ln>
            </p:spPr>
            <p:txBody>
              <a:bodyPr vert="horz" wrap="square" lIns="89642" tIns="44821" rIns="89642" bIns="44821" numCol="1" anchor="t" anchorCtr="0" compatLnSpc="1">
                <a:prstTxWarp prst="textNoShape">
                  <a:avLst/>
                </a:prstTxWarp>
                <a:noAutofit/>
              </a:bodyPr>
              <a:lstStyle/>
              <a:p>
                <a:pPr defTabSz="914367"/>
                <a:endParaRPr lang="en-IN" sz="1765">
                  <a:solidFill>
                    <a:srgbClr val="000000"/>
                  </a:solidFill>
                </a:endParaRPr>
              </a:p>
            </p:txBody>
          </p:sp>
          <p:sp>
            <p:nvSpPr>
              <p:cNvPr id="57" name="Freeform 56"/>
              <p:cNvSpPr>
                <a:spLocks/>
              </p:cNvSpPr>
              <p:nvPr/>
            </p:nvSpPr>
            <p:spPr bwMode="auto">
              <a:xfrm>
                <a:off x="10737239" y="3910048"/>
                <a:ext cx="553356" cy="683122"/>
              </a:xfrm>
              <a:custGeom>
                <a:avLst/>
                <a:gdLst>
                  <a:gd name="connsiteX0" fmla="*/ 1771650 w 5226051"/>
                  <a:gd name="connsiteY0" fmla="*/ 5702301 h 6451600"/>
                  <a:gd name="connsiteX1" fmla="*/ 1762125 w 5226051"/>
                  <a:gd name="connsiteY1" fmla="*/ 5711826 h 6451600"/>
                  <a:gd name="connsiteX2" fmla="*/ 1755775 w 5226051"/>
                  <a:gd name="connsiteY2" fmla="*/ 5721351 h 6451600"/>
                  <a:gd name="connsiteX3" fmla="*/ 1749425 w 5226051"/>
                  <a:gd name="connsiteY3" fmla="*/ 5734051 h 6451600"/>
                  <a:gd name="connsiteX4" fmla="*/ 1746250 w 5226051"/>
                  <a:gd name="connsiteY4" fmla="*/ 5749926 h 6451600"/>
                  <a:gd name="connsiteX5" fmla="*/ 1743075 w 5226051"/>
                  <a:gd name="connsiteY5" fmla="*/ 5784851 h 6451600"/>
                  <a:gd name="connsiteX6" fmla="*/ 1746250 w 5226051"/>
                  <a:gd name="connsiteY6" fmla="*/ 5822951 h 6451600"/>
                  <a:gd name="connsiteX7" fmla="*/ 1749425 w 5226051"/>
                  <a:gd name="connsiteY7" fmla="*/ 5861051 h 6451600"/>
                  <a:gd name="connsiteX8" fmla="*/ 1749425 w 5226051"/>
                  <a:gd name="connsiteY8" fmla="*/ 5899151 h 6451600"/>
                  <a:gd name="connsiteX9" fmla="*/ 1746250 w 5226051"/>
                  <a:gd name="connsiteY9" fmla="*/ 5930901 h 6451600"/>
                  <a:gd name="connsiteX10" fmla="*/ 1739900 w 5226051"/>
                  <a:gd name="connsiteY10" fmla="*/ 5946776 h 6451600"/>
                  <a:gd name="connsiteX11" fmla="*/ 1733550 w 5226051"/>
                  <a:gd name="connsiteY11" fmla="*/ 5956301 h 6451600"/>
                  <a:gd name="connsiteX12" fmla="*/ 3486150 w 5226051"/>
                  <a:gd name="connsiteY12" fmla="*/ 5956301 h 6451600"/>
                  <a:gd name="connsiteX13" fmla="*/ 3486150 w 5226051"/>
                  <a:gd name="connsiteY13" fmla="*/ 5715001 h 6451600"/>
                  <a:gd name="connsiteX14" fmla="*/ 3279775 w 5226051"/>
                  <a:gd name="connsiteY14" fmla="*/ 5708651 h 6451600"/>
                  <a:gd name="connsiteX15" fmla="*/ 3067050 w 5226051"/>
                  <a:gd name="connsiteY15" fmla="*/ 5702301 h 6451600"/>
                  <a:gd name="connsiteX16" fmla="*/ 2854325 w 5226051"/>
                  <a:gd name="connsiteY16" fmla="*/ 5702301 h 6451600"/>
                  <a:gd name="connsiteX17" fmla="*/ 2638425 w 5226051"/>
                  <a:gd name="connsiteY17" fmla="*/ 5702301 h 6451600"/>
                  <a:gd name="connsiteX18" fmla="*/ 2203450 w 5226051"/>
                  <a:gd name="connsiteY18" fmla="*/ 5705476 h 6451600"/>
                  <a:gd name="connsiteX19" fmla="*/ 1987550 w 5226051"/>
                  <a:gd name="connsiteY19" fmla="*/ 5705476 h 6451600"/>
                  <a:gd name="connsiteX20" fmla="*/ 1746250 w 5226051"/>
                  <a:gd name="connsiteY20" fmla="*/ 5219701 h 6451600"/>
                  <a:gd name="connsiteX21" fmla="*/ 1746250 w 5226051"/>
                  <a:gd name="connsiteY21" fmla="*/ 5264151 h 6451600"/>
                  <a:gd name="connsiteX22" fmla="*/ 1746250 w 5226051"/>
                  <a:gd name="connsiteY22" fmla="*/ 5327651 h 6451600"/>
                  <a:gd name="connsiteX23" fmla="*/ 1746250 w 5226051"/>
                  <a:gd name="connsiteY23" fmla="*/ 5397501 h 6451600"/>
                  <a:gd name="connsiteX24" fmla="*/ 1746250 w 5226051"/>
                  <a:gd name="connsiteY24" fmla="*/ 5461001 h 6451600"/>
                  <a:gd name="connsiteX25" fmla="*/ 3473450 w 5226051"/>
                  <a:gd name="connsiteY25" fmla="*/ 5461001 h 6451600"/>
                  <a:gd name="connsiteX26" fmla="*/ 3482975 w 5226051"/>
                  <a:gd name="connsiteY26" fmla="*/ 5438776 h 6451600"/>
                  <a:gd name="connsiteX27" fmla="*/ 3486150 w 5226051"/>
                  <a:gd name="connsiteY27" fmla="*/ 5410201 h 6451600"/>
                  <a:gd name="connsiteX28" fmla="*/ 3489325 w 5226051"/>
                  <a:gd name="connsiteY28" fmla="*/ 5381626 h 6451600"/>
                  <a:gd name="connsiteX29" fmla="*/ 3489325 w 5226051"/>
                  <a:gd name="connsiteY29" fmla="*/ 5349876 h 6451600"/>
                  <a:gd name="connsiteX30" fmla="*/ 3486150 w 5226051"/>
                  <a:gd name="connsiteY30" fmla="*/ 5283201 h 6451600"/>
                  <a:gd name="connsiteX31" fmla="*/ 3486150 w 5226051"/>
                  <a:gd name="connsiteY31" fmla="*/ 5251451 h 6451600"/>
                  <a:gd name="connsiteX32" fmla="*/ 3486150 w 5226051"/>
                  <a:gd name="connsiteY32" fmla="*/ 5219701 h 6451600"/>
                  <a:gd name="connsiteX33" fmla="*/ 1758950 w 5226051"/>
                  <a:gd name="connsiteY33" fmla="*/ 2120901 h 6451600"/>
                  <a:gd name="connsiteX34" fmla="*/ 1749425 w 5226051"/>
                  <a:gd name="connsiteY34" fmla="*/ 2143126 h 6451600"/>
                  <a:gd name="connsiteX35" fmla="*/ 1746250 w 5226051"/>
                  <a:gd name="connsiteY35" fmla="*/ 2171701 h 6451600"/>
                  <a:gd name="connsiteX36" fmla="*/ 1746250 w 5226051"/>
                  <a:gd name="connsiteY36" fmla="*/ 2203451 h 6451600"/>
                  <a:gd name="connsiteX37" fmla="*/ 1746250 w 5226051"/>
                  <a:gd name="connsiteY37" fmla="*/ 2235201 h 6451600"/>
                  <a:gd name="connsiteX38" fmla="*/ 1749425 w 5226051"/>
                  <a:gd name="connsiteY38" fmla="*/ 2301876 h 6451600"/>
                  <a:gd name="connsiteX39" fmla="*/ 1749425 w 5226051"/>
                  <a:gd name="connsiteY39" fmla="*/ 2333626 h 6451600"/>
                  <a:gd name="connsiteX40" fmla="*/ 1746250 w 5226051"/>
                  <a:gd name="connsiteY40" fmla="*/ 2362201 h 6451600"/>
                  <a:gd name="connsiteX41" fmla="*/ 3486150 w 5226051"/>
                  <a:gd name="connsiteY41" fmla="*/ 2362201 h 6451600"/>
                  <a:gd name="connsiteX42" fmla="*/ 3486150 w 5226051"/>
                  <a:gd name="connsiteY42" fmla="*/ 2120901 h 6451600"/>
                  <a:gd name="connsiteX43" fmla="*/ 3321050 w 5226051"/>
                  <a:gd name="connsiteY43" fmla="*/ 1352550 h 6451600"/>
                  <a:gd name="connsiteX44" fmla="*/ 3397250 w 5226051"/>
                  <a:gd name="connsiteY44" fmla="*/ 1355725 h 6451600"/>
                  <a:gd name="connsiteX45" fmla="*/ 3473450 w 5226051"/>
                  <a:gd name="connsiteY45" fmla="*/ 1358900 h 6451600"/>
                  <a:gd name="connsiteX46" fmla="*/ 3543300 w 5226051"/>
                  <a:gd name="connsiteY46" fmla="*/ 1365250 h 6451600"/>
                  <a:gd name="connsiteX47" fmla="*/ 3606800 w 5226051"/>
                  <a:gd name="connsiteY47" fmla="*/ 1371600 h 6451600"/>
                  <a:gd name="connsiteX48" fmla="*/ 3667125 w 5226051"/>
                  <a:gd name="connsiteY48" fmla="*/ 1384300 h 6451600"/>
                  <a:gd name="connsiteX49" fmla="*/ 3717925 w 5226051"/>
                  <a:gd name="connsiteY49" fmla="*/ 1403350 h 6451600"/>
                  <a:gd name="connsiteX50" fmla="*/ 3740150 w 5226051"/>
                  <a:gd name="connsiteY50" fmla="*/ 1412875 h 6451600"/>
                  <a:gd name="connsiteX51" fmla="*/ 3759200 w 5226051"/>
                  <a:gd name="connsiteY51" fmla="*/ 1422400 h 6451600"/>
                  <a:gd name="connsiteX52" fmla="*/ 3778250 w 5226051"/>
                  <a:gd name="connsiteY52" fmla="*/ 1435100 h 6451600"/>
                  <a:gd name="connsiteX53" fmla="*/ 3790950 w 5226051"/>
                  <a:gd name="connsiteY53" fmla="*/ 1447800 h 6451600"/>
                  <a:gd name="connsiteX54" fmla="*/ 3806825 w 5226051"/>
                  <a:gd name="connsiteY54" fmla="*/ 1466850 h 6451600"/>
                  <a:gd name="connsiteX55" fmla="*/ 3816350 w 5226051"/>
                  <a:gd name="connsiteY55" fmla="*/ 1485900 h 6451600"/>
                  <a:gd name="connsiteX56" fmla="*/ 3829050 w 5226051"/>
                  <a:gd name="connsiteY56" fmla="*/ 1511300 h 6451600"/>
                  <a:gd name="connsiteX57" fmla="*/ 3835400 w 5226051"/>
                  <a:gd name="connsiteY57" fmla="*/ 1539875 h 6451600"/>
                  <a:gd name="connsiteX58" fmla="*/ 3841750 w 5226051"/>
                  <a:gd name="connsiteY58" fmla="*/ 1571625 h 6451600"/>
                  <a:gd name="connsiteX59" fmla="*/ 3848100 w 5226051"/>
                  <a:gd name="connsiteY59" fmla="*/ 1606550 h 6451600"/>
                  <a:gd name="connsiteX60" fmla="*/ 3854450 w 5226051"/>
                  <a:gd name="connsiteY60" fmla="*/ 1682750 h 6451600"/>
                  <a:gd name="connsiteX61" fmla="*/ 3857625 w 5226051"/>
                  <a:gd name="connsiteY61" fmla="*/ 1762125 h 6451600"/>
                  <a:gd name="connsiteX62" fmla="*/ 3857625 w 5226051"/>
                  <a:gd name="connsiteY62" fmla="*/ 1847850 h 6451600"/>
                  <a:gd name="connsiteX63" fmla="*/ 3854450 w 5226051"/>
                  <a:gd name="connsiteY63" fmla="*/ 2019300 h 6451600"/>
                  <a:gd name="connsiteX64" fmla="*/ 3854450 w 5226051"/>
                  <a:gd name="connsiteY64" fmla="*/ 6451600 h 6451600"/>
                  <a:gd name="connsiteX65" fmla="*/ 1365250 w 5226051"/>
                  <a:gd name="connsiteY65" fmla="*/ 6451600 h 6451600"/>
                  <a:gd name="connsiteX66" fmla="*/ 1365250 w 5226051"/>
                  <a:gd name="connsiteY66" fmla="*/ 2133600 h 6451600"/>
                  <a:gd name="connsiteX67" fmla="*/ 1362075 w 5226051"/>
                  <a:gd name="connsiteY67" fmla="*/ 1997075 h 6451600"/>
                  <a:gd name="connsiteX68" fmla="*/ 1358900 w 5226051"/>
                  <a:gd name="connsiteY68" fmla="*/ 1866900 h 6451600"/>
                  <a:gd name="connsiteX69" fmla="*/ 1358900 w 5226051"/>
                  <a:gd name="connsiteY69" fmla="*/ 1746250 h 6451600"/>
                  <a:gd name="connsiteX70" fmla="*/ 1362075 w 5226051"/>
                  <a:gd name="connsiteY70" fmla="*/ 1689100 h 6451600"/>
                  <a:gd name="connsiteX71" fmla="*/ 1368425 w 5226051"/>
                  <a:gd name="connsiteY71" fmla="*/ 1635125 h 6451600"/>
                  <a:gd name="connsiteX72" fmla="*/ 1377950 w 5226051"/>
                  <a:gd name="connsiteY72" fmla="*/ 1584325 h 6451600"/>
                  <a:gd name="connsiteX73" fmla="*/ 1390650 w 5226051"/>
                  <a:gd name="connsiteY73" fmla="*/ 1536700 h 6451600"/>
                  <a:gd name="connsiteX74" fmla="*/ 1409700 w 5226051"/>
                  <a:gd name="connsiteY74" fmla="*/ 1495425 h 6451600"/>
                  <a:gd name="connsiteX75" fmla="*/ 1419225 w 5226051"/>
                  <a:gd name="connsiteY75" fmla="*/ 1479550 h 6451600"/>
                  <a:gd name="connsiteX76" fmla="*/ 1431925 w 5226051"/>
                  <a:gd name="connsiteY76" fmla="*/ 1460500 h 6451600"/>
                  <a:gd name="connsiteX77" fmla="*/ 1447800 w 5226051"/>
                  <a:gd name="connsiteY77" fmla="*/ 1444625 h 6451600"/>
                  <a:gd name="connsiteX78" fmla="*/ 1463675 w 5226051"/>
                  <a:gd name="connsiteY78" fmla="*/ 1428750 h 6451600"/>
                  <a:gd name="connsiteX79" fmla="*/ 1479550 w 5226051"/>
                  <a:gd name="connsiteY79" fmla="*/ 1416050 h 6451600"/>
                  <a:gd name="connsiteX80" fmla="*/ 1498600 w 5226051"/>
                  <a:gd name="connsiteY80" fmla="*/ 1403350 h 6451600"/>
                  <a:gd name="connsiteX81" fmla="*/ 1520825 w 5226051"/>
                  <a:gd name="connsiteY81" fmla="*/ 1393825 h 6451600"/>
                  <a:gd name="connsiteX82" fmla="*/ 1543050 w 5226051"/>
                  <a:gd name="connsiteY82" fmla="*/ 1384300 h 6451600"/>
                  <a:gd name="connsiteX83" fmla="*/ 1568450 w 5226051"/>
                  <a:gd name="connsiteY83" fmla="*/ 1377950 h 6451600"/>
                  <a:gd name="connsiteX84" fmla="*/ 1593850 w 5226051"/>
                  <a:gd name="connsiteY84" fmla="*/ 1371600 h 6451600"/>
                  <a:gd name="connsiteX85" fmla="*/ 1660525 w 5226051"/>
                  <a:gd name="connsiteY85" fmla="*/ 1362075 h 6451600"/>
                  <a:gd name="connsiteX86" fmla="*/ 1730375 w 5226051"/>
                  <a:gd name="connsiteY86" fmla="*/ 1358900 h 6451600"/>
                  <a:gd name="connsiteX87" fmla="*/ 1800225 w 5226051"/>
                  <a:gd name="connsiteY87" fmla="*/ 1358900 h 6451600"/>
                  <a:gd name="connsiteX88" fmla="*/ 1873250 w 5226051"/>
                  <a:gd name="connsiteY88" fmla="*/ 1362075 h 6451600"/>
                  <a:gd name="connsiteX89" fmla="*/ 2022475 w 5226051"/>
                  <a:gd name="connsiteY89" fmla="*/ 1368425 h 6451600"/>
                  <a:gd name="connsiteX90" fmla="*/ 2095500 w 5226051"/>
                  <a:gd name="connsiteY90" fmla="*/ 1371600 h 6451600"/>
                  <a:gd name="connsiteX91" fmla="*/ 2165350 w 5226051"/>
                  <a:gd name="connsiteY91" fmla="*/ 1371600 h 6451600"/>
                  <a:gd name="connsiteX92" fmla="*/ 2736850 w 5226051"/>
                  <a:gd name="connsiteY92" fmla="*/ 1371600 h 6451600"/>
                  <a:gd name="connsiteX93" fmla="*/ 2860675 w 5226051"/>
                  <a:gd name="connsiteY93" fmla="*/ 1368425 h 6451600"/>
                  <a:gd name="connsiteX94" fmla="*/ 3006725 w 5226051"/>
                  <a:gd name="connsiteY94" fmla="*/ 1362075 h 6451600"/>
                  <a:gd name="connsiteX95" fmla="*/ 3162300 w 5226051"/>
                  <a:gd name="connsiteY95" fmla="*/ 1355725 h 6451600"/>
                  <a:gd name="connsiteX96" fmla="*/ 3117851 w 5226051"/>
                  <a:gd name="connsiteY96" fmla="*/ 762001 h 6451600"/>
                  <a:gd name="connsiteX97" fmla="*/ 3111501 w 5226051"/>
                  <a:gd name="connsiteY97" fmla="*/ 784226 h 6451600"/>
                  <a:gd name="connsiteX98" fmla="*/ 3105151 w 5226051"/>
                  <a:gd name="connsiteY98" fmla="*/ 812801 h 6451600"/>
                  <a:gd name="connsiteX99" fmla="*/ 3105151 w 5226051"/>
                  <a:gd name="connsiteY99" fmla="*/ 841376 h 6451600"/>
                  <a:gd name="connsiteX100" fmla="*/ 3105151 w 5226051"/>
                  <a:gd name="connsiteY100" fmla="*/ 876301 h 6451600"/>
                  <a:gd name="connsiteX101" fmla="*/ 3108326 w 5226051"/>
                  <a:gd name="connsiteY101" fmla="*/ 939801 h 6451600"/>
                  <a:gd name="connsiteX102" fmla="*/ 3108326 w 5226051"/>
                  <a:gd name="connsiteY102" fmla="*/ 974726 h 6451600"/>
                  <a:gd name="connsiteX103" fmla="*/ 3105151 w 5226051"/>
                  <a:gd name="connsiteY103" fmla="*/ 1003301 h 6451600"/>
                  <a:gd name="connsiteX104" fmla="*/ 4845051 w 5226051"/>
                  <a:gd name="connsiteY104" fmla="*/ 1003301 h 6451600"/>
                  <a:gd name="connsiteX105" fmla="*/ 4845051 w 5226051"/>
                  <a:gd name="connsiteY105" fmla="*/ 762001 h 6451600"/>
                  <a:gd name="connsiteX106" fmla="*/ 387350 w 5226051"/>
                  <a:gd name="connsiteY106" fmla="*/ 762001 h 6451600"/>
                  <a:gd name="connsiteX107" fmla="*/ 381000 w 5226051"/>
                  <a:gd name="connsiteY107" fmla="*/ 784226 h 6451600"/>
                  <a:gd name="connsiteX108" fmla="*/ 374650 w 5226051"/>
                  <a:gd name="connsiteY108" fmla="*/ 815976 h 6451600"/>
                  <a:gd name="connsiteX109" fmla="*/ 371475 w 5226051"/>
                  <a:gd name="connsiteY109" fmla="*/ 847726 h 6451600"/>
                  <a:gd name="connsiteX110" fmla="*/ 371475 w 5226051"/>
                  <a:gd name="connsiteY110" fmla="*/ 882651 h 6451600"/>
                  <a:gd name="connsiteX111" fmla="*/ 374650 w 5226051"/>
                  <a:gd name="connsiteY111" fmla="*/ 917576 h 6451600"/>
                  <a:gd name="connsiteX112" fmla="*/ 377825 w 5226051"/>
                  <a:gd name="connsiteY112" fmla="*/ 949326 h 6451600"/>
                  <a:gd name="connsiteX113" fmla="*/ 381000 w 5226051"/>
                  <a:gd name="connsiteY113" fmla="*/ 981076 h 6451600"/>
                  <a:gd name="connsiteX114" fmla="*/ 387350 w 5226051"/>
                  <a:gd name="connsiteY114" fmla="*/ 1003301 h 6451600"/>
                  <a:gd name="connsiteX115" fmla="*/ 2114550 w 5226051"/>
                  <a:gd name="connsiteY115" fmla="*/ 1003301 h 6451600"/>
                  <a:gd name="connsiteX116" fmla="*/ 2114550 w 5226051"/>
                  <a:gd name="connsiteY116" fmla="*/ 762001 h 6451600"/>
                  <a:gd name="connsiteX117" fmla="*/ 3073401 w 5226051"/>
                  <a:gd name="connsiteY117" fmla="*/ 6350 h 6451600"/>
                  <a:gd name="connsiteX118" fmla="*/ 3127376 w 5226051"/>
                  <a:gd name="connsiteY118" fmla="*/ 6350 h 6451600"/>
                  <a:gd name="connsiteX119" fmla="*/ 3248026 w 5226051"/>
                  <a:gd name="connsiteY119" fmla="*/ 6350 h 6451600"/>
                  <a:gd name="connsiteX120" fmla="*/ 3368676 w 5226051"/>
                  <a:gd name="connsiteY120" fmla="*/ 9525 h 6451600"/>
                  <a:gd name="connsiteX121" fmla="*/ 3486151 w 5226051"/>
                  <a:gd name="connsiteY121" fmla="*/ 12700 h 6451600"/>
                  <a:gd name="connsiteX122" fmla="*/ 4578351 w 5226051"/>
                  <a:gd name="connsiteY122" fmla="*/ 12700 h 6451600"/>
                  <a:gd name="connsiteX123" fmla="*/ 4679951 w 5226051"/>
                  <a:gd name="connsiteY123" fmla="*/ 12700 h 6451600"/>
                  <a:gd name="connsiteX124" fmla="*/ 4778376 w 5226051"/>
                  <a:gd name="connsiteY124" fmla="*/ 9525 h 6451600"/>
                  <a:gd name="connsiteX125" fmla="*/ 4873626 w 5226051"/>
                  <a:gd name="connsiteY125" fmla="*/ 9525 h 6451600"/>
                  <a:gd name="connsiteX126" fmla="*/ 4921251 w 5226051"/>
                  <a:gd name="connsiteY126" fmla="*/ 12700 h 6451600"/>
                  <a:gd name="connsiteX127" fmla="*/ 4965701 w 5226051"/>
                  <a:gd name="connsiteY127" fmla="*/ 15875 h 6451600"/>
                  <a:gd name="connsiteX128" fmla="*/ 5006976 w 5226051"/>
                  <a:gd name="connsiteY128" fmla="*/ 22225 h 6451600"/>
                  <a:gd name="connsiteX129" fmla="*/ 5045076 w 5226051"/>
                  <a:gd name="connsiteY129" fmla="*/ 31750 h 6451600"/>
                  <a:gd name="connsiteX130" fmla="*/ 5080001 w 5226051"/>
                  <a:gd name="connsiteY130" fmla="*/ 41275 h 6451600"/>
                  <a:gd name="connsiteX131" fmla="*/ 5111751 w 5226051"/>
                  <a:gd name="connsiteY131" fmla="*/ 57150 h 6451600"/>
                  <a:gd name="connsiteX132" fmla="*/ 5140326 w 5226051"/>
                  <a:gd name="connsiteY132" fmla="*/ 79375 h 6451600"/>
                  <a:gd name="connsiteX133" fmla="*/ 5165726 w 5226051"/>
                  <a:gd name="connsiteY133" fmla="*/ 101600 h 6451600"/>
                  <a:gd name="connsiteX134" fmla="*/ 5187951 w 5226051"/>
                  <a:gd name="connsiteY134" fmla="*/ 130175 h 6451600"/>
                  <a:gd name="connsiteX135" fmla="*/ 5200651 w 5226051"/>
                  <a:gd name="connsiteY135" fmla="*/ 165100 h 6451600"/>
                  <a:gd name="connsiteX136" fmla="*/ 5210176 w 5226051"/>
                  <a:gd name="connsiteY136" fmla="*/ 190500 h 6451600"/>
                  <a:gd name="connsiteX137" fmla="*/ 5216526 w 5226051"/>
                  <a:gd name="connsiteY137" fmla="*/ 219075 h 6451600"/>
                  <a:gd name="connsiteX138" fmla="*/ 5222876 w 5226051"/>
                  <a:gd name="connsiteY138" fmla="*/ 285750 h 6451600"/>
                  <a:gd name="connsiteX139" fmla="*/ 5226051 w 5226051"/>
                  <a:gd name="connsiteY139" fmla="*/ 361950 h 6451600"/>
                  <a:gd name="connsiteX140" fmla="*/ 5226051 w 5226051"/>
                  <a:gd name="connsiteY140" fmla="*/ 444500 h 6451600"/>
                  <a:gd name="connsiteX141" fmla="*/ 5219701 w 5226051"/>
                  <a:gd name="connsiteY141" fmla="*/ 612775 h 6451600"/>
                  <a:gd name="connsiteX142" fmla="*/ 5216526 w 5226051"/>
                  <a:gd name="connsiteY142" fmla="*/ 695325 h 6451600"/>
                  <a:gd name="connsiteX143" fmla="*/ 5213351 w 5226051"/>
                  <a:gd name="connsiteY143" fmla="*/ 774700 h 6451600"/>
                  <a:gd name="connsiteX144" fmla="*/ 5213351 w 5226051"/>
                  <a:gd name="connsiteY144" fmla="*/ 5092700 h 6451600"/>
                  <a:gd name="connsiteX145" fmla="*/ 5073651 w 5226051"/>
                  <a:gd name="connsiteY145" fmla="*/ 5092700 h 6451600"/>
                  <a:gd name="connsiteX146" fmla="*/ 4933951 w 5226051"/>
                  <a:gd name="connsiteY146" fmla="*/ 5092700 h 6451600"/>
                  <a:gd name="connsiteX147" fmla="*/ 4648201 w 5226051"/>
                  <a:gd name="connsiteY147" fmla="*/ 5095875 h 6451600"/>
                  <a:gd name="connsiteX148" fmla="*/ 4505326 w 5226051"/>
                  <a:gd name="connsiteY148" fmla="*/ 5095875 h 6451600"/>
                  <a:gd name="connsiteX149" fmla="*/ 4365626 w 5226051"/>
                  <a:gd name="connsiteY149" fmla="*/ 5095875 h 6451600"/>
                  <a:gd name="connsiteX150" fmla="*/ 4229101 w 5226051"/>
                  <a:gd name="connsiteY150" fmla="*/ 5089525 h 6451600"/>
                  <a:gd name="connsiteX151" fmla="*/ 4095751 w 5226051"/>
                  <a:gd name="connsiteY151" fmla="*/ 5080000 h 6451600"/>
                  <a:gd name="connsiteX152" fmla="*/ 4095751 w 5226051"/>
                  <a:gd name="connsiteY152" fmla="*/ 4597400 h 6451600"/>
                  <a:gd name="connsiteX153" fmla="*/ 4832351 w 5226051"/>
                  <a:gd name="connsiteY153" fmla="*/ 4597400 h 6451600"/>
                  <a:gd name="connsiteX154" fmla="*/ 4841876 w 5226051"/>
                  <a:gd name="connsiteY154" fmla="*/ 4575175 h 6451600"/>
                  <a:gd name="connsiteX155" fmla="*/ 4848226 w 5226051"/>
                  <a:gd name="connsiteY155" fmla="*/ 4546600 h 6451600"/>
                  <a:gd name="connsiteX156" fmla="*/ 4848226 w 5226051"/>
                  <a:gd name="connsiteY156" fmla="*/ 4518025 h 6451600"/>
                  <a:gd name="connsiteX157" fmla="*/ 4848226 w 5226051"/>
                  <a:gd name="connsiteY157" fmla="*/ 4486275 h 6451600"/>
                  <a:gd name="connsiteX158" fmla="*/ 4845051 w 5226051"/>
                  <a:gd name="connsiteY158" fmla="*/ 4419600 h 6451600"/>
                  <a:gd name="connsiteX159" fmla="*/ 4845051 w 5226051"/>
                  <a:gd name="connsiteY159" fmla="*/ 4387850 h 6451600"/>
                  <a:gd name="connsiteX160" fmla="*/ 4845051 w 5226051"/>
                  <a:gd name="connsiteY160" fmla="*/ 4356100 h 6451600"/>
                  <a:gd name="connsiteX161" fmla="*/ 4108451 w 5226051"/>
                  <a:gd name="connsiteY161" fmla="*/ 4356100 h 6451600"/>
                  <a:gd name="connsiteX162" fmla="*/ 4102101 w 5226051"/>
                  <a:gd name="connsiteY162" fmla="*/ 4330700 h 6451600"/>
                  <a:gd name="connsiteX163" fmla="*/ 4095751 w 5226051"/>
                  <a:gd name="connsiteY163" fmla="*/ 4302125 h 6451600"/>
                  <a:gd name="connsiteX164" fmla="*/ 4095751 w 5226051"/>
                  <a:gd name="connsiteY164" fmla="*/ 4270375 h 6451600"/>
                  <a:gd name="connsiteX165" fmla="*/ 4095751 w 5226051"/>
                  <a:gd name="connsiteY165" fmla="*/ 4238625 h 6451600"/>
                  <a:gd name="connsiteX166" fmla="*/ 4098926 w 5226051"/>
                  <a:gd name="connsiteY166" fmla="*/ 4168775 h 6451600"/>
                  <a:gd name="connsiteX167" fmla="*/ 4098926 w 5226051"/>
                  <a:gd name="connsiteY167" fmla="*/ 4133850 h 6451600"/>
                  <a:gd name="connsiteX168" fmla="*/ 4095751 w 5226051"/>
                  <a:gd name="connsiteY168" fmla="*/ 4102100 h 6451600"/>
                  <a:gd name="connsiteX169" fmla="*/ 4832351 w 5226051"/>
                  <a:gd name="connsiteY169" fmla="*/ 4102100 h 6451600"/>
                  <a:gd name="connsiteX170" fmla="*/ 4841876 w 5226051"/>
                  <a:gd name="connsiteY170" fmla="*/ 4079875 h 6451600"/>
                  <a:gd name="connsiteX171" fmla="*/ 4848226 w 5226051"/>
                  <a:gd name="connsiteY171" fmla="*/ 4051300 h 6451600"/>
                  <a:gd name="connsiteX172" fmla="*/ 4848226 w 5226051"/>
                  <a:gd name="connsiteY172" fmla="*/ 4022725 h 6451600"/>
                  <a:gd name="connsiteX173" fmla="*/ 4848226 w 5226051"/>
                  <a:gd name="connsiteY173" fmla="*/ 3990975 h 6451600"/>
                  <a:gd name="connsiteX174" fmla="*/ 4845051 w 5226051"/>
                  <a:gd name="connsiteY174" fmla="*/ 3924300 h 6451600"/>
                  <a:gd name="connsiteX175" fmla="*/ 4845051 w 5226051"/>
                  <a:gd name="connsiteY175" fmla="*/ 3892550 h 6451600"/>
                  <a:gd name="connsiteX176" fmla="*/ 4845051 w 5226051"/>
                  <a:gd name="connsiteY176" fmla="*/ 3860800 h 6451600"/>
                  <a:gd name="connsiteX177" fmla="*/ 4759326 w 5226051"/>
                  <a:gd name="connsiteY177" fmla="*/ 3854450 h 6451600"/>
                  <a:gd name="connsiteX178" fmla="*/ 4670426 w 5226051"/>
                  <a:gd name="connsiteY178" fmla="*/ 3848100 h 6451600"/>
                  <a:gd name="connsiteX179" fmla="*/ 4575176 w 5226051"/>
                  <a:gd name="connsiteY179" fmla="*/ 3848100 h 6451600"/>
                  <a:gd name="connsiteX180" fmla="*/ 4479926 w 5226051"/>
                  <a:gd name="connsiteY180" fmla="*/ 3848100 h 6451600"/>
                  <a:gd name="connsiteX181" fmla="*/ 4286251 w 5226051"/>
                  <a:gd name="connsiteY181" fmla="*/ 3851275 h 6451600"/>
                  <a:gd name="connsiteX182" fmla="*/ 4191001 w 5226051"/>
                  <a:gd name="connsiteY182" fmla="*/ 3851275 h 6451600"/>
                  <a:gd name="connsiteX183" fmla="*/ 4095751 w 5226051"/>
                  <a:gd name="connsiteY183" fmla="*/ 3848100 h 6451600"/>
                  <a:gd name="connsiteX184" fmla="*/ 4095751 w 5226051"/>
                  <a:gd name="connsiteY184" fmla="*/ 2095500 h 6451600"/>
                  <a:gd name="connsiteX185" fmla="*/ 4098926 w 5226051"/>
                  <a:gd name="connsiteY185" fmla="*/ 2012950 h 6451600"/>
                  <a:gd name="connsiteX186" fmla="*/ 4102101 w 5226051"/>
                  <a:gd name="connsiteY186" fmla="*/ 1924050 h 6451600"/>
                  <a:gd name="connsiteX187" fmla="*/ 4105276 w 5226051"/>
                  <a:gd name="connsiteY187" fmla="*/ 1746250 h 6451600"/>
                  <a:gd name="connsiteX188" fmla="*/ 4105276 w 5226051"/>
                  <a:gd name="connsiteY188" fmla="*/ 1660525 h 6451600"/>
                  <a:gd name="connsiteX189" fmla="*/ 4102101 w 5226051"/>
                  <a:gd name="connsiteY189" fmla="*/ 1581150 h 6451600"/>
                  <a:gd name="connsiteX190" fmla="*/ 4095751 w 5226051"/>
                  <a:gd name="connsiteY190" fmla="*/ 1546225 h 6451600"/>
                  <a:gd name="connsiteX191" fmla="*/ 4089401 w 5226051"/>
                  <a:gd name="connsiteY191" fmla="*/ 1511300 h 6451600"/>
                  <a:gd name="connsiteX192" fmla="*/ 4083051 w 5226051"/>
                  <a:gd name="connsiteY192" fmla="*/ 1476375 h 6451600"/>
                  <a:gd name="connsiteX193" fmla="*/ 4070351 w 5226051"/>
                  <a:gd name="connsiteY193" fmla="*/ 1447800 h 6451600"/>
                  <a:gd name="connsiteX194" fmla="*/ 4057651 w 5226051"/>
                  <a:gd name="connsiteY194" fmla="*/ 1419225 h 6451600"/>
                  <a:gd name="connsiteX195" fmla="*/ 4044951 w 5226051"/>
                  <a:gd name="connsiteY195" fmla="*/ 1390650 h 6451600"/>
                  <a:gd name="connsiteX196" fmla="*/ 4025901 w 5226051"/>
                  <a:gd name="connsiteY196" fmla="*/ 1362075 h 6451600"/>
                  <a:gd name="connsiteX197" fmla="*/ 4010026 w 5226051"/>
                  <a:gd name="connsiteY197" fmla="*/ 1333500 h 6451600"/>
                  <a:gd name="connsiteX198" fmla="*/ 3987801 w 5226051"/>
                  <a:gd name="connsiteY198" fmla="*/ 1308100 h 6451600"/>
                  <a:gd name="connsiteX199" fmla="*/ 3968751 w 5226051"/>
                  <a:gd name="connsiteY199" fmla="*/ 1285875 h 6451600"/>
                  <a:gd name="connsiteX200" fmla="*/ 3946526 w 5226051"/>
                  <a:gd name="connsiteY200" fmla="*/ 1260475 h 6451600"/>
                  <a:gd name="connsiteX201" fmla="*/ 3921126 w 5226051"/>
                  <a:gd name="connsiteY201" fmla="*/ 1238250 h 6451600"/>
                  <a:gd name="connsiteX202" fmla="*/ 3895726 w 5226051"/>
                  <a:gd name="connsiteY202" fmla="*/ 1219200 h 6451600"/>
                  <a:gd name="connsiteX203" fmla="*/ 3867151 w 5226051"/>
                  <a:gd name="connsiteY203" fmla="*/ 1200150 h 6451600"/>
                  <a:gd name="connsiteX204" fmla="*/ 3838576 w 5226051"/>
                  <a:gd name="connsiteY204" fmla="*/ 1184275 h 6451600"/>
                  <a:gd name="connsiteX205" fmla="*/ 3810001 w 5226051"/>
                  <a:gd name="connsiteY205" fmla="*/ 1168400 h 6451600"/>
                  <a:gd name="connsiteX206" fmla="*/ 3778251 w 5226051"/>
                  <a:gd name="connsiteY206" fmla="*/ 1155700 h 6451600"/>
                  <a:gd name="connsiteX207" fmla="*/ 3746501 w 5226051"/>
                  <a:gd name="connsiteY207" fmla="*/ 1146175 h 6451600"/>
                  <a:gd name="connsiteX208" fmla="*/ 3711576 w 5226051"/>
                  <a:gd name="connsiteY208" fmla="*/ 1136650 h 6451600"/>
                  <a:gd name="connsiteX209" fmla="*/ 3676651 w 5226051"/>
                  <a:gd name="connsiteY209" fmla="*/ 1130300 h 6451600"/>
                  <a:gd name="connsiteX210" fmla="*/ 3629026 w 5226051"/>
                  <a:gd name="connsiteY210" fmla="*/ 1123950 h 6451600"/>
                  <a:gd name="connsiteX211" fmla="*/ 3578226 w 5226051"/>
                  <a:gd name="connsiteY211" fmla="*/ 1120775 h 6451600"/>
                  <a:gd name="connsiteX212" fmla="*/ 3470276 w 5226051"/>
                  <a:gd name="connsiteY212" fmla="*/ 1117600 h 6451600"/>
                  <a:gd name="connsiteX213" fmla="*/ 3359151 w 5226051"/>
                  <a:gd name="connsiteY213" fmla="*/ 1120775 h 6451600"/>
                  <a:gd name="connsiteX214" fmla="*/ 3238501 w 5226051"/>
                  <a:gd name="connsiteY214" fmla="*/ 1127125 h 6451600"/>
                  <a:gd name="connsiteX215" fmla="*/ 3117851 w 5226051"/>
                  <a:gd name="connsiteY215" fmla="*/ 1133475 h 6451600"/>
                  <a:gd name="connsiteX216" fmla="*/ 2994026 w 5226051"/>
                  <a:gd name="connsiteY216" fmla="*/ 1136650 h 6451600"/>
                  <a:gd name="connsiteX217" fmla="*/ 2867026 w 5226051"/>
                  <a:gd name="connsiteY217" fmla="*/ 1136650 h 6451600"/>
                  <a:gd name="connsiteX218" fmla="*/ 2800351 w 5226051"/>
                  <a:gd name="connsiteY218" fmla="*/ 1133475 h 6451600"/>
                  <a:gd name="connsiteX219" fmla="*/ 2736851 w 5226051"/>
                  <a:gd name="connsiteY219" fmla="*/ 1130300 h 6451600"/>
                  <a:gd name="connsiteX220" fmla="*/ 2736851 w 5226051"/>
                  <a:gd name="connsiteY220" fmla="*/ 190500 h 6451600"/>
                  <a:gd name="connsiteX221" fmla="*/ 2743201 w 5226051"/>
                  <a:gd name="connsiteY221" fmla="*/ 168275 h 6451600"/>
                  <a:gd name="connsiteX222" fmla="*/ 2752726 w 5226051"/>
                  <a:gd name="connsiteY222" fmla="*/ 149225 h 6451600"/>
                  <a:gd name="connsiteX223" fmla="*/ 2762251 w 5226051"/>
                  <a:gd name="connsiteY223" fmla="*/ 130175 h 6451600"/>
                  <a:gd name="connsiteX224" fmla="*/ 2774951 w 5226051"/>
                  <a:gd name="connsiteY224" fmla="*/ 114300 h 6451600"/>
                  <a:gd name="connsiteX225" fmla="*/ 2787651 w 5226051"/>
                  <a:gd name="connsiteY225" fmla="*/ 98425 h 6451600"/>
                  <a:gd name="connsiteX226" fmla="*/ 2803526 w 5226051"/>
                  <a:gd name="connsiteY226" fmla="*/ 85725 h 6451600"/>
                  <a:gd name="connsiteX227" fmla="*/ 2838451 w 5226051"/>
                  <a:gd name="connsiteY227" fmla="*/ 60325 h 6451600"/>
                  <a:gd name="connsiteX228" fmla="*/ 2876551 w 5226051"/>
                  <a:gd name="connsiteY228" fmla="*/ 41275 h 6451600"/>
                  <a:gd name="connsiteX229" fmla="*/ 2921001 w 5226051"/>
                  <a:gd name="connsiteY229" fmla="*/ 28575 h 6451600"/>
                  <a:gd name="connsiteX230" fmla="*/ 2968626 w 5226051"/>
                  <a:gd name="connsiteY230" fmla="*/ 19050 h 6451600"/>
                  <a:gd name="connsiteX231" fmla="*/ 3019426 w 5226051"/>
                  <a:gd name="connsiteY231" fmla="*/ 12700 h 6451600"/>
                  <a:gd name="connsiteX232" fmla="*/ 387350 w 5226051"/>
                  <a:gd name="connsiteY232" fmla="*/ 0 h 6451600"/>
                  <a:gd name="connsiteX233" fmla="*/ 454025 w 5226051"/>
                  <a:gd name="connsiteY233" fmla="*/ 3175 h 6451600"/>
                  <a:gd name="connsiteX234" fmla="*/ 596900 w 5226051"/>
                  <a:gd name="connsiteY234" fmla="*/ 9525 h 6451600"/>
                  <a:gd name="connsiteX235" fmla="*/ 742950 w 5226051"/>
                  <a:gd name="connsiteY235" fmla="*/ 12700 h 6451600"/>
                  <a:gd name="connsiteX236" fmla="*/ 1809750 w 5226051"/>
                  <a:gd name="connsiteY236" fmla="*/ 12700 h 6451600"/>
                  <a:gd name="connsiteX237" fmla="*/ 2016125 w 5226051"/>
                  <a:gd name="connsiteY237" fmla="*/ 9525 h 6451600"/>
                  <a:gd name="connsiteX238" fmla="*/ 2117725 w 5226051"/>
                  <a:gd name="connsiteY238" fmla="*/ 9525 h 6451600"/>
                  <a:gd name="connsiteX239" fmla="*/ 2165350 w 5226051"/>
                  <a:gd name="connsiteY239" fmla="*/ 12700 h 6451600"/>
                  <a:gd name="connsiteX240" fmla="*/ 2212975 w 5226051"/>
                  <a:gd name="connsiteY240" fmla="*/ 15875 h 6451600"/>
                  <a:gd name="connsiteX241" fmla="*/ 2257425 w 5226051"/>
                  <a:gd name="connsiteY241" fmla="*/ 22225 h 6451600"/>
                  <a:gd name="connsiteX242" fmla="*/ 2301875 w 5226051"/>
                  <a:gd name="connsiteY242" fmla="*/ 28575 h 6451600"/>
                  <a:gd name="connsiteX243" fmla="*/ 2339975 w 5226051"/>
                  <a:gd name="connsiteY243" fmla="*/ 41275 h 6451600"/>
                  <a:gd name="connsiteX244" fmla="*/ 2374900 w 5226051"/>
                  <a:gd name="connsiteY244" fmla="*/ 53975 h 6451600"/>
                  <a:gd name="connsiteX245" fmla="*/ 2406650 w 5226051"/>
                  <a:gd name="connsiteY245" fmla="*/ 73025 h 6451600"/>
                  <a:gd name="connsiteX246" fmla="*/ 2432050 w 5226051"/>
                  <a:gd name="connsiteY246" fmla="*/ 95250 h 6451600"/>
                  <a:gd name="connsiteX247" fmla="*/ 2454275 w 5226051"/>
                  <a:gd name="connsiteY247" fmla="*/ 120650 h 6451600"/>
                  <a:gd name="connsiteX248" fmla="*/ 2470150 w 5226051"/>
                  <a:gd name="connsiteY248" fmla="*/ 152400 h 6451600"/>
                  <a:gd name="connsiteX249" fmla="*/ 2479675 w 5226051"/>
                  <a:gd name="connsiteY249" fmla="*/ 177800 h 6451600"/>
                  <a:gd name="connsiteX250" fmla="*/ 2486025 w 5226051"/>
                  <a:gd name="connsiteY250" fmla="*/ 203200 h 6451600"/>
                  <a:gd name="connsiteX251" fmla="*/ 2495550 w 5226051"/>
                  <a:gd name="connsiteY251" fmla="*/ 263525 h 6451600"/>
                  <a:gd name="connsiteX252" fmla="*/ 2498725 w 5226051"/>
                  <a:gd name="connsiteY252" fmla="*/ 323850 h 6451600"/>
                  <a:gd name="connsiteX253" fmla="*/ 2495550 w 5226051"/>
                  <a:gd name="connsiteY253" fmla="*/ 390525 h 6451600"/>
                  <a:gd name="connsiteX254" fmla="*/ 2489200 w 5226051"/>
                  <a:gd name="connsiteY254" fmla="*/ 517525 h 6451600"/>
                  <a:gd name="connsiteX255" fmla="*/ 2486025 w 5226051"/>
                  <a:gd name="connsiteY255" fmla="*/ 581025 h 6451600"/>
                  <a:gd name="connsiteX256" fmla="*/ 2482850 w 5226051"/>
                  <a:gd name="connsiteY256" fmla="*/ 635000 h 6451600"/>
                  <a:gd name="connsiteX257" fmla="*/ 2482850 w 5226051"/>
                  <a:gd name="connsiteY257" fmla="*/ 1130300 h 6451600"/>
                  <a:gd name="connsiteX258" fmla="*/ 2413000 w 5226051"/>
                  <a:gd name="connsiteY258" fmla="*/ 1136650 h 6451600"/>
                  <a:gd name="connsiteX259" fmla="*/ 2343150 w 5226051"/>
                  <a:gd name="connsiteY259" fmla="*/ 1139825 h 6451600"/>
                  <a:gd name="connsiteX260" fmla="*/ 2270125 w 5226051"/>
                  <a:gd name="connsiteY260" fmla="*/ 1139825 h 6451600"/>
                  <a:gd name="connsiteX261" fmla="*/ 2197100 w 5226051"/>
                  <a:gd name="connsiteY261" fmla="*/ 1136650 h 6451600"/>
                  <a:gd name="connsiteX262" fmla="*/ 2051050 w 5226051"/>
                  <a:gd name="connsiteY262" fmla="*/ 1130300 h 6451600"/>
                  <a:gd name="connsiteX263" fmla="*/ 1908175 w 5226051"/>
                  <a:gd name="connsiteY263" fmla="*/ 1123950 h 6451600"/>
                  <a:gd name="connsiteX264" fmla="*/ 1771650 w 5226051"/>
                  <a:gd name="connsiteY264" fmla="*/ 1120775 h 6451600"/>
                  <a:gd name="connsiteX265" fmla="*/ 1704975 w 5226051"/>
                  <a:gd name="connsiteY265" fmla="*/ 1120775 h 6451600"/>
                  <a:gd name="connsiteX266" fmla="*/ 1641475 w 5226051"/>
                  <a:gd name="connsiteY266" fmla="*/ 1123950 h 6451600"/>
                  <a:gd name="connsiteX267" fmla="*/ 1577975 w 5226051"/>
                  <a:gd name="connsiteY267" fmla="*/ 1130300 h 6451600"/>
                  <a:gd name="connsiteX268" fmla="*/ 1520825 w 5226051"/>
                  <a:gd name="connsiteY268" fmla="*/ 1136650 h 6451600"/>
                  <a:gd name="connsiteX269" fmla="*/ 1466850 w 5226051"/>
                  <a:gd name="connsiteY269" fmla="*/ 1152525 h 6451600"/>
                  <a:gd name="connsiteX270" fmla="*/ 1416050 w 5226051"/>
                  <a:gd name="connsiteY270" fmla="*/ 1168400 h 6451600"/>
                  <a:gd name="connsiteX271" fmla="*/ 1390650 w 5226051"/>
                  <a:gd name="connsiteY271" fmla="*/ 1181100 h 6451600"/>
                  <a:gd name="connsiteX272" fmla="*/ 1368425 w 5226051"/>
                  <a:gd name="connsiteY272" fmla="*/ 1193800 h 6451600"/>
                  <a:gd name="connsiteX273" fmla="*/ 1320800 w 5226051"/>
                  <a:gd name="connsiteY273" fmla="*/ 1225550 h 6451600"/>
                  <a:gd name="connsiteX274" fmla="*/ 1273175 w 5226051"/>
                  <a:gd name="connsiteY274" fmla="*/ 1263650 h 6451600"/>
                  <a:gd name="connsiteX275" fmla="*/ 1231900 w 5226051"/>
                  <a:gd name="connsiteY275" fmla="*/ 1308100 h 6451600"/>
                  <a:gd name="connsiteX276" fmla="*/ 1193800 w 5226051"/>
                  <a:gd name="connsiteY276" fmla="*/ 1358900 h 6451600"/>
                  <a:gd name="connsiteX277" fmla="*/ 1162050 w 5226051"/>
                  <a:gd name="connsiteY277" fmla="*/ 1412875 h 6451600"/>
                  <a:gd name="connsiteX278" fmla="*/ 1149350 w 5226051"/>
                  <a:gd name="connsiteY278" fmla="*/ 1438275 h 6451600"/>
                  <a:gd name="connsiteX279" fmla="*/ 1139825 w 5226051"/>
                  <a:gd name="connsiteY279" fmla="*/ 1466850 h 6451600"/>
                  <a:gd name="connsiteX280" fmla="*/ 1130300 w 5226051"/>
                  <a:gd name="connsiteY280" fmla="*/ 1495425 h 6451600"/>
                  <a:gd name="connsiteX281" fmla="*/ 1123950 w 5226051"/>
                  <a:gd name="connsiteY281" fmla="*/ 1524000 h 6451600"/>
                  <a:gd name="connsiteX282" fmla="*/ 1117600 w 5226051"/>
                  <a:gd name="connsiteY282" fmla="*/ 1587500 h 6451600"/>
                  <a:gd name="connsiteX283" fmla="*/ 1111250 w 5226051"/>
                  <a:gd name="connsiteY283" fmla="*/ 1657350 h 6451600"/>
                  <a:gd name="connsiteX284" fmla="*/ 1111250 w 5226051"/>
                  <a:gd name="connsiteY284" fmla="*/ 1727200 h 6451600"/>
                  <a:gd name="connsiteX285" fmla="*/ 1114425 w 5226051"/>
                  <a:gd name="connsiteY285" fmla="*/ 1800225 h 6451600"/>
                  <a:gd name="connsiteX286" fmla="*/ 1120775 w 5226051"/>
                  <a:gd name="connsiteY286" fmla="*/ 1952625 h 6451600"/>
                  <a:gd name="connsiteX287" fmla="*/ 1123950 w 5226051"/>
                  <a:gd name="connsiteY287" fmla="*/ 2032000 h 6451600"/>
                  <a:gd name="connsiteX288" fmla="*/ 1123950 w 5226051"/>
                  <a:gd name="connsiteY288" fmla="*/ 2108200 h 6451600"/>
                  <a:gd name="connsiteX289" fmla="*/ 1123950 w 5226051"/>
                  <a:gd name="connsiteY289" fmla="*/ 3848100 h 6451600"/>
                  <a:gd name="connsiteX290" fmla="*/ 387350 w 5226051"/>
                  <a:gd name="connsiteY290" fmla="*/ 3848100 h 6451600"/>
                  <a:gd name="connsiteX291" fmla="*/ 381000 w 5226051"/>
                  <a:gd name="connsiteY291" fmla="*/ 3873500 h 6451600"/>
                  <a:gd name="connsiteX292" fmla="*/ 374650 w 5226051"/>
                  <a:gd name="connsiteY292" fmla="*/ 3898900 h 6451600"/>
                  <a:gd name="connsiteX293" fmla="*/ 374650 w 5226051"/>
                  <a:gd name="connsiteY293" fmla="*/ 3930650 h 6451600"/>
                  <a:gd name="connsiteX294" fmla="*/ 374650 w 5226051"/>
                  <a:gd name="connsiteY294" fmla="*/ 3962400 h 6451600"/>
                  <a:gd name="connsiteX295" fmla="*/ 374650 w 5226051"/>
                  <a:gd name="connsiteY295" fmla="*/ 4029075 h 6451600"/>
                  <a:gd name="connsiteX296" fmla="*/ 374650 w 5226051"/>
                  <a:gd name="connsiteY296" fmla="*/ 4060825 h 6451600"/>
                  <a:gd name="connsiteX297" fmla="*/ 374650 w 5226051"/>
                  <a:gd name="connsiteY297" fmla="*/ 4089400 h 6451600"/>
                  <a:gd name="connsiteX298" fmla="*/ 460375 w 5226051"/>
                  <a:gd name="connsiteY298" fmla="*/ 4098925 h 6451600"/>
                  <a:gd name="connsiteX299" fmla="*/ 552450 w 5226051"/>
                  <a:gd name="connsiteY299" fmla="*/ 4102100 h 6451600"/>
                  <a:gd name="connsiteX300" fmla="*/ 644525 w 5226051"/>
                  <a:gd name="connsiteY300" fmla="*/ 4105275 h 6451600"/>
                  <a:gd name="connsiteX301" fmla="*/ 742950 w 5226051"/>
                  <a:gd name="connsiteY301" fmla="*/ 4105275 h 6451600"/>
                  <a:gd name="connsiteX302" fmla="*/ 936625 w 5226051"/>
                  <a:gd name="connsiteY302" fmla="*/ 4102100 h 6451600"/>
                  <a:gd name="connsiteX303" fmla="*/ 1031875 w 5226051"/>
                  <a:gd name="connsiteY303" fmla="*/ 4102100 h 6451600"/>
                  <a:gd name="connsiteX304" fmla="*/ 1123950 w 5226051"/>
                  <a:gd name="connsiteY304" fmla="*/ 4102100 h 6451600"/>
                  <a:gd name="connsiteX305" fmla="*/ 1123950 w 5226051"/>
                  <a:gd name="connsiteY305" fmla="*/ 4133850 h 6451600"/>
                  <a:gd name="connsiteX306" fmla="*/ 1123950 w 5226051"/>
                  <a:gd name="connsiteY306" fmla="*/ 4168775 h 6451600"/>
                  <a:gd name="connsiteX307" fmla="*/ 1127125 w 5226051"/>
                  <a:gd name="connsiteY307" fmla="*/ 4238625 h 6451600"/>
                  <a:gd name="connsiteX308" fmla="*/ 1127125 w 5226051"/>
                  <a:gd name="connsiteY308" fmla="*/ 4270375 h 6451600"/>
                  <a:gd name="connsiteX309" fmla="*/ 1123950 w 5226051"/>
                  <a:gd name="connsiteY309" fmla="*/ 4302125 h 6451600"/>
                  <a:gd name="connsiteX310" fmla="*/ 1120775 w 5226051"/>
                  <a:gd name="connsiteY310" fmla="*/ 4330700 h 6451600"/>
                  <a:gd name="connsiteX311" fmla="*/ 1111250 w 5226051"/>
                  <a:gd name="connsiteY311" fmla="*/ 4356100 h 6451600"/>
                  <a:gd name="connsiteX312" fmla="*/ 387350 w 5226051"/>
                  <a:gd name="connsiteY312" fmla="*/ 4356100 h 6451600"/>
                  <a:gd name="connsiteX313" fmla="*/ 377825 w 5226051"/>
                  <a:gd name="connsiteY313" fmla="*/ 4381500 h 6451600"/>
                  <a:gd name="connsiteX314" fmla="*/ 374650 w 5226051"/>
                  <a:gd name="connsiteY314" fmla="*/ 4406900 h 6451600"/>
                  <a:gd name="connsiteX315" fmla="*/ 371475 w 5226051"/>
                  <a:gd name="connsiteY315" fmla="*/ 4438650 h 6451600"/>
                  <a:gd name="connsiteX316" fmla="*/ 374650 w 5226051"/>
                  <a:gd name="connsiteY316" fmla="*/ 4470400 h 6451600"/>
                  <a:gd name="connsiteX317" fmla="*/ 374650 w 5226051"/>
                  <a:gd name="connsiteY317" fmla="*/ 4537075 h 6451600"/>
                  <a:gd name="connsiteX318" fmla="*/ 377825 w 5226051"/>
                  <a:gd name="connsiteY318" fmla="*/ 4568825 h 6451600"/>
                  <a:gd name="connsiteX319" fmla="*/ 374650 w 5226051"/>
                  <a:gd name="connsiteY319" fmla="*/ 4597400 h 6451600"/>
                  <a:gd name="connsiteX320" fmla="*/ 1123950 w 5226051"/>
                  <a:gd name="connsiteY320" fmla="*/ 4597400 h 6451600"/>
                  <a:gd name="connsiteX321" fmla="*/ 1123950 w 5226051"/>
                  <a:gd name="connsiteY321" fmla="*/ 5080000 h 6451600"/>
                  <a:gd name="connsiteX322" fmla="*/ 990600 w 5226051"/>
                  <a:gd name="connsiteY322" fmla="*/ 5089525 h 6451600"/>
                  <a:gd name="connsiteX323" fmla="*/ 854075 w 5226051"/>
                  <a:gd name="connsiteY323" fmla="*/ 5095875 h 6451600"/>
                  <a:gd name="connsiteX324" fmla="*/ 714375 w 5226051"/>
                  <a:gd name="connsiteY324" fmla="*/ 5095875 h 6451600"/>
                  <a:gd name="connsiteX325" fmla="*/ 574675 w 5226051"/>
                  <a:gd name="connsiteY325" fmla="*/ 5095875 h 6451600"/>
                  <a:gd name="connsiteX326" fmla="*/ 288925 w 5226051"/>
                  <a:gd name="connsiteY326" fmla="*/ 5092700 h 6451600"/>
                  <a:gd name="connsiteX327" fmla="*/ 146050 w 5226051"/>
                  <a:gd name="connsiteY327" fmla="*/ 5092700 h 6451600"/>
                  <a:gd name="connsiteX328" fmla="*/ 6350 w 5226051"/>
                  <a:gd name="connsiteY328" fmla="*/ 5092700 h 6451600"/>
                  <a:gd name="connsiteX329" fmla="*/ 6350 w 5226051"/>
                  <a:gd name="connsiteY329" fmla="*/ 762000 h 6451600"/>
                  <a:gd name="connsiteX330" fmla="*/ 3175 w 5226051"/>
                  <a:gd name="connsiteY330" fmla="*/ 631825 h 6451600"/>
                  <a:gd name="connsiteX331" fmla="*/ 0 w 5226051"/>
                  <a:gd name="connsiteY331" fmla="*/ 508000 h 6451600"/>
                  <a:gd name="connsiteX332" fmla="*/ 0 w 5226051"/>
                  <a:gd name="connsiteY332" fmla="*/ 387350 h 6451600"/>
                  <a:gd name="connsiteX333" fmla="*/ 3175 w 5226051"/>
                  <a:gd name="connsiteY333" fmla="*/ 330200 h 6451600"/>
                  <a:gd name="connsiteX334" fmla="*/ 9525 w 5226051"/>
                  <a:gd name="connsiteY334" fmla="*/ 279400 h 6451600"/>
                  <a:gd name="connsiteX335" fmla="*/ 15875 w 5226051"/>
                  <a:gd name="connsiteY335" fmla="*/ 228600 h 6451600"/>
                  <a:gd name="connsiteX336" fmla="*/ 28575 w 5226051"/>
                  <a:gd name="connsiteY336" fmla="*/ 180975 h 6451600"/>
                  <a:gd name="connsiteX337" fmla="*/ 44450 w 5226051"/>
                  <a:gd name="connsiteY337" fmla="*/ 139700 h 6451600"/>
                  <a:gd name="connsiteX338" fmla="*/ 66675 w 5226051"/>
                  <a:gd name="connsiteY338" fmla="*/ 104775 h 6451600"/>
                  <a:gd name="connsiteX339" fmla="*/ 79375 w 5226051"/>
                  <a:gd name="connsiteY339" fmla="*/ 85725 h 6451600"/>
                  <a:gd name="connsiteX340" fmla="*/ 92075 w 5226051"/>
                  <a:gd name="connsiteY340" fmla="*/ 73025 h 6451600"/>
                  <a:gd name="connsiteX341" fmla="*/ 107950 w 5226051"/>
                  <a:gd name="connsiteY341" fmla="*/ 57150 h 6451600"/>
                  <a:gd name="connsiteX342" fmla="*/ 123825 w 5226051"/>
                  <a:gd name="connsiteY342" fmla="*/ 47625 h 6451600"/>
                  <a:gd name="connsiteX343" fmla="*/ 142875 w 5226051"/>
                  <a:gd name="connsiteY343" fmla="*/ 34925 h 6451600"/>
                  <a:gd name="connsiteX344" fmla="*/ 161925 w 5226051"/>
                  <a:gd name="connsiteY344" fmla="*/ 25400 h 6451600"/>
                  <a:gd name="connsiteX345" fmla="*/ 184150 w 5226051"/>
                  <a:gd name="connsiteY345" fmla="*/ 19050 h 6451600"/>
                  <a:gd name="connsiteX346" fmla="*/ 209550 w 5226051"/>
                  <a:gd name="connsiteY346" fmla="*/ 12700 h 6451600"/>
                  <a:gd name="connsiteX347" fmla="*/ 263525 w 5226051"/>
                  <a:gd name="connsiteY347" fmla="*/ 6350 h 6451600"/>
                  <a:gd name="connsiteX348" fmla="*/ 320675 w 5226051"/>
                  <a:gd name="connsiteY348" fmla="*/ 3175 h 645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Lst>
                <a:rect l="l" t="t" r="r" b="b"/>
                <a:pathLst>
                  <a:path w="5226051" h="6451600">
                    <a:moveTo>
                      <a:pt x="1771650" y="5702301"/>
                    </a:moveTo>
                    <a:lnTo>
                      <a:pt x="1762125" y="5711826"/>
                    </a:lnTo>
                    <a:lnTo>
                      <a:pt x="1755775" y="5721351"/>
                    </a:lnTo>
                    <a:lnTo>
                      <a:pt x="1749425" y="5734051"/>
                    </a:lnTo>
                    <a:lnTo>
                      <a:pt x="1746250" y="5749926"/>
                    </a:lnTo>
                    <a:lnTo>
                      <a:pt x="1743075" y="5784851"/>
                    </a:lnTo>
                    <a:lnTo>
                      <a:pt x="1746250" y="5822951"/>
                    </a:lnTo>
                    <a:lnTo>
                      <a:pt x="1749425" y="5861051"/>
                    </a:lnTo>
                    <a:lnTo>
                      <a:pt x="1749425" y="5899151"/>
                    </a:lnTo>
                    <a:lnTo>
                      <a:pt x="1746250" y="5930901"/>
                    </a:lnTo>
                    <a:lnTo>
                      <a:pt x="1739900" y="5946776"/>
                    </a:lnTo>
                    <a:lnTo>
                      <a:pt x="1733550" y="5956301"/>
                    </a:lnTo>
                    <a:lnTo>
                      <a:pt x="3486150" y="5956301"/>
                    </a:lnTo>
                    <a:lnTo>
                      <a:pt x="3486150" y="5715001"/>
                    </a:lnTo>
                    <a:lnTo>
                      <a:pt x="3279775" y="5708651"/>
                    </a:lnTo>
                    <a:lnTo>
                      <a:pt x="3067050" y="5702301"/>
                    </a:lnTo>
                    <a:lnTo>
                      <a:pt x="2854325" y="5702301"/>
                    </a:lnTo>
                    <a:lnTo>
                      <a:pt x="2638425" y="5702301"/>
                    </a:lnTo>
                    <a:lnTo>
                      <a:pt x="2203450" y="5705476"/>
                    </a:lnTo>
                    <a:lnTo>
                      <a:pt x="1987550" y="5705476"/>
                    </a:lnTo>
                    <a:close/>
                    <a:moveTo>
                      <a:pt x="1746250" y="5219701"/>
                    </a:moveTo>
                    <a:lnTo>
                      <a:pt x="1746250" y="5264151"/>
                    </a:lnTo>
                    <a:lnTo>
                      <a:pt x="1746250" y="5327651"/>
                    </a:lnTo>
                    <a:lnTo>
                      <a:pt x="1746250" y="5397501"/>
                    </a:lnTo>
                    <a:lnTo>
                      <a:pt x="1746250" y="5461001"/>
                    </a:lnTo>
                    <a:lnTo>
                      <a:pt x="3473450" y="5461001"/>
                    </a:lnTo>
                    <a:lnTo>
                      <a:pt x="3482975" y="5438776"/>
                    </a:lnTo>
                    <a:lnTo>
                      <a:pt x="3486150" y="5410201"/>
                    </a:lnTo>
                    <a:lnTo>
                      <a:pt x="3489325" y="5381626"/>
                    </a:lnTo>
                    <a:lnTo>
                      <a:pt x="3489325" y="5349876"/>
                    </a:lnTo>
                    <a:lnTo>
                      <a:pt x="3486150" y="5283201"/>
                    </a:lnTo>
                    <a:lnTo>
                      <a:pt x="3486150" y="5251451"/>
                    </a:lnTo>
                    <a:lnTo>
                      <a:pt x="3486150" y="5219701"/>
                    </a:lnTo>
                    <a:close/>
                    <a:moveTo>
                      <a:pt x="1758950" y="2120901"/>
                    </a:moveTo>
                    <a:lnTo>
                      <a:pt x="1749425" y="2143126"/>
                    </a:lnTo>
                    <a:lnTo>
                      <a:pt x="1746250" y="2171701"/>
                    </a:lnTo>
                    <a:lnTo>
                      <a:pt x="1746250" y="2203451"/>
                    </a:lnTo>
                    <a:lnTo>
                      <a:pt x="1746250" y="2235201"/>
                    </a:lnTo>
                    <a:lnTo>
                      <a:pt x="1749425" y="2301876"/>
                    </a:lnTo>
                    <a:lnTo>
                      <a:pt x="1749425" y="2333626"/>
                    </a:lnTo>
                    <a:lnTo>
                      <a:pt x="1746250" y="2362201"/>
                    </a:lnTo>
                    <a:lnTo>
                      <a:pt x="3486150" y="2362201"/>
                    </a:lnTo>
                    <a:lnTo>
                      <a:pt x="3486150" y="2120901"/>
                    </a:lnTo>
                    <a:close/>
                    <a:moveTo>
                      <a:pt x="3321050" y="1352550"/>
                    </a:moveTo>
                    <a:lnTo>
                      <a:pt x="3397250" y="1355725"/>
                    </a:lnTo>
                    <a:lnTo>
                      <a:pt x="3473450" y="1358900"/>
                    </a:lnTo>
                    <a:lnTo>
                      <a:pt x="3543300" y="1365250"/>
                    </a:lnTo>
                    <a:lnTo>
                      <a:pt x="3606800" y="1371600"/>
                    </a:lnTo>
                    <a:lnTo>
                      <a:pt x="3667125" y="1384300"/>
                    </a:lnTo>
                    <a:lnTo>
                      <a:pt x="3717925" y="1403350"/>
                    </a:lnTo>
                    <a:lnTo>
                      <a:pt x="3740150" y="1412875"/>
                    </a:lnTo>
                    <a:lnTo>
                      <a:pt x="3759200" y="1422400"/>
                    </a:lnTo>
                    <a:lnTo>
                      <a:pt x="3778250" y="1435100"/>
                    </a:lnTo>
                    <a:lnTo>
                      <a:pt x="3790950" y="1447800"/>
                    </a:lnTo>
                    <a:lnTo>
                      <a:pt x="3806825" y="1466850"/>
                    </a:lnTo>
                    <a:lnTo>
                      <a:pt x="3816350" y="1485900"/>
                    </a:lnTo>
                    <a:lnTo>
                      <a:pt x="3829050" y="1511300"/>
                    </a:lnTo>
                    <a:lnTo>
                      <a:pt x="3835400" y="1539875"/>
                    </a:lnTo>
                    <a:lnTo>
                      <a:pt x="3841750" y="1571625"/>
                    </a:lnTo>
                    <a:lnTo>
                      <a:pt x="3848100" y="1606550"/>
                    </a:lnTo>
                    <a:lnTo>
                      <a:pt x="3854450" y="1682750"/>
                    </a:lnTo>
                    <a:lnTo>
                      <a:pt x="3857625" y="1762125"/>
                    </a:lnTo>
                    <a:lnTo>
                      <a:pt x="3857625" y="1847850"/>
                    </a:lnTo>
                    <a:lnTo>
                      <a:pt x="3854450" y="2019300"/>
                    </a:lnTo>
                    <a:lnTo>
                      <a:pt x="3854450" y="6451600"/>
                    </a:lnTo>
                    <a:lnTo>
                      <a:pt x="1365250" y="6451600"/>
                    </a:lnTo>
                    <a:lnTo>
                      <a:pt x="1365250" y="2133600"/>
                    </a:lnTo>
                    <a:lnTo>
                      <a:pt x="1362075" y="1997075"/>
                    </a:lnTo>
                    <a:lnTo>
                      <a:pt x="1358900" y="1866900"/>
                    </a:lnTo>
                    <a:lnTo>
                      <a:pt x="1358900" y="1746250"/>
                    </a:lnTo>
                    <a:lnTo>
                      <a:pt x="1362075" y="1689100"/>
                    </a:lnTo>
                    <a:lnTo>
                      <a:pt x="1368425" y="1635125"/>
                    </a:lnTo>
                    <a:lnTo>
                      <a:pt x="1377950" y="1584325"/>
                    </a:lnTo>
                    <a:lnTo>
                      <a:pt x="1390650" y="1536700"/>
                    </a:lnTo>
                    <a:lnTo>
                      <a:pt x="1409700" y="1495425"/>
                    </a:lnTo>
                    <a:lnTo>
                      <a:pt x="1419225" y="1479550"/>
                    </a:lnTo>
                    <a:lnTo>
                      <a:pt x="1431925" y="1460500"/>
                    </a:lnTo>
                    <a:lnTo>
                      <a:pt x="1447800" y="1444625"/>
                    </a:lnTo>
                    <a:lnTo>
                      <a:pt x="1463675" y="1428750"/>
                    </a:lnTo>
                    <a:lnTo>
                      <a:pt x="1479550" y="1416050"/>
                    </a:lnTo>
                    <a:lnTo>
                      <a:pt x="1498600" y="1403350"/>
                    </a:lnTo>
                    <a:lnTo>
                      <a:pt x="1520825" y="1393825"/>
                    </a:lnTo>
                    <a:lnTo>
                      <a:pt x="1543050" y="1384300"/>
                    </a:lnTo>
                    <a:lnTo>
                      <a:pt x="1568450" y="1377950"/>
                    </a:lnTo>
                    <a:lnTo>
                      <a:pt x="1593850" y="1371600"/>
                    </a:lnTo>
                    <a:lnTo>
                      <a:pt x="1660525" y="1362075"/>
                    </a:lnTo>
                    <a:lnTo>
                      <a:pt x="1730375" y="1358900"/>
                    </a:lnTo>
                    <a:lnTo>
                      <a:pt x="1800225" y="1358900"/>
                    </a:lnTo>
                    <a:lnTo>
                      <a:pt x="1873250" y="1362075"/>
                    </a:lnTo>
                    <a:lnTo>
                      <a:pt x="2022475" y="1368425"/>
                    </a:lnTo>
                    <a:lnTo>
                      <a:pt x="2095500" y="1371600"/>
                    </a:lnTo>
                    <a:lnTo>
                      <a:pt x="2165350" y="1371600"/>
                    </a:lnTo>
                    <a:lnTo>
                      <a:pt x="2736850" y="1371600"/>
                    </a:lnTo>
                    <a:lnTo>
                      <a:pt x="2860675" y="1368425"/>
                    </a:lnTo>
                    <a:lnTo>
                      <a:pt x="3006725" y="1362075"/>
                    </a:lnTo>
                    <a:lnTo>
                      <a:pt x="3162300" y="1355725"/>
                    </a:lnTo>
                    <a:close/>
                    <a:moveTo>
                      <a:pt x="3117851" y="762001"/>
                    </a:moveTo>
                    <a:lnTo>
                      <a:pt x="3111501" y="784226"/>
                    </a:lnTo>
                    <a:lnTo>
                      <a:pt x="3105151" y="812801"/>
                    </a:lnTo>
                    <a:lnTo>
                      <a:pt x="3105151" y="841376"/>
                    </a:lnTo>
                    <a:lnTo>
                      <a:pt x="3105151" y="876301"/>
                    </a:lnTo>
                    <a:lnTo>
                      <a:pt x="3108326" y="939801"/>
                    </a:lnTo>
                    <a:lnTo>
                      <a:pt x="3108326" y="974726"/>
                    </a:lnTo>
                    <a:lnTo>
                      <a:pt x="3105151" y="1003301"/>
                    </a:lnTo>
                    <a:lnTo>
                      <a:pt x="4845051" y="1003301"/>
                    </a:lnTo>
                    <a:lnTo>
                      <a:pt x="4845051" y="762001"/>
                    </a:lnTo>
                    <a:close/>
                    <a:moveTo>
                      <a:pt x="387350" y="762001"/>
                    </a:moveTo>
                    <a:lnTo>
                      <a:pt x="381000" y="784226"/>
                    </a:lnTo>
                    <a:lnTo>
                      <a:pt x="374650" y="815976"/>
                    </a:lnTo>
                    <a:lnTo>
                      <a:pt x="371475" y="847726"/>
                    </a:lnTo>
                    <a:lnTo>
                      <a:pt x="371475" y="882651"/>
                    </a:lnTo>
                    <a:lnTo>
                      <a:pt x="374650" y="917576"/>
                    </a:lnTo>
                    <a:lnTo>
                      <a:pt x="377825" y="949326"/>
                    </a:lnTo>
                    <a:lnTo>
                      <a:pt x="381000" y="981076"/>
                    </a:lnTo>
                    <a:lnTo>
                      <a:pt x="387350" y="1003301"/>
                    </a:lnTo>
                    <a:lnTo>
                      <a:pt x="2114550" y="1003301"/>
                    </a:lnTo>
                    <a:lnTo>
                      <a:pt x="2114550" y="762001"/>
                    </a:lnTo>
                    <a:close/>
                    <a:moveTo>
                      <a:pt x="3073401" y="6350"/>
                    </a:moveTo>
                    <a:lnTo>
                      <a:pt x="3127376" y="6350"/>
                    </a:lnTo>
                    <a:lnTo>
                      <a:pt x="3248026" y="6350"/>
                    </a:lnTo>
                    <a:lnTo>
                      <a:pt x="3368676" y="9525"/>
                    </a:lnTo>
                    <a:lnTo>
                      <a:pt x="3486151" y="12700"/>
                    </a:lnTo>
                    <a:lnTo>
                      <a:pt x="4578351" y="12700"/>
                    </a:lnTo>
                    <a:lnTo>
                      <a:pt x="4679951" y="12700"/>
                    </a:lnTo>
                    <a:lnTo>
                      <a:pt x="4778376" y="9525"/>
                    </a:lnTo>
                    <a:lnTo>
                      <a:pt x="4873626" y="9525"/>
                    </a:lnTo>
                    <a:lnTo>
                      <a:pt x="4921251" y="12700"/>
                    </a:lnTo>
                    <a:lnTo>
                      <a:pt x="4965701" y="15875"/>
                    </a:lnTo>
                    <a:lnTo>
                      <a:pt x="5006976" y="22225"/>
                    </a:lnTo>
                    <a:lnTo>
                      <a:pt x="5045076" y="31750"/>
                    </a:lnTo>
                    <a:lnTo>
                      <a:pt x="5080001" y="41275"/>
                    </a:lnTo>
                    <a:lnTo>
                      <a:pt x="5111751" y="57150"/>
                    </a:lnTo>
                    <a:lnTo>
                      <a:pt x="5140326" y="79375"/>
                    </a:lnTo>
                    <a:lnTo>
                      <a:pt x="5165726" y="101600"/>
                    </a:lnTo>
                    <a:lnTo>
                      <a:pt x="5187951" y="130175"/>
                    </a:lnTo>
                    <a:lnTo>
                      <a:pt x="5200651" y="165100"/>
                    </a:lnTo>
                    <a:lnTo>
                      <a:pt x="5210176" y="190500"/>
                    </a:lnTo>
                    <a:lnTo>
                      <a:pt x="5216526" y="219075"/>
                    </a:lnTo>
                    <a:lnTo>
                      <a:pt x="5222876" y="285750"/>
                    </a:lnTo>
                    <a:lnTo>
                      <a:pt x="5226051" y="361950"/>
                    </a:lnTo>
                    <a:lnTo>
                      <a:pt x="5226051" y="444500"/>
                    </a:lnTo>
                    <a:lnTo>
                      <a:pt x="5219701" y="612775"/>
                    </a:lnTo>
                    <a:lnTo>
                      <a:pt x="5216526" y="695325"/>
                    </a:lnTo>
                    <a:lnTo>
                      <a:pt x="5213351" y="774700"/>
                    </a:lnTo>
                    <a:lnTo>
                      <a:pt x="5213351" y="5092700"/>
                    </a:lnTo>
                    <a:lnTo>
                      <a:pt x="5073651" y="5092700"/>
                    </a:lnTo>
                    <a:lnTo>
                      <a:pt x="4933951" y="5092700"/>
                    </a:lnTo>
                    <a:lnTo>
                      <a:pt x="4648201" y="5095875"/>
                    </a:lnTo>
                    <a:lnTo>
                      <a:pt x="4505326" y="5095875"/>
                    </a:lnTo>
                    <a:lnTo>
                      <a:pt x="4365626" y="5095875"/>
                    </a:lnTo>
                    <a:lnTo>
                      <a:pt x="4229101" y="5089525"/>
                    </a:lnTo>
                    <a:lnTo>
                      <a:pt x="4095751" y="5080000"/>
                    </a:lnTo>
                    <a:lnTo>
                      <a:pt x="4095751" y="4597400"/>
                    </a:lnTo>
                    <a:lnTo>
                      <a:pt x="4832351" y="4597400"/>
                    </a:lnTo>
                    <a:lnTo>
                      <a:pt x="4841876" y="4575175"/>
                    </a:lnTo>
                    <a:lnTo>
                      <a:pt x="4848226" y="4546600"/>
                    </a:lnTo>
                    <a:lnTo>
                      <a:pt x="4848226" y="4518025"/>
                    </a:lnTo>
                    <a:lnTo>
                      <a:pt x="4848226" y="4486275"/>
                    </a:lnTo>
                    <a:lnTo>
                      <a:pt x="4845051" y="4419600"/>
                    </a:lnTo>
                    <a:lnTo>
                      <a:pt x="4845051" y="4387850"/>
                    </a:lnTo>
                    <a:lnTo>
                      <a:pt x="4845051" y="4356100"/>
                    </a:lnTo>
                    <a:lnTo>
                      <a:pt x="4108451" y="4356100"/>
                    </a:lnTo>
                    <a:lnTo>
                      <a:pt x="4102101" y="4330700"/>
                    </a:lnTo>
                    <a:lnTo>
                      <a:pt x="4095751" y="4302125"/>
                    </a:lnTo>
                    <a:lnTo>
                      <a:pt x="4095751" y="4270375"/>
                    </a:lnTo>
                    <a:lnTo>
                      <a:pt x="4095751" y="4238625"/>
                    </a:lnTo>
                    <a:lnTo>
                      <a:pt x="4098926" y="4168775"/>
                    </a:lnTo>
                    <a:lnTo>
                      <a:pt x="4098926" y="4133850"/>
                    </a:lnTo>
                    <a:lnTo>
                      <a:pt x="4095751" y="4102100"/>
                    </a:lnTo>
                    <a:lnTo>
                      <a:pt x="4832351" y="4102100"/>
                    </a:lnTo>
                    <a:lnTo>
                      <a:pt x="4841876" y="4079875"/>
                    </a:lnTo>
                    <a:lnTo>
                      <a:pt x="4848226" y="4051300"/>
                    </a:lnTo>
                    <a:lnTo>
                      <a:pt x="4848226" y="4022725"/>
                    </a:lnTo>
                    <a:lnTo>
                      <a:pt x="4848226" y="3990975"/>
                    </a:lnTo>
                    <a:lnTo>
                      <a:pt x="4845051" y="3924300"/>
                    </a:lnTo>
                    <a:lnTo>
                      <a:pt x="4845051" y="3892550"/>
                    </a:lnTo>
                    <a:lnTo>
                      <a:pt x="4845051" y="3860800"/>
                    </a:lnTo>
                    <a:lnTo>
                      <a:pt x="4759326" y="3854450"/>
                    </a:lnTo>
                    <a:lnTo>
                      <a:pt x="4670426" y="3848100"/>
                    </a:lnTo>
                    <a:lnTo>
                      <a:pt x="4575176" y="3848100"/>
                    </a:lnTo>
                    <a:lnTo>
                      <a:pt x="4479926" y="3848100"/>
                    </a:lnTo>
                    <a:lnTo>
                      <a:pt x="4286251" y="3851275"/>
                    </a:lnTo>
                    <a:lnTo>
                      <a:pt x="4191001" y="3851275"/>
                    </a:lnTo>
                    <a:lnTo>
                      <a:pt x="4095751" y="3848100"/>
                    </a:lnTo>
                    <a:lnTo>
                      <a:pt x="4095751" y="2095500"/>
                    </a:lnTo>
                    <a:lnTo>
                      <a:pt x="4098926" y="2012950"/>
                    </a:lnTo>
                    <a:lnTo>
                      <a:pt x="4102101" y="1924050"/>
                    </a:lnTo>
                    <a:lnTo>
                      <a:pt x="4105276" y="1746250"/>
                    </a:lnTo>
                    <a:lnTo>
                      <a:pt x="4105276" y="1660525"/>
                    </a:lnTo>
                    <a:lnTo>
                      <a:pt x="4102101" y="1581150"/>
                    </a:lnTo>
                    <a:lnTo>
                      <a:pt x="4095751" y="1546225"/>
                    </a:lnTo>
                    <a:lnTo>
                      <a:pt x="4089401" y="1511300"/>
                    </a:lnTo>
                    <a:lnTo>
                      <a:pt x="4083051" y="1476375"/>
                    </a:lnTo>
                    <a:lnTo>
                      <a:pt x="4070351" y="1447800"/>
                    </a:lnTo>
                    <a:lnTo>
                      <a:pt x="4057651" y="1419225"/>
                    </a:lnTo>
                    <a:lnTo>
                      <a:pt x="4044951" y="1390650"/>
                    </a:lnTo>
                    <a:lnTo>
                      <a:pt x="4025901" y="1362075"/>
                    </a:lnTo>
                    <a:lnTo>
                      <a:pt x="4010026" y="1333500"/>
                    </a:lnTo>
                    <a:lnTo>
                      <a:pt x="3987801" y="1308100"/>
                    </a:lnTo>
                    <a:lnTo>
                      <a:pt x="3968751" y="1285875"/>
                    </a:lnTo>
                    <a:lnTo>
                      <a:pt x="3946526" y="1260475"/>
                    </a:lnTo>
                    <a:lnTo>
                      <a:pt x="3921126" y="1238250"/>
                    </a:lnTo>
                    <a:lnTo>
                      <a:pt x="3895726" y="1219200"/>
                    </a:lnTo>
                    <a:lnTo>
                      <a:pt x="3867151" y="1200150"/>
                    </a:lnTo>
                    <a:lnTo>
                      <a:pt x="3838576" y="1184275"/>
                    </a:lnTo>
                    <a:lnTo>
                      <a:pt x="3810001" y="1168400"/>
                    </a:lnTo>
                    <a:lnTo>
                      <a:pt x="3778251" y="1155700"/>
                    </a:lnTo>
                    <a:lnTo>
                      <a:pt x="3746501" y="1146175"/>
                    </a:lnTo>
                    <a:lnTo>
                      <a:pt x="3711576" y="1136650"/>
                    </a:lnTo>
                    <a:lnTo>
                      <a:pt x="3676651" y="1130300"/>
                    </a:lnTo>
                    <a:lnTo>
                      <a:pt x="3629026" y="1123950"/>
                    </a:lnTo>
                    <a:lnTo>
                      <a:pt x="3578226" y="1120775"/>
                    </a:lnTo>
                    <a:lnTo>
                      <a:pt x="3470276" y="1117600"/>
                    </a:lnTo>
                    <a:lnTo>
                      <a:pt x="3359151" y="1120775"/>
                    </a:lnTo>
                    <a:lnTo>
                      <a:pt x="3238501" y="1127125"/>
                    </a:lnTo>
                    <a:lnTo>
                      <a:pt x="3117851" y="1133475"/>
                    </a:lnTo>
                    <a:lnTo>
                      <a:pt x="2994026" y="1136650"/>
                    </a:lnTo>
                    <a:lnTo>
                      <a:pt x="2867026" y="1136650"/>
                    </a:lnTo>
                    <a:lnTo>
                      <a:pt x="2800351" y="1133475"/>
                    </a:lnTo>
                    <a:lnTo>
                      <a:pt x="2736851" y="1130300"/>
                    </a:lnTo>
                    <a:lnTo>
                      <a:pt x="2736851" y="190500"/>
                    </a:lnTo>
                    <a:lnTo>
                      <a:pt x="2743201" y="168275"/>
                    </a:lnTo>
                    <a:lnTo>
                      <a:pt x="2752726" y="149225"/>
                    </a:lnTo>
                    <a:lnTo>
                      <a:pt x="2762251" y="130175"/>
                    </a:lnTo>
                    <a:lnTo>
                      <a:pt x="2774951" y="114300"/>
                    </a:lnTo>
                    <a:lnTo>
                      <a:pt x="2787651" y="98425"/>
                    </a:lnTo>
                    <a:lnTo>
                      <a:pt x="2803526" y="85725"/>
                    </a:lnTo>
                    <a:lnTo>
                      <a:pt x="2838451" y="60325"/>
                    </a:lnTo>
                    <a:lnTo>
                      <a:pt x="2876551" y="41275"/>
                    </a:lnTo>
                    <a:lnTo>
                      <a:pt x="2921001" y="28575"/>
                    </a:lnTo>
                    <a:lnTo>
                      <a:pt x="2968626" y="19050"/>
                    </a:lnTo>
                    <a:lnTo>
                      <a:pt x="3019426" y="12700"/>
                    </a:lnTo>
                    <a:close/>
                    <a:moveTo>
                      <a:pt x="387350" y="0"/>
                    </a:moveTo>
                    <a:lnTo>
                      <a:pt x="454025" y="3175"/>
                    </a:lnTo>
                    <a:lnTo>
                      <a:pt x="596900" y="9525"/>
                    </a:lnTo>
                    <a:lnTo>
                      <a:pt x="742950" y="12700"/>
                    </a:lnTo>
                    <a:lnTo>
                      <a:pt x="1809750" y="12700"/>
                    </a:lnTo>
                    <a:lnTo>
                      <a:pt x="2016125" y="9525"/>
                    </a:lnTo>
                    <a:lnTo>
                      <a:pt x="2117725" y="9525"/>
                    </a:lnTo>
                    <a:lnTo>
                      <a:pt x="2165350" y="12700"/>
                    </a:lnTo>
                    <a:lnTo>
                      <a:pt x="2212975" y="15875"/>
                    </a:lnTo>
                    <a:lnTo>
                      <a:pt x="2257425" y="22225"/>
                    </a:lnTo>
                    <a:lnTo>
                      <a:pt x="2301875" y="28575"/>
                    </a:lnTo>
                    <a:lnTo>
                      <a:pt x="2339975" y="41275"/>
                    </a:lnTo>
                    <a:lnTo>
                      <a:pt x="2374900" y="53975"/>
                    </a:lnTo>
                    <a:lnTo>
                      <a:pt x="2406650" y="73025"/>
                    </a:lnTo>
                    <a:lnTo>
                      <a:pt x="2432050" y="95250"/>
                    </a:lnTo>
                    <a:lnTo>
                      <a:pt x="2454275" y="120650"/>
                    </a:lnTo>
                    <a:lnTo>
                      <a:pt x="2470150" y="152400"/>
                    </a:lnTo>
                    <a:lnTo>
                      <a:pt x="2479675" y="177800"/>
                    </a:lnTo>
                    <a:lnTo>
                      <a:pt x="2486025" y="203200"/>
                    </a:lnTo>
                    <a:lnTo>
                      <a:pt x="2495550" y="263525"/>
                    </a:lnTo>
                    <a:lnTo>
                      <a:pt x="2498725" y="323850"/>
                    </a:lnTo>
                    <a:lnTo>
                      <a:pt x="2495550" y="390525"/>
                    </a:lnTo>
                    <a:lnTo>
                      <a:pt x="2489200" y="517525"/>
                    </a:lnTo>
                    <a:lnTo>
                      <a:pt x="2486025" y="581025"/>
                    </a:lnTo>
                    <a:lnTo>
                      <a:pt x="2482850" y="635000"/>
                    </a:lnTo>
                    <a:lnTo>
                      <a:pt x="2482850" y="1130300"/>
                    </a:lnTo>
                    <a:lnTo>
                      <a:pt x="2413000" y="1136650"/>
                    </a:lnTo>
                    <a:lnTo>
                      <a:pt x="2343150" y="1139825"/>
                    </a:lnTo>
                    <a:lnTo>
                      <a:pt x="2270125" y="1139825"/>
                    </a:lnTo>
                    <a:lnTo>
                      <a:pt x="2197100" y="1136650"/>
                    </a:lnTo>
                    <a:lnTo>
                      <a:pt x="2051050" y="1130300"/>
                    </a:lnTo>
                    <a:lnTo>
                      <a:pt x="1908175" y="1123950"/>
                    </a:lnTo>
                    <a:lnTo>
                      <a:pt x="1771650" y="1120775"/>
                    </a:lnTo>
                    <a:lnTo>
                      <a:pt x="1704975" y="1120775"/>
                    </a:lnTo>
                    <a:lnTo>
                      <a:pt x="1641475" y="1123950"/>
                    </a:lnTo>
                    <a:lnTo>
                      <a:pt x="1577975" y="1130300"/>
                    </a:lnTo>
                    <a:lnTo>
                      <a:pt x="1520825" y="1136650"/>
                    </a:lnTo>
                    <a:lnTo>
                      <a:pt x="1466850" y="1152525"/>
                    </a:lnTo>
                    <a:lnTo>
                      <a:pt x="1416050" y="1168400"/>
                    </a:lnTo>
                    <a:lnTo>
                      <a:pt x="1390650" y="1181100"/>
                    </a:lnTo>
                    <a:lnTo>
                      <a:pt x="1368425" y="1193800"/>
                    </a:lnTo>
                    <a:lnTo>
                      <a:pt x="1320800" y="1225550"/>
                    </a:lnTo>
                    <a:lnTo>
                      <a:pt x="1273175" y="1263650"/>
                    </a:lnTo>
                    <a:lnTo>
                      <a:pt x="1231900" y="1308100"/>
                    </a:lnTo>
                    <a:lnTo>
                      <a:pt x="1193800" y="1358900"/>
                    </a:lnTo>
                    <a:lnTo>
                      <a:pt x="1162050" y="1412875"/>
                    </a:lnTo>
                    <a:lnTo>
                      <a:pt x="1149350" y="1438275"/>
                    </a:lnTo>
                    <a:lnTo>
                      <a:pt x="1139825" y="1466850"/>
                    </a:lnTo>
                    <a:lnTo>
                      <a:pt x="1130300" y="1495425"/>
                    </a:lnTo>
                    <a:lnTo>
                      <a:pt x="1123950" y="1524000"/>
                    </a:lnTo>
                    <a:lnTo>
                      <a:pt x="1117600" y="1587500"/>
                    </a:lnTo>
                    <a:lnTo>
                      <a:pt x="1111250" y="1657350"/>
                    </a:lnTo>
                    <a:lnTo>
                      <a:pt x="1111250" y="1727200"/>
                    </a:lnTo>
                    <a:lnTo>
                      <a:pt x="1114425" y="1800225"/>
                    </a:lnTo>
                    <a:lnTo>
                      <a:pt x="1120775" y="1952625"/>
                    </a:lnTo>
                    <a:lnTo>
                      <a:pt x="1123950" y="2032000"/>
                    </a:lnTo>
                    <a:lnTo>
                      <a:pt x="1123950" y="2108200"/>
                    </a:lnTo>
                    <a:lnTo>
                      <a:pt x="1123950" y="3848100"/>
                    </a:lnTo>
                    <a:lnTo>
                      <a:pt x="387350" y="3848100"/>
                    </a:lnTo>
                    <a:lnTo>
                      <a:pt x="381000" y="3873500"/>
                    </a:lnTo>
                    <a:lnTo>
                      <a:pt x="374650" y="3898900"/>
                    </a:lnTo>
                    <a:lnTo>
                      <a:pt x="374650" y="3930650"/>
                    </a:lnTo>
                    <a:lnTo>
                      <a:pt x="374650" y="3962400"/>
                    </a:lnTo>
                    <a:lnTo>
                      <a:pt x="374650" y="4029075"/>
                    </a:lnTo>
                    <a:lnTo>
                      <a:pt x="374650" y="4060825"/>
                    </a:lnTo>
                    <a:lnTo>
                      <a:pt x="374650" y="4089400"/>
                    </a:lnTo>
                    <a:lnTo>
                      <a:pt x="460375" y="4098925"/>
                    </a:lnTo>
                    <a:lnTo>
                      <a:pt x="552450" y="4102100"/>
                    </a:lnTo>
                    <a:lnTo>
                      <a:pt x="644525" y="4105275"/>
                    </a:lnTo>
                    <a:lnTo>
                      <a:pt x="742950" y="4105275"/>
                    </a:lnTo>
                    <a:lnTo>
                      <a:pt x="936625" y="4102100"/>
                    </a:lnTo>
                    <a:lnTo>
                      <a:pt x="1031875" y="4102100"/>
                    </a:lnTo>
                    <a:lnTo>
                      <a:pt x="1123950" y="4102100"/>
                    </a:lnTo>
                    <a:lnTo>
                      <a:pt x="1123950" y="4133850"/>
                    </a:lnTo>
                    <a:lnTo>
                      <a:pt x="1123950" y="4168775"/>
                    </a:lnTo>
                    <a:lnTo>
                      <a:pt x="1127125" y="4238625"/>
                    </a:lnTo>
                    <a:lnTo>
                      <a:pt x="1127125" y="4270375"/>
                    </a:lnTo>
                    <a:lnTo>
                      <a:pt x="1123950" y="4302125"/>
                    </a:lnTo>
                    <a:lnTo>
                      <a:pt x="1120775" y="4330700"/>
                    </a:lnTo>
                    <a:lnTo>
                      <a:pt x="1111250" y="4356100"/>
                    </a:lnTo>
                    <a:lnTo>
                      <a:pt x="387350" y="4356100"/>
                    </a:lnTo>
                    <a:lnTo>
                      <a:pt x="377825" y="4381500"/>
                    </a:lnTo>
                    <a:lnTo>
                      <a:pt x="374650" y="4406900"/>
                    </a:lnTo>
                    <a:lnTo>
                      <a:pt x="371475" y="4438650"/>
                    </a:lnTo>
                    <a:lnTo>
                      <a:pt x="374650" y="4470400"/>
                    </a:lnTo>
                    <a:lnTo>
                      <a:pt x="374650" y="4537075"/>
                    </a:lnTo>
                    <a:lnTo>
                      <a:pt x="377825" y="4568825"/>
                    </a:lnTo>
                    <a:lnTo>
                      <a:pt x="374650" y="4597400"/>
                    </a:lnTo>
                    <a:lnTo>
                      <a:pt x="1123950" y="4597400"/>
                    </a:lnTo>
                    <a:lnTo>
                      <a:pt x="1123950" y="5080000"/>
                    </a:lnTo>
                    <a:lnTo>
                      <a:pt x="990600" y="5089525"/>
                    </a:lnTo>
                    <a:lnTo>
                      <a:pt x="854075" y="5095875"/>
                    </a:lnTo>
                    <a:lnTo>
                      <a:pt x="714375" y="5095875"/>
                    </a:lnTo>
                    <a:lnTo>
                      <a:pt x="574675" y="5095875"/>
                    </a:lnTo>
                    <a:lnTo>
                      <a:pt x="288925" y="5092700"/>
                    </a:lnTo>
                    <a:lnTo>
                      <a:pt x="146050" y="5092700"/>
                    </a:lnTo>
                    <a:lnTo>
                      <a:pt x="6350" y="5092700"/>
                    </a:lnTo>
                    <a:lnTo>
                      <a:pt x="6350" y="762000"/>
                    </a:lnTo>
                    <a:lnTo>
                      <a:pt x="3175" y="631825"/>
                    </a:lnTo>
                    <a:lnTo>
                      <a:pt x="0" y="508000"/>
                    </a:lnTo>
                    <a:lnTo>
                      <a:pt x="0" y="387350"/>
                    </a:lnTo>
                    <a:lnTo>
                      <a:pt x="3175" y="330200"/>
                    </a:lnTo>
                    <a:lnTo>
                      <a:pt x="9525" y="279400"/>
                    </a:lnTo>
                    <a:lnTo>
                      <a:pt x="15875" y="228600"/>
                    </a:lnTo>
                    <a:lnTo>
                      <a:pt x="28575" y="180975"/>
                    </a:lnTo>
                    <a:lnTo>
                      <a:pt x="44450" y="139700"/>
                    </a:lnTo>
                    <a:lnTo>
                      <a:pt x="66675" y="104775"/>
                    </a:lnTo>
                    <a:lnTo>
                      <a:pt x="79375" y="85725"/>
                    </a:lnTo>
                    <a:lnTo>
                      <a:pt x="92075" y="73025"/>
                    </a:lnTo>
                    <a:lnTo>
                      <a:pt x="107950" y="57150"/>
                    </a:lnTo>
                    <a:lnTo>
                      <a:pt x="123825" y="47625"/>
                    </a:lnTo>
                    <a:lnTo>
                      <a:pt x="142875" y="34925"/>
                    </a:lnTo>
                    <a:lnTo>
                      <a:pt x="161925" y="25400"/>
                    </a:lnTo>
                    <a:lnTo>
                      <a:pt x="184150" y="19050"/>
                    </a:lnTo>
                    <a:lnTo>
                      <a:pt x="209550" y="12700"/>
                    </a:lnTo>
                    <a:lnTo>
                      <a:pt x="263525" y="6350"/>
                    </a:lnTo>
                    <a:lnTo>
                      <a:pt x="320675" y="3175"/>
                    </a:lnTo>
                    <a:close/>
                  </a:path>
                </a:pathLst>
              </a:custGeom>
              <a:solidFill>
                <a:schemeClr val="accent1"/>
              </a:solidFill>
              <a:ln>
                <a:noFill/>
              </a:ln>
            </p:spPr>
            <p:txBody>
              <a:bodyPr vert="horz" wrap="square" lIns="89642" tIns="44821" rIns="89642" bIns="44821" numCol="1" anchor="t" anchorCtr="0" compatLnSpc="1">
                <a:prstTxWarp prst="textNoShape">
                  <a:avLst/>
                </a:prstTxWarp>
                <a:noAutofit/>
              </a:bodyPr>
              <a:lstStyle/>
              <a:p>
                <a:pPr defTabSz="914367"/>
                <a:endParaRPr lang="en-IN" sz="1765">
                  <a:solidFill>
                    <a:srgbClr val="000000"/>
                  </a:solidFill>
                </a:endParaRPr>
              </a:p>
            </p:txBody>
          </p:sp>
          <p:sp>
            <p:nvSpPr>
              <p:cNvPr id="58" name="Oval 57"/>
              <p:cNvSpPr/>
              <p:nvPr/>
            </p:nvSpPr>
            <p:spPr bwMode="auto">
              <a:xfrm>
                <a:off x="10495599" y="4953029"/>
                <a:ext cx="1036637" cy="1036637"/>
              </a:xfrm>
              <a:prstGeom prst="ellipse">
                <a:avLst/>
              </a:prstGeom>
              <a:solidFill>
                <a:schemeClr val="bg1">
                  <a:lumMod val="95000"/>
                </a:schemeClr>
              </a:solidFill>
              <a:ln>
                <a:solidFill>
                  <a:schemeClr val="bg1"/>
                </a:solidFill>
                <a:headEnd type="none" w="med" len="med"/>
                <a:tailEnd type="none" w="med" len="med"/>
              </a:ln>
              <a:effectLst>
                <a:outerShdw dist="25400" dir="8100000" algn="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dirty="0">
                  <a:solidFill>
                    <a:srgbClr val="FFFFFF"/>
                  </a:solidFill>
                  <a:latin typeface="Segoe UI Light"/>
                  <a:ea typeface="Segoe UI" pitchFamily="34" charset="0"/>
                  <a:cs typeface="Segoe UI" pitchFamily="34" charset="0"/>
                </a:endParaRPr>
              </a:p>
            </p:txBody>
          </p:sp>
          <p:sp>
            <p:nvSpPr>
              <p:cNvPr id="59" name="Freeform 58"/>
              <p:cNvSpPr>
                <a:spLocks/>
              </p:cNvSpPr>
              <p:nvPr/>
            </p:nvSpPr>
            <p:spPr bwMode="auto">
              <a:xfrm>
                <a:off x="10737239" y="5129786"/>
                <a:ext cx="553356" cy="683122"/>
              </a:xfrm>
              <a:custGeom>
                <a:avLst/>
                <a:gdLst>
                  <a:gd name="connsiteX0" fmla="*/ 1771650 w 5226051"/>
                  <a:gd name="connsiteY0" fmla="*/ 5702301 h 6451600"/>
                  <a:gd name="connsiteX1" fmla="*/ 1762125 w 5226051"/>
                  <a:gd name="connsiteY1" fmla="*/ 5711826 h 6451600"/>
                  <a:gd name="connsiteX2" fmla="*/ 1755775 w 5226051"/>
                  <a:gd name="connsiteY2" fmla="*/ 5721351 h 6451600"/>
                  <a:gd name="connsiteX3" fmla="*/ 1749425 w 5226051"/>
                  <a:gd name="connsiteY3" fmla="*/ 5734051 h 6451600"/>
                  <a:gd name="connsiteX4" fmla="*/ 1746250 w 5226051"/>
                  <a:gd name="connsiteY4" fmla="*/ 5749926 h 6451600"/>
                  <a:gd name="connsiteX5" fmla="*/ 1743075 w 5226051"/>
                  <a:gd name="connsiteY5" fmla="*/ 5784851 h 6451600"/>
                  <a:gd name="connsiteX6" fmla="*/ 1746250 w 5226051"/>
                  <a:gd name="connsiteY6" fmla="*/ 5822951 h 6451600"/>
                  <a:gd name="connsiteX7" fmla="*/ 1749425 w 5226051"/>
                  <a:gd name="connsiteY7" fmla="*/ 5861051 h 6451600"/>
                  <a:gd name="connsiteX8" fmla="*/ 1749425 w 5226051"/>
                  <a:gd name="connsiteY8" fmla="*/ 5899151 h 6451600"/>
                  <a:gd name="connsiteX9" fmla="*/ 1746250 w 5226051"/>
                  <a:gd name="connsiteY9" fmla="*/ 5930901 h 6451600"/>
                  <a:gd name="connsiteX10" fmla="*/ 1739900 w 5226051"/>
                  <a:gd name="connsiteY10" fmla="*/ 5946776 h 6451600"/>
                  <a:gd name="connsiteX11" fmla="*/ 1733550 w 5226051"/>
                  <a:gd name="connsiteY11" fmla="*/ 5956301 h 6451600"/>
                  <a:gd name="connsiteX12" fmla="*/ 3486150 w 5226051"/>
                  <a:gd name="connsiteY12" fmla="*/ 5956301 h 6451600"/>
                  <a:gd name="connsiteX13" fmla="*/ 3486150 w 5226051"/>
                  <a:gd name="connsiteY13" fmla="*/ 5715001 h 6451600"/>
                  <a:gd name="connsiteX14" fmla="*/ 3279775 w 5226051"/>
                  <a:gd name="connsiteY14" fmla="*/ 5708651 h 6451600"/>
                  <a:gd name="connsiteX15" fmla="*/ 3067050 w 5226051"/>
                  <a:gd name="connsiteY15" fmla="*/ 5702301 h 6451600"/>
                  <a:gd name="connsiteX16" fmla="*/ 2854325 w 5226051"/>
                  <a:gd name="connsiteY16" fmla="*/ 5702301 h 6451600"/>
                  <a:gd name="connsiteX17" fmla="*/ 2638425 w 5226051"/>
                  <a:gd name="connsiteY17" fmla="*/ 5702301 h 6451600"/>
                  <a:gd name="connsiteX18" fmla="*/ 2203450 w 5226051"/>
                  <a:gd name="connsiteY18" fmla="*/ 5705476 h 6451600"/>
                  <a:gd name="connsiteX19" fmla="*/ 1987550 w 5226051"/>
                  <a:gd name="connsiteY19" fmla="*/ 5705476 h 6451600"/>
                  <a:gd name="connsiteX20" fmla="*/ 1746250 w 5226051"/>
                  <a:gd name="connsiteY20" fmla="*/ 5219701 h 6451600"/>
                  <a:gd name="connsiteX21" fmla="*/ 1746250 w 5226051"/>
                  <a:gd name="connsiteY21" fmla="*/ 5264151 h 6451600"/>
                  <a:gd name="connsiteX22" fmla="*/ 1746250 w 5226051"/>
                  <a:gd name="connsiteY22" fmla="*/ 5327651 h 6451600"/>
                  <a:gd name="connsiteX23" fmla="*/ 1746250 w 5226051"/>
                  <a:gd name="connsiteY23" fmla="*/ 5397501 h 6451600"/>
                  <a:gd name="connsiteX24" fmla="*/ 1746250 w 5226051"/>
                  <a:gd name="connsiteY24" fmla="*/ 5461001 h 6451600"/>
                  <a:gd name="connsiteX25" fmla="*/ 3473450 w 5226051"/>
                  <a:gd name="connsiteY25" fmla="*/ 5461001 h 6451600"/>
                  <a:gd name="connsiteX26" fmla="*/ 3482975 w 5226051"/>
                  <a:gd name="connsiteY26" fmla="*/ 5438776 h 6451600"/>
                  <a:gd name="connsiteX27" fmla="*/ 3486150 w 5226051"/>
                  <a:gd name="connsiteY27" fmla="*/ 5410201 h 6451600"/>
                  <a:gd name="connsiteX28" fmla="*/ 3489325 w 5226051"/>
                  <a:gd name="connsiteY28" fmla="*/ 5381626 h 6451600"/>
                  <a:gd name="connsiteX29" fmla="*/ 3489325 w 5226051"/>
                  <a:gd name="connsiteY29" fmla="*/ 5349876 h 6451600"/>
                  <a:gd name="connsiteX30" fmla="*/ 3486150 w 5226051"/>
                  <a:gd name="connsiteY30" fmla="*/ 5283201 h 6451600"/>
                  <a:gd name="connsiteX31" fmla="*/ 3486150 w 5226051"/>
                  <a:gd name="connsiteY31" fmla="*/ 5251451 h 6451600"/>
                  <a:gd name="connsiteX32" fmla="*/ 3486150 w 5226051"/>
                  <a:gd name="connsiteY32" fmla="*/ 5219701 h 6451600"/>
                  <a:gd name="connsiteX33" fmla="*/ 1758950 w 5226051"/>
                  <a:gd name="connsiteY33" fmla="*/ 2120901 h 6451600"/>
                  <a:gd name="connsiteX34" fmla="*/ 1749425 w 5226051"/>
                  <a:gd name="connsiteY34" fmla="*/ 2143126 h 6451600"/>
                  <a:gd name="connsiteX35" fmla="*/ 1746250 w 5226051"/>
                  <a:gd name="connsiteY35" fmla="*/ 2171701 h 6451600"/>
                  <a:gd name="connsiteX36" fmla="*/ 1746250 w 5226051"/>
                  <a:gd name="connsiteY36" fmla="*/ 2203451 h 6451600"/>
                  <a:gd name="connsiteX37" fmla="*/ 1746250 w 5226051"/>
                  <a:gd name="connsiteY37" fmla="*/ 2235201 h 6451600"/>
                  <a:gd name="connsiteX38" fmla="*/ 1749425 w 5226051"/>
                  <a:gd name="connsiteY38" fmla="*/ 2301876 h 6451600"/>
                  <a:gd name="connsiteX39" fmla="*/ 1749425 w 5226051"/>
                  <a:gd name="connsiteY39" fmla="*/ 2333626 h 6451600"/>
                  <a:gd name="connsiteX40" fmla="*/ 1746250 w 5226051"/>
                  <a:gd name="connsiteY40" fmla="*/ 2362201 h 6451600"/>
                  <a:gd name="connsiteX41" fmla="*/ 3486150 w 5226051"/>
                  <a:gd name="connsiteY41" fmla="*/ 2362201 h 6451600"/>
                  <a:gd name="connsiteX42" fmla="*/ 3486150 w 5226051"/>
                  <a:gd name="connsiteY42" fmla="*/ 2120901 h 6451600"/>
                  <a:gd name="connsiteX43" fmla="*/ 3321050 w 5226051"/>
                  <a:gd name="connsiteY43" fmla="*/ 1352550 h 6451600"/>
                  <a:gd name="connsiteX44" fmla="*/ 3397250 w 5226051"/>
                  <a:gd name="connsiteY44" fmla="*/ 1355725 h 6451600"/>
                  <a:gd name="connsiteX45" fmla="*/ 3473450 w 5226051"/>
                  <a:gd name="connsiteY45" fmla="*/ 1358900 h 6451600"/>
                  <a:gd name="connsiteX46" fmla="*/ 3543300 w 5226051"/>
                  <a:gd name="connsiteY46" fmla="*/ 1365250 h 6451600"/>
                  <a:gd name="connsiteX47" fmla="*/ 3606800 w 5226051"/>
                  <a:gd name="connsiteY47" fmla="*/ 1371600 h 6451600"/>
                  <a:gd name="connsiteX48" fmla="*/ 3667125 w 5226051"/>
                  <a:gd name="connsiteY48" fmla="*/ 1384300 h 6451600"/>
                  <a:gd name="connsiteX49" fmla="*/ 3717925 w 5226051"/>
                  <a:gd name="connsiteY49" fmla="*/ 1403350 h 6451600"/>
                  <a:gd name="connsiteX50" fmla="*/ 3740150 w 5226051"/>
                  <a:gd name="connsiteY50" fmla="*/ 1412875 h 6451600"/>
                  <a:gd name="connsiteX51" fmla="*/ 3759200 w 5226051"/>
                  <a:gd name="connsiteY51" fmla="*/ 1422400 h 6451600"/>
                  <a:gd name="connsiteX52" fmla="*/ 3778250 w 5226051"/>
                  <a:gd name="connsiteY52" fmla="*/ 1435100 h 6451600"/>
                  <a:gd name="connsiteX53" fmla="*/ 3790950 w 5226051"/>
                  <a:gd name="connsiteY53" fmla="*/ 1447800 h 6451600"/>
                  <a:gd name="connsiteX54" fmla="*/ 3806825 w 5226051"/>
                  <a:gd name="connsiteY54" fmla="*/ 1466850 h 6451600"/>
                  <a:gd name="connsiteX55" fmla="*/ 3816350 w 5226051"/>
                  <a:gd name="connsiteY55" fmla="*/ 1485900 h 6451600"/>
                  <a:gd name="connsiteX56" fmla="*/ 3829050 w 5226051"/>
                  <a:gd name="connsiteY56" fmla="*/ 1511300 h 6451600"/>
                  <a:gd name="connsiteX57" fmla="*/ 3835400 w 5226051"/>
                  <a:gd name="connsiteY57" fmla="*/ 1539875 h 6451600"/>
                  <a:gd name="connsiteX58" fmla="*/ 3841750 w 5226051"/>
                  <a:gd name="connsiteY58" fmla="*/ 1571625 h 6451600"/>
                  <a:gd name="connsiteX59" fmla="*/ 3848100 w 5226051"/>
                  <a:gd name="connsiteY59" fmla="*/ 1606550 h 6451600"/>
                  <a:gd name="connsiteX60" fmla="*/ 3854450 w 5226051"/>
                  <a:gd name="connsiteY60" fmla="*/ 1682750 h 6451600"/>
                  <a:gd name="connsiteX61" fmla="*/ 3857625 w 5226051"/>
                  <a:gd name="connsiteY61" fmla="*/ 1762125 h 6451600"/>
                  <a:gd name="connsiteX62" fmla="*/ 3857625 w 5226051"/>
                  <a:gd name="connsiteY62" fmla="*/ 1847850 h 6451600"/>
                  <a:gd name="connsiteX63" fmla="*/ 3854450 w 5226051"/>
                  <a:gd name="connsiteY63" fmla="*/ 2019300 h 6451600"/>
                  <a:gd name="connsiteX64" fmla="*/ 3854450 w 5226051"/>
                  <a:gd name="connsiteY64" fmla="*/ 6451600 h 6451600"/>
                  <a:gd name="connsiteX65" fmla="*/ 1365250 w 5226051"/>
                  <a:gd name="connsiteY65" fmla="*/ 6451600 h 6451600"/>
                  <a:gd name="connsiteX66" fmla="*/ 1365250 w 5226051"/>
                  <a:gd name="connsiteY66" fmla="*/ 2133600 h 6451600"/>
                  <a:gd name="connsiteX67" fmla="*/ 1362075 w 5226051"/>
                  <a:gd name="connsiteY67" fmla="*/ 1997075 h 6451600"/>
                  <a:gd name="connsiteX68" fmla="*/ 1358900 w 5226051"/>
                  <a:gd name="connsiteY68" fmla="*/ 1866900 h 6451600"/>
                  <a:gd name="connsiteX69" fmla="*/ 1358900 w 5226051"/>
                  <a:gd name="connsiteY69" fmla="*/ 1746250 h 6451600"/>
                  <a:gd name="connsiteX70" fmla="*/ 1362075 w 5226051"/>
                  <a:gd name="connsiteY70" fmla="*/ 1689100 h 6451600"/>
                  <a:gd name="connsiteX71" fmla="*/ 1368425 w 5226051"/>
                  <a:gd name="connsiteY71" fmla="*/ 1635125 h 6451600"/>
                  <a:gd name="connsiteX72" fmla="*/ 1377950 w 5226051"/>
                  <a:gd name="connsiteY72" fmla="*/ 1584325 h 6451600"/>
                  <a:gd name="connsiteX73" fmla="*/ 1390650 w 5226051"/>
                  <a:gd name="connsiteY73" fmla="*/ 1536700 h 6451600"/>
                  <a:gd name="connsiteX74" fmla="*/ 1409700 w 5226051"/>
                  <a:gd name="connsiteY74" fmla="*/ 1495425 h 6451600"/>
                  <a:gd name="connsiteX75" fmla="*/ 1419225 w 5226051"/>
                  <a:gd name="connsiteY75" fmla="*/ 1479550 h 6451600"/>
                  <a:gd name="connsiteX76" fmla="*/ 1431925 w 5226051"/>
                  <a:gd name="connsiteY76" fmla="*/ 1460500 h 6451600"/>
                  <a:gd name="connsiteX77" fmla="*/ 1447800 w 5226051"/>
                  <a:gd name="connsiteY77" fmla="*/ 1444625 h 6451600"/>
                  <a:gd name="connsiteX78" fmla="*/ 1463675 w 5226051"/>
                  <a:gd name="connsiteY78" fmla="*/ 1428750 h 6451600"/>
                  <a:gd name="connsiteX79" fmla="*/ 1479550 w 5226051"/>
                  <a:gd name="connsiteY79" fmla="*/ 1416050 h 6451600"/>
                  <a:gd name="connsiteX80" fmla="*/ 1498600 w 5226051"/>
                  <a:gd name="connsiteY80" fmla="*/ 1403350 h 6451600"/>
                  <a:gd name="connsiteX81" fmla="*/ 1520825 w 5226051"/>
                  <a:gd name="connsiteY81" fmla="*/ 1393825 h 6451600"/>
                  <a:gd name="connsiteX82" fmla="*/ 1543050 w 5226051"/>
                  <a:gd name="connsiteY82" fmla="*/ 1384300 h 6451600"/>
                  <a:gd name="connsiteX83" fmla="*/ 1568450 w 5226051"/>
                  <a:gd name="connsiteY83" fmla="*/ 1377950 h 6451600"/>
                  <a:gd name="connsiteX84" fmla="*/ 1593850 w 5226051"/>
                  <a:gd name="connsiteY84" fmla="*/ 1371600 h 6451600"/>
                  <a:gd name="connsiteX85" fmla="*/ 1660525 w 5226051"/>
                  <a:gd name="connsiteY85" fmla="*/ 1362075 h 6451600"/>
                  <a:gd name="connsiteX86" fmla="*/ 1730375 w 5226051"/>
                  <a:gd name="connsiteY86" fmla="*/ 1358900 h 6451600"/>
                  <a:gd name="connsiteX87" fmla="*/ 1800225 w 5226051"/>
                  <a:gd name="connsiteY87" fmla="*/ 1358900 h 6451600"/>
                  <a:gd name="connsiteX88" fmla="*/ 1873250 w 5226051"/>
                  <a:gd name="connsiteY88" fmla="*/ 1362075 h 6451600"/>
                  <a:gd name="connsiteX89" fmla="*/ 2022475 w 5226051"/>
                  <a:gd name="connsiteY89" fmla="*/ 1368425 h 6451600"/>
                  <a:gd name="connsiteX90" fmla="*/ 2095500 w 5226051"/>
                  <a:gd name="connsiteY90" fmla="*/ 1371600 h 6451600"/>
                  <a:gd name="connsiteX91" fmla="*/ 2165350 w 5226051"/>
                  <a:gd name="connsiteY91" fmla="*/ 1371600 h 6451600"/>
                  <a:gd name="connsiteX92" fmla="*/ 2736850 w 5226051"/>
                  <a:gd name="connsiteY92" fmla="*/ 1371600 h 6451600"/>
                  <a:gd name="connsiteX93" fmla="*/ 2860675 w 5226051"/>
                  <a:gd name="connsiteY93" fmla="*/ 1368425 h 6451600"/>
                  <a:gd name="connsiteX94" fmla="*/ 3006725 w 5226051"/>
                  <a:gd name="connsiteY94" fmla="*/ 1362075 h 6451600"/>
                  <a:gd name="connsiteX95" fmla="*/ 3162300 w 5226051"/>
                  <a:gd name="connsiteY95" fmla="*/ 1355725 h 6451600"/>
                  <a:gd name="connsiteX96" fmla="*/ 3117851 w 5226051"/>
                  <a:gd name="connsiteY96" fmla="*/ 762001 h 6451600"/>
                  <a:gd name="connsiteX97" fmla="*/ 3111501 w 5226051"/>
                  <a:gd name="connsiteY97" fmla="*/ 784226 h 6451600"/>
                  <a:gd name="connsiteX98" fmla="*/ 3105151 w 5226051"/>
                  <a:gd name="connsiteY98" fmla="*/ 812801 h 6451600"/>
                  <a:gd name="connsiteX99" fmla="*/ 3105151 w 5226051"/>
                  <a:gd name="connsiteY99" fmla="*/ 841376 h 6451600"/>
                  <a:gd name="connsiteX100" fmla="*/ 3105151 w 5226051"/>
                  <a:gd name="connsiteY100" fmla="*/ 876301 h 6451600"/>
                  <a:gd name="connsiteX101" fmla="*/ 3108326 w 5226051"/>
                  <a:gd name="connsiteY101" fmla="*/ 939801 h 6451600"/>
                  <a:gd name="connsiteX102" fmla="*/ 3108326 w 5226051"/>
                  <a:gd name="connsiteY102" fmla="*/ 974726 h 6451600"/>
                  <a:gd name="connsiteX103" fmla="*/ 3105151 w 5226051"/>
                  <a:gd name="connsiteY103" fmla="*/ 1003301 h 6451600"/>
                  <a:gd name="connsiteX104" fmla="*/ 4845051 w 5226051"/>
                  <a:gd name="connsiteY104" fmla="*/ 1003301 h 6451600"/>
                  <a:gd name="connsiteX105" fmla="*/ 4845051 w 5226051"/>
                  <a:gd name="connsiteY105" fmla="*/ 762001 h 6451600"/>
                  <a:gd name="connsiteX106" fmla="*/ 387350 w 5226051"/>
                  <a:gd name="connsiteY106" fmla="*/ 762001 h 6451600"/>
                  <a:gd name="connsiteX107" fmla="*/ 381000 w 5226051"/>
                  <a:gd name="connsiteY107" fmla="*/ 784226 h 6451600"/>
                  <a:gd name="connsiteX108" fmla="*/ 374650 w 5226051"/>
                  <a:gd name="connsiteY108" fmla="*/ 815976 h 6451600"/>
                  <a:gd name="connsiteX109" fmla="*/ 371475 w 5226051"/>
                  <a:gd name="connsiteY109" fmla="*/ 847726 h 6451600"/>
                  <a:gd name="connsiteX110" fmla="*/ 371475 w 5226051"/>
                  <a:gd name="connsiteY110" fmla="*/ 882651 h 6451600"/>
                  <a:gd name="connsiteX111" fmla="*/ 374650 w 5226051"/>
                  <a:gd name="connsiteY111" fmla="*/ 917576 h 6451600"/>
                  <a:gd name="connsiteX112" fmla="*/ 377825 w 5226051"/>
                  <a:gd name="connsiteY112" fmla="*/ 949326 h 6451600"/>
                  <a:gd name="connsiteX113" fmla="*/ 381000 w 5226051"/>
                  <a:gd name="connsiteY113" fmla="*/ 981076 h 6451600"/>
                  <a:gd name="connsiteX114" fmla="*/ 387350 w 5226051"/>
                  <a:gd name="connsiteY114" fmla="*/ 1003301 h 6451600"/>
                  <a:gd name="connsiteX115" fmla="*/ 2114550 w 5226051"/>
                  <a:gd name="connsiteY115" fmla="*/ 1003301 h 6451600"/>
                  <a:gd name="connsiteX116" fmla="*/ 2114550 w 5226051"/>
                  <a:gd name="connsiteY116" fmla="*/ 762001 h 6451600"/>
                  <a:gd name="connsiteX117" fmla="*/ 3073401 w 5226051"/>
                  <a:gd name="connsiteY117" fmla="*/ 6350 h 6451600"/>
                  <a:gd name="connsiteX118" fmla="*/ 3127376 w 5226051"/>
                  <a:gd name="connsiteY118" fmla="*/ 6350 h 6451600"/>
                  <a:gd name="connsiteX119" fmla="*/ 3248026 w 5226051"/>
                  <a:gd name="connsiteY119" fmla="*/ 6350 h 6451600"/>
                  <a:gd name="connsiteX120" fmla="*/ 3368676 w 5226051"/>
                  <a:gd name="connsiteY120" fmla="*/ 9525 h 6451600"/>
                  <a:gd name="connsiteX121" fmla="*/ 3486151 w 5226051"/>
                  <a:gd name="connsiteY121" fmla="*/ 12700 h 6451600"/>
                  <a:gd name="connsiteX122" fmla="*/ 4578351 w 5226051"/>
                  <a:gd name="connsiteY122" fmla="*/ 12700 h 6451600"/>
                  <a:gd name="connsiteX123" fmla="*/ 4679951 w 5226051"/>
                  <a:gd name="connsiteY123" fmla="*/ 12700 h 6451600"/>
                  <a:gd name="connsiteX124" fmla="*/ 4778376 w 5226051"/>
                  <a:gd name="connsiteY124" fmla="*/ 9525 h 6451600"/>
                  <a:gd name="connsiteX125" fmla="*/ 4873626 w 5226051"/>
                  <a:gd name="connsiteY125" fmla="*/ 9525 h 6451600"/>
                  <a:gd name="connsiteX126" fmla="*/ 4921251 w 5226051"/>
                  <a:gd name="connsiteY126" fmla="*/ 12700 h 6451600"/>
                  <a:gd name="connsiteX127" fmla="*/ 4965701 w 5226051"/>
                  <a:gd name="connsiteY127" fmla="*/ 15875 h 6451600"/>
                  <a:gd name="connsiteX128" fmla="*/ 5006976 w 5226051"/>
                  <a:gd name="connsiteY128" fmla="*/ 22225 h 6451600"/>
                  <a:gd name="connsiteX129" fmla="*/ 5045076 w 5226051"/>
                  <a:gd name="connsiteY129" fmla="*/ 31750 h 6451600"/>
                  <a:gd name="connsiteX130" fmla="*/ 5080001 w 5226051"/>
                  <a:gd name="connsiteY130" fmla="*/ 41275 h 6451600"/>
                  <a:gd name="connsiteX131" fmla="*/ 5111751 w 5226051"/>
                  <a:gd name="connsiteY131" fmla="*/ 57150 h 6451600"/>
                  <a:gd name="connsiteX132" fmla="*/ 5140326 w 5226051"/>
                  <a:gd name="connsiteY132" fmla="*/ 79375 h 6451600"/>
                  <a:gd name="connsiteX133" fmla="*/ 5165726 w 5226051"/>
                  <a:gd name="connsiteY133" fmla="*/ 101600 h 6451600"/>
                  <a:gd name="connsiteX134" fmla="*/ 5187951 w 5226051"/>
                  <a:gd name="connsiteY134" fmla="*/ 130175 h 6451600"/>
                  <a:gd name="connsiteX135" fmla="*/ 5200651 w 5226051"/>
                  <a:gd name="connsiteY135" fmla="*/ 165100 h 6451600"/>
                  <a:gd name="connsiteX136" fmla="*/ 5210176 w 5226051"/>
                  <a:gd name="connsiteY136" fmla="*/ 190500 h 6451600"/>
                  <a:gd name="connsiteX137" fmla="*/ 5216526 w 5226051"/>
                  <a:gd name="connsiteY137" fmla="*/ 219075 h 6451600"/>
                  <a:gd name="connsiteX138" fmla="*/ 5222876 w 5226051"/>
                  <a:gd name="connsiteY138" fmla="*/ 285750 h 6451600"/>
                  <a:gd name="connsiteX139" fmla="*/ 5226051 w 5226051"/>
                  <a:gd name="connsiteY139" fmla="*/ 361950 h 6451600"/>
                  <a:gd name="connsiteX140" fmla="*/ 5226051 w 5226051"/>
                  <a:gd name="connsiteY140" fmla="*/ 444500 h 6451600"/>
                  <a:gd name="connsiteX141" fmla="*/ 5219701 w 5226051"/>
                  <a:gd name="connsiteY141" fmla="*/ 612775 h 6451600"/>
                  <a:gd name="connsiteX142" fmla="*/ 5216526 w 5226051"/>
                  <a:gd name="connsiteY142" fmla="*/ 695325 h 6451600"/>
                  <a:gd name="connsiteX143" fmla="*/ 5213351 w 5226051"/>
                  <a:gd name="connsiteY143" fmla="*/ 774700 h 6451600"/>
                  <a:gd name="connsiteX144" fmla="*/ 5213351 w 5226051"/>
                  <a:gd name="connsiteY144" fmla="*/ 5092700 h 6451600"/>
                  <a:gd name="connsiteX145" fmla="*/ 5073651 w 5226051"/>
                  <a:gd name="connsiteY145" fmla="*/ 5092700 h 6451600"/>
                  <a:gd name="connsiteX146" fmla="*/ 4933951 w 5226051"/>
                  <a:gd name="connsiteY146" fmla="*/ 5092700 h 6451600"/>
                  <a:gd name="connsiteX147" fmla="*/ 4648201 w 5226051"/>
                  <a:gd name="connsiteY147" fmla="*/ 5095875 h 6451600"/>
                  <a:gd name="connsiteX148" fmla="*/ 4505326 w 5226051"/>
                  <a:gd name="connsiteY148" fmla="*/ 5095875 h 6451600"/>
                  <a:gd name="connsiteX149" fmla="*/ 4365626 w 5226051"/>
                  <a:gd name="connsiteY149" fmla="*/ 5095875 h 6451600"/>
                  <a:gd name="connsiteX150" fmla="*/ 4229101 w 5226051"/>
                  <a:gd name="connsiteY150" fmla="*/ 5089525 h 6451600"/>
                  <a:gd name="connsiteX151" fmla="*/ 4095751 w 5226051"/>
                  <a:gd name="connsiteY151" fmla="*/ 5080000 h 6451600"/>
                  <a:gd name="connsiteX152" fmla="*/ 4095751 w 5226051"/>
                  <a:gd name="connsiteY152" fmla="*/ 4597400 h 6451600"/>
                  <a:gd name="connsiteX153" fmla="*/ 4832351 w 5226051"/>
                  <a:gd name="connsiteY153" fmla="*/ 4597400 h 6451600"/>
                  <a:gd name="connsiteX154" fmla="*/ 4841876 w 5226051"/>
                  <a:gd name="connsiteY154" fmla="*/ 4575175 h 6451600"/>
                  <a:gd name="connsiteX155" fmla="*/ 4848226 w 5226051"/>
                  <a:gd name="connsiteY155" fmla="*/ 4546600 h 6451600"/>
                  <a:gd name="connsiteX156" fmla="*/ 4848226 w 5226051"/>
                  <a:gd name="connsiteY156" fmla="*/ 4518025 h 6451600"/>
                  <a:gd name="connsiteX157" fmla="*/ 4848226 w 5226051"/>
                  <a:gd name="connsiteY157" fmla="*/ 4486275 h 6451600"/>
                  <a:gd name="connsiteX158" fmla="*/ 4845051 w 5226051"/>
                  <a:gd name="connsiteY158" fmla="*/ 4419600 h 6451600"/>
                  <a:gd name="connsiteX159" fmla="*/ 4845051 w 5226051"/>
                  <a:gd name="connsiteY159" fmla="*/ 4387850 h 6451600"/>
                  <a:gd name="connsiteX160" fmla="*/ 4845051 w 5226051"/>
                  <a:gd name="connsiteY160" fmla="*/ 4356100 h 6451600"/>
                  <a:gd name="connsiteX161" fmla="*/ 4108451 w 5226051"/>
                  <a:gd name="connsiteY161" fmla="*/ 4356100 h 6451600"/>
                  <a:gd name="connsiteX162" fmla="*/ 4102101 w 5226051"/>
                  <a:gd name="connsiteY162" fmla="*/ 4330700 h 6451600"/>
                  <a:gd name="connsiteX163" fmla="*/ 4095751 w 5226051"/>
                  <a:gd name="connsiteY163" fmla="*/ 4302125 h 6451600"/>
                  <a:gd name="connsiteX164" fmla="*/ 4095751 w 5226051"/>
                  <a:gd name="connsiteY164" fmla="*/ 4270375 h 6451600"/>
                  <a:gd name="connsiteX165" fmla="*/ 4095751 w 5226051"/>
                  <a:gd name="connsiteY165" fmla="*/ 4238625 h 6451600"/>
                  <a:gd name="connsiteX166" fmla="*/ 4098926 w 5226051"/>
                  <a:gd name="connsiteY166" fmla="*/ 4168775 h 6451600"/>
                  <a:gd name="connsiteX167" fmla="*/ 4098926 w 5226051"/>
                  <a:gd name="connsiteY167" fmla="*/ 4133850 h 6451600"/>
                  <a:gd name="connsiteX168" fmla="*/ 4095751 w 5226051"/>
                  <a:gd name="connsiteY168" fmla="*/ 4102100 h 6451600"/>
                  <a:gd name="connsiteX169" fmla="*/ 4832351 w 5226051"/>
                  <a:gd name="connsiteY169" fmla="*/ 4102100 h 6451600"/>
                  <a:gd name="connsiteX170" fmla="*/ 4841876 w 5226051"/>
                  <a:gd name="connsiteY170" fmla="*/ 4079875 h 6451600"/>
                  <a:gd name="connsiteX171" fmla="*/ 4848226 w 5226051"/>
                  <a:gd name="connsiteY171" fmla="*/ 4051300 h 6451600"/>
                  <a:gd name="connsiteX172" fmla="*/ 4848226 w 5226051"/>
                  <a:gd name="connsiteY172" fmla="*/ 4022725 h 6451600"/>
                  <a:gd name="connsiteX173" fmla="*/ 4848226 w 5226051"/>
                  <a:gd name="connsiteY173" fmla="*/ 3990975 h 6451600"/>
                  <a:gd name="connsiteX174" fmla="*/ 4845051 w 5226051"/>
                  <a:gd name="connsiteY174" fmla="*/ 3924300 h 6451600"/>
                  <a:gd name="connsiteX175" fmla="*/ 4845051 w 5226051"/>
                  <a:gd name="connsiteY175" fmla="*/ 3892550 h 6451600"/>
                  <a:gd name="connsiteX176" fmla="*/ 4845051 w 5226051"/>
                  <a:gd name="connsiteY176" fmla="*/ 3860800 h 6451600"/>
                  <a:gd name="connsiteX177" fmla="*/ 4759326 w 5226051"/>
                  <a:gd name="connsiteY177" fmla="*/ 3854450 h 6451600"/>
                  <a:gd name="connsiteX178" fmla="*/ 4670426 w 5226051"/>
                  <a:gd name="connsiteY178" fmla="*/ 3848100 h 6451600"/>
                  <a:gd name="connsiteX179" fmla="*/ 4575176 w 5226051"/>
                  <a:gd name="connsiteY179" fmla="*/ 3848100 h 6451600"/>
                  <a:gd name="connsiteX180" fmla="*/ 4479926 w 5226051"/>
                  <a:gd name="connsiteY180" fmla="*/ 3848100 h 6451600"/>
                  <a:gd name="connsiteX181" fmla="*/ 4286251 w 5226051"/>
                  <a:gd name="connsiteY181" fmla="*/ 3851275 h 6451600"/>
                  <a:gd name="connsiteX182" fmla="*/ 4191001 w 5226051"/>
                  <a:gd name="connsiteY182" fmla="*/ 3851275 h 6451600"/>
                  <a:gd name="connsiteX183" fmla="*/ 4095751 w 5226051"/>
                  <a:gd name="connsiteY183" fmla="*/ 3848100 h 6451600"/>
                  <a:gd name="connsiteX184" fmla="*/ 4095751 w 5226051"/>
                  <a:gd name="connsiteY184" fmla="*/ 2095500 h 6451600"/>
                  <a:gd name="connsiteX185" fmla="*/ 4098926 w 5226051"/>
                  <a:gd name="connsiteY185" fmla="*/ 2012950 h 6451600"/>
                  <a:gd name="connsiteX186" fmla="*/ 4102101 w 5226051"/>
                  <a:gd name="connsiteY186" fmla="*/ 1924050 h 6451600"/>
                  <a:gd name="connsiteX187" fmla="*/ 4105276 w 5226051"/>
                  <a:gd name="connsiteY187" fmla="*/ 1746250 h 6451600"/>
                  <a:gd name="connsiteX188" fmla="*/ 4105276 w 5226051"/>
                  <a:gd name="connsiteY188" fmla="*/ 1660525 h 6451600"/>
                  <a:gd name="connsiteX189" fmla="*/ 4102101 w 5226051"/>
                  <a:gd name="connsiteY189" fmla="*/ 1581150 h 6451600"/>
                  <a:gd name="connsiteX190" fmla="*/ 4095751 w 5226051"/>
                  <a:gd name="connsiteY190" fmla="*/ 1546225 h 6451600"/>
                  <a:gd name="connsiteX191" fmla="*/ 4089401 w 5226051"/>
                  <a:gd name="connsiteY191" fmla="*/ 1511300 h 6451600"/>
                  <a:gd name="connsiteX192" fmla="*/ 4083051 w 5226051"/>
                  <a:gd name="connsiteY192" fmla="*/ 1476375 h 6451600"/>
                  <a:gd name="connsiteX193" fmla="*/ 4070351 w 5226051"/>
                  <a:gd name="connsiteY193" fmla="*/ 1447800 h 6451600"/>
                  <a:gd name="connsiteX194" fmla="*/ 4057651 w 5226051"/>
                  <a:gd name="connsiteY194" fmla="*/ 1419225 h 6451600"/>
                  <a:gd name="connsiteX195" fmla="*/ 4044951 w 5226051"/>
                  <a:gd name="connsiteY195" fmla="*/ 1390650 h 6451600"/>
                  <a:gd name="connsiteX196" fmla="*/ 4025901 w 5226051"/>
                  <a:gd name="connsiteY196" fmla="*/ 1362075 h 6451600"/>
                  <a:gd name="connsiteX197" fmla="*/ 4010026 w 5226051"/>
                  <a:gd name="connsiteY197" fmla="*/ 1333500 h 6451600"/>
                  <a:gd name="connsiteX198" fmla="*/ 3987801 w 5226051"/>
                  <a:gd name="connsiteY198" fmla="*/ 1308100 h 6451600"/>
                  <a:gd name="connsiteX199" fmla="*/ 3968751 w 5226051"/>
                  <a:gd name="connsiteY199" fmla="*/ 1285875 h 6451600"/>
                  <a:gd name="connsiteX200" fmla="*/ 3946526 w 5226051"/>
                  <a:gd name="connsiteY200" fmla="*/ 1260475 h 6451600"/>
                  <a:gd name="connsiteX201" fmla="*/ 3921126 w 5226051"/>
                  <a:gd name="connsiteY201" fmla="*/ 1238250 h 6451600"/>
                  <a:gd name="connsiteX202" fmla="*/ 3895726 w 5226051"/>
                  <a:gd name="connsiteY202" fmla="*/ 1219200 h 6451600"/>
                  <a:gd name="connsiteX203" fmla="*/ 3867151 w 5226051"/>
                  <a:gd name="connsiteY203" fmla="*/ 1200150 h 6451600"/>
                  <a:gd name="connsiteX204" fmla="*/ 3838576 w 5226051"/>
                  <a:gd name="connsiteY204" fmla="*/ 1184275 h 6451600"/>
                  <a:gd name="connsiteX205" fmla="*/ 3810001 w 5226051"/>
                  <a:gd name="connsiteY205" fmla="*/ 1168400 h 6451600"/>
                  <a:gd name="connsiteX206" fmla="*/ 3778251 w 5226051"/>
                  <a:gd name="connsiteY206" fmla="*/ 1155700 h 6451600"/>
                  <a:gd name="connsiteX207" fmla="*/ 3746501 w 5226051"/>
                  <a:gd name="connsiteY207" fmla="*/ 1146175 h 6451600"/>
                  <a:gd name="connsiteX208" fmla="*/ 3711576 w 5226051"/>
                  <a:gd name="connsiteY208" fmla="*/ 1136650 h 6451600"/>
                  <a:gd name="connsiteX209" fmla="*/ 3676651 w 5226051"/>
                  <a:gd name="connsiteY209" fmla="*/ 1130300 h 6451600"/>
                  <a:gd name="connsiteX210" fmla="*/ 3629026 w 5226051"/>
                  <a:gd name="connsiteY210" fmla="*/ 1123950 h 6451600"/>
                  <a:gd name="connsiteX211" fmla="*/ 3578226 w 5226051"/>
                  <a:gd name="connsiteY211" fmla="*/ 1120775 h 6451600"/>
                  <a:gd name="connsiteX212" fmla="*/ 3470276 w 5226051"/>
                  <a:gd name="connsiteY212" fmla="*/ 1117600 h 6451600"/>
                  <a:gd name="connsiteX213" fmla="*/ 3359151 w 5226051"/>
                  <a:gd name="connsiteY213" fmla="*/ 1120775 h 6451600"/>
                  <a:gd name="connsiteX214" fmla="*/ 3238501 w 5226051"/>
                  <a:gd name="connsiteY214" fmla="*/ 1127125 h 6451600"/>
                  <a:gd name="connsiteX215" fmla="*/ 3117851 w 5226051"/>
                  <a:gd name="connsiteY215" fmla="*/ 1133475 h 6451600"/>
                  <a:gd name="connsiteX216" fmla="*/ 2994026 w 5226051"/>
                  <a:gd name="connsiteY216" fmla="*/ 1136650 h 6451600"/>
                  <a:gd name="connsiteX217" fmla="*/ 2867026 w 5226051"/>
                  <a:gd name="connsiteY217" fmla="*/ 1136650 h 6451600"/>
                  <a:gd name="connsiteX218" fmla="*/ 2800351 w 5226051"/>
                  <a:gd name="connsiteY218" fmla="*/ 1133475 h 6451600"/>
                  <a:gd name="connsiteX219" fmla="*/ 2736851 w 5226051"/>
                  <a:gd name="connsiteY219" fmla="*/ 1130300 h 6451600"/>
                  <a:gd name="connsiteX220" fmla="*/ 2736851 w 5226051"/>
                  <a:gd name="connsiteY220" fmla="*/ 190500 h 6451600"/>
                  <a:gd name="connsiteX221" fmla="*/ 2743201 w 5226051"/>
                  <a:gd name="connsiteY221" fmla="*/ 168275 h 6451600"/>
                  <a:gd name="connsiteX222" fmla="*/ 2752726 w 5226051"/>
                  <a:gd name="connsiteY222" fmla="*/ 149225 h 6451600"/>
                  <a:gd name="connsiteX223" fmla="*/ 2762251 w 5226051"/>
                  <a:gd name="connsiteY223" fmla="*/ 130175 h 6451600"/>
                  <a:gd name="connsiteX224" fmla="*/ 2774951 w 5226051"/>
                  <a:gd name="connsiteY224" fmla="*/ 114300 h 6451600"/>
                  <a:gd name="connsiteX225" fmla="*/ 2787651 w 5226051"/>
                  <a:gd name="connsiteY225" fmla="*/ 98425 h 6451600"/>
                  <a:gd name="connsiteX226" fmla="*/ 2803526 w 5226051"/>
                  <a:gd name="connsiteY226" fmla="*/ 85725 h 6451600"/>
                  <a:gd name="connsiteX227" fmla="*/ 2838451 w 5226051"/>
                  <a:gd name="connsiteY227" fmla="*/ 60325 h 6451600"/>
                  <a:gd name="connsiteX228" fmla="*/ 2876551 w 5226051"/>
                  <a:gd name="connsiteY228" fmla="*/ 41275 h 6451600"/>
                  <a:gd name="connsiteX229" fmla="*/ 2921001 w 5226051"/>
                  <a:gd name="connsiteY229" fmla="*/ 28575 h 6451600"/>
                  <a:gd name="connsiteX230" fmla="*/ 2968626 w 5226051"/>
                  <a:gd name="connsiteY230" fmla="*/ 19050 h 6451600"/>
                  <a:gd name="connsiteX231" fmla="*/ 3019426 w 5226051"/>
                  <a:gd name="connsiteY231" fmla="*/ 12700 h 6451600"/>
                  <a:gd name="connsiteX232" fmla="*/ 387350 w 5226051"/>
                  <a:gd name="connsiteY232" fmla="*/ 0 h 6451600"/>
                  <a:gd name="connsiteX233" fmla="*/ 454025 w 5226051"/>
                  <a:gd name="connsiteY233" fmla="*/ 3175 h 6451600"/>
                  <a:gd name="connsiteX234" fmla="*/ 596900 w 5226051"/>
                  <a:gd name="connsiteY234" fmla="*/ 9525 h 6451600"/>
                  <a:gd name="connsiteX235" fmla="*/ 742950 w 5226051"/>
                  <a:gd name="connsiteY235" fmla="*/ 12700 h 6451600"/>
                  <a:gd name="connsiteX236" fmla="*/ 1809750 w 5226051"/>
                  <a:gd name="connsiteY236" fmla="*/ 12700 h 6451600"/>
                  <a:gd name="connsiteX237" fmla="*/ 2016125 w 5226051"/>
                  <a:gd name="connsiteY237" fmla="*/ 9525 h 6451600"/>
                  <a:gd name="connsiteX238" fmla="*/ 2117725 w 5226051"/>
                  <a:gd name="connsiteY238" fmla="*/ 9525 h 6451600"/>
                  <a:gd name="connsiteX239" fmla="*/ 2165350 w 5226051"/>
                  <a:gd name="connsiteY239" fmla="*/ 12700 h 6451600"/>
                  <a:gd name="connsiteX240" fmla="*/ 2212975 w 5226051"/>
                  <a:gd name="connsiteY240" fmla="*/ 15875 h 6451600"/>
                  <a:gd name="connsiteX241" fmla="*/ 2257425 w 5226051"/>
                  <a:gd name="connsiteY241" fmla="*/ 22225 h 6451600"/>
                  <a:gd name="connsiteX242" fmla="*/ 2301875 w 5226051"/>
                  <a:gd name="connsiteY242" fmla="*/ 28575 h 6451600"/>
                  <a:gd name="connsiteX243" fmla="*/ 2339975 w 5226051"/>
                  <a:gd name="connsiteY243" fmla="*/ 41275 h 6451600"/>
                  <a:gd name="connsiteX244" fmla="*/ 2374900 w 5226051"/>
                  <a:gd name="connsiteY244" fmla="*/ 53975 h 6451600"/>
                  <a:gd name="connsiteX245" fmla="*/ 2406650 w 5226051"/>
                  <a:gd name="connsiteY245" fmla="*/ 73025 h 6451600"/>
                  <a:gd name="connsiteX246" fmla="*/ 2432050 w 5226051"/>
                  <a:gd name="connsiteY246" fmla="*/ 95250 h 6451600"/>
                  <a:gd name="connsiteX247" fmla="*/ 2454275 w 5226051"/>
                  <a:gd name="connsiteY247" fmla="*/ 120650 h 6451600"/>
                  <a:gd name="connsiteX248" fmla="*/ 2470150 w 5226051"/>
                  <a:gd name="connsiteY248" fmla="*/ 152400 h 6451600"/>
                  <a:gd name="connsiteX249" fmla="*/ 2479675 w 5226051"/>
                  <a:gd name="connsiteY249" fmla="*/ 177800 h 6451600"/>
                  <a:gd name="connsiteX250" fmla="*/ 2486025 w 5226051"/>
                  <a:gd name="connsiteY250" fmla="*/ 203200 h 6451600"/>
                  <a:gd name="connsiteX251" fmla="*/ 2495550 w 5226051"/>
                  <a:gd name="connsiteY251" fmla="*/ 263525 h 6451600"/>
                  <a:gd name="connsiteX252" fmla="*/ 2498725 w 5226051"/>
                  <a:gd name="connsiteY252" fmla="*/ 323850 h 6451600"/>
                  <a:gd name="connsiteX253" fmla="*/ 2495550 w 5226051"/>
                  <a:gd name="connsiteY253" fmla="*/ 390525 h 6451600"/>
                  <a:gd name="connsiteX254" fmla="*/ 2489200 w 5226051"/>
                  <a:gd name="connsiteY254" fmla="*/ 517525 h 6451600"/>
                  <a:gd name="connsiteX255" fmla="*/ 2486025 w 5226051"/>
                  <a:gd name="connsiteY255" fmla="*/ 581025 h 6451600"/>
                  <a:gd name="connsiteX256" fmla="*/ 2482850 w 5226051"/>
                  <a:gd name="connsiteY256" fmla="*/ 635000 h 6451600"/>
                  <a:gd name="connsiteX257" fmla="*/ 2482850 w 5226051"/>
                  <a:gd name="connsiteY257" fmla="*/ 1130300 h 6451600"/>
                  <a:gd name="connsiteX258" fmla="*/ 2413000 w 5226051"/>
                  <a:gd name="connsiteY258" fmla="*/ 1136650 h 6451600"/>
                  <a:gd name="connsiteX259" fmla="*/ 2343150 w 5226051"/>
                  <a:gd name="connsiteY259" fmla="*/ 1139825 h 6451600"/>
                  <a:gd name="connsiteX260" fmla="*/ 2270125 w 5226051"/>
                  <a:gd name="connsiteY260" fmla="*/ 1139825 h 6451600"/>
                  <a:gd name="connsiteX261" fmla="*/ 2197100 w 5226051"/>
                  <a:gd name="connsiteY261" fmla="*/ 1136650 h 6451600"/>
                  <a:gd name="connsiteX262" fmla="*/ 2051050 w 5226051"/>
                  <a:gd name="connsiteY262" fmla="*/ 1130300 h 6451600"/>
                  <a:gd name="connsiteX263" fmla="*/ 1908175 w 5226051"/>
                  <a:gd name="connsiteY263" fmla="*/ 1123950 h 6451600"/>
                  <a:gd name="connsiteX264" fmla="*/ 1771650 w 5226051"/>
                  <a:gd name="connsiteY264" fmla="*/ 1120775 h 6451600"/>
                  <a:gd name="connsiteX265" fmla="*/ 1704975 w 5226051"/>
                  <a:gd name="connsiteY265" fmla="*/ 1120775 h 6451600"/>
                  <a:gd name="connsiteX266" fmla="*/ 1641475 w 5226051"/>
                  <a:gd name="connsiteY266" fmla="*/ 1123950 h 6451600"/>
                  <a:gd name="connsiteX267" fmla="*/ 1577975 w 5226051"/>
                  <a:gd name="connsiteY267" fmla="*/ 1130300 h 6451600"/>
                  <a:gd name="connsiteX268" fmla="*/ 1520825 w 5226051"/>
                  <a:gd name="connsiteY268" fmla="*/ 1136650 h 6451600"/>
                  <a:gd name="connsiteX269" fmla="*/ 1466850 w 5226051"/>
                  <a:gd name="connsiteY269" fmla="*/ 1152525 h 6451600"/>
                  <a:gd name="connsiteX270" fmla="*/ 1416050 w 5226051"/>
                  <a:gd name="connsiteY270" fmla="*/ 1168400 h 6451600"/>
                  <a:gd name="connsiteX271" fmla="*/ 1390650 w 5226051"/>
                  <a:gd name="connsiteY271" fmla="*/ 1181100 h 6451600"/>
                  <a:gd name="connsiteX272" fmla="*/ 1368425 w 5226051"/>
                  <a:gd name="connsiteY272" fmla="*/ 1193800 h 6451600"/>
                  <a:gd name="connsiteX273" fmla="*/ 1320800 w 5226051"/>
                  <a:gd name="connsiteY273" fmla="*/ 1225550 h 6451600"/>
                  <a:gd name="connsiteX274" fmla="*/ 1273175 w 5226051"/>
                  <a:gd name="connsiteY274" fmla="*/ 1263650 h 6451600"/>
                  <a:gd name="connsiteX275" fmla="*/ 1231900 w 5226051"/>
                  <a:gd name="connsiteY275" fmla="*/ 1308100 h 6451600"/>
                  <a:gd name="connsiteX276" fmla="*/ 1193800 w 5226051"/>
                  <a:gd name="connsiteY276" fmla="*/ 1358900 h 6451600"/>
                  <a:gd name="connsiteX277" fmla="*/ 1162050 w 5226051"/>
                  <a:gd name="connsiteY277" fmla="*/ 1412875 h 6451600"/>
                  <a:gd name="connsiteX278" fmla="*/ 1149350 w 5226051"/>
                  <a:gd name="connsiteY278" fmla="*/ 1438275 h 6451600"/>
                  <a:gd name="connsiteX279" fmla="*/ 1139825 w 5226051"/>
                  <a:gd name="connsiteY279" fmla="*/ 1466850 h 6451600"/>
                  <a:gd name="connsiteX280" fmla="*/ 1130300 w 5226051"/>
                  <a:gd name="connsiteY280" fmla="*/ 1495425 h 6451600"/>
                  <a:gd name="connsiteX281" fmla="*/ 1123950 w 5226051"/>
                  <a:gd name="connsiteY281" fmla="*/ 1524000 h 6451600"/>
                  <a:gd name="connsiteX282" fmla="*/ 1117600 w 5226051"/>
                  <a:gd name="connsiteY282" fmla="*/ 1587500 h 6451600"/>
                  <a:gd name="connsiteX283" fmla="*/ 1111250 w 5226051"/>
                  <a:gd name="connsiteY283" fmla="*/ 1657350 h 6451600"/>
                  <a:gd name="connsiteX284" fmla="*/ 1111250 w 5226051"/>
                  <a:gd name="connsiteY284" fmla="*/ 1727200 h 6451600"/>
                  <a:gd name="connsiteX285" fmla="*/ 1114425 w 5226051"/>
                  <a:gd name="connsiteY285" fmla="*/ 1800225 h 6451600"/>
                  <a:gd name="connsiteX286" fmla="*/ 1120775 w 5226051"/>
                  <a:gd name="connsiteY286" fmla="*/ 1952625 h 6451600"/>
                  <a:gd name="connsiteX287" fmla="*/ 1123950 w 5226051"/>
                  <a:gd name="connsiteY287" fmla="*/ 2032000 h 6451600"/>
                  <a:gd name="connsiteX288" fmla="*/ 1123950 w 5226051"/>
                  <a:gd name="connsiteY288" fmla="*/ 2108200 h 6451600"/>
                  <a:gd name="connsiteX289" fmla="*/ 1123950 w 5226051"/>
                  <a:gd name="connsiteY289" fmla="*/ 3848100 h 6451600"/>
                  <a:gd name="connsiteX290" fmla="*/ 387350 w 5226051"/>
                  <a:gd name="connsiteY290" fmla="*/ 3848100 h 6451600"/>
                  <a:gd name="connsiteX291" fmla="*/ 381000 w 5226051"/>
                  <a:gd name="connsiteY291" fmla="*/ 3873500 h 6451600"/>
                  <a:gd name="connsiteX292" fmla="*/ 374650 w 5226051"/>
                  <a:gd name="connsiteY292" fmla="*/ 3898900 h 6451600"/>
                  <a:gd name="connsiteX293" fmla="*/ 374650 w 5226051"/>
                  <a:gd name="connsiteY293" fmla="*/ 3930650 h 6451600"/>
                  <a:gd name="connsiteX294" fmla="*/ 374650 w 5226051"/>
                  <a:gd name="connsiteY294" fmla="*/ 3962400 h 6451600"/>
                  <a:gd name="connsiteX295" fmla="*/ 374650 w 5226051"/>
                  <a:gd name="connsiteY295" fmla="*/ 4029075 h 6451600"/>
                  <a:gd name="connsiteX296" fmla="*/ 374650 w 5226051"/>
                  <a:gd name="connsiteY296" fmla="*/ 4060825 h 6451600"/>
                  <a:gd name="connsiteX297" fmla="*/ 374650 w 5226051"/>
                  <a:gd name="connsiteY297" fmla="*/ 4089400 h 6451600"/>
                  <a:gd name="connsiteX298" fmla="*/ 460375 w 5226051"/>
                  <a:gd name="connsiteY298" fmla="*/ 4098925 h 6451600"/>
                  <a:gd name="connsiteX299" fmla="*/ 552450 w 5226051"/>
                  <a:gd name="connsiteY299" fmla="*/ 4102100 h 6451600"/>
                  <a:gd name="connsiteX300" fmla="*/ 644525 w 5226051"/>
                  <a:gd name="connsiteY300" fmla="*/ 4105275 h 6451600"/>
                  <a:gd name="connsiteX301" fmla="*/ 742950 w 5226051"/>
                  <a:gd name="connsiteY301" fmla="*/ 4105275 h 6451600"/>
                  <a:gd name="connsiteX302" fmla="*/ 936625 w 5226051"/>
                  <a:gd name="connsiteY302" fmla="*/ 4102100 h 6451600"/>
                  <a:gd name="connsiteX303" fmla="*/ 1031875 w 5226051"/>
                  <a:gd name="connsiteY303" fmla="*/ 4102100 h 6451600"/>
                  <a:gd name="connsiteX304" fmla="*/ 1123950 w 5226051"/>
                  <a:gd name="connsiteY304" fmla="*/ 4102100 h 6451600"/>
                  <a:gd name="connsiteX305" fmla="*/ 1123950 w 5226051"/>
                  <a:gd name="connsiteY305" fmla="*/ 4133850 h 6451600"/>
                  <a:gd name="connsiteX306" fmla="*/ 1123950 w 5226051"/>
                  <a:gd name="connsiteY306" fmla="*/ 4168775 h 6451600"/>
                  <a:gd name="connsiteX307" fmla="*/ 1127125 w 5226051"/>
                  <a:gd name="connsiteY307" fmla="*/ 4238625 h 6451600"/>
                  <a:gd name="connsiteX308" fmla="*/ 1127125 w 5226051"/>
                  <a:gd name="connsiteY308" fmla="*/ 4270375 h 6451600"/>
                  <a:gd name="connsiteX309" fmla="*/ 1123950 w 5226051"/>
                  <a:gd name="connsiteY309" fmla="*/ 4302125 h 6451600"/>
                  <a:gd name="connsiteX310" fmla="*/ 1120775 w 5226051"/>
                  <a:gd name="connsiteY310" fmla="*/ 4330700 h 6451600"/>
                  <a:gd name="connsiteX311" fmla="*/ 1111250 w 5226051"/>
                  <a:gd name="connsiteY311" fmla="*/ 4356100 h 6451600"/>
                  <a:gd name="connsiteX312" fmla="*/ 387350 w 5226051"/>
                  <a:gd name="connsiteY312" fmla="*/ 4356100 h 6451600"/>
                  <a:gd name="connsiteX313" fmla="*/ 377825 w 5226051"/>
                  <a:gd name="connsiteY313" fmla="*/ 4381500 h 6451600"/>
                  <a:gd name="connsiteX314" fmla="*/ 374650 w 5226051"/>
                  <a:gd name="connsiteY314" fmla="*/ 4406900 h 6451600"/>
                  <a:gd name="connsiteX315" fmla="*/ 371475 w 5226051"/>
                  <a:gd name="connsiteY315" fmla="*/ 4438650 h 6451600"/>
                  <a:gd name="connsiteX316" fmla="*/ 374650 w 5226051"/>
                  <a:gd name="connsiteY316" fmla="*/ 4470400 h 6451600"/>
                  <a:gd name="connsiteX317" fmla="*/ 374650 w 5226051"/>
                  <a:gd name="connsiteY317" fmla="*/ 4537075 h 6451600"/>
                  <a:gd name="connsiteX318" fmla="*/ 377825 w 5226051"/>
                  <a:gd name="connsiteY318" fmla="*/ 4568825 h 6451600"/>
                  <a:gd name="connsiteX319" fmla="*/ 374650 w 5226051"/>
                  <a:gd name="connsiteY319" fmla="*/ 4597400 h 6451600"/>
                  <a:gd name="connsiteX320" fmla="*/ 1123950 w 5226051"/>
                  <a:gd name="connsiteY320" fmla="*/ 4597400 h 6451600"/>
                  <a:gd name="connsiteX321" fmla="*/ 1123950 w 5226051"/>
                  <a:gd name="connsiteY321" fmla="*/ 5080000 h 6451600"/>
                  <a:gd name="connsiteX322" fmla="*/ 990600 w 5226051"/>
                  <a:gd name="connsiteY322" fmla="*/ 5089525 h 6451600"/>
                  <a:gd name="connsiteX323" fmla="*/ 854075 w 5226051"/>
                  <a:gd name="connsiteY323" fmla="*/ 5095875 h 6451600"/>
                  <a:gd name="connsiteX324" fmla="*/ 714375 w 5226051"/>
                  <a:gd name="connsiteY324" fmla="*/ 5095875 h 6451600"/>
                  <a:gd name="connsiteX325" fmla="*/ 574675 w 5226051"/>
                  <a:gd name="connsiteY325" fmla="*/ 5095875 h 6451600"/>
                  <a:gd name="connsiteX326" fmla="*/ 288925 w 5226051"/>
                  <a:gd name="connsiteY326" fmla="*/ 5092700 h 6451600"/>
                  <a:gd name="connsiteX327" fmla="*/ 146050 w 5226051"/>
                  <a:gd name="connsiteY327" fmla="*/ 5092700 h 6451600"/>
                  <a:gd name="connsiteX328" fmla="*/ 6350 w 5226051"/>
                  <a:gd name="connsiteY328" fmla="*/ 5092700 h 6451600"/>
                  <a:gd name="connsiteX329" fmla="*/ 6350 w 5226051"/>
                  <a:gd name="connsiteY329" fmla="*/ 762000 h 6451600"/>
                  <a:gd name="connsiteX330" fmla="*/ 3175 w 5226051"/>
                  <a:gd name="connsiteY330" fmla="*/ 631825 h 6451600"/>
                  <a:gd name="connsiteX331" fmla="*/ 0 w 5226051"/>
                  <a:gd name="connsiteY331" fmla="*/ 508000 h 6451600"/>
                  <a:gd name="connsiteX332" fmla="*/ 0 w 5226051"/>
                  <a:gd name="connsiteY332" fmla="*/ 387350 h 6451600"/>
                  <a:gd name="connsiteX333" fmla="*/ 3175 w 5226051"/>
                  <a:gd name="connsiteY333" fmla="*/ 330200 h 6451600"/>
                  <a:gd name="connsiteX334" fmla="*/ 9525 w 5226051"/>
                  <a:gd name="connsiteY334" fmla="*/ 279400 h 6451600"/>
                  <a:gd name="connsiteX335" fmla="*/ 15875 w 5226051"/>
                  <a:gd name="connsiteY335" fmla="*/ 228600 h 6451600"/>
                  <a:gd name="connsiteX336" fmla="*/ 28575 w 5226051"/>
                  <a:gd name="connsiteY336" fmla="*/ 180975 h 6451600"/>
                  <a:gd name="connsiteX337" fmla="*/ 44450 w 5226051"/>
                  <a:gd name="connsiteY337" fmla="*/ 139700 h 6451600"/>
                  <a:gd name="connsiteX338" fmla="*/ 66675 w 5226051"/>
                  <a:gd name="connsiteY338" fmla="*/ 104775 h 6451600"/>
                  <a:gd name="connsiteX339" fmla="*/ 79375 w 5226051"/>
                  <a:gd name="connsiteY339" fmla="*/ 85725 h 6451600"/>
                  <a:gd name="connsiteX340" fmla="*/ 92075 w 5226051"/>
                  <a:gd name="connsiteY340" fmla="*/ 73025 h 6451600"/>
                  <a:gd name="connsiteX341" fmla="*/ 107950 w 5226051"/>
                  <a:gd name="connsiteY341" fmla="*/ 57150 h 6451600"/>
                  <a:gd name="connsiteX342" fmla="*/ 123825 w 5226051"/>
                  <a:gd name="connsiteY342" fmla="*/ 47625 h 6451600"/>
                  <a:gd name="connsiteX343" fmla="*/ 142875 w 5226051"/>
                  <a:gd name="connsiteY343" fmla="*/ 34925 h 6451600"/>
                  <a:gd name="connsiteX344" fmla="*/ 161925 w 5226051"/>
                  <a:gd name="connsiteY344" fmla="*/ 25400 h 6451600"/>
                  <a:gd name="connsiteX345" fmla="*/ 184150 w 5226051"/>
                  <a:gd name="connsiteY345" fmla="*/ 19050 h 6451600"/>
                  <a:gd name="connsiteX346" fmla="*/ 209550 w 5226051"/>
                  <a:gd name="connsiteY346" fmla="*/ 12700 h 6451600"/>
                  <a:gd name="connsiteX347" fmla="*/ 263525 w 5226051"/>
                  <a:gd name="connsiteY347" fmla="*/ 6350 h 6451600"/>
                  <a:gd name="connsiteX348" fmla="*/ 320675 w 5226051"/>
                  <a:gd name="connsiteY348" fmla="*/ 3175 h 645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Lst>
                <a:rect l="l" t="t" r="r" b="b"/>
                <a:pathLst>
                  <a:path w="5226051" h="6451600">
                    <a:moveTo>
                      <a:pt x="1771650" y="5702301"/>
                    </a:moveTo>
                    <a:lnTo>
                      <a:pt x="1762125" y="5711826"/>
                    </a:lnTo>
                    <a:lnTo>
                      <a:pt x="1755775" y="5721351"/>
                    </a:lnTo>
                    <a:lnTo>
                      <a:pt x="1749425" y="5734051"/>
                    </a:lnTo>
                    <a:lnTo>
                      <a:pt x="1746250" y="5749926"/>
                    </a:lnTo>
                    <a:lnTo>
                      <a:pt x="1743075" y="5784851"/>
                    </a:lnTo>
                    <a:lnTo>
                      <a:pt x="1746250" y="5822951"/>
                    </a:lnTo>
                    <a:lnTo>
                      <a:pt x="1749425" y="5861051"/>
                    </a:lnTo>
                    <a:lnTo>
                      <a:pt x="1749425" y="5899151"/>
                    </a:lnTo>
                    <a:lnTo>
                      <a:pt x="1746250" y="5930901"/>
                    </a:lnTo>
                    <a:lnTo>
                      <a:pt x="1739900" y="5946776"/>
                    </a:lnTo>
                    <a:lnTo>
                      <a:pt x="1733550" y="5956301"/>
                    </a:lnTo>
                    <a:lnTo>
                      <a:pt x="3486150" y="5956301"/>
                    </a:lnTo>
                    <a:lnTo>
                      <a:pt x="3486150" y="5715001"/>
                    </a:lnTo>
                    <a:lnTo>
                      <a:pt x="3279775" y="5708651"/>
                    </a:lnTo>
                    <a:lnTo>
                      <a:pt x="3067050" y="5702301"/>
                    </a:lnTo>
                    <a:lnTo>
                      <a:pt x="2854325" y="5702301"/>
                    </a:lnTo>
                    <a:lnTo>
                      <a:pt x="2638425" y="5702301"/>
                    </a:lnTo>
                    <a:lnTo>
                      <a:pt x="2203450" y="5705476"/>
                    </a:lnTo>
                    <a:lnTo>
                      <a:pt x="1987550" y="5705476"/>
                    </a:lnTo>
                    <a:close/>
                    <a:moveTo>
                      <a:pt x="1746250" y="5219701"/>
                    </a:moveTo>
                    <a:lnTo>
                      <a:pt x="1746250" y="5264151"/>
                    </a:lnTo>
                    <a:lnTo>
                      <a:pt x="1746250" y="5327651"/>
                    </a:lnTo>
                    <a:lnTo>
                      <a:pt x="1746250" y="5397501"/>
                    </a:lnTo>
                    <a:lnTo>
                      <a:pt x="1746250" y="5461001"/>
                    </a:lnTo>
                    <a:lnTo>
                      <a:pt x="3473450" y="5461001"/>
                    </a:lnTo>
                    <a:lnTo>
                      <a:pt x="3482975" y="5438776"/>
                    </a:lnTo>
                    <a:lnTo>
                      <a:pt x="3486150" y="5410201"/>
                    </a:lnTo>
                    <a:lnTo>
                      <a:pt x="3489325" y="5381626"/>
                    </a:lnTo>
                    <a:lnTo>
                      <a:pt x="3489325" y="5349876"/>
                    </a:lnTo>
                    <a:lnTo>
                      <a:pt x="3486150" y="5283201"/>
                    </a:lnTo>
                    <a:lnTo>
                      <a:pt x="3486150" y="5251451"/>
                    </a:lnTo>
                    <a:lnTo>
                      <a:pt x="3486150" y="5219701"/>
                    </a:lnTo>
                    <a:close/>
                    <a:moveTo>
                      <a:pt x="1758950" y="2120901"/>
                    </a:moveTo>
                    <a:lnTo>
                      <a:pt x="1749425" y="2143126"/>
                    </a:lnTo>
                    <a:lnTo>
                      <a:pt x="1746250" y="2171701"/>
                    </a:lnTo>
                    <a:lnTo>
                      <a:pt x="1746250" y="2203451"/>
                    </a:lnTo>
                    <a:lnTo>
                      <a:pt x="1746250" y="2235201"/>
                    </a:lnTo>
                    <a:lnTo>
                      <a:pt x="1749425" y="2301876"/>
                    </a:lnTo>
                    <a:lnTo>
                      <a:pt x="1749425" y="2333626"/>
                    </a:lnTo>
                    <a:lnTo>
                      <a:pt x="1746250" y="2362201"/>
                    </a:lnTo>
                    <a:lnTo>
                      <a:pt x="3486150" y="2362201"/>
                    </a:lnTo>
                    <a:lnTo>
                      <a:pt x="3486150" y="2120901"/>
                    </a:lnTo>
                    <a:close/>
                    <a:moveTo>
                      <a:pt x="3321050" y="1352550"/>
                    </a:moveTo>
                    <a:lnTo>
                      <a:pt x="3397250" y="1355725"/>
                    </a:lnTo>
                    <a:lnTo>
                      <a:pt x="3473450" y="1358900"/>
                    </a:lnTo>
                    <a:lnTo>
                      <a:pt x="3543300" y="1365250"/>
                    </a:lnTo>
                    <a:lnTo>
                      <a:pt x="3606800" y="1371600"/>
                    </a:lnTo>
                    <a:lnTo>
                      <a:pt x="3667125" y="1384300"/>
                    </a:lnTo>
                    <a:lnTo>
                      <a:pt x="3717925" y="1403350"/>
                    </a:lnTo>
                    <a:lnTo>
                      <a:pt x="3740150" y="1412875"/>
                    </a:lnTo>
                    <a:lnTo>
                      <a:pt x="3759200" y="1422400"/>
                    </a:lnTo>
                    <a:lnTo>
                      <a:pt x="3778250" y="1435100"/>
                    </a:lnTo>
                    <a:lnTo>
                      <a:pt x="3790950" y="1447800"/>
                    </a:lnTo>
                    <a:lnTo>
                      <a:pt x="3806825" y="1466850"/>
                    </a:lnTo>
                    <a:lnTo>
                      <a:pt x="3816350" y="1485900"/>
                    </a:lnTo>
                    <a:lnTo>
                      <a:pt x="3829050" y="1511300"/>
                    </a:lnTo>
                    <a:lnTo>
                      <a:pt x="3835400" y="1539875"/>
                    </a:lnTo>
                    <a:lnTo>
                      <a:pt x="3841750" y="1571625"/>
                    </a:lnTo>
                    <a:lnTo>
                      <a:pt x="3848100" y="1606550"/>
                    </a:lnTo>
                    <a:lnTo>
                      <a:pt x="3854450" y="1682750"/>
                    </a:lnTo>
                    <a:lnTo>
                      <a:pt x="3857625" y="1762125"/>
                    </a:lnTo>
                    <a:lnTo>
                      <a:pt x="3857625" y="1847850"/>
                    </a:lnTo>
                    <a:lnTo>
                      <a:pt x="3854450" y="2019300"/>
                    </a:lnTo>
                    <a:lnTo>
                      <a:pt x="3854450" y="6451600"/>
                    </a:lnTo>
                    <a:lnTo>
                      <a:pt x="1365250" y="6451600"/>
                    </a:lnTo>
                    <a:lnTo>
                      <a:pt x="1365250" y="2133600"/>
                    </a:lnTo>
                    <a:lnTo>
                      <a:pt x="1362075" y="1997075"/>
                    </a:lnTo>
                    <a:lnTo>
                      <a:pt x="1358900" y="1866900"/>
                    </a:lnTo>
                    <a:lnTo>
                      <a:pt x="1358900" y="1746250"/>
                    </a:lnTo>
                    <a:lnTo>
                      <a:pt x="1362075" y="1689100"/>
                    </a:lnTo>
                    <a:lnTo>
                      <a:pt x="1368425" y="1635125"/>
                    </a:lnTo>
                    <a:lnTo>
                      <a:pt x="1377950" y="1584325"/>
                    </a:lnTo>
                    <a:lnTo>
                      <a:pt x="1390650" y="1536700"/>
                    </a:lnTo>
                    <a:lnTo>
                      <a:pt x="1409700" y="1495425"/>
                    </a:lnTo>
                    <a:lnTo>
                      <a:pt x="1419225" y="1479550"/>
                    </a:lnTo>
                    <a:lnTo>
                      <a:pt x="1431925" y="1460500"/>
                    </a:lnTo>
                    <a:lnTo>
                      <a:pt x="1447800" y="1444625"/>
                    </a:lnTo>
                    <a:lnTo>
                      <a:pt x="1463675" y="1428750"/>
                    </a:lnTo>
                    <a:lnTo>
                      <a:pt x="1479550" y="1416050"/>
                    </a:lnTo>
                    <a:lnTo>
                      <a:pt x="1498600" y="1403350"/>
                    </a:lnTo>
                    <a:lnTo>
                      <a:pt x="1520825" y="1393825"/>
                    </a:lnTo>
                    <a:lnTo>
                      <a:pt x="1543050" y="1384300"/>
                    </a:lnTo>
                    <a:lnTo>
                      <a:pt x="1568450" y="1377950"/>
                    </a:lnTo>
                    <a:lnTo>
                      <a:pt x="1593850" y="1371600"/>
                    </a:lnTo>
                    <a:lnTo>
                      <a:pt x="1660525" y="1362075"/>
                    </a:lnTo>
                    <a:lnTo>
                      <a:pt x="1730375" y="1358900"/>
                    </a:lnTo>
                    <a:lnTo>
                      <a:pt x="1800225" y="1358900"/>
                    </a:lnTo>
                    <a:lnTo>
                      <a:pt x="1873250" y="1362075"/>
                    </a:lnTo>
                    <a:lnTo>
                      <a:pt x="2022475" y="1368425"/>
                    </a:lnTo>
                    <a:lnTo>
                      <a:pt x="2095500" y="1371600"/>
                    </a:lnTo>
                    <a:lnTo>
                      <a:pt x="2165350" y="1371600"/>
                    </a:lnTo>
                    <a:lnTo>
                      <a:pt x="2736850" y="1371600"/>
                    </a:lnTo>
                    <a:lnTo>
                      <a:pt x="2860675" y="1368425"/>
                    </a:lnTo>
                    <a:lnTo>
                      <a:pt x="3006725" y="1362075"/>
                    </a:lnTo>
                    <a:lnTo>
                      <a:pt x="3162300" y="1355725"/>
                    </a:lnTo>
                    <a:close/>
                    <a:moveTo>
                      <a:pt x="3117851" y="762001"/>
                    </a:moveTo>
                    <a:lnTo>
                      <a:pt x="3111501" y="784226"/>
                    </a:lnTo>
                    <a:lnTo>
                      <a:pt x="3105151" y="812801"/>
                    </a:lnTo>
                    <a:lnTo>
                      <a:pt x="3105151" y="841376"/>
                    </a:lnTo>
                    <a:lnTo>
                      <a:pt x="3105151" y="876301"/>
                    </a:lnTo>
                    <a:lnTo>
                      <a:pt x="3108326" y="939801"/>
                    </a:lnTo>
                    <a:lnTo>
                      <a:pt x="3108326" y="974726"/>
                    </a:lnTo>
                    <a:lnTo>
                      <a:pt x="3105151" y="1003301"/>
                    </a:lnTo>
                    <a:lnTo>
                      <a:pt x="4845051" y="1003301"/>
                    </a:lnTo>
                    <a:lnTo>
                      <a:pt x="4845051" y="762001"/>
                    </a:lnTo>
                    <a:close/>
                    <a:moveTo>
                      <a:pt x="387350" y="762001"/>
                    </a:moveTo>
                    <a:lnTo>
                      <a:pt x="381000" y="784226"/>
                    </a:lnTo>
                    <a:lnTo>
                      <a:pt x="374650" y="815976"/>
                    </a:lnTo>
                    <a:lnTo>
                      <a:pt x="371475" y="847726"/>
                    </a:lnTo>
                    <a:lnTo>
                      <a:pt x="371475" y="882651"/>
                    </a:lnTo>
                    <a:lnTo>
                      <a:pt x="374650" y="917576"/>
                    </a:lnTo>
                    <a:lnTo>
                      <a:pt x="377825" y="949326"/>
                    </a:lnTo>
                    <a:lnTo>
                      <a:pt x="381000" y="981076"/>
                    </a:lnTo>
                    <a:lnTo>
                      <a:pt x="387350" y="1003301"/>
                    </a:lnTo>
                    <a:lnTo>
                      <a:pt x="2114550" y="1003301"/>
                    </a:lnTo>
                    <a:lnTo>
                      <a:pt x="2114550" y="762001"/>
                    </a:lnTo>
                    <a:close/>
                    <a:moveTo>
                      <a:pt x="3073401" y="6350"/>
                    </a:moveTo>
                    <a:lnTo>
                      <a:pt x="3127376" y="6350"/>
                    </a:lnTo>
                    <a:lnTo>
                      <a:pt x="3248026" y="6350"/>
                    </a:lnTo>
                    <a:lnTo>
                      <a:pt x="3368676" y="9525"/>
                    </a:lnTo>
                    <a:lnTo>
                      <a:pt x="3486151" y="12700"/>
                    </a:lnTo>
                    <a:lnTo>
                      <a:pt x="4578351" y="12700"/>
                    </a:lnTo>
                    <a:lnTo>
                      <a:pt x="4679951" y="12700"/>
                    </a:lnTo>
                    <a:lnTo>
                      <a:pt x="4778376" y="9525"/>
                    </a:lnTo>
                    <a:lnTo>
                      <a:pt x="4873626" y="9525"/>
                    </a:lnTo>
                    <a:lnTo>
                      <a:pt x="4921251" y="12700"/>
                    </a:lnTo>
                    <a:lnTo>
                      <a:pt x="4965701" y="15875"/>
                    </a:lnTo>
                    <a:lnTo>
                      <a:pt x="5006976" y="22225"/>
                    </a:lnTo>
                    <a:lnTo>
                      <a:pt x="5045076" y="31750"/>
                    </a:lnTo>
                    <a:lnTo>
                      <a:pt x="5080001" y="41275"/>
                    </a:lnTo>
                    <a:lnTo>
                      <a:pt x="5111751" y="57150"/>
                    </a:lnTo>
                    <a:lnTo>
                      <a:pt x="5140326" y="79375"/>
                    </a:lnTo>
                    <a:lnTo>
                      <a:pt x="5165726" y="101600"/>
                    </a:lnTo>
                    <a:lnTo>
                      <a:pt x="5187951" y="130175"/>
                    </a:lnTo>
                    <a:lnTo>
                      <a:pt x="5200651" y="165100"/>
                    </a:lnTo>
                    <a:lnTo>
                      <a:pt x="5210176" y="190500"/>
                    </a:lnTo>
                    <a:lnTo>
                      <a:pt x="5216526" y="219075"/>
                    </a:lnTo>
                    <a:lnTo>
                      <a:pt x="5222876" y="285750"/>
                    </a:lnTo>
                    <a:lnTo>
                      <a:pt x="5226051" y="361950"/>
                    </a:lnTo>
                    <a:lnTo>
                      <a:pt x="5226051" y="444500"/>
                    </a:lnTo>
                    <a:lnTo>
                      <a:pt x="5219701" y="612775"/>
                    </a:lnTo>
                    <a:lnTo>
                      <a:pt x="5216526" y="695325"/>
                    </a:lnTo>
                    <a:lnTo>
                      <a:pt x="5213351" y="774700"/>
                    </a:lnTo>
                    <a:lnTo>
                      <a:pt x="5213351" y="5092700"/>
                    </a:lnTo>
                    <a:lnTo>
                      <a:pt x="5073651" y="5092700"/>
                    </a:lnTo>
                    <a:lnTo>
                      <a:pt x="4933951" y="5092700"/>
                    </a:lnTo>
                    <a:lnTo>
                      <a:pt x="4648201" y="5095875"/>
                    </a:lnTo>
                    <a:lnTo>
                      <a:pt x="4505326" y="5095875"/>
                    </a:lnTo>
                    <a:lnTo>
                      <a:pt x="4365626" y="5095875"/>
                    </a:lnTo>
                    <a:lnTo>
                      <a:pt x="4229101" y="5089525"/>
                    </a:lnTo>
                    <a:lnTo>
                      <a:pt x="4095751" y="5080000"/>
                    </a:lnTo>
                    <a:lnTo>
                      <a:pt x="4095751" y="4597400"/>
                    </a:lnTo>
                    <a:lnTo>
                      <a:pt x="4832351" y="4597400"/>
                    </a:lnTo>
                    <a:lnTo>
                      <a:pt x="4841876" y="4575175"/>
                    </a:lnTo>
                    <a:lnTo>
                      <a:pt x="4848226" y="4546600"/>
                    </a:lnTo>
                    <a:lnTo>
                      <a:pt x="4848226" y="4518025"/>
                    </a:lnTo>
                    <a:lnTo>
                      <a:pt x="4848226" y="4486275"/>
                    </a:lnTo>
                    <a:lnTo>
                      <a:pt x="4845051" y="4419600"/>
                    </a:lnTo>
                    <a:lnTo>
                      <a:pt x="4845051" y="4387850"/>
                    </a:lnTo>
                    <a:lnTo>
                      <a:pt x="4845051" y="4356100"/>
                    </a:lnTo>
                    <a:lnTo>
                      <a:pt x="4108451" y="4356100"/>
                    </a:lnTo>
                    <a:lnTo>
                      <a:pt x="4102101" y="4330700"/>
                    </a:lnTo>
                    <a:lnTo>
                      <a:pt x="4095751" y="4302125"/>
                    </a:lnTo>
                    <a:lnTo>
                      <a:pt x="4095751" y="4270375"/>
                    </a:lnTo>
                    <a:lnTo>
                      <a:pt x="4095751" y="4238625"/>
                    </a:lnTo>
                    <a:lnTo>
                      <a:pt x="4098926" y="4168775"/>
                    </a:lnTo>
                    <a:lnTo>
                      <a:pt x="4098926" y="4133850"/>
                    </a:lnTo>
                    <a:lnTo>
                      <a:pt x="4095751" y="4102100"/>
                    </a:lnTo>
                    <a:lnTo>
                      <a:pt x="4832351" y="4102100"/>
                    </a:lnTo>
                    <a:lnTo>
                      <a:pt x="4841876" y="4079875"/>
                    </a:lnTo>
                    <a:lnTo>
                      <a:pt x="4848226" y="4051300"/>
                    </a:lnTo>
                    <a:lnTo>
                      <a:pt x="4848226" y="4022725"/>
                    </a:lnTo>
                    <a:lnTo>
                      <a:pt x="4848226" y="3990975"/>
                    </a:lnTo>
                    <a:lnTo>
                      <a:pt x="4845051" y="3924300"/>
                    </a:lnTo>
                    <a:lnTo>
                      <a:pt x="4845051" y="3892550"/>
                    </a:lnTo>
                    <a:lnTo>
                      <a:pt x="4845051" y="3860800"/>
                    </a:lnTo>
                    <a:lnTo>
                      <a:pt x="4759326" y="3854450"/>
                    </a:lnTo>
                    <a:lnTo>
                      <a:pt x="4670426" y="3848100"/>
                    </a:lnTo>
                    <a:lnTo>
                      <a:pt x="4575176" y="3848100"/>
                    </a:lnTo>
                    <a:lnTo>
                      <a:pt x="4479926" y="3848100"/>
                    </a:lnTo>
                    <a:lnTo>
                      <a:pt x="4286251" y="3851275"/>
                    </a:lnTo>
                    <a:lnTo>
                      <a:pt x="4191001" y="3851275"/>
                    </a:lnTo>
                    <a:lnTo>
                      <a:pt x="4095751" y="3848100"/>
                    </a:lnTo>
                    <a:lnTo>
                      <a:pt x="4095751" y="2095500"/>
                    </a:lnTo>
                    <a:lnTo>
                      <a:pt x="4098926" y="2012950"/>
                    </a:lnTo>
                    <a:lnTo>
                      <a:pt x="4102101" y="1924050"/>
                    </a:lnTo>
                    <a:lnTo>
                      <a:pt x="4105276" y="1746250"/>
                    </a:lnTo>
                    <a:lnTo>
                      <a:pt x="4105276" y="1660525"/>
                    </a:lnTo>
                    <a:lnTo>
                      <a:pt x="4102101" y="1581150"/>
                    </a:lnTo>
                    <a:lnTo>
                      <a:pt x="4095751" y="1546225"/>
                    </a:lnTo>
                    <a:lnTo>
                      <a:pt x="4089401" y="1511300"/>
                    </a:lnTo>
                    <a:lnTo>
                      <a:pt x="4083051" y="1476375"/>
                    </a:lnTo>
                    <a:lnTo>
                      <a:pt x="4070351" y="1447800"/>
                    </a:lnTo>
                    <a:lnTo>
                      <a:pt x="4057651" y="1419225"/>
                    </a:lnTo>
                    <a:lnTo>
                      <a:pt x="4044951" y="1390650"/>
                    </a:lnTo>
                    <a:lnTo>
                      <a:pt x="4025901" y="1362075"/>
                    </a:lnTo>
                    <a:lnTo>
                      <a:pt x="4010026" y="1333500"/>
                    </a:lnTo>
                    <a:lnTo>
                      <a:pt x="3987801" y="1308100"/>
                    </a:lnTo>
                    <a:lnTo>
                      <a:pt x="3968751" y="1285875"/>
                    </a:lnTo>
                    <a:lnTo>
                      <a:pt x="3946526" y="1260475"/>
                    </a:lnTo>
                    <a:lnTo>
                      <a:pt x="3921126" y="1238250"/>
                    </a:lnTo>
                    <a:lnTo>
                      <a:pt x="3895726" y="1219200"/>
                    </a:lnTo>
                    <a:lnTo>
                      <a:pt x="3867151" y="1200150"/>
                    </a:lnTo>
                    <a:lnTo>
                      <a:pt x="3838576" y="1184275"/>
                    </a:lnTo>
                    <a:lnTo>
                      <a:pt x="3810001" y="1168400"/>
                    </a:lnTo>
                    <a:lnTo>
                      <a:pt x="3778251" y="1155700"/>
                    </a:lnTo>
                    <a:lnTo>
                      <a:pt x="3746501" y="1146175"/>
                    </a:lnTo>
                    <a:lnTo>
                      <a:pt x="3711576" y="1136650"/>
                    </a:lnTo>
                    <a:lnTo>
                      <a:pt x="3676651" y="1130300"/>
                    </a:lnTo>
                    <a:lnTo>
                      <a:pt x="3629026" y="1123950"/>
                    </a:lnTo>
                    <a:lnTo>
                      <a:pt x="3578226" y="1120775"/>
                    </a:lnTo>
                    <a:lnTo>
                      <a:pt x="3470276" y="1117600"/>
                    </a:lnTo>
                    <a:lnTo>
                      <a:pt x="3359151" y="1120775"/>
                    </a:lnTo>
                    <a:lnTo>
                      <a:pt x="3238501" y="1127125"/>
                    </a:lnTo>
                    <a:lnTo>
                      <a:pt x="3117851" y="1133475"/>
                    </a:lnTo>
                    <a:lnTo>
                      <a:pt x="2994026" y="1136650"/>
                    </a:lnTo>
                    <a:lnTo>
                      <a:pt x="2867026" y="1136650"/>
                    </a:lnTo>
                    <a:lnTo>
                      <a:pt x="2800351" y="1133475"/>
                    </a:lnTo>
                    <a:lnTo>
                      <a:pt x="2736851" y="1130300"/>
                    </a:lnTo>
                    <a:lnTo>
                      <a:pt x="2736851" y="190500"/>
                    </a:lnTo>
                    <a:lnTo>
                      <a:pt x="2743201" y="168275"/>
                    </a:lnTo>
                    <a:lnTo>
                      <a:pt x="2752726" y="149225"/>
                    </a:lnTo>
                    <a:lnTo>
                      <a:pt x="2762251" y="130175"/>
                    </a:lnTo>
                    <a:lnTo>
                      <a:pt x="2774951" y="114300"/>
                    </a:lnTo>
                    <a:lnTo>
                      <a:pt x="2787651" y="98425"/>
                    </a:lnTo>
                    <a:lnTo>
                      <a:pt x="2803526" y="85725"/>
                    </a:lnTo>
                    <a:lnTo>
                      <a:pt x="2838451" y="60325"/>
                    </a:lnTo>
                    <a:lnTo>
                      <a:pt x="2876551" y="41275"/>
                    </a:lnTo>
                    <a:lnTo>
                      <a:pt x="2921001" y="28575"/>
                    </a:lnTo>
                    <a:lnTo>
                      <a:pt x="2968626" y="19050"/>
                    </a:lnTo>
                    <a:lnTo>
                      <a:pt x="3019426" y="12700"/>
                    </a:lnTo>
                    <a:close/>
                    <a:moveTo>
                      <a:pt x="387350" y="0"/>
                    </a:moveTo>
                    <a:lnTo>
                      <a:pt x="454025" y="3175"/>
                    </a:lnTo>
                    <a:lnTo>
                      <a:pt x="596900" y="9525"/>
                    </a:lnTo>
                    <a:lnTo>
                      <a:pt x="742950" y="12700"/>
                    </a:lnTo>
                    <a:lnTo>
                      <a:pt x="1809750" y="12700"/>
                    </a:lnTo>
                    <a:lnTo>
                      <a:pt x="2016125" y="9525"/>
                    </a:lnTo>
                    <a:lnTo>
                      <a:pt x="2117725" y="9525"/>
                    </a:lnTo>
                    <a:lnTo>
                      <a:pt x="2165350" y="12700"/>
                    </a:lnTo>
                    <a:lnTo>
                      <a:pt x="2212975" y="15875"/>
                    </a:lnTo>
                    <a:lnTo>
                      <a:pt x="2257425" y="22225"/>
                    </a:lnTo>
                    <a:lnTo>
                      <a:pt x="2301875" y="28575"/>
                    </a:lnTo>
                    <a:lnTo>
                      <a:pt x="2339975" y="41275"/>
                    </a:lnTo>
                    <a:lnTo>
                      <a:pt x="2374900" y="53975"/>
                    </a:lnTo>
                    <a:lnTo>
                      <a:pt x="2406650" y="73025"/>
                    </a:lnTo>
                    <a:lnTo>
                      <a:pt x="2432050" y="95250"/>
                    </a:lnTo>
                    <a:lnTo>
                      <a:pt x="2454275" y="120650"/>
                    </a:lnTo>
                    <a:lnTo>
                      <a:pt x="2470150" y="152400"/>
                    </a:lnTo>
                    <a:lnTo>
                      <a:pt x="2479675" y="177800"/>
                    </a:lnTo>
                    <a:lnTo>
                      <a:pt x="2486025" y="203200"/>
                    </a:lnTo>
                    <a:lnTo>
                      <a:pt x="2495550" y="263525"/>
                    </a:lnTo>
                    <a:lnTo>
                      <a:pt x="2498725" y="323850"/>
                    </a:lnTo>
                    <a:lnTo>
                      <a:pt x="2495550" y="390525"/>
                    </a:lnTo>
                    <a:lnTo>
                      <a:pt x="2489200" y="517525"/>
                    </a:lnTo>
                    <a:lnTo>
                      <a:pt x="2486025" y="581025"/>
                    </a:lnTo>
                    <a:lnTo>
                      <a:pt x="2482850" y="635000"/>
                    </a:lnTo>
                    <a:lnTo>
                      <a:pt x="2482850" y="1130300"/>
                    </a:lnTo>
                    <a:lnTo>
                      <a:pt x="2413000" y="1136650"/>
                    </a:lnTo>
                    <a:lnTo>
                      <a:pt x="2343150" y="1139825"/>
                    </a:lnTo>
                    <a:lnTo>
                      <a:pt x="2270125" y="1139825"/>
                    </a:lnTo>
                    <a:lnTo>
                      <a:pt x="2197100" y="1136650"/>
                    </a:lnTo>
                    <a:lnTo>
                      <a:pt x="2051050" y="1130300"/>
                    </a:lnTo>
                    <a:lnTo>
                      <a:pt x="1908175" y="1123950"/>
                    </a:lnTo>
                    <a:lnTo>
                      <a:pt x="1771650" y="1120775"/>
                    </a:lnTo>
                    <a:lnTo>
                      <a:pt x="1704975" y="1120775"/>
                    </a:lnTo>
                    <a:lnTo>
                      <a:pt x="1641475" y="1123950"/>
                    </a:lnTo>
                    <a:lnTo>
                      <a:pt x="1577975" y="1130300"/>
                    </a:lnTo>
                    <a:lnTo>
                      <a:pt x="1520825" y="1136650"/>
                    </a:lnTo>
                    <a:lnTo>
                      <a:pt x="1466850" y="1152525"/>
                    </a:lnTo>
                    <a:lnTo>
                      <a:pt x="1416050" y="1168400"/>
                    </a:lnTo>
                    <a:lnTo>
                      <a:pt x="1390650" y="1181100"/>
                    </a:lnTo>
                    <a:lnTo>
                      <a:pt x="1368425" y="1193800"/>
                    </a:lnTo>
                    <a:lnTo>
                      <a:pt x="1320800" y="1225550"/>
                    </a:lnTo>
                    <a:lnTo>
                      <a:pt x="1273175" y="1263650"/>
                    </a:lnTo>
                    <a:lnTo>
                      <a:pt x="1231900" y="1308100"/>
                    </a:lnTo>
                    <a:lnTo>
                      <a:pt x="1193800" y="1358900"/>
                    </a:lnTo>
                    <a:lnTo>
                      <a:pt x="1162050" y="1412875"/>
                    </a:lnTo>
                    <a:lnTo>
                      <a:pt x="1149350" y="1438275"/>
                    </a:lnTo>
                    <a:lnTo>
                      <a:pt x="1139825" y="1466850"/>
                    </a:lnTo>
                    <a:lnTo>
                      <a:pt x="1130300" y="1495425"/>
                    </a:lnTo>
                    <a:lnTo>
                      <a:pt x="1123950" y="1524000"/>
                    </a:lnTo>
                    <a:lnTo>
                      <a:pt x="1117600" y="1587500"/>
                    </a:lnTo>
                    <a:lnTo>
                      <a:pt x="1111250" y="1657350"/>
                    </a:lnTo>
                    <a:lnTo>
                      <a:pt x="1111250" y="1727200"/>
                    </a:lnTo>
                    <a:lnTo>
                      <a:pt x="1114425" y="1800225"/>
                    </a:lnTo>
                    <a:lnTo>
                      <a:pt x="1120775" y="1952625"/>
                    </a:lnTo>
                    <a:lnTo>
                      <a:pt x="1123950" y="2032000"/>
                    </a:lnTo>
                    <a:lnTo>
                      <a:pt x="1123950" y="2108200"/>
                    </a:lnTo>
                    <a:lnTo>
                      <a:pt x="1123950" y="3848100"/>
                    </a:lnTo>
                    <a:lnTo>
                      <a:pt x="387350" y="3848100"/>
                    </a:lnTo>
                    <a:lnTo>
                      <a:pt x="381000" y="3873500"/>
                    </a:lnTo>
                    <a:lnTo>
                      <a:pt x="374650" y="3898900"/>
                    </a:lnTo>
                    <a:lnTo>
                      <a:pt x="374650" y="3930650"/>
                    </a:lnTo>
                    <a:lnTo>
                      <a:pt x="374650" y="3962400"/>
                    </a:lnTo>
                    <a:lnTo>
                      <a:pt x="374650" y="4029075"/>
                    </a:lnTo>
                    <a:lnTo>
                      <a:pt x="374650" y="4060825"/>
                    </a:lnTo>
                    <a:lnTo>
                      <a:pt x="374650" y="4089400"/>
                    </a:lnTo>
                    <a:lnTo>
                      <a:pt x="460375" y="4098925"/>
                    </a:lnTo>
                    <a:lnTo>
                      <a:pt x="552450" y="4102100"/>
                    </a:lnTo>
                    <a:lnTo>
                      <a:pt x="644525" y="4105275"/>
                    </a:lnTo>
                    <a:lnTo>
                      <a:pt x="742950" y="4105275"/>
                    </a:lnTo>
                    <a:lnTo>
                      <a:pt x="936625" y="4102100"/>
                    </a:lnTo>
                    <a:lnTo>
                      <a:pt x="1031875" y="4102100"/>
                    </a:lnTo>
                    <a:lnTo>
                      <a:pt x="1123950" y="4102100"/>
                    </a:lnTo>
                    <a:lnTo>
                      <a:pt x="1123950" y="4133850"/>
                    </a:lnTo>
                    <a:lnTo>
                      <a:pt x="1123950" y="4168775"/>
                    </a:lnTo>
                    <a:lnTo>
                      <a:pt x="1127125" y="4238625"/>
                    </a:lnTo>
                    <a:lnTo>
                      <a:pt x="1127125" y="4270375"/>
                    </a:lnTo>
                    <a:lnTo>
                      <a:pt x="1123950" y="4302125"/>
                    </a:lnTo>
                    <a:lnTo>
                      <a:pt x="1120775" y="4330700"/>
                    </a:lnTo>
                    <a:lnTo>
                      <a:pt x="1111250" y="4356100"/>
                    </a:lnTo>
                    <a:lnTo>
                      <a:pt x="387350" y="4356100"/>
                    </a:lnTo>
                    <a:lnTo>
                      <a:pt x="377825" y="4381500"/>
                    </a:lnTo>
                    <a:lnTo>
                      <a:pt x="374650" y="4406900"/>
                    </a:lnTo>
                    <a:lnTo>
                      <a:pt x="371475" y="4438650"/>
                    </a:lnTo>
                    <a:lnTo>
                      <a:pt x="374650" y="4470400"/>
                    </a:lnTo>
                    <a:lnTo>
                      <a:pt x="374650" y="4537075"/>
                    </a:lnTo>
                    <a:lnTo>
                      <a:pt x="377825" y="4568825"/>
                    </a:lnTo>
                    <a:lnTo>
                      <a:pt x="374650" y="4597400"/>
                    </a:lnTo>
                    <a:lnTo>
                      <a:pt x="1123950" y="4597400"/>
                    </a:lnTo>
                    <a:lnTo>
                      <a:pt x="1123950" y="5080000"/>
                    </a:lnTo>
                    <a:lnTo>
                      <a:pt x="990600" y="5089525"/>
                    </a:lnTo>
                    <a:lnTo>
                      <a:pt x="854075" y="5095875"/>
                    </a:lnTo>
                    <a:lnTo>
                      <a:pt x="714375" y="5095875"/>
                    </a:lnTo>
                    <a:lnTo>
                      <a:pt x="574675" y="5095875"/>
                    </a:lnTo>
                    <a:lnTo>
                      <a:pt x="288925" y="5092700"/>
                    </a:lnTo>
                    <a:lnTo>
                      <a:pt x="146050" y="5092700"/>
                    </a:lnTo>
                    <a:lnTo>
                      <a:pt x="6350" y="5092700"/>
                    </a:lnTo>
                    <a:lnTo>
                      <a:pt x="6350" y="762000"/>
                    </a:lnTo>
                    <a:lnTo>
                      <a:pt x="3175" y="631825"/>
                    </a:lnTo>
                    <a:lnTo>
                      <a:pt x="0" y="508000"/>
                    </a:lnTo>
                    <a:lnTo>
                      <a:pt x="0" y="387350"/>
                    </a:lnTo>
                    <a:lnTo>
                      <a:pt x="3175" y="330200"/>
                    </a:lnTo>
                    <a:lnTo>
                      <a:pt x="9525" y="279400"/>
                    </a:lnTo>
                    <a:lnTo>
                      <a:pt x="15875" y="228600"/>
                    </a:lnTo>
                    <a:lnTo>
                      <a:pt x="28575" y="180975"/>
                    </a:lnTo>
                    <a:lnTo>
                      <a:pt x="44450" y="139700"/>
                    </a:lnTo>
                    <a:lnTo>
                      <a:pt x="66675" y="104775"/>
                    </a:lnTo>
                    <a:lnTo>
                      <a:pt x="79375" y="85725"/>
                    </a:lnTo>
                    <a:lnTo>
                      <a:pt x="92075" y="73025"/>
                    </a:lnTo>
                    <a:lnTo>
                      <a:pt x="107950" y="57150"/>
                    </a:lnTo>
                    <a:lnTo>
                      <a:pt x="123825" y="47625"/>
                    </a:lnTo>
                    <a:lnTo>
                      <a:pt x="142875" y="34925"/>
                    </a:lnTo>
                    <a:lnTo>
                      <a:pt x="161925" y="25400"/>
                    </a:lnTo>
                    <a:lnTo>
                      <a:pt x="184150" y="19050"/>
                    </a:lnTo>
                    <a:lnTo>
                      <a:pt x="209550" y="12700"/>
                    </a:lnTo>
                    <a:lnTo>
                      <a:pt x="263525" y="6350"/>
                    </a:lnTo>
                    <a:lnTo>
                      <a:pt x="320675" y="3175"/>
                    </a:lnTo>
                    <a:close/>
                  </a:path>
                </a:pathLst>
              </a:custGeom>
              <a:solidFill>
                <a:schemeClr val="accent1"/>
              </a:solidFill>
              <a:ln>
                <a:noFill/>
              </a:ln>
            </p:spPr>
            <p:txBody>
              <a:bodyPr vert="horz" wrap="square" lIns="89642" tIns="44821" rIns="89642" bIns="44821" numCol="1" anchor="t" anchorCtr="0" compatLnSpc="1">
                <a:prstTxWarp prst="textNoShape">
                  <a:avLst/>
                </a:prstTxWarp>
                <a:noAutofit/>
              </a:bodyPr>
              <a:lstStyle/>
              <a:p>
                <a:pPr defTabSz="914367"/>
                <a:endParaRPr lang="en-IN" sz="1765">
                  <a:solidFill>
                    <a:srgbClr val="000000"/>
                  </a:solidFill>
                </a:endParaRPr>
              </a:p>
            </p:txBody>
          </p:sp>
          <p:sp>
            <p:nvSpPr>
              <p:cNvPr id="60" name="Freeform 59"/>
              <p:cNvSpPr/>
              <p:nvPr/>
            </p:nvSpPr>
            <p:spPr bwMode="auto">
              <a:xfrm>
                <a:off x="6789420" y="1745933"/>
                <a:ext cx="3688080" cy="1567814"/>
              </a:xfrm>
              <a:custGeom>
                <a:avLst/>
                <a:gdLst>
                  <a:gd name="connsiteX0" fmla="*/ 3688080 w 3688080"/>
                  <a:gd name="connsiteY0" fmla="*/ 0 h 1760220"/>
                  <a:gd name="connsiteX1" fmla="*/ 1082040 w 3688080"/>
                  <a:gd name="connsiteY1" fmla="*/ 0 h 1760220"/>
                  <a:gd name="connsiteX2" fmla="*/ 1082040 w 3688080"/>
                  <a:gd name="connsiteY2" fmla="*/ 1760220 h 1760220"/>
                  <a:gd name="connsiteX3" fmla="*/ 0 w 3688080"/>
                  <a:gd name="connsiteY3" fmla="*/ 1760220 h 1760220"/>
                </a:gdLst>
                <a:ahLst/>
                <a:cxnLst>
                  <a:cxn ang="0">
                    <a:pos x="connsiteX0" y="connsiteY0"/>
                  </a:cxn>
                  <a:cxn ang="0">
                    <a:pos x="connsiteX1" y="connsiteY1"/>
                  </a:cxn>
                  <a:cxn ang="0">
                    <a:pos x="connsiteX2" y="connsiteY2"/>
                  </a:cxn>
                  <a:cxn ang="0">
                    <a:pos x="connsiteX3" y="connsiteY3"/>
                  </a:cxn>
                </a:cxnLst>
                <a:rect l="l" t="t" r="r" b="b"/>
                <a:pathLst>
                  <a:path w="3688080" h="1760220">
                    <a:moveTo>
                      <a:pt x="3688080" y="0"/>
                    </a:moveTo>
                    <a:lnTo>
                      <a:pt x="1082040" y="0"/>
                    </a:lnTo>
                    <a:lnTo>
                      <a:pt x="1082040" y="1760220"/>
                    </a:lnTo>
                    <a:lnTo>
                      <a:pt x="0" y="1760220"/>
                    </a:lnTo>
                  </a:path>
                </a:pathLst>
              </a:custGeom>
              <a:ln w="25400">
                <a:solidFill>
                  <a:schemeClr val="bg1"/>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IN" sz="1765">
                  <a:solidFill>
                    <a:srgbClr val="000000"/>
                  </a:solidFill>
                </a:endParaRPr>
              </a:p>
            </p:txBody>
          </p:sp>
          <p:sp>
            <p:nvSpPr>
              <p:cNvPr id="61" name="Freeform 60"/>
              <p:cNvSpPr/>
              <p:nvPr/>
            </p:nvSpPr>
            <p:spPr bwMode="auto">
              <a:xfrm flipV="1">
                <a:off x="6789420" y="3861436"/>
                <a:ext cx="3688080" cy="1567814"/>
              </a:xfrm>
              <a:custGeom>
                <a:avLst/>
                <a:gdLst>
                  <a:gd name="connsiteX0" fmla="*/ 3688080 w 3688080"/>
                  <a:gd name="connsiteY0" fmla="*/ 0 h 1760220"/>
                  <a:gd name="connsiteX1" fmla="*/ 1082040 w 3688080"/>
                  <a:gd name="connsiteY1" fmla="*/ 0 h 1760220"/>
                  <a:gd name="connsiteX2" fmla="*/ 1082040 w 3688080"/>
                  <a:gd name="connsiteY2" fmla="*/ 1760220 h 1760220"/>
                  <a:gd name="connsiteX3" fmla="*/ 0 w 3688080"/>
                  <a:gd name="connsiteY3" fmla="*/ 1760220 h 1760220"/>
                </a:gdLst>
                <a:ahLst/>
                <a:cxnLst>
                  <a:cxn ang="0">
                    <a:pos x="connsiteX0" y="connsiteY0"/>
                  </a:cxn>
                  <a:cxn ang="0">
                    <a:pos x="connsiteX1" y="connsiteY1"/>
                  </a:cxn>
                  <a:cxn ang="0">
                    <a:pos x="connsiteX2" y="connsiteY2"/>
                  </a:cxn>
                  <a:cxn ang="0">
                    <a:pos x="connsiteX3" y="connsiteY3"/>
                  </a:cxn>
                </a:cxnLst>
                <a:rect l="l" t="t" r="r" b="b"/>
                <a:pathLst>
                  <a:path w="3688080" h="1760220">
                    <a:moveTo>
                      <a:pt x="3688080" y="0"/>
                    </a:moveTo>
                    <a:lnTo>
                      <a:pt x="1082040" y="0"/>
                    </a:lnTo>
                    <a:lnTo>
                      <a:pt x="1082040" y="1760220"/>
                    </a:lnTo>
                    <a:lnTo>
                      <a:pt x="0" y="1760220"/>
                    </a:lnTo>
                  </a:path>
                </a:pathLst>
              </a:custGeom>
              <a:ln w="25400">
                <a:solidFill>
                  <a:schemeClr val="bg1"/>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IN" sz="1765">
                  <a:solidFill>
                    <a:srgbClr val="000000"/>
                  </a:solidFill>
                </a:endParaRPr>
              </a:p>
            </p:txBody>
          </p:sp>
          <p:sp>
            <p:nvSpPr>
              <p:cNvPr id="62" name="Freeform 61"/>
              <p:cNvSpPr/>
              <p:nvPr/>
            </p:nvSpPr>
            <p:spPr bwMode="auto">
              <a:xfrm>
                <a:off x="6789420" y="3032125"/>
                <a:ext cx="3634740" cy="456247"/>
              </a:xfrm>
              <a:custGeom>
                <a:avLst/>
                <a:gdLst>
                  <a:gd name="connsiteX0" fmla="*/ 3688080 w 3688080"/>
                  <a:gd name="connsiteY0" fmla="*/ 0 h 1760220"/>
                  <a:gd name="connsiteX1" fmla="*/ 1082040 w 3688080"/>
                  <a:gd name="connsiteY1" fmla="*/ 0 h 1760220"/>
                  <a:gd name="connsiteX2" fmla="*/ 1082040 w 3688080"/>
                  <a:gd name="connsiteY2" fmla="*/ 1760220 h 1760220"/>
                  <a:gd name="connsiteX3" fmla="*/ 0 w 3688080"/>
                  <a:gd name="connsiteY3" fmla="*/ 1760220 h 1760220"/>
                  <a:gd name="connsiteX0" fmla="*/ 3141454 w 3141454"/>
                  <a:gd name="connsiteY0" fmla="*/ 1249051 h 1760220"/>
                  <a:gd name="connsiteX1" fmla="*/ 1082040 w 3141454"/>
                  <a:gd name="connsiteY1" fmla="*/ 0 h 1760220"/>
                  <a:gd name="connsiteX2" fmla="*/ 1082040 w 3141454"/>
                  <a:gd name="connsiteY2" fmla="*/ 1760220 h 1760220"/>
                  <a:gd name="connsiteX3" fmla="*/ 0 w 3141454"/>
                  <a:gd name="connsiteY3" fmla="*/ 1760220 h 1760220"/>
                  <a:gd name="connsiteX0" fmla="*/ 3141454 w 3141454"/>
                  <a:gd name="connsiteY0" fmla="*/ 1249051 h 1760220"/>
                  <a:gd name="connsiteX1" fmla="*/ 1082040 w 3141454"/>
                  <a:gd name="connsiteY1" fmla="*/ 0 h 1760220"/>
                  <a:gd name="connsiteX2" fmla="*/ 1080081 w 3141454"/>
                  <a:gd name="connsiteY2" fmla="*/ 905775 h 1760220"/>
                  <a:gd name="connsiteX3" fmla="*/ 1082040 w 3141454"/>
                  <a:gd name="connsiteY3" fmla="*/ 1760220 h 1760220"/>
                  <a:gd name="connsiteX4" fmla="*/ 0 w 3141454"/>
                  <a:gd name="connsiteY4" fmla="*/ 1760220 h 1760220"/>
                  <a:gd name="connsiteX0" fmla="*/ 3141454 w 3141454"/>
                  <a:gd name="connsiteY0" fmla="*/ 343276 h 854445"/>
                  <a:gd name="connsiteX1" fmla="*/ 1080081 w 3141454"/>
                  <a:gd name="connsiteY1" fmla="*/ 0 h 854445"/>
                  <a:gd name="connsiteX2" fmla="*/ 1082040 w 3141454"/>
                  <a:gd name="connsiteY2" fmla="*/ 854445 h 854445"/>
                  <a:gd name="connsiteX3" fmla="*/ 0 w 3141454"/>
                  <a:gd name="connsiteY3" fmla="*/ 854445 h 854445"/>
                  <a:gd name="connsiteX0" fmla="*/ 3141454 w 3141454"/>
                  <a:gd name="connsiteY0" fmla="*/ 343276 h 854445"/>
                  <a:gd name="connsiteX1" fmla="*/ 1080081 w 3141454"/>
                  <a:gd name="connsiteY1" fmla="*/ 0 h 854445"/>
                  <a:gd name="connsiteX2" fmla="*/ 1073495 w 3141454"/>
                  <a:gd name="connsiteY2" fmla="*/ 222434 h 854445"/>
                  <a:gd name="connsiteX3" fmla="*/ 1082040 w 3141454"/>
                  <a:gd name="connsiteY3" fmla="*/ 854445 h 854445"/>
                  <a:gd name="connsiteX4" fmla="*/ 0 w 3141454"/>
                  <a:gd name="connsiteY4" fmla="*/ 854445 h 854445"/>
                  <a:gd name="connsiteX0" fmla="*/ 3141454 w 3141454"/>
                  <a:gd name="connsiteY0" fmla="*/ 120842 h 632011"/>
                  <a:gd name="connsiteX1" fmla="*/ 1073495 w 3141454"/>
                  <a:gd name="connsiteY1" fmla="*/ 0 h 632011"/>
                  <a:gd name="connsiteX2" fmla="*/ 1082040 w 3141454"/>
                  <a:gd name="connsiteY2" fmla="*/ 632011 h 632011"/>
                  <a:gd name="connsiteX3" fmla="*/ 0 w 3141454"/>
                  <a:gd name="connsiteY3" fmla="*/ 632011 h 632011"/>
                  <a:gd name="connsiteX0" fmla="*/ 3141454 w 3141454"/>
                  <a:gd name="connsiteY0" fmla="*/ 1070 h 512239"/>
                  <a:gd name="connsiteX1" fmla="*/ 1080081 w 3141454"/>
                  <a:gd name="connsiteY1" fmla="*/ 0 h 512239"/>
                  <a:gd name="connsiteX2" fmla="*/ 1082040 w 3141454"/>
                  <a:gd name="connsiteY2" fmla="*/ 512239 h 512239"/>
                  <a:gd name="connsiteX3" fmla="*/ 0 w 3141454"/>
                  <a:gd name="connsiteY3" fmla="*/ 512239 h 512239"/>
                </a:gdLst>
                <a:ahLst/>
                <a:cxnLst>
                  <a:cxn ang="0">
                    <a:pos x="connsiteX0" y="connsiteY0"/>
                  </a:cxn>
                  <a:cxn ang="0">
                    <a:pos x="connsiteX1" y="connsiteY1"/>
                  </a:cxn>
                  <a:cxn ang="0">
                    <a:pos x="connsiteX2" y="connsiteY2"/>
                  </a:cxn>
                  <a:cxn ang="0">
                    <a:pos x="connsiteX3" y="connsiteY3"/>
                  </a:cxn>
                </a:cxnLst>
                <a:rect l="l" t="t" r="r" b="b"/>
                <a:pathLst>
                  <a:path w="3141454" h="512239">
                    <a:moveTo>
                      <a:pt x="3141454" y="1070"/>
                    </a:moveTo>
                    <a:lnTo>
                      <a:pt x="1080081" y="0"/>
                    </a:lnTo>
                    <a:lnTo>
                      <a:pt x="1082040" y="512239"/>
                    </a:lnTo>
                    <a:lnTo>
                      <a:pt x="0" y="512239"/>
                    </a:lnTo>
                  </a:path>
                </a:pathLst>
              </a:custGeom>
              <a:ln w="25400">
                <a:solidFill>
                  <a:schemeClr val="bg1"/>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IN" sz="1765" dirty="0">
                  <a:solidFill>
                    <a:srgbClr val="000000"/>
                  </a:solidFill>
                </a:endParaRPr>
              </a:p>
            </p:txBody>
          </p:sp>
          <p:sp>
            <p:nvSpPr>
              <p:cNvPr id="63" name="Freeform 62"/>
              <p:cNvSpPr/>
              <p:nvPr/>
            </p:nvSpPr>
            <p:spPr bwMode="auto">
              <a:xfrm flipV="1">
                <a:off x="6789420" y="3679190"/>
                <a:ext cx="3634740" cy="456247"/>
              </a:xfrm>
              <a:custGeom>
                <a:avLst/>
                <a:gdLst>
                  <a:gd name="connsiteX0" fmla="*/ 3688080 w 3688080"/>
                  <a:gd name="connsiteY0" fmla="*/ 0 h 1760220"/>
                  <a:gd name="connsiteX1" fmla="*/ 1082040 w 3688080"/>
                  <a:gd name="connsiteY1" fmla="*/ 0 h 1760220"/>
                  <a:gd name="connsiteX2" fmla="*/ 1082040 w 3688080"/>
                  <a:gd name="connsiteY2" fmla="*/ 1760220 h 1760220"/>
                  <a:gd name="connsiteX3" fmla="*/ 0 w 3688080"/>
                  <a:gd name="connsiteY3" fmla="*/ 1760220 h 1760220"/>
                  <a:gd name="connsiteX0" fmla="*/ 3141454 w 3141454"/>
                  <a:gd name="connsiteY0" fmla="*/ 1249051 h 1760220"/>
                  <a:gd name="connsiteX1" fmla="*/ 1082040 w 3141454"/>
                  <a:gd name="connsiteY1" fmla="*/ 0 h 1760220"/>
                  <a:gd name="connsiteX2" fmla="*/ 1082040 w 3141454"/>
                  <a:gd name="connsiteY2" fmla="*/ 1760220 h 1760220"/>
                  <a:gd name="connsiteX3" fmla="*/ 0 w 3141454"/>
                  <a:gd name="connsiteY3" fmla="*/ 1760220 h 1760220"/>
                  <a:gd name="connsiteX0" fmla="*/ 3141454 w 3141454"/>
                  <a:gd name="connsiteY0" fmla="*/ 1249051 h 1760220"/>
                  <a:gd name="connsiteX1" fmla="*/ 1082040 w 3141454"/>
                  <a:gd name="connsiteY1" fmla="*/ 0 h 1760220"/>
                  <a:gd name="connsiteX2" fmla="*/ 1080081 w 3141454"/>
                  <a:gd name="connsiteY2" fmla="*/ 905775 h 1760220"/>
                  <a:gd name="connsiteX3" fmla="*/ 1082040 w 3141454"/>
                  <a:gd name="connsiteY3" fmla="*/ 1760220 h 1760220"/>
                  <a:gd name="connsiteX4" fmla="*/ 0 w 3141454"/>
                  <a:gd name="connsiteY4" fmla="*/ 1760220 h 1760220"/>
                  <a:gd name="connsiteX0" fmla="*/ 3141454 w 3141454"/>
                  <a:gd name="connsiteY0" fmla="*/ 343276 h 854445"/>
                  <a:gd name="connsiteX1" fmla="*/ 1080081 w 3141454"/>
                  <a:gd name="connsiteY1" fmla="*/ 0 h 854445"/>
                  <a:gd name="connsiteX2" fmla="*/ 1082040 w 3141454"/>
                  <a:gd name="connsiteY2" fmla="*/ 854445 h 854445"/>
                  <a:gd name="connsiteX3" fmla="*/ 0 w 3141454"/>
                  <a:gd name="connsiteY3" fmla="*/ 854445 h 854445"/>
                  <a:gd name="connsiteX0" fmla="*/ 3141454 w 3141454"/>
                  <a:gd name="connsiteY0" fmla="*/ 343276 h 854445"/>
                  <a:gd name="connsiteX1" fmla="*/ 1080081 w 3141454"/>
                  <a:gd name="connsiteY1" fmla="*/ 0 h 854445"/>
                  <a:gd name="connsiteX2" fmla="*/ 1073495 w 3141454"/>
                  <a:gd name="connsiteY2" fmla="*/ 222434 h 854445"/>
                  <a:gd name="connsiteX3" fmla="*/ 1082040 w 3141454"/>
                  <a:gd name="connsiteY3" fmla="*/ 854445 h 854445"/>
                  <a:gd name="connsiteX4" fmla="*/ 0 w 3141454"/>
                  <a:gd name="connsiteY4" fmla="*/ 854445 h 854445"/>
                  <a:gd name="connsiteX0" fmla="*/ 3141454 w 3141454"/>
                  <a:gd name="connsiteY0" fmla="*/ 120842 h 632011"/>
                  <a:gd name="connsiteX1" fmla="*/ 1073495 w 3141454"/>
                  <a:gd name="connsiteY1" fmla="*/ 0 h 632011"/>
                  <a:gd name="connsiteX2" fmla="*/ 1082040 w 3141454"/>
                  <a:gd name="connsiteY2" fmla="*/ 632011 h 632011"/>
                  <a:gd name="connsiteX3" fmla="*/ 0 w 3141454"/>
                  <a:gd name="connsiteY3" fmla="*/ 632011 h 632011"/>
                  <a:gd name="connsiteX0" fmla="*/ 3141454 w 3141454"/>
                  <a:gd name="connsiteY0" fmla="*/ 1070 h 512239"/>
                  <a:gd name="connsiteX1" fmla="*/ 1080081 w 3141454"/>
                  <a:gd name="connsiteY1" fmla="*/ 0 h 512239"/>
                  <a:gd name="connsiteX2" fmla="*/ 1082040 w 3141454"/>
                  <a:gd name="connsiteY2" fmla="*/ 512239 h 512239"/>
                  <a:gd name="connsiteX3" fmla="*/ 0 w 3141454"/>
                  <a:gd name="connsiteY3" fmla="*/ 512239 h 512239"/>
                </a:gdLst>
                <a:ahLst/>
                <a:cxnLst>
                  <a:cxn ang="0">
                    <a:pos x="connsiteX0" y="connsiteY0"/>
                  </a:cxn>
                  <a:cxn ang="0">
                    <a:pos x="connsiteX1" y="connsiteY1"/>
                  </a:cxn>
                  <a:cxn ang="0">
                    <a:pos x="connsiteX2" y="connsiteY2"/>
                  </a:cxn>
                  <a:cxn ang="0">
                    <a:pos x="connsiteX3" y="connsiteY3"/>
                  </a:cxn>
                </a:cxnLst>
                <a:rect l="l" t="t" r="r" b="b"/>
                <a:pathLst>
                  <a:path w="3141454" h="512239">
                    <a:moveTo>
                      <a:pt x="3141454" y="1070"/>
                    </a:moveTo>
                    <a:lnTo>
                      <a:pt x="1080081" y="0"/>
                    </a:lnTo>
                    <a:lnTo>
                      <a:pt x="1082040" y="512239"/>
                    </a:lnTo>
                    <a:lnTo>
                      <a:pt x="0" y="512239"/>
                    </a:lnTo>
                  </a:path>
                </a:pathLst>
              </a:custGeom>
              <a:ln w="25400">
                <a:solidFill>
                  <a:schemeClr val="bg1"/>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IN" sz="1765" dirty="0">
                  <a:solidFill>
                    <a:srgbClr val="000000"/>
                  </a:solidFill>
                </a:endParaRPr>
              </a:p>
            </p:txBody>
          </p:sp>
        </p:grpSp>
        <p:grpSp>
          <p:nvGrpSpPr>
            <p:cNvPr id="46" name="Group 45"/>
            <p:cNvGrpSpPr/>
            <p:nvPr/>
          </p:nvGrpSpPr>
          <p:grpSpPr>
            <a:xfrm>
              <a:off x="5180649" y="1997755"/>
              <a:ext cx="1356860" cy="2978744"/>
              <a:chOff x="6113727" y="2322846"/>
              <a:chExt cx="1384068" cy="3038474"/>
            </a:xfrm>
          </p:grpSpPr>
          <p:sp>
            <p:nvSpPr>
              <p:cNvPr id="48" name="Rectangle 47"/>
              <p:cNvSpPr/>
              <p:nvPr/>
            </p:nvSpPr>
            <p:spPr bwMode="auto">
              <a:xfrm>
                <a:off x="6113727" y="2322846"/>
                <a:ext cx="1384068" cy="94035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44821" rIns="44821" bIns="44821" numCol="1" spcCol="0" rtlCol="0" fromWordArt="0" anchor="ctr" anchorCtr="0" forceAA="0" compatLnSpc="1">
                <a:prstTxWarp prst="textNoShape">
                  <a:avLst/>
                </a:prstTxWarp>
                <a:noAutofit/>
              </a:bodyPr>
              <a:lstStyle/>
              <a:p>
                <a:pPr defTabSz="913770" fontAlgn="base">
                  <a:spcBef>
                    <a:spcPct val="0"/>
                  </a:spcBef>
                  <a:spcAft>
                    <a:spcPct val="0"/>
                  </a:spcAft>
                </a:pPr>
                <a:endParaRPr lang="en-IN" sz="196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49" name="Rectangle 48"/>
              <p:cNvSpPr/>
              <p:nvPr/>
            </p:nvSpPr>
            <p:spPr bwMode="auto">
              <a:xfrm>
                <a:off x="6113727" y="3371904"/>
                <a:ext cx="1384068" cy="94035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44821" rIns="44821" bIns="44821" numCol="1" spcCol="0" rtlCol="0" fromWordArt="0" anchor="ctr" anchorCtr="0" forceAA="0" compatLnSpc="1">
                <a:prstTxWarp prst="textNoShape">
                  <a:avLst/>
                </a:prstTxWarp>
                <a:noAutofit/>
              </a:bodyPr>
              <a:lstStyle/>
              <a:p>
                <a:pPr defTabSz="913770" fontAlgn="base">
                  <a:spcBef>
                    <a:spcPct val="0"/>
                  </a:spcBef>
                  <a:spcAft>
                    <a:spcPct val="0"/>
                  </a:spcAft>
                </a:pPr>
                <a:endParaRPr lang="en-IN" sz="196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50" name="Rectangle 49"/>
              <p:cNvSpPr/>
              <p:nvPr/>
            </p:nvSpPr>
            <p:spPr bwMode="auto">
              <a:xfrm>
                <a:off x="6113727" y="4420969"/>
                <a:ext cx="1384068" cy="94035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44821" rIns="44821" bIns="44821" numCol="1" spcCol="0" rtlCol="0" fromWordArt="0" anchor="ctr" anchorCtr="0" forceAA="0" compatLnSpc="1">
                <a:prstTxWarp prst="textNoShape">
                  <a:avLst/>
                </a:prstTxWarp>
                <a:noAutofit/>
              </a:bodyPr>
              <a:lstStyle/>
              <a:p>
                <a:pPr defTabSz="913770" fontAlgn="base">
                  <a:spcBef>
                    <a:spcPct val="0"/>
                  </a:spcBef>
                  <a:spcAft>
                    <a:spcPct val="0"/>
                  </a:spcAft>
                </a:pPr>
                <a:endParaRPr lang="en-IN" sz="196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grpSp>
        <p:sp>
          <p:nvSpPr>
            <p:cNvPr id="47" name="Rectangle 46"/>
            <p:cNvSpPr/>
            <p:nvPr/>
          </p:nvSpPr>
          <p:spPr bwMode="auto">
            <a:xfrm>
              <a:off x="3325091" y="3249092"/>
              <a:ext cx="1479665" cy="536923"/>
            </a:xfrm>
            <a:prstGeom prst="rect">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13770" fontAlgn="base">
                <a:lnSpc>
                  <a:spcPct val="90000"/>
                </a:lnSpc>
                <a:spcBef>
                  <a:spcPct val="0"/>
                </a:spcBef>
                <a:spcAft>
                  <a:spcPct val="0"/>
                </a:spcAft>
              </a:pPr>
              <a:endParaRPr lang="en-US" sz="196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grpSp>
      <p:grpSp>
        <p:nvGrpSpPr>
          <p:cNvPr id="68" name="Group 67"/>
          <p:cNvGrpSpPr/>
          <p:nvPr/>
        </p:nvGrpSpPr>
        <p:grpSpPr>
          <a:xfrm>
            <a:off x="3015149" y="2731915"/>
            <a:ext cx="1040924" cy="821750"/>
            <a:chOff x="915076" y="3339844"/>
            <a:chExt cx="1463587" cy="1155418"/>
          </a:xfrm>
          <a:solidFill>
            <a:schemeClr val="accent2"/>
          </a:solidFill>
        </p:grpSpPr>
        <p:grpSp>
          <p:nvGrpSpPr>
            <p:cNvPr id="69" name="Group 68"/>
            <p:cNvGrpSpPr/>
            <p:nvPr/>
          </p:nvGrpSpPr>
          <p:grpSpPr>
            <a:xfrm>
              <a:off x="915076" y="3339844"/>
              <a:ext cx="1384747" cy="827695"/>
              <a:chOff x="915076" y="3339844"/>
              <a:chExt cx="1384747" cy="827695"/>
            </a:xfrm>
            <a:grpFill/>
          </p:grpSpPr>
          <p:sp>
            <p:nvSpPr>
              <p:cNvPr id="79" name="Freeform 78"/>
              <p:cNvSpPr>
                <a:spLocks/>
              </p:cNvSpPr>
              <p:nvPr/>
            </p:nvSpPr>
            <p:spPr bwMode="auto">
              <a:xfrm flipH="1">
                <a:off x="1286154" y="3342929"/>
                <a:ext cx="1013669" cy="824610"/>
              </a:xfrm>
              <a:custGeom>
                <a:avLst/>
                <a:gdLst>
                  <a:gd name="connsiteX0" fmla="*/ 836347 w 1658436"/>
                  <a:gd name="connsiteY0" fmla="*/ 0 h 1256029"/>
                  <a:gd name="connsiteX1" fmla="*/ 1015917 w 1658436"/>
                  <a:gd name="connsiteY1" fmla="*/ 0 h 1256029"/>
                  <a:gd name="connsiteX2" fmla="*/ 1015917 w 1658436"/>
                  <a:gd name="connsiteY2" fmla="*/ 203058 h 1256029"/>
                  <a:gd name="connsiteX3" fmla="*/ 1083029 w 1658436"/>
                  <a:gd name="connsiteY3" fmla="*/ 249781 h 1256029"/>
                  <a:gd name="connsiteX4" fmla="*/ 1154099 w 1658436"/>
                  <a:gd name="connsiteY4" fmla="*/ 249781 h 1256029"/>
                  <a:gd name="connsiteX5" fmla="*/ 1194333 w 1658436"/>
                  <a:gd name="connsiteY5" fmla="*/ 275145 h 1256029"/>
                  <a:gd name="connsiteX6" fmla="*/ 1160200 w 1658436"/>
                  <a:gd name="connsiteY6" fmla="*/ 330767 h 1256029"/>
                  <a:gd name="connsiteX7" fmla="*/ 1178174 w 1658436"/>
                  <a:gd name="connsiteY7" fmla="*/ 514247 h 1256029"/>
                  <a:gd name="connsiteX8" fmla="*/ 1313387 w 1658436"/>
                  <a:gd name="connsiteY8" fmla="*/ 609325 h 1256029"/>
                  <a:gd name="connsiteX9" fmla="*/ 1627182 w 1658436"/>
                  <a:gd name="connsiteY9" fmla="*/ 610511 h 1256029"/>
                  <a:gd name="connsiteX10" fmla="*/ 1648783 w 1658436"/>
                  <a:gd name="connsiteY10" fmla="*/ 959821 h 1256029"/>
                  <a:gd name="connsiteX11" fmla="*/ 1641033 w 1658436"/>
                  <a:gd name="connsiteY11" fmla="*/ 954778 h 1256029"/>
                  <a:gd name="connsiteX12" fmla="*/ 1260126 w 1658436"/>
                  <a:gd name="connsiteY12" fmla="*/ 961156 h 1256029"/>
                  <a:gd name="connsiteX13" fmla="*/ 1099684 w 1658436"/>
                  <a:gd name="connsiteY13" fmla="*/ 1004170 h 1256029"/>
                  <a:gd name="connsiteX14" fmla="*/ 731474 w 1658436"/>
                  <a:gd name="connsiteY14" fmla="*/ 985185 h 1256029"/>
                  <a:gd name="connsiteX15" fmla="*/ 646718 w 1658436"/>
                  <a:gd name="connsiteY15" fmla="*/ 944691 h 1256029"/>
                  <a:gd name="connsiteX16" fmla="*/ 554377 w 1658436"/>
                  <a:gd name="connsiteY16" fmla="*/ 923332 h 1256029"/>
                  <a:gd name="connsiteX17" fmla="*/ 431365 w 1658436"/>
                  <a:gd name="connsiteY17" fmla="*/ 971242 h 1256029"/>
                  <a:gd name="connsiteX18" fmla="*/ 315114 w 1658436"/>
                  <a:gd name="connsiteY18" fmla="*/ 1197737 h 1256029"/>
                  <a:gd name="connsiteX19" fmla="*/ 302417 w 1658436"/>
                  <a:gd name="connsiteY19" fmla="*/ 1256029 h 1256029"/>
                  <a:gd name="connsiteX20" fmla="*/ 0 w 1658436"/>
                  <a:gd name="connsiteY20" fmla="*/ 1200258 h 1256029"/>
                  <a:gd name="connsiteX21" fmla="*/ 78655 w 1658436"/>
                  <a:gd name="connsiteY21" fmla="*/ 952256 h 1256029"/>
                  <a:gd name="connsiteX22" fmla="*/ 429057 w 1658436"/>
                  <a:gd name="connsiteY22" fmla="*/ 623268 h 1256029"/>
                  <a:gd name="connsiteX23" fmla="*/ 557839 w 1658436"/>
                  <a:gd name="connsiteY23" fmla="*/ 595530 h 1256029"/>
                  <a:gd name="connsiteX24" fmla="*/ 689920 w 1658436"/>
                  <a:gd name="connsiteY24" fmla="*/ 448539 h 1256029"/>
                  <a:gd name="connsiteX25" fmla="*/ 689920 w 1658436"/>
                  <a:gd name="connsiteY25" fmla="*/ 332102 h 1256029"/>
                  <a:gd name="connsiteX26" fmla="*/ 657930 w 1658436"/>
                  <a:gd name="connsiteY26" fmla="*/ 266393 h 1256029"/>
                  <a:gd name="connsiteX27" fmla="*/ 683324 w 1658436"/>
                  <a:gd name="connsiteY27" fmla="*/ 251116 h 1256029"/>
                  <a:gd name="connsiteX28" fmla="*/ 726362 w 1658436"/>
                  <a:gd name="connsiteY28" fmla="*/ 249781 h 1256029"/>
                  <a:gd name="connsiteX29" fmla="*/ 766761 w 1658436"/>
                  <a:gd name="connsiteY29" fmla="*/ 249781 h 1256029"/>
                  <a:gd name="connsiteX30" fmla="*/ 836347 w 1658436"/>
                  <a:gd name="connsiteY30" fmla="*/ 204245 h 1256029"/>
                  <a:gd name="connsiteX0" fmla="*/ 836347 w 1658436"/>
                  <a:gd name="connsiteY0" fmla="*/ 0 h 1256029"/>
                  <a:gd name="connsiteX1" fmla="*/ 1015917 w 1658436"/>
                  <a:gd name="connsiteY1" fmla="*/ 0 h 1256029"/>
                  <a:gd name="connsiteX2" fmla="*/ 1015917 w 1658436"/>
                  <a:gd name="connsiteY2" fmla="*/ 203058 h 1256029"/>
                  <a:gd name="connsiteX3" fmla="*/ 1083029 w 1658436"/>
                  <a:gd name="connsiteY3" fmla="*/ 249781 h 1256029"/>
                  <a:gd name="connsiteX4" fmla="*/ 1154099 w 1658436"/>
                  <a:gd name="connsiteY4" fmla="*/ 249781 h 1256029"/>
                  <a:gd name="connsiteX5" fmla="*/ 1194333 w 1658436"/>
                  <a:gd name="connsiteY5" fmla="*/ 275145 h 1256029"/>
                  <a:gd name="connsiteX6" fmla="*/ 1160200 w 1658436"/>
                  <a:gd name="connsiteY6" fmla="*/ 330767 h 1256029"/>
                  <a:gd name="connsiteX7" fmla="*/ 1178174 w 1658436"/>
                  <a:gd name="connsiteY7" fmla="*/ 514247 h 1256029"/>
                  <a:gd name="connsiteX8" fmla="*/ 1313387 w 1658436"/>
                  <a:gd name="connsiteY8" fmla="*/ 609325 h 1256029"/>
                  <a:gd name="connsiteX9" fmla="*/ 1627182 w 1658436"/>
                  <a:gd name="connsiteY9" fmla="*/ 610511 h 1256029"/>
                  <a:gd name="connsiteX10" fmla="*/ 1648783 w 1658436"/>
                  <a:gd name="connsiteY10" fmla="*/ 959821 h 1256029"/>
                  <a:gd name="connsiteX11" fmla="*/ 1641033 w 1658436"/>
                  <a:gd name="connsiteY11" fmla="*/ 954778 h 1256029"/>
                  <a:gd name="connsiteX12" fmla="*/ 1260126 w 1658436"/>
                  <a:gd name="connsiteY12" fmla="*/ 961156 h 1256029"/>
                  <a:gd name="connsiteX13" fmla="*/ 1099684 w 1658436"/>
                  <a:gd name="connsiteY13" fmla="*/ 1004170 h 1256029"/>
                  <a:gd name="connsiteX14" fmla="*/ 731474 w 1658436"/>
                  <a:gd name="connsiteY14" fmla="*/ 985185 h 1256029"/>
                  <a:gd name="connsiteX15" fmla="*/ 646718 w 1658436"/>
                  <a:gd name="connsiteY15" fmla="*/ 944691 h 1256029"/>
                  <a:gd name="connsiteX16" fmla="*/ 554377 w 1658436"/>
                  <a:gd name="connsiteY16" fmla="*/ 923332 h 1256029"/>
                  <a:gd name="connsiteX17" fmla="*/ 431365 w 1658436"/>
                  <a:gd name="connsiteY17" fmla="*/ 971242 h 1256029"/>
                  <a:gd name="connsiteX18" fmla="*/ 315114 w 1658436"/>
                  <a:gd name="connsiteY18" fmla="*/ 1197737 h 1256029"/>
                  <a:gd name="connsiteX19" fmla="*/ 302417 w 1658436"/>
                  <a:gd name="connsiteY19" fmla="*/ 1256029 h 1256029"/>
                  <a:gd name="connsiteX20" fmla="*/ 0 w 1658436"/>
                  <a:gd name="connsiteY20" fmla="*/ 1200258 h 1256029"/>
                  <a:gd name="connsiteX21" fmla="*/ 78655 w 1658436"/>
                  <a:gd name="connsiteY21" fmla="*/ 952256 h 1256029"/>
                  <a:gd name="connsiteX22" fmla="*/ 429057 w 1658436"/>
                  <a:gd name="connsiteY22" fmla="*/ 623268 h 1256029"/>
                  <a:gd name="connsiteX23" fmla="*/ 557839 w 1658436"/>
                  <a:gd name="connsiteY23" fmla="*/ 595530 h 1256029"/>
                  <a:gd name="connsiteX24" fmla="*/ 689920 w 1658436"/>
                  <a:gd name="connsiteY24" fmla="*/ 448539 h 1256029"/>
                  <a:gd name="connsiteX25" fmla="*/ 689920 w 1658436"/>
                  <a:gd name="connsiteY25" fmla="*/ 332102 h 1256029"/>
                  <a:gd name="connsiteX26" fmla="*/ 657930 w 1658436"/>
                  <a:gd name="connsiteY26" fmla="*/ 266393 h 1256029"/>
                  <a:gd name="connsiteX27" fmla="*/ 683324 w 1658436"/>
                  <a:gd name="connsiteY27" fmla="*/ 251116 h 1256029"/>
                  <a:gd name="connsiteX28" fmla="*/ 726362 w 1658436"/>
                  <a:gd name="connsiteY28" fmla="*/ 249781 h 1256029"/>
                  <a:gd name="connsiteX29" fmla="*/ 766761 w 1658436"/>
                  <a:gd name="connsiteY29" fmla="*/ 249781 h 1256029"/>
                  <a:gd name="connsiteX30" fmla="*/ 836347 w 1658436"/>
                  <a:gd name="connsiteY30" fmla="*/ 0 h 1256029"/>
                  <a:gd name="connsiteX0" fmla="*/ 836347 w 1658436"/>
                  <a:gd name="connsiteY0" fmla="*/ 0 h 1256029"/>
                  <a:gd name="connsiteX1" fmla="*/ 1015917 w 1658436"/>
                  <a:gd name="connsiteY1" fmla="*/ 0 h 1256029"/>
                  <a:gd name="connsiteX2" fmla="*/ 1083029 w 1658436"/>
                  <a:gd name="connsiteY2" fmla="*/ 249781 h 1256029"/>
                  <a:gd name="connsiteX3" fmla="*/ 1154099 w 1658436"/>
                  <a:gd name="connsiteY3" fmla="*/ 249781 h 1256029"/>
                  <a:gd name="connsiteX4" fmla="*/ 1194333 w 1658436"/>
                  <a:gd name="connsiteY4" fmla="*/ 275145 h 1256029"/>
                  <a:gd name="connsiteX5" fmla="*/ 1160200 w 1658436"/>
                  <a:gd name="connsiteY5" fmla="*/ 330767 h 1256029"/>
                  <a:gd name="connsiteX6" fmla="*/ 1178174 w 1658436"/>
                  <a:gd name="connsiteY6" fmla="*/ 514247 h 1256029"/>
                  <a:gd name="connsiteX7" fmla="*/ 1313387 w 1658436"/>
                  <a:gd name="connsiteY7" fmla="*/ 609325 h 1256029"/>
                  <a:gd name="connsiteX8" fmla="*/ 1627182 w 1658436"/>
                  <a:gd name="connsiteY8" fmla="*/ 610511 h 1256029"/>
                  <a:gd name="connsiteX9" fmla="*/ 1648783 w 1658436"/>
                  <a:gd name="connsiteY9" fmla="*/ 959821 h 1256029"/>
                  <a:gd name="connsiteX10" fmla="*/ 1641033 w 1658436"/>
                  <a:gd name="connsiteY10" fmla="*/ 954778 h 1256029"/>
                  <a:gd name="connsiteX11" fmla="*/ 1260126 w 1658436"/>
                  <a:gd name="connsiteY11" fmla="*/ 961156 h 1256029"/>
                  <a:gd name="connsiteX12" fmla="*/ 1099684 w 1658436"/>
                  <a:gd name="connsiteY12" fmla="*/ 1004170 h 1256029"/>
                  <a:gd name="connsiteX13" fmla="*/ 731474 w 1658436"/>
                  <a:gd name="connsiteY13" fmla="*/ 985185 h 1256029"/>
                  <a:gd name="connsiteX14" fmla="*/ 646718 w 1658436"/>
                  <a:gd name="connsiteY14" fmla="*/ 944691 h 1256029"/>
                  <a:gd name="connsiteX15" fmla="*/ 554377 w 1658436"/>
                  <a:gd name="connsiteY15" fmla="*/ 923332 h 1256029"/>
                  <a:gd name="connsiteX16" fmla="*/ 431365 w 1658436"/>
                  <a:gd name="connsiteY16" fmla="*/ 971242 h 1256029"/>
                  <a:gd name="connsiteX17" fmla="*/ 315114 w 1658436"/>
                  <a:gd name="connsiteY17" fmla="*/ 1197737 h 1256029"/>
                  <a:gd name="connsiteX18" fmla="*/ 302417 w 1658436"/>
                  <a:gd name="connsiteY18" fmla="*/ 1256029 h 1256029"/>
                  <a:gd name="connsiteX19" fmla="*/ 0 w 1658436"/>
                  <a:gd name="connsiteY19" fmla="*/ 1200258 h 1256029"/>
                  <a:gd name="connsiteX20" fmla="*/ 78655 w 1658436"/>
                  <a:gd name="connsiteY20" fmla="*/ 952256 h 1256029"/>
                  <a:gd name="connsiteX21" fmla="*/ 429057 w 1658436"/>
                  <a:gd name="connsiteY21" fmla="*/ 623268 h 1256029"/>
                  <a:gd name="connsiteX22" fmla="*/ 557839 w 1658436"/>
                  <a:gd name="connsiteY22" fmla="*/ 595530 h 1256029"/>
                  <a:gd name="connsiteX23" fmla="*/ 689920 w 1658436"/>
                  <a:gd name="connsiteY23" fmla="*/ 448539 h 1256029"/>
                  <a:gd name="connsiteX24" fmla="*/ 689920 w 1658436"/>
                  <a:gd name="connsiteY24" fmla="*/ 332102 h 1256029"/>
                  <a:gd name="connsiteX25" fmla="*/ 657930 w 1658436"/>
                  <a:gd name="connsiteY25" fmla="*/ 266393 h 1256029"/>
                  <a:gd name="connsiteX26" fmla="*/ 683324 w 1658436"/>
                  <a:gd name="connsiteY26" fmla="*/ 251116 h 1256029"/>
                  <a:gd name="connsiteX27" fmla="*/ 726362 w 1658436"/>
                  <a:gd name="connsiteY27" fmla="*/ 249781 h 1256029"/>
                  <a:gd name="connsiteX28" fmla="*/ 766761 w 1658436"/>
                  <a:gd name="connsiteY28" fmla="*/ 249781 h 1256029"/>
                  <a:gd name="connsiteX29" fmla="*/ 836347 w 1658436"/>
                  <a:gd name="connsiteY29" fmla="*/ 0 h 1256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658436" h="1256029">
                    <a:moveTo>
                      <a:pt x="836347" y="0"/>
                    </a:moveTo>
                    <a:lnTo>
                      <a:pt x="1015917" y="0"/>
                    </a:lnTo>
                    <a:lnTo>
                      <a:pt x="1083029" y="249781"/>
                    </a:lnTo>
                    <a:lnTo>
                      <a:pt x="1154099" y="249781"/>
                    </a:lnTo>
                    <a:cubicBezTo>
                      <a:pt x="1171743" y="249781"/>
                      <a:pt x="1191860" y="246073"/>
                      <a:pt x="1194333" y="275145"/>
                    </a:cubicBezTo>
                    <a:cubicBezTo>
                      <a:pt x="1198126" y="315638"/>
                      <a:pt x="1194333" y="323203"/>
                      <a:pt x="1160200" y="330767"/>
                    </a:cubicBezTo>
                    <a:cubicBezTo>
                      <a:pt x="1160200" y="392768"/>
                      <a:pt x="1155418" y="454768"/>
                      <a:pt x="1178174" y="514247"/>
                    </a:cubicBezTo>
                    <a:cubicBezTo>
                      <a:pt x="1200599" y="576396"/>
                      <a:pt x="1246440" y="609325"/>
                      <a:pt x="1313387" y="609325"/>
                    </a:cubicBezTo>
                    <a:lnTo>
                      <a:pt x="1627182" y="610511"/>
                    </a:lnTo>
                    <a:cubicBezTo>
                      <a:pt x="1683081" y="668952"/>
                      <a:pt x="1646475" y="902418"/>
                      <a:pt x="1648783" y="959821"/>
                    </a:cubicBezTo>
                    <a:cubicBezTo>
                      <a:pt x="1643507" y="957299"/>
                      <a:pt x="1642352" y="954778"/>
                      <a:pt x="1641033" y="954778"/>
                    </a:cubicBezTo>
                    <a:cubicBezTo>
                      <a:pt x="1513570" y="955964"/>
                      <a:pt x="1386930" y="953443"/>
                      <a:pt x="1260126" y="961156"/>
                    </a:cubicBezTo>
                    <a:cubicBezTo>
                      <a:pt x="1205711" y="963826"/>
                      <a:pt x="1151625" y="985185"/>
                      <a:pt x="1099684" y="1004170"/>
                    </a:cubicBezTo>
                    <a:cubicBezTo>
                      <a:pt x="973209" y="1052228"/>
                      <a:pt x="850363" y="1048372"/>
                      <a:pt x="731474" y="985185"/>
                    </a:cubicBezTo>
                    <a:cubicBezTo>
                      <a:pt x="703771" y="970055"/>
                      <a:pt x="675904" y="954778"/>
                      <a:pt x="646718" y="944691"/>
                    </a:cubicBezTo>
                    <a:cubicBezTo>
                      <a:pt x="616377" y="934605"/>
                      <a:pt x="584882" y="927041"/>
                      <a:pt x="554377" y="923332"/>
                    </a:cubicBezTo>
                    <a:cubicBezTo>
                      <a:pt x="504908" y="916658"/>
                      <a:pt x="464344" y="936978"/>
                      <a:pt x="431365" y="971242"/>
                    </a:cubicBezTo>
                    <a:cubicBezTo>
                      <a:pt x="366891" y="1033391"/>
                      <a:pt x="336551" y="1114377"/>
                      <a:pt x="315114" y="1197737"/>
                    </a:cubicBezTo>
                    <a:cubicBezTo>
                      <a:pt x="311157" y="1215536"/>
                      <a:pt x="307199" y="1233187"/>
                      <a:pt x="302417" y="1256029"/>
                    </a:cubicBezTo>
                    <a:lnTo>
                      <a:pt x="0" y="1200258"/>
                    </a:lnTo>
                    <a:cubicBezTo>
                      <a:pt x="18798" y="1112894"/>
                      <a:pt x="41719" y="1030869"/>
                      <a:pt x="78655" y="952256"/>
                    </a:cubicBezTo>
                    <a:cubicBezTo>
                      <a:pt x="150714" y="796661"/>
                      <a:pt x="262183" y="679038"/>
                      <a:pt x="429057" y="623268"/>
                    </a:cubicBezTo>
                    <a:cubicBezTo>
                      <a:pt x="470775" y="610511"/>
                      <a:pt x="513812" y="601760"/>
                      <a:pt x="557839" y="595530"/>
                    </a:cubicBezTo>
                    <a:cubicBezTo>
                      <a:pt x="642760" y="583961"/>
                      <a:pt x="688436" y="534716"/>
                      <a:pt x="689920" y="448539"/>
                    </a:cubicBezTo>
                    <a:lnTo>
                      <a:pt x="689920" y="332102"/>
                    </a:lnTo>
                    <a:cubicBezTo>
                      <a:pt x="657930" y="321868"/>
                      <a:pt x="645398" y="295317"/>
                      <a:pt x="657930" y="266393"/>
                    </a:cubicBezTo>
                    <a:cubicBezTo>
                      <a:pt x="661723" y="258532"/>
                      <a:pt x="674420" y="252302"/>
                      <a:pt x="683324" y="251116"/>
                    </a:cubicBezTo>
                    <a:cubicBezTo>
                      <a:pt x="696846" y="248594"/>
                      <a:pt x="712511" y="249781"/>
                      <a:pt x="726362" y="249781"/>
                    </a:cubicBezTo>
                    <a:lnTo>
                      <a:pt x="766761" y="249781"/>
                    </a:lnTo>
                    <a:cubicBezTo>
                      <a:pt x="785092" y="208151"/>
                      <a:pt x="794821" y="41630"/>
                      <a:pt x="83634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noAutofit/>
              </a:bodyPr>
              <a:lstStyle/>
              <a:p>
                <a:pPr defTabSz="914367"/>
                <a:endParaRPr lang="en-US" sz="1765">
                  <a:solidFill>
                    <a:srgbClr val="000000"/>
                  </a:solidFill>
                </a:endParaRPr>
              </a:p>
            </p:txBody>
          </p:sp>
          <p:sp>
            <p:nvSpPr>
              <p:cNvPr id="80" name="Rectangle 79"/>
              <p:cNvSpPr/>
              <p:nvPr/>
            </p:nvSpPr>
            <p:spPr>
              <a:xfrm>
                <a:off x="915076" y="3741646"/>
                <a:ext cx="625583" cy="2313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endParaRPr>
              </a:p>
            </p:txBody>
          </p:sp>
          <p:sp>
            <p:nvSpPr>
              <p:cNvPr id="81" name="Rounded Rectangle 80"/>
              <p:cNvSpPr/>
              <p:nvPr/>
            </p:nvSpPr>
            <p:spPr>
              <a:xfrm>
                <a:off x="1514914" y="3339844"/>
                <a:ext cx="461959" cy="79307"/>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endParaRPr>
              </a:p>
            </p:txBody>
          </p:sp>
        </p:grpSp>
        <p:sp>
          <p:nvSpPr>
            <p:cNvPr id="70" name="Freeform 6"/>
            <p:cNvSpPr>
              <a:spLocks/>
            </p:cNvSpPr>
            <p:nvPr/>
          </p:nvSpPr>
          <p:spPr bwMode="auto">
            <a:xfrm flipH="1">
              <a:off x="2126453" y="4165336"/>
              <a:ext cx="69280" cy="104424"/>
            </a:xfrm>
            <a:custGeom>
              <a:avLst/>
              <a:gdLst>
                <a:gd name="T0" fmla="*/ 121 w 258"/>
                <a:gd name="T1" fmla="*/ 0 h 362"/>
                <a:gd name="T2" fmla="*/ 124 w 258"/>
                <a:gd name="T3" fmla="*/ 2 h 362"/>
                <a:gd name="T4" fmla="*/ 210 w 258"/>
                <a:gd name="T5" fmla="*/ 162 h 362"/>
                <a:gd name="T6" fmla="*/ 171 w 258"/>
                <a:gd name="T7" fmla="*/ 343 h 362"/>
                <a:gd name="T8" fmla="*/ 51 w 258"/>
                <a:gd name="T9" fmla="*/ 326 h 362"/>
                <a:gd name="T10" fmla="*/ 17 w 258"/>
                <a:gd name="T11" fmla="*/ 195 h 362"/>
                <a:gd name="T12" fmla="*/ 39 w 258"/>
                <a:gd name="T13" fmla="*/ 157 h 362"/>
                <a:gd name="T14" fmla="*/ 121 w 258"/>
                <a:gd name="T15" fmla="*/ 0 h 3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8" h="362">
                  <a:moveTo>
                    <a:pt x="121" y="0"/>
                  </a:moveTo>
                  <a:cubicBezTo>
                    <a:pt x="123" y="1"/>
                    <a:pt x="124" y="2"/>
                    <a:pt x="124" y="2"/>
                  </a:cubicBezTo>
                  <a:cubicBezTo>
                    <a:pt x="138" y="64"/>
                    <a:pt x="173" y="113"/>
                    <a:pt x="210" y="162"/>
                  </a:cubicBezTo>
                  <a:cubicBezTo>
                    <a:pt x="258" y="225"/>
                    <a:pt x="238" y="308"/>
                    <a:pt x="171" y="343"/>
                  </a:cubicBezTo>
                  <a:cubicBezTo>
                    <a:pt x="132" y="362"/>
                    <a:pt x="84" y="355"/>
                    <a:pt x="51" y="326"/>
                  </a:cubicBezTo>
                  <a:cubicBezTo>
                    <a:pt x="14" y="292"/>
                    <a:pt x="0" y="240"/>
                    <a:pt x="17" y="195"/>
                  </a:cubicBezTo>
                  <a:cubicBezTo>
                    <a:pt x="23" y="182"/>
                    <a:pt x="29" y="168"/>
                    <a:pt x="39" y="157"/>
                  </a:cubicBezTo>
                  <a:cubicBezTo>
                    <a:pt x="78" y="111"/>
                    <a:pt x="111" y="62"/>
                    <a:pt x="121" y="0"/>
                  </a:cubicBezTo>
                  <a:close/>
                </a:path>
              </a:pathLst>
            </a:custGeom>
            <a:grpFill/>
            <a:ln>
              <a:noFill/>
            </a:ln>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71" name="Freeform 6"/>
            <p:cNvSpPr>
              <a:spLocks/>
            </p:cNvSpPr>
            <p:nvPr/>
          </p:nvSpPr>
          <p:spPr bwMode="auto">
            <a:xfrm flipH="1">
              <a:off x="2195733" y="4165336"/>
              <a:ext cx="69280" cy="104424"/>
            </a:xfrm>
            <a:custGeom>
              <a:avLst/>
              <a:gdLst>
                <a:gd name="T0" fmla="*/ 121 w 258"/>
                <a:gd name="T1" fmla="*/ 0 h 362"/>
                <a:gd name="T2" fmla="*/ 124 w 258"/>
                <a:gd name="T3" fmla="*/ 2 h 362"/>
                <a:gd name="T4" fmla="*/ 210 w 258"/>
                <a:gd name="T5" fmla="*/ 162 h 362"/>
                <a:gd name="T6" fmla="*/ 171 w 258"/>
                <a:gd name="T7" fmla="*/ 343 h 362"/>
                <a:gd name="T8" fmla="*/ 51 w 258"/>
                <a:gd name="T9" fmla="*/ 326 h 362"/>
                <a:gd name="T10" fmla="*/ 17 w 258"/>
                <a:gd name="T11" fmla="*/ 195 h 362"/>
                <a:gd name="T12" fmla="*/ 39 w 258"/>
                <a:gd name="T13" fmla="*/ 157 h 362"/>
                <a:gd name="T14" fmla="*/ 121 w 258"/>
                <a:gd name="T15" fmla="*/ 0 h 3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8" h="362">
                  <a:moveTo>
                    <a:pt x="121" y="0"/>
                  </a:moveTo>
                  <a:cubicBezTo>
                    <a:pt x="123" y="1"/>
                    <a:pt x="124" y="2"/>
                    <a:pt x="124" y="2"/>
                  </a:cubicBezTo>
                  <a:cubicBezTo>
                    <a:pt x="138" y="64"/>
                    <a:pt x="173" y="113"/>
                    <a:pt x="210" y="162"/>
                  </a:cubicBezTo>
                  <a:cubicBezTo>
                    <a:pt x="258" y="225"/>
                    <a:pt x="238" y="308"/>
                    <a:pt x="171" y="343"/>
                  </a:cubicBezTo>
                  <a:cubicBezTo>
                    <a:pt x="132" y="362"/>
                    <a:pt x="84" y="355"/>
                    <a:pt x="51" y="326"/>
                  </a:cubicBezTo>
                  <a:cubicBezTo>
                    <a:pt x="14" y="292"/>
                    <a:pt x="0" y="240"/>
                    <a:pt x="17" y="195"/>
                  </a:cubicBezTo>
                  <a:cubicBezTo>
                    <a:pt x="23" y="182"/>
                    <a:pt x="29" y="168"/>
                    <a:pt x="39" y="157"/>
                  </a:cubicBezTo>
                  <a:cubicBezTo>
                    <a:pt x="78" y="111"/>
                    <a:pt x="111" y="62"/>
                    <a:pt x="121" y="0"/>
                  </a:cubicBezTo>
                  <a:close/>
                </a:path>
              </a:pathLst>
            </a:custGeom>
            <a:grpFill/>
            <a:ln>
              <a:noFill/>
            </a:ln>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72" name="Freeform 6"/>
            <p:cNvSpPr>
              <a:spLocks/>
            </p:cNvSpPr>
            <p:nvPr/>
          </p:nvSpPr>
          <p:spPr bwMode="auto">
            <a:xfrm flipH="1">
              <a:off x="2252473" y="4286417"/>
              <a:ext cx="69280" cy="104424"/>
            </a:xfrm>
            <a:custGeom>
              <a:avLst/>
              <a:gdLst>
                <a:gd name="T0" fmla="*/ 121 w 258"/>
                <a:gd name="T1" fmla="*/ 0 h 362"/>
                <a:gd name="T2" fmla="*/ 124 w 258"/>
                <a:gd name="T3" fmla="*/ 2 h 362"/>
                <a:gd name="T4" fmla="*/ 210 w 258"/>
                <a:gd name="T5" fmla="*/ 162 h 362"/>
                <a:gd name="T6" fmla="*/ 171 w 258"/>
                <a:gd name="T7" fmla="*/ 343 h 362"/>
                <a:gd name="T8" fmla="*/ 51 w 258"/>
                <a:gd name="T9" fmla="*/ 326 h 362"/>
                <a:gd name="T10" fmla="*/ 17 w 258"/>
                <a:gd name="T11" fmla="*/ 195 h 362"/>
                <a:gd name="T12" fmla="*/ 39 w 258"/>
                <a:gd name="T13" fmla="*/ 157 h 362"/>
                <a:gd name="T14" fmla="*/ 121 w 258"/>
                <a:gd name="T15" fmla="*/ 0 h 3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8" h="362">
                  <a:moveTo>
                    <a:pt x="121" y="0"/>
                  </a:moveTo>
                  <a:cubicBezTo>
                    <a:pt x="123" y="1"/>
                    <a:pt x="124" y="2"/>
                    <a:pt x="124" y="2"/>
                  </a:cubicBezTo>
                  <a:cubicBezTo>
                    <a:pt x="138" y="64"/>
                    <a:pt x="173" y="113"/>
                    <a:pt x="210" y="162"/>
                  </a:cubicBezTo>
                  <a:cubicBezTo>
                    <a:pt x="258" y="225"/>
                    <a:pt x="238" y="308"/>
                    <a:pt x="171" y="343"/>
                  </a:cubicBezTo>
                  <a:cubicBezTo>
                    <a:pt x="132" y="362"/>
                    <a:pt x="84" y="355"/>
                    <a:pt x="51" y="326"/>
                  </a:cubicBezTo>
                  <a:cubicBezTo>
                    <a:pt x="14" y="292"/>
                    <a:pt x="0" y="240"/>
                    <a:pt x="17" y="195"/>
                  </a:cubicBezTo>
                  <a:cubicBezTo>
                    <a:pt x="23" y="182"/>
                    <a:pt x="29" y="168"/>
                    <a:pt x="39" y="157"/>
                  </a:cubicBezTo>
                  <a:cubicBezTo>
                    <a:pt x="78" y="111"/>
                    <a:pt x="111" y="62"/>
                    <a:pt x="121" y="0"/>
                  </a:cubicBezTo>
                  <a:close/>
                </a:path>
              </a:pathLst>
            </a:custGeom>
            <a:grpFill/>
            <a:ln>
              <a:noFill/>
            </a:ln>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73" name="Freeform 6"/>
            <p:cNvSpPr>
              <a:spLocks/>
            </p:cNvSpPr>
            <p:nvPr/>
          </p:nvSpPr>
          <p:spPr bwMode="auto">
            <a:xfrm flipH="1">
              <a:off x="2183193" y="4272130"/>
              <a:ext cx="69280" cy="104424"/>
            </a:xfrm>
            <a:custGeom>
              <a:avLst/>
              <a:gdLst>
                <a:gd name="T0" fmla="*/ 121 w 258"/>
                <a:gd name="T1" fmla="*/ 0 h 362"/>
                <a:gd name="T2" fmla="*/ 124 w 258"/>
                <a:gd name="T3" fmla="*/ 2 h 362"/>
                <a:gd name="T4" fmla="*/ 210 w 258"/>
                <a:gd name="T5" fmla="*/ 162 h 362"/>
                <a:gd name="T6" fmla="*/ 171 w 258"/>
                <a:gd name="T7" fmla="*/ 343 h 362"/>
                <a:gd name="T8" fmla="*/ 51 w 258"/>
                <a:gd name="T9" fmla="*/ 326 h 362"/>
                <a:gd name="T10" fmla="*/ 17 w 258"/>
                <a:gd name="T11" fmla="*/ 195 h 362"/>
                <a:gd name="T12" fmla="*/ 39 w 258"/>
                <a:gd name="T13" fmla="*/ 157 h 362"/>
                <a:gd name="T14" fmla="*/ 121 w 258"/>
                <a:gd name="T15" fmla="*/ 0 h 3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8" h="362">
                  <a:moveTo>
                    <a:pt x="121" y="0"/>
                  </a:moveTo>
                  <a:cubicBezTo>
                    <a:pt x="123" y="1"/>
                    <a:pt x="124" y="2"/>
                    <a:pt x="124" y="2"/>
                  </a:cubicBezTo>
                  <a:cubicBezTo>
                    <a:pt x="138" y="64"/>
                    <a:pt x="173" y="113"/>
                    <a:pt x="210" y="162"/>
                  </a:cubicBezTo>
                  <a:cubicBezTo>
                    <a:pt x="258" y="225"/>
                    <a:pt x="238" y="308"/>
                    <a:pt x="171" y="343"/>
                  </a:cubicBezTo>
                  <a:cubicBezTo>
                    <a:pt x="132" y="362"/>
                    <a:pt x="84" y="355"/>
                    <a:pt x="51" y="326"/>
                  </a:cubicBezTo>
                  <a:cubicBezTo>
                    <a:pt x="14" y="292"/>
                    <a:pt x="0" y="240"/>
                    <a:pt x="17" y="195"/>
                  </a:cubicBezTo>
                  <a:cubicBezTo>
                    <a:pt x="23" y="182"/>
                    <a:pt x="29" y="168"/>
                    <a:pt x="39" y="157"/>
                  </a:cubicBezTo>
                  <a:cubicBezTo>
                    <a:pt x="78" y="111"/>
                    <a:pt x="111" y="62"/>
                    <a:pt x="121" y="0"/>
                  </a:cubicBezTo>
                  <a:close/>
                </a:path>
              </a:pathLst>
            </a:custGeom>
            <a:grpFill/>
            <a:ln>
              <a:noFill/>
            </a:ln>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74" name="Freeform 6"/>
            <p:cNvSpPr>
              <a:spLocks/>
            </p:cNvSpPr>
            <p:nvPr/>
          </p:nvSpPr>
          <p:spPr bwMode="auto">
            <a:xfrm flipH="1">
              <a:off x="2105130" y="4281558"/>
              <a:ext cx="69280" cy="104424"/>
            </a:xfrm>
            <a:custGeom>
              <a:avLst/>
              <a:gdLst>
                <a:gd name="T0" fmla="*/ 121 w 258"/>
                <a:gd name="T1" fmla="*/ 0 h 362"/>
                <a:gd name="T2" fmla="*/ 124 w 258"/>
                <a:gd name="T3" fmla="*/ 2 h 362"/>
                <a:gd name="T4" fmla="*/ 210 w 258"/>
                <a:gd name="T5" fmla="*/ 162 h 362"/>
                <a:gd name="T6" fmla="*/ 171 w 258"/>
                <a:gd name="T7" fmla="*/ 343 h 362"/>
                <a:gd name="T8" fmla="*/ 51 w 258"/>
                <a:gd name="T9" fmla="*/ 326 h 362"/>
                <a:gd name="T10" fmla="*/ 17 w 258"/>
                <a:gd name="T11" fmla="*/ 195 h 362"/>
                <a:gd name="T12" fmla="*/ 39 w 258"/>
                <a:gd name="T13" fmla="*/ 157 h 362"/>
                <a:gd name="T14" fmla="*/ 121 w 258"/>
                <a:gd name="T15" fmla="*/ 0 h 3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8" h="362">
                  <a:moveTo>
                    <a:pt x="121" y="0"/>
                  </a:moveTo>
                  <a:cubicBezTo>
                    <a:pt x="123" y="1"/>
                    <a:pt x="124" y="2"/>
                    <a:pt x="124" y="2"/>
                  </a:cubicBezTo>
                  <a:cubicBezTo>
                    <a:pt x="138" y="64"/>
                    <a:pt x="173" y="113"/>
                    <a:pt x="210" y="162"/>
                  </a:cubicBezTo>
                  <a:cubicBezTo>
                    <a:pt x="258" y="225"/>
                    <a:pt x="238" y="308"/>
                    <a:pt x="171" y="343"/>
                  </a:cubicBezTo>
                  <a:cubicBezTo>
                    <a:pt x="132" y="362"/>
                    <a:pt x="84" y="355"/>
                    <a:pt x="51" y="326"/>
                  </a:cubicBezTo>
                  <a:cubicBezTo>
                    <a:pt x="14" y="292"/>
                    <a:pt x="0" y="240"/>
                    <a:pt x="17" y="195"/>
                  </a:cubicBezTo>
                  <a:cubicBezTo>
                    <a:pt x="23" y="182"/>
                    <a:pt x="29" y="168"/>
                    <a:pt x="39" y="157"/>
                  </a:cubicBezTo>
                  <a:cubicBezTo>
                    <a:pt x="78" y="111"/>
                    <a:pt x="111" y="62"/>
                    <a:pt x="121" y="0"/>
                  </a:cubicBezTo>
                  <a:close/>
                </a:path>
              </a:pathLst>
            </a:custGeom>
            <a:grpFill/>
            <a:ln>
              <a:noFill/>
            </a:ln>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75" name="Freeform 6"/>
            <p:cNvSpPr>
              <a:spLocks/>
            </p:cNvSpPr>
            <p:nvPr/>
          </p:nvSpPr>
          <p:spPr bwMode="auto">
            <a:xfrm flipH="1">
              <a:off x="2265013" y="4153436"/>
              <a:ext cx="69280" cy="104424"/>
            </a:xfrm>
            <a:custGeom>
              <a:avLst/>
              <a:gdLst>
                <a:gd name="T0" fmla="*/ 121 w 258"/>
                <a:gd name="T1" fmla="*/ 0 h 362"/>
                <a:gd name="T2" fmla="*/ 124 w 258"/>
                <a:gd name="T3" fmla="*/ 2 h 362"/>
                <a:gd name="T4" fmla="*/ 210 w 258"/>
                <a:gd name="T5" fmla="*/ 162 h 362"/>
                <a:gd name="T6" fmla="*/ 171 w 258"/>
                <a:gd name="T7" fmla="*/ 343 h 362"/>
                <a:gd name="T8" fmla="*/ 51 w 258"/>
                <a:gd name="T9" fmla="*/ 326 h 362"/>
                <a:gd name="T10" fmla="*/ 17 w 258"/>
                <a:gd name="T11" fmla="*/ 195 h 362"/>
                <a:gd name="T12" fmla="*/ 39 w 258"/>
                <a:gd name="T13" fmla="*/ 157 h 362"/>
                <a:gd name="T14" fmla="*/ 121 w 258"/>
                <a:gd name="T15" fmla="*/ 0 h 3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8" h="362">
                  <a:moveTo>
                    <a:pt x="121" y="0"/>
                  </a:moveTo>
                  <a:cubicBezTo>
                    <a:pt x="123" y="1"/>
                    <a:pt x="124" y="2"/>
                    <a:pt x="124" y="2"/>
                  </a:cubicBezTo>
                  <a:cubicBezTo>
                    <a:pt x="138" y="64"/>
                    <a:pt x="173" y="113"/>
                    <a:pt x="210" y="162"/>
                  </a:cubicBezTo>
                  <a:cubicBezTo>
                    <a:pt x="258" y="225"/>
                    <a:pt x="238" y="308"/>
                    <a:pt x="171" y="343"/>
                  </a:cubicBezTo>
                  <a:cubicBezTo>
                    <a:pt x="132" y="362"/>
                    <a:pt x="84" y="355"/>
                    <a:pt x="51" y="326"/>
                  </a:cubicBezTo>
                  <a:cubicBezTo>
                    <a:pt x="14" y="292"/>
                    <a:pt x="0" y="240"/>
                    <a:pt x="17" y="195"/>
                  </a:cubicBezTo>
                  <a:cubicBezTo>
                    <a:pt x="23" y="182"/>
                    <a:pt x="29" y="168"/>
                    <a:pt x="39" y="157"/>
                  </a:cubicBezTo>
                  <a:cubicBezTo>
                    <a:pt x="78" y="111"/>
                    <a:pt x="111" y="62"/>
                    <a:pt x="121" y="0"/>
                  </a:cubicBezTo>
                  <a:close/>
                </a:path>
              </a:pathLst>
            </a:custGeom>
            <a:grpFill/>
            <a:ln>
              <a:noFill/>
            </a:ln>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76" name="Freeform 6"/>
            <p:cNvSpPr>
              <a:spLocks/>
            </p:cNvSpPr>
            <p:nvPr/>
          </p:nvSpPr>
          <p:spPr bwMode="auto">
            <a:xfrm flipH="1">
              <a:off x="2309383" y="4338626"/>
              <a:ext cx="69280" cy="104424"/>
            </a:xfrm>
            <a:custGeom>
              <a:avLst/>
              <a:gdLst>
                <a:gd name="T0" fmla="*/ 121 w 258"/>
                <a:gd name="T1" fmla="*/ 0 h 362"/>
                <a:gd name="T2" fmla="*/ 124 w 258"/>
                <a:gd name="T3" fmla="*/ 2 h 362"/>
                <a:gd name="T4" fmla="*/ 210 w 258"/>
                <a:gd name="T5" fmla="*/ 162 h 362"/>
                <a:gd name="T6" fmla="*/ 171 w 258"/>
                <a:gd name="T7" fmla="*/ 343 h 362"/>
                <a:gd name="T8" fmla="*/ 51 w 258"/>
                <a:gd name="T9" fmla="*/ 326 h 362"/>
                <a:gd name="T10" fmla="*/ 17 w 258"/>
                <a:gd name="T11" fmla="*/ 195 h 362"/>
                <a:gd name="T12" fmla="*/ 39 w 258"/>
                <a:gd name="T13" fmla="*/ 157 h 362"/>
                <a:gd name="T14" fmla="*/ 121 w 258"/>
                <a:gd name="T15" fmla="*/ 0 h 3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8" h="362">
                  <a:moveTo>
                    <a:pt x="121" y="0"/>
                  </a:moveTo>
                  <a:cubicBezTo>
                    <a:pt x="123" y="1"/>
                    <a:pt x="124" y="2"/>
                    <a:pt x="124" y="2"/>
                  </a:cubicBezTo>
                  <a:cubicBezTo>
                    <a:pt x="138" y="64"/>
                    <a:pt x="173" y="113"/>
                    <a:pt x="210" y="162"/>
                  </a:cubicBezTo>
                  <a:cubicBezTo>
                    <a:pt x="258" y="225"/>
                    <a:pt x="238" y="308"/>
                    <a:pt x="171" y="343"/>
                  </a:cubicBezTo>
                  <a:cubicBezTo>
                    <a:pt x="132" y="362"/>
                    <a:pt x="84" y="355"/>
                    <a:pt x="51" y="326"/>
                  </a:cubicBezTo>
                  <a:cubicBezTo>
                    <a:pt x="14" y="292"/>
                    <a:pt x="0" y="240"/>
                    <a:pt x="17" y="195"/>
                  </a:cubicBezTo>
                  <a:cubicBezTo>
                    <a:pt x="23" y="182"/>
                    <a:pt x="29" y="168"/>
                    <a:pt x="39" y="157"/>
                  </a:cubicBezTo>
                  <a:cubicBezTo>
                    <a:pt x="78" y="111"/>
                    <a:pt x="111" y="62"/>
                    <a:pt x="121" y="0"/>
                  </a:cubicBezTo>
                  <a:close/>
                </a:path>
              </a:pathLst>
            </a:custGeom>
            <a:grpFill/>
            <a:ln>
              <a:noFill/>
            </a:ln>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77" name="Freeform 6"/>
            <p:cNvSpPr>
              <a:spLocks/>
            </p:cNvSpPr>
            <p:nvPr/>
          </p:nvSpPr>
          <p:spPr bwMode="auto">
            <a:xfrm flipH="1">
              <a:off x="2126453" y="4386257"/>
              <a:ext cx="69280" cy="104424"/>
            </a:xfrm>
            <a:custGeom>
              <a:avLst/>
              <a:gdLst>
                <a:gd name="T0" fmla="*/ 121 w 258"/>
                <a:gd name="T1" fmla="*/ 0 h 362"/>
                <a:gd name="T2" fmla="*/ 124 w 258"/>
                <a:gd name="T3" fmla="*/ 2 h 362"/>
                <a:gd name="T4" fmla="*/ 210 w 258"/>
                <a:gd name="T5" fmla="*/ 162 h 362"/>
                <a:gd name="T6" fmla="*/ 171 w 258"/>
                <a:gd name="T7" fmla="*/ 343 h 362"/>
                <a:gd name="T8" fmla="*/ 51 w 258"/>
                <a:gd name="T9" fmla="*/ 326 h 362"/>
                <a:gd name="T10" fmla="*/ 17 w 258"/>
                <a:gd name="T11" fmla="*/ 195 h 362"/>
                <a:gd name="T12" fmla="*/ 39 w 258"/>
                <a:gd name="T13" fmla="*/ 157 h 362"/>
                <a:gd name="T14" fmla="*/ 121 w 258"/>
                <a:gd name="T15" fmla="*/ 0 h 3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8" h="362">
                  <a:moveTo>
                    <a:pt x="121" y="0"/>
                  </a:moveTo>
                  <a:cubicBezTo>
                    <a:pt x="123" y="1"/>
                    <a:pt x="124" y="2"/>
                    <a:pt x="124" y="2"/>
                  </a:cubicBezTo>
                  <a:cubicBezTo>
                    <a:pt x="138" y="64"/>
                    <a:pt x="173" y="113"/>
                    <a:pt x="210" y="162"/>
                  </a:cubicBezTo>
                  <a:cubicBezTo>
                    <a:pt x="258" y="225"/>
                    <a:pt x="238" y="308"/>
                    <a:pt x="171" y="343"/>
                  </a:cubicBezTo>
                  <a:cubicBezTo>
                    <a:pt x="132" y="362"/>
                    <a:pt x="84" y="355"/>
                    <a:pt x="51" y="326"/>
                  </a:cubicBezTo>
                  <a:cubicBezTo>
                    <a:pt x="14" y="292"/>
                    <a:pt x="0" y="240"/>
                    <a:pt x="17" y="195"/>
                  </a:cubicBezTo>
                  <a:cubicBezTo>
                    <a:pt x="23" y="182"/>
                    <a:pt x="29" y="168"/>
                    <a:pt x="39" y="157"/>
                  </a:cubicBezTo>
                  <a:cubicBezTo>
                    <a:pt x="78" y="111"/>
                    <a:pt x="111" y="62"/>
                    <a:pt x="121" y="0"/>
                  </a:cubicBezTo>
                  <a:close/>
                </a:path>
              </a:pathLst>
            </a:custGeom>
            <a:grpFill/>
            <a:ln>
              <a:noFill/>
            </a:ln>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78" name="Freeform 6"/>
            <p:cNvSpPr>
              <a:spLocks/>
            </p:cNvSpPr>
            <p:nvPr/>
          </p:nvSpPr>
          <p:spPr bwMode="auto">
            <a:xfrm flipH="1">
              <a:off x="2213470" y="4390838"/>
              <a:ext cx="69280" cy="104424"/>
            </a:xfrm>
            <a:custGeom>
              <a:avLst/>
              <a:gdLst>
                <a:gd name="T0" fmla="*/ 121 w 258"/>
                <a:gd name="T1" fmla="*/ 0 h 362"/>
                <a:gd name="T2" fmla="*/ 124 w 258"/>
                <a:gd name="T3" fmla="*/ 2 h 362"/>
                <a:gd name="T4" fmla="*/ 210 w 258"/>
                <a:gd name="T5" fmla="*/ 162 h 362"/>
                <a:gd name="T6" fmla="*/ 171 w 258"/>
                <a:gd name="T7" fmla="*/ 343 h 362"/>
                <a:gd name="T8" fmla="*/ 51 w 258"/>
                <a:gd name="T9" fmla="*/ 326 h 362"/>
                <a:gd name="T10" fmla="*/ 17 w 258"/>
                <a:gd name="T11" fmla="*/ 195 h 362"/>
                <a:gd name="T12" fmla="*/ 39 w 258"/>
                <a:gd name="T13" fmla="*/ 157 h 362"/>
                <a:gd name="T14" fmla="*/ 121 w 258"/>
                <a:gd name="T15" fmla="*/ 0 h 3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8" h="362">
                  <a:moveTo>
                    <a:pt x="121" y="0"/>
                  </a:moveTo>
                  <a:cubicBezTo>
                    <a:pt x="123" y="1"/>
                    <a:pt x="124" y="2"/>
                    <a:pt x="124" y="2"/>
                  </a:cubicBezTo>
                  <a:cubicBezTo>
                    <a:pt x="138" y="64"/>
                    <a:pt x="173" y="113"/>
                    <a:pt x="210" y="162"/>
                  </a:cubicBezTo>
                  <a:cubicBezTo>
                    <a:pt x="258" y="225"/>
                    <a:pt x="238" y="308"/>
                    <a:pt x="171" y="343"/>
                  </a:cubicBezTo>
                  <a:cubicBezTo>
                    <a:pt x="132" y="362"/>
                    <a:pt x="84" y="355"/>
                    <a:pt x="51" y="326"/>
                  </a:cubicBezTo>
                  <a:cubicBezTo>
                    <a:pt x="14" y="292"/>
                    <a:pt x="0" y="240"/>
                    <a:pt x="17" y="195"/>
                  </a:cubicBezTo>
                  <a:cubicBezTo>
                    <a:pt x="23" y="182"/>
                    <a:pt x="29" y="168"/>
                    <a:pt x="39" y="157"/>
                  </a:cubicBezTo>
                  <a:cubicBezTo>
                    <a:pt x="78" y="111"/>
                    <a:pt x="111" y="62"/>
                    <a:pt x="121" y="0"/>
                  </a:cubicBezTo>
                  <a:close/>
                </a:path>
              </a:pathLst>
            </a:custGeom>
            <a:grpFill/>
            <a:ln>
              <a:noFill/>
            </a:ln>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grpSp>
      <p:grpSp>
        <p:nvGrpSpPr>
          <p:cNvPr id="84" name="Group 83"/>
          <p:cNvGrpSpPr/>
          <p:nvPr/>
        </p:nvGrpSpPr>
        <p:grpSpPr>
          <a:xfrm>
            <a:off x="5616227" y="2731915"/>
            <a:ext cx="719757" cy="667725"/>
            <a:chOff x="4118599" y="2486708"/>
            <a:chExt cx="1083590" cy="1083584"/>
          </a:xfrm>
        </p:grpSpPr>
        <p:sp>
          <p:nvSpPr>
            <p:cNvPr id="82" name="Oval 81"/>
            <p:cNvSpPr/>
            <p:nvPr/>
          </p:nvSpPr>
          <p:spPr bwMode="auto">
            <a:xfrm>
              <a:off x="4118599" y="2486708"/>
              <a:ext cx="1083590" cy="1083584"/>
            </a:xfrm>
            <a:prstGeom prst="ellipse">
              <a:avLst/>
            </a:prstGeom>
            <a:solidFill>
              <a:schemeClr val="bg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IN" sz="1961" b="1" dirty="0">
                <a:solidFill>
                  <a:srgbClr val="FFFFFF"/>
                </a:solidFill>
                <a:latin typeface="Segoe UI Light"/>
                <a:ea typeface="Segoe UI" pitchFamily="34" charset="0"/>
                <a:cs typeface="Segoe UI" pitchFamily="34" charset="0"/>
              </a:endParaRPr>
            </a:p>
          </p:txBody>
        </p:sp>
        <p:sp>
          <p:nvSpPr>
            <p:cNvPr id="83" name="Freeform 82"/>
            <p:cNvSpPr/>
            <p:nvPr/>
          </p:nvSpPr>
          <p:spPr>
            <a:xfrm>
              <a:off x="4425316" y="2553972"/>
              <a:ext cx="470156" cy="949055"/>
            </a:xfrm>
            <a:custGeom>
              <a:avLst/>
              <a:gdLst>
                <a:gd name="connsiteX0" fmla="*/ 0 w 511968"/>
                <a:gd name="connsiteY0" fmla="*/ 552450 h 1033463"/>
                <a:gd name="connsiteX1" fmla="*/ 371475 w 511968"/>
                <a:gd name="connsiteY1" fmla="*/ 0 h 1033463"/>
                <a:gd name="connsiteX2" fmla="*/ 280987 w 511968"/>
                <a:gd name="connsiteY2" fmla="*/ 411956 h 1033463"/>
                <a:gd name="connsiteX3" fmla="*/ 511968 w 511968"/>
                <a:gd name="connsiteY3" fmla="*/ 411956 h 1033463"/>
                <a:gd name="connsiteX4" fmla="*/ 133350 w 511968"/>
                <a:gd name="connsiteY4" fmla="*/ 1033463 h 1033463"/>
                <a:gd name="connsiteX5" fmla="*/ 235743 w 511968"/>
                <a:gd name="connsiteY5" fmla="*/ 554831 h 1033463"/>
                <a:gd name="connsiteX6" fmla="*/ 0 w 511968"/>
                <a:gd name="connsiteY6" fmla="*/ 552450 h 1033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1968" h="1033463">
                  <a:moveTo>
                    <a:pt x="0" y="552450"/>
                  </a:moveTo>
                  <a:lnTo>
                    <a:pt x="371475" y="0"/>
                  </a:lnTo>
                  <a:lnTo>
                    <a:pt x="280987" y="411956"/>
                  </a:lnTo>
                  <a:lnTo>
                    <a:pt x="511968" y="411956"/>
                  </a:lnTo>
                  <a:lnTo>
                    <a:pt x="133350" y="1033463"/>
                  </a:lnTo>
                  <a:lnTo>
                    <a:pt x="235743" y="554831"/>
                  </a:lnTo>
                  <a:lnTo>
                    <a:pt x="0" y="552450"/>
                  </a:lnTo>
                  <a:close/>
                </a:path>
              </a:pathLst>
            </a:custGeom>
            <a:solidFill>
              <a:schemeClr val="accent3"/>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a:endParaRPr lang="en-US" sz="1765">
                <a:solidFill>
                  <a:srgbClr val="FFFFFF"/>
                </a:solidFill>
              </a:endParaRPr>
            </a:p>
          </p:txBody>
        </p:sp>
      </p:grpSp>
      <p:pic>
        <p:nvPicPr>
          <p:cNvPr id="30722" name="Picture 2" descr="https://cdn2.iconfinder.com/data/icons/startup/512/shuttle-512.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567120" y="2731915"/>
            <a:ext cx="760311" cy="760311"/>
          </a:xfrm>
          <a:prstGeom prst="rect">
            <a:avLst/>
          </a:prstGeom>
          <a:noFill/>
          <a:extLst>
            <a:ext uri="{909E8E84-426E-40DD-AFC4-6F175D3DCCD1}">
              <a14:hiddenFill xmlns:a14="http://schemas.microsoft.com/office/drawing/2010/main">
                <a:solidFill>
                  <a:srgbClr val="FFFFFF"/>
                </a:solidFill>
              </a14:hiddenFill>
            </a:ext>
          </a:extLst>
        </p:spPr>
      </p:pic>
      <p:grpSp>
        <p:nvGrpSpPr>
          <p:cNvPr id="136" name="Group 135"/>
          <p:cNvGrpSpPr/>
          <p:nvPr/>
        </p:nvGrpSpPr>
        <p:grpSpPr>
          <a:xfrm>
            <a:off x="7916500" y="2731915"/>
            <a:ext cx="1045422" cy="574427"/>
            <a:chOff x="7767033" y="2485563"/>
            <a:chExt cx="1045422" cy="574427"/>
          </a:xfrm>
        </p:grpSpPr>
        <p:cxnSp>
          <p:nvCxnSpPr>
            <p:cNvPr id="88" name="Straight Arrow Connector 87"/>
            <p:cNvCxnSpPr/>
            <p:nvPr/>
          </p:nvCxnSpPr>
          <p:spPr>
            <a:xfrm flipV="1">
              <a:off x="8014515" y="2577357"/>
              <a:ext cx="263200" cy="97403"/>
            </a:xfrm>
            <a:prstGeom prst="straightConnector1">
              <a:avLst/>
            </a:prstGeom>
            <a:ln w="25400">
              <a:solidFill>
                <a:schemeClr val="bg1"/>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89" name="Straight Arrow Connector 88"/>
            <p:cNvCxnSpPr/>
            <p:nvPr/>
          </p:nvCxnSpPr>
          <p:spPr>
            <a:xfrm flipV="1">
              <a:off x="8014515" y="2776672"/>
              <a:ext cx="263200" cy="97403"/>
            </a:xfrm>
            <a:prstGeom prst="straightConnector1">
              <a:avLst/>
            </a:prstGeom>
            <a:ln w="25400">
              <a:solidFill>
                <a:schemeClr val="bg1"/>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90" name="Straight Arrow Connector 89"/>
            <p:cNvCxnSpPr/>
            <p:nvPr/>
          </p:nvCxnSpPr>
          <p:spPr>
            <a:xfrm>
              <a:off x="8013389" y="2896928"/>
              <a:ext cx="263200" cy="97403"/>
            </a:xfrm>
            <a:prstGeom prst="straightConnector1">
              <a:avLst/>
            </a:prstGeom>
            <a:ln w="25400">
              <a:solidFill>
                <a:schemeClr val="bg1"/>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91" name="Straight Arrow Connector 90"/>
            <p:cNvCxnSpPr/>
            <p:nvPr/>
          </p:nvCxnSpPr>
          <p:spPr>
            <a:xfrm>
              <a:off x="8411965" y="2550108"/>
              <a:ext cx="263200" cy="97403"/>
            </a:xfrm>
            <a:prstGeom prst="straightConnector1">
              <a:avLst/>
            </a:prstGeom>
            <a:ln w="25400">
              <a:solidFill>
                <a:schemeClr val="bg1"/>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92" name="Straight Arrow Connector 91"/>
            <p:cNvCxnSpPr/>
            <p:nvPr/>
          </p:nvCxnSpPr>
          <p:spPr>
            <a:xfrm flipV="1">
              <a:off x="8411965" y="2683176"/>
              <a:ext cx="263200" cy="97403"/>
            </a:xfrm>
            <a:prstGeom prst="straightConnector1">
              <a:avLst/>
            </a:prstGeom>
            <a:ln w="25400">
              <a:solidFill>
                <a:schemeClr val="bg1"/>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93" name="Straight Arrow Connector 92"/>
            <p:cNvCxnSpPr/>
            <p:nvPr/>
          </p:nvCxnSpPr>
          <p:spPr>
            <a:xfrm flipV="1">
              <a:off x="8413940" y="2998807"/>
              <a:ext cx="263200" cy="0"/>
            </a:xfrm>
            <a:prstGeom prst="straightConnector1">
              <a:avLst/>
            </a:prstGeom>
            <a:ln w="25400">
              <a:solidFill>
                <a:schemeClr val="bg1"/>
              </a:solidFill>
              <a:headEnd type="none"/>
              <a:tailEnd type="triangle" w="lg" len="med"/>
            </a:ln>
          </p:spPr>
          <p:style>
            <a:lnRef idx="1">
              <a:schemeClr val="accent1"/>
            </a:lnRef>
            <a:fillRef idx="0">
              <a:schemeClr val="accent1"/>
            </a:fillRef>
            <a:effectRef idx="0">
              <a:schemeClr val="accent1"/>
            </a:effectRef>
            <a:fontRef idx="minor">
              <a:schemeClr val="tx1"/>
            </a:fontRef>
          </p:style>
        </p:cxnSp>
        <p:grpSp>
          <p:nvGrpSpPr>
            <p:cNvPr id="94" name="Group 93"/>
            <p:cNvGrpSpPr/>
            <p:nvPr/>
          </p:nvGrpSpPr>
          <p:grpSpPr>
            <a:xfrm>
              <a:off x="8277714" y="2485563"/>
              <a:ext cx="126056" cy="120569"/>
              <a:chOff x="3630105" y="3642109"/>
              <a:chExt cx="927253" cy="927253"/>
            </a:xfrm>
          </p:grpSpPr>
          <p:sp>
            <p:nvSpPr>
              <p:cNvPr id="107" name="Oval 106"/>
              <p:cNvSpPr/>
              <p:nvPr/>
            </p:nvSpPr>
            <p:spPr bwMode="auto">
              <a:xfrm>
                <a:off x="3630105" y="3642109"/>
                <a:ext cx="927253" cy="927253"/>
              </a:xfrm>
              <a:prstGeom prst="ellipse">
                <a:avLst/>
              </a:prstGeom>
              <a:solidFill>
                <a:schemeClr val="bg1"/>
              </a:solidFill>
              <a:ln w="285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IN" sz="1961" b="1" dirty="0">
                  <a:solidFill>
                    <a:srgbClr val="FFFFFF"/>
                  </a:solidFill>
                  <a:latin typeface="Segoe UI Light"/>
                  <a:ea typeface="Segoe UI" pitchFamily="34" charset="0"/>
                  <a:cs typeface="Segoe UI" pitchFamily="34" charset="0"/>
                </a:endParaRPr>
              </a:p>
            </p:txBody>
          </p:sp>
          <p:sp>
            <p:nvSpPr>
              <p:cNvPr id="108" name="Freeform 107"/>
              <p:cNvSpPr/>
              <p:nvPr/>
            </p:nvSpPr>
            <p:spPr>
              <a:xfrm>
                <a:off x="3892570" y="3699669"/>
                <a:ext cx="402323" cy="812133"/>
              </a:xfrm>
              <a:custGeom>
                <a:avLst/>
                <a:gdLst>
                  <a:gd name="connsiteX0" fmla="*/ 0 w 511968"/>
                  <a:gd name="connsiteY0" fmla="*/ 552450 h 1033463"/>
                  <a:gd name="connsiteX1" fmla="*/ 371475 w 511968"/>
                  <a:gd name="connsiteY1" fmla="*/ 0 h 1033463"/>
                  <a:gd name="connsiteX2" fmla="*/ 280987 w 511968"/>
                  <a:gd name="connsiteY2" fmla="*/ 411956 h 1033463"/>
                  <a:gd name="connsiteX3" fmla="*/ 511968 w 511968"/>
                  <a:gd name="connsiteY3" fmla="*/ 411956 h 1033463"/>
                  <a:gd name="connsiteX4" fmla="*/ 133350 w 511968"/>
                  <a:gd name="connsiteY4" fmla="*/ 1033463 h 1033463"/>
                  <a:gd name="connsiteX5" fmla="*/ 235743 w 511968"/>
                  <a:gd name="connsiteY5" fmla="*/ 554831 h 1033463"/>
                  <a:gd name="connsiteX6" fmla="*/ 0 w 511968"/>
                  <a:gd name="connsiteY6" fmla="*/ 552450 h 1033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1968" h="1033463">
                    <a:moveTo>
                      <a:pt x="0" y="552450"/>
                    </a:moveTo>
                    <a:lnTo>
                      <a:pt x="371475" y="0"/>
                    </a:lnTo>
                    <a:lnTo>
                      <a:pt x="280987" y="411956"/>
                    </a:lnTo>
                    <a:lnTo>
                      <a:pt x="511968" y="411956"/>
                    </a:lnTo>
                    <a:lnTo>
                      <a:pt x="133350" y="1033463"/>
                    </a:lnTo>
                    <a:lnTo>
                      <a:pt x="235743" y="554831"/>
                    </a:lnTo>
                    <a:lnTo>
                      <a:pt x="0" y="552450"/>
                    </a:lnTo>
                    <a:close/>
                  </a:path>
                </a:pathLst>
              </a:custGeom>
              <a:solidFill>
                <a:schemeClr val="accent3"/>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a:endParaRPr lang="en-US" sz="1765">
                  <a:solidFill>
                    <a:srgbClr val="FFFFFF"/>
                  </a:solidFill>
                </a:endParaRPr>
              </a:p>
            </p:txBody>
          </p:sp>
        </p:grpSp>
        <p:grpSp>
          <p:nvGrpSpPr>
            <p:cNvPr id="95" name="Group 94"/>
            <p:cNvGrpSpPr/>
            <p:nvPr/>
          </p:nvGrpSpPr>
          <p:grpSpPr>
            <a:xfrm>
              <a:off x="8282145" y="2720566"/>
              <a:ext cx="126056" cy="120569"/>
              <a:chOff x="3630105" y="3642109"/>
              <a:chExt cx="927253" cy="927253"/>
            </a:xfrm>
          </p:grpSpPr>
          <p:sp>
            <p:nvSpPr>
              <p:cNvPr id="105" name="Oval 104"/>
              <p:cNvSpPr/>
              <p:nvPr/>
            </p:nvSpPr>
            <p:spPr bwMode="auto">
              <a:xfrm>
                <a:off x="3630105" y="3642109"/>
                <a:ext cx="927253" cy="927253"/>
              </a:xfrm>
              <a:prstGeom prst="ellipse">
                <a:avLst/>
              </a:prstGeom>
              <a:solidFill>
                <a:schemeClr val="bg1"/>
              </a:solidFill>
              <a:ln w="285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IN" sz="1961" b="1" dirty="0">
                  <a:solidFill>
                    <a:srgbClr val="FFFFFF"/>
                  </a:solidFill>
                  <a:latin typeface="Segoe UI Light"/>
                  <a:ea typeface="Segoe UI" pitchFamily="34" charset="0"/>
                  <a:cs typeface="Segoe UI" pitchFamily="34" charset="0"/>
                </a:endParaRPr>
              </a:p>
            </p:txBody>
          </p:sp>
          <p:sp>
            <p:nvSpPr>
              <p:cNvPr id="106" name="Freeform 105"/>
              <p:cNvSpPr/>
              <p:nvPr/>
            </p:nvSpPr>
            <p:spPr>
              <a:xfrm>
                <a:off x="3892570" y="3699669"/>
                <a:ext cx="402323" cy="812133"/>
              </a:xfrm>
              <a:custGeom>
                <a:avLst/>
                <a:gdLst>
                  <a:gd name="connsiteX0" fmla="*/ 0 w 511968"/>
                  <a:gd name="connsiteY0" fmla="*/ 552450 h 1033463"/>
                  <a:gd name="connsiteX1" fmla="*/ 371475 w 511968"/>
                  <a:gd name="connsiteY1" fmla="*/ 0 h 1033463"/>
                  <a:gd name="connsiteX2" fmla="*/ 280987 w 511968"/>
                  <a:gd name="connsiteY2" fmla="*/ 411956 h 1033463"/>
                  <a:gd name="connsiteX3" fmla="*/ 511968 w 511968"/>
                  <a:gd name="connsiteY3" fmla="*/ 411956 h 1033463"/>
                  <a:gd name="connsiteX4" fmla="*/ 133350 w 511968"/>
                  <a:gd name="connsiteY4" fmla="*/ 1033463 h 1033463"/>
                  <a:gd name="connsiteX5" fmla="*/ 235743 w 511968"/>
                  <a:gd name="connsiteY5" fmla="*/ 554831 h 1033463"/>
                  <a:gd name="connsiteX6" fmla="*/ 0 w 511968"/>
                  <a:gd name="connsiteY6" fmla="*/ 552450 h 1033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1968" h="1033463">
                    <a:moveTo>
                      <a:pt x="0" y="552450"/>
                    </a:moveTo>
                    <a:lnTo>
                      <a:pt x="371475" y="0"/>
                    </a:lnTo>
                    <a:lnTo>
                      <a:pt x="280987" y="411956"/>
                    </a:lnTo>
                    <a:lnTo>
                      <a:pt x="511968" y="411956"/>
                    </a:lnTo>
                    <a:lnTo>
                      <a:pt x="133350" y="1033463"/>
                    </a:lnTo>
                    <a:lnTo>
                      <a:pt x="235743" y="554831"/>
                    </a:lnTo>
                    <a:lnTo>
                      <a:pt x="0" y="552450"/>
                    </a:lnTo>
                    <a:close/>
                  </a:path>
                </a:pathLst>
              </a:custGeom>
              <a:solidFill>
                <a:schemeClr val="accent3"/>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a:endParaRPr lang="en-US" sz="1765">
                  <a:solidFill>
                    <a:srgbClr val="FFFFFF"/>
                  </a:solidFill>
                </a:endParaRPr>
              </a:p>
            </p:txBody>
          </p:sp>
        </p:grpSp>
        <p:grpSp>
          <p:nvGrpSpPr>
            <p:cNvPr id="96" name="Group 95"/>
            <p:cNvGrpSpPr/>
            <p:nvPr/>
          </p:nvGrpSpPr>
          <p:grpSpPr>
            <a:xfrm>
              <a:off x="8281643" y="2939421"/>
              <a:ext cx="126056" cy="120569"/>
              <a:chOff x="3630105" y="3642109"/>
              <a:chExt cx="927253" cy="927253"/>
            </a:xfrm>
          </p:grpSpPr>
          <p:sp>
            <p:nvSpPr>
              <p:cNvPr id="103" name="Oval 102"/>
              <p:cNvSpPr/>
              <p:nvPr/>
            </p:nvSpPr>
            <p:spPr bwMode="auto">
              <a:xfrm>
                <a:off x="3630105" y="3642109"/>
                <a:ext cx="927253" cy="927253"/>
              </a:xfrm>
              <a:prstGeom prst="ellipse">
                <a:avLst/>
              </a:prstGeom>
              <a:solidFill>
                <a:schemeClr val="bg1"/>
              </a:solidFill>
              <a:ln w="285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IN" sz="1961" b="1" dirty="0">
                  <a:solidFill>
                    <a:srgbClr val="FFFFFF"/>
                  </a:solidFill>
                  <a:latin typeface="Segoe UI Light"/>
                  <a:ea typeface="Segoe UI" pitchFamily="34" charset="0"/>
                  <a:cs typeface="Segoe UI" pitchFamily="34" charset="0"/>
                </a:endParaRPr>
              </a:p>
            </p:txBody>
          </p:sp>
          <p:sp>
            <p:nvSpPr>
              <p:cNvPr id="104" name="Freeform 103"/>
              <p:cNvSpPr/>
              <p:nvPr/>
            </p:nvSpPr>
            <p:spPr>
              <a:xfrm>
                <a:off x="3892570" y="3699669"/>
                <a:ext cx="402323" cy="812133"/>
              </a:xfrm>
              <a:custGeom>
                <a:avLst/>
                <a:gdLst>
                  <a:gd name="connsiteX0" fmla="*/ 0 w 511968"/>
                  <a:gd name="connsiteY0" fmla="*/ 552450 h 1033463"/>
                  <a:gd name="connsiteX1" fmla="*/ 371475 w 511968"/>
                  <a:gd name="connsiteY1" fmla="*/ 0 h 1033463"/>
                  <a:gd name="connsiteX2" fmla="*/ 280987 w 511968"/>
                  <a:gd name="connsiteY2" fmla="*/ 411956 h 1033463"/>
                  <a:gd name="connsiteX3" fmla="*/ 511968 w 511968"/>
                  <a:gd name="connsiteY3" fmla="*/ 411956 h 1033463"/>
                  <a:gd name="connsiteX4" fmla="*/ 133350 w 511968"/>
                  <a:gd name="connsiteY4" fmla="*/ 1033463 h 1033463"/>
                  <a:gd name="connsiteX5" fmla="*/ 235743 w 511968"/>
                  <a:gd name="connsiteY5" fmla="*/ 554831 h 1033463"/>
                  <a:gd name="connsiteX6" fmla="*/ 0 w 511968"/>
                  <a:gd name="connsiteY6" fmla="*/ 552450 h 1033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1968" h="1033463">
                    <a:moveTo>
                      <a:pt x="0" y="552450"/>
                    </a:moveTo>
                    <a:lnTo>
                      <a:pt x="371475" y="0"/>
                    </a:lnTo>
                    <a:lnTo>
                      <a:pt x="280987" y="411956"/>
                    </a:lnTo>
                    <a:lnTo>
                      <a:pt x="511968" y="411956"/>
                    </a:lnTo>
                    <a:lnTo>
                      <a:pt x="133350" y="1033463"/>
                    </a:lnTo>
                    <a:lnTo>
                      <a:pt x="235743" y="554831"/>
                    </a:lnTo>
                    <a:lnTo>
                      <a:pt x="0" y="552450"/>
                    </a:lnTo>
                    <a:close/>
                  </a:path>
                </a:pathLst>
              </a:custGeom>
              <a:solidFill>
                <a:schemeClr val="accent3"/>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a:endParaRPr lang="en-US" sz="1765">
                  <a:solidFill>
                    <a:srgbClr val="FFFFFF"/>
                  </a:solidFill>
                </a:endParaRPr>
              </a:p>
            </p:txBody>
          </p:sp>
        </p:grpSp>
        <p:grpSp>
          <p:nvGrpSpPr>
            <p:cNvPr id="97" name="Group 96"/>
            <p:cNvGrpSpPr/>
            <p:nvPr/>
          </p:nvGrpSpPr>
          <p:grpSpPr>
            <a:xfrm>
              <a:off x="8686399" y="2938123"/>
              <a:ext cx="126056" cy="120569"/>
              <a:chOff x="3630105" y="3642109"/>
              <a:chExt cx="927253" cy="927253"/>
            </a:xfrm>
          </p:grpSpPr>
          <p:sp>
            <p:nvSpPr>
              <p:cNvPr id="101" name="Oval 100"/>
              <p:cNvSpPr/>
              <p:nvPr/>
            </p:nvSpPr>
            <p:spPr bwMode="auto">
              <a:xfrm>
                <a:off x="3630105" y="3642109"/>
                <a:ext cx="927253" cy="927253"/>
              </a:xfrm>
              <a:prstGeom prst="ellipse">
                <a:avLst/>
              </a:prstGeom>
              <a:solidFill>
                <a:schemeClr val="bg1"/>
              </a:solidFill>
              <a:ln w="285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IN" sz="1961" b="1" dirty="0">
                  <a:solidFill>
                    <a:srgbClr val="FFFFFF"/>
                  </a:solidFill>
                  <a:latin typeface="Segoe UI Light"/>
                  <a:ea typeface="Segoe UI" pitchFamily="34" charset="0"/>
                  <a:cs typeface="Segoe UI" pitchFamily="34" charset="0"/>
                </a:endParaRPr>
              </a:p>
            </p:txBody>
          </p:sp>
          <p:sp>
            <p:nvSpPr>
              <p:cNvPr id="102" name="Freeform 101"/>
              <p:cNvSpPr/>
              <p:nvPr/>
            </p:nvSpPr>
            <p:spPr>
              <a:xfrm>
                <a:off x="3892570" y="3699669"/>
                <a:ext cx="402323" cy="812133"/>
              </a:xfrm>
              <a:custGeom>
                <a:avLst/>
                <a:gdLst>
                  <a:gd name="connsiteX0" fmla="*/ 0 w 511968"/>
                  <a:gd name="connsiteY0" fmla="*/ 552450 h 1033463"/>
                  <a:gd name="connsiteX1" fmla="*/ 371475 w 511968"/>
                  <a:gd name="connsiteY1" fmla="*/ 0 h 1033463"/>
                  <a:gd name="connsiteX2" fmla="*/ 280987 w 511968"/>
                  <a:gd name="connsiteY2" fmla="*/ 411956 h 1033463"/>
                  <a:gd name="connsiteX3" fmla="*/ 511968 w 511968"/>
                  <a:gd name="connsiteY3" fmla="*/ 411956 h 1033463"/>
                  <a:gd name="connsiteX4" fmla="*/ 133350 w 511968"/>
                  <a:gd name="connsiteY4" fmla="*/ 1033463 h 1033463"/>
                  <a:gd name="connsiteX5" fmla="*/ 235743 w 511968"/>
                  <a:gd name="connsiteY5" fmla="*/ 554831 h 1033463"/>
                  <a:gd name="connsiteX6" fmla="*/ 0 w 511968"/>
                  <a:gd name="connsiteY6" fmla="*/ 552450 h 1033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1968" h="1033463">
                    <a:moveTo>
                      <a:pt x="0" y="552450"/>
                    </a:moveTo>
                    <a:lnTo>
                      <a:pt x="371475" y="0"/>
                    </a:lnTo>
                    <a:lnTo>
                      <a:pt x="280987" y="411956"/>
                    </a:lnTo>
                    <a:lnTo>
                      <a:pt x="511968" y="411956"/>
                    </a:lnTo>
                    <a:lnTo>
                      <a:pt x="133350" y="1033463"/>
                    </a:lnTo>
                    <a:lnTo>
                      <a:pt x="235743" y="554831"/>
                    </a:lnTo>
                    <a:lnTo>
                      <a:pt x="0" y="552450"/>
                    </a:lnTo>
                    <a:close/>
                  </a:path>
                </a:pathLst>
              </a:custGeom>
              <a:solidFill>
                <a:schemeClr val="accent3"/>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a:endParaRPr lang="en-US" sz="1765">
                  <a:solidFill>
                    <a:srgbClr val="FFFFFF"/>
                  </a:solidFill>
                </a:endParaRPr>
              </a:p>
            </p:txBody>
          </p:sp>
        </p:grpSp>
        <p:grpSp>
          <p:nvGrpSpPr>
            <p:cNvPr id="98" name="Group 97"/>
            <p:cNvGrpSpPr/>
            <p:nvPr/>
          </p:nvGrpSpPr>
          <p:grpSpPr>
            <a:xfrm>
              <a:off x="8680930" y="2606358"/>
              <a:ext cx="126056" cy="120569"/>
              <a:chOff x="3630105" y="3642109"/>
              <a:chExt cx="927253" cy="927253"/>
            </a:xfrm>
          </p:grpSpPr>
          <p:sp>
            <p:nvSpPr>
              <p:cNvPr id="99" name="Oval 98"/>
              <p:cNvSpPr/>
              <p:nvPr/>
            </p:nvSpPr>
            <p:spPr bwMode="auto">
              <a:xfrm>
                <a:off x="3630105" y="3642109"/>
                <a:ext cx="927253" cy="927253"/>
              </a:xfrm>
              <a:prstGeom prst="ellipse">
                <a:avLst/>
              </a:prstGeom>
              <a:solidFill>
                <a:schemeClr val="bg1"/>
              </a:solidFill>
              <a:ln w="285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IN" sz="1961" b="1" dirty="0">
                  <a:solidFill>
                    <a:srgbClr val="FFFFFF"/>
                  </a:solidFill>
                  <a:latin typeface="Segoe UI Light"/>
                  <a:ea typeface="Segoe UI" pitchFamily="34" charset="0"/>
                  <a:cs typeface="Segoe UI" pitchFamily="34" charset="0"/>
                </a:endParaRPr>
              </a:p>
            </p:txBody>
          </p:sp>
          <p:sp>
            <p:nvSpPr>
              <p:cNvPr id="100" name="Freeform 99"/>
              <p:cNvSpPr/>
              <p:nvPr/>
            </p:nvSpPr>
            <p:spPr>
              <a:xfrm>
                <a:off x="3892570" y="3699669"/>
                <a:ext cx="402323" cy="812133"/>
              </a:xfrm>
              <a:custGeom>
                <a:avLst/>
                <a:gdLst>
                  <a:gd name="connsiteX0" fmla="*/ 0 w 511968"/>
                  <a:gd name="connsiteY0" fmla="*/ 552450 h 1033463"/>
                  <a:gd name="connsiteX1" fmla="*/ 371475 w 511968"/>
                  <a:gd name="connsiteY1" fmla="*/ 0 h 1033463"/>
                  <a:gd name="connsiteX2" fmla="*/ 280987 w 511968"/>
                  <a:gd name="connsiteY2" fmla="*/ 411956 h 1033463"/>
                  <a:gd name="connsiteX3" fmla="*/ 511968 w 511968"/>
                  <a:gd name="connsiteY3" fmla="*/ 411956 h 1033463"/>
                  <a:gd name="connsiteX4" fmla="*/ 133350 w 511968"/>
                  <a:gd name="connsiteY4" fmla="*/ 1033463 h 1033463"/>
                  <a:gd name="connsiteX5" fmla="*/ 235743 w 511968"/>
                  <a:gd name="connsiteY5" fmla="*/ 554831 h 1033463"/>
                  <a:gd name="connsiteX6" fmla="*/ 0 w 511968"/>
                  <a:gd name="connsiteY6" fmla="*/ 552450 h 1033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1968" h="1033463">
                    <a:moveTo>
                      <a:pt x="0" y="552450"/>
                    </a:moveTo>
                    <a:lnTo>
                      <a:pt x="371475" y="0"/>
                    </a:lnTo>
                    <a:lnTo>
                      <a:pt x="280987" y="411956"/>
                    </a:lnTo>
                    <a:lnTo>
                      <a:pt x="511968" y="411956"/>
                    </a:lnTo>
                    <a:lnTo>
                      <a:pt x="133350" y="1033463"/>
                    </a:lnTo>
                    <a:lnTo>
                      <a:pt x="235743" y="554831"/>
                    </a:lnTo>
                    <a:lnTo>
                      <a:pt x="0" y="552450"/>
                    </a:lnTo>
                    <a:close/>
                  </a:path>
                </a:pathLst>
              </a:custGeom>
              <a:solidFill>
                <a:schemeClr val="accent3"/>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a:endParaRPr lang="en-US" sz="1765">
                  <a:solidFill>
                    <a:srgbClr val="FFFFFF"/>
                  </a:solidFill>
                </a:endParaRPr>
              </a:p>
            </p:txBody>
          </p:sp>
        </p:grpSp>
        <p:grpSp>
          <p:nvGrpSpPr>
            <p:cNvPr id="137" name="Group 136"/>
            <p:cNvGrpSpPr/>
            <p:nvPr/>
          </p:nvGrpSpPr>
          <p:grpSpPr>
            <a:xfrm>
              <a:off x="7767033" y="2542029"/>
              <a:ext cx="237849" cy="231274"/>
              <a:chOff x="915076" y="3339844"/>
              <a:chExt cx="1463587" cy="1155418"/>
            </a:xfrm>
            <a:solidFill>
              <a:schemeClr val="accent2"/>
            </a:solidFill>
          </p:grpSpPr>
          <p:grpSp>
            <p:nvGrpSpPr>
              <p:cNvPr id="138" name="Group 137"/>
              <p:cNvGrpSpPr/>
              <p:nvPr/>
            </p:nvGrpSpPr>
            <p:grpSpPr>
              <a:xfrm>
                <a:off x="915076" y="3339844"/>
                <a:ext cx="1384747" cy="827695"/>
                <a:chOff x="915076" y="3339844"/>
                <a:chExt cx="1384747" cy="827695"/>
              </a:xfrm>
              <a:grpFill/>
            </p:grpSpPr>
            <p:sp>
              <p:nvSpPr>
                <p:cNvPr id="148" name="Freeform 147"/>
                <p:cNvSpPr>
                  <a:spLocks/>
                </p:cNvSpPr>
                <p:nvPr/>
              </p:nvSpPr>
              <p:spPr bwMode="auto">
                <a:xfrm flipH="1">
                  <a:off x="1286154" y="3342929"/>
                  <a:ext cx="1013669" cy="824610"/>
                </a:xfrm>
                <a:custGeom>
                  <a:avLst/>
                  <a:gdLst>
                    <a:gd name="connsiteX0" fmla="*/ 836347 w 1658436"/>
                    <a:gd name="connsiteY0" fmla="*/ 0 h 1256029"/>
                    <a:gd name="connsiteX1" fmla="*/ 1015917 w 1658436"/>
                    <a:gd name="connsiteY1" fmla="*/ 0 h 1256029"/>
                    <a:gd name="connsiteX2" fmla="*/ 1015917 w 1658436"/>
                    <a:gd name="connsiteY2" fmla="*/ 203058 h 1256029"/>
                    <a:gd name="connsiteX3" fmla="*/ 1083029 w 1658436"/>
                    <a:gd name="connsiteY3" fmla="*/ 249781 h 1256029"/>
                    <a:gd name="connsiteX4" fmla="*/ 1154099 w 1658436"/>
                    <a:gd name="connsiteY4" fmla="*/ 249781 h 1256029"/>
                    <a:gd name="connsiteX5" fmla="*/ 1194333 w 1658436"/>
                    <a:gd name="connsiteY5" fmla="*/ 275145 h 1256029"/>
                    <a:gd name="connsiteX6" fmla="*/ 1160200 w 1658436"/>
                    <a:gd name="connsiteY6" fmla="*/ 330767 h 1256029"/>
                    <a:gd name="connsiteX7" fmla="*/ 1178174 w 1658436"/>
                    <a:gd name="connsiteY7" fmla="*/ 514247 h 1256029"/>
                    <a:gd name="connsiteX8" fmla="*/ 1313387 w 1658436"/>
                    <a:gd name="connsiteY8" fmla="*/ 609325 h 1256029"/>
                    <a:gd name="connsiteX9" fmla="*/ 1627182 w 1658436"/>
                    <a:gd name="connsiteY9" fmla="*/ 610511 h 1256029"/>
                    <a:gd name="connsiteX10" fmla="*/ 1648783 w 1658436"/>
                    <a:gd name="connsiteY10" fmla="*/ 959821 h 1256029"/>
                    <a:gd name="connsiteX11" fmla="*/ 1641033 w 1658436"/>
                    <a:gd name="connsiteY11" fmla="*/ 954778 h 1256029"/>
                    <a:gd name="connsiteX12" fmla="*/ 1260126 w 1658436"/>
                    <a:gd name="connsiteY12" fmla="*/ 961156 h 1256029"/>
                    <a:gd name="connsiteX13" fmla="*/ 1099684 w 1658436"/>
                    <a:gd name="connsiteY13" fmla="*/ 1004170 h 1256029"/>
                    <a:gd name="connsiteX14" fmla="*/ 731474 w 1658436"/>
                    <a:gd name="connsiteY14" fmla="*/ 985185 h 1256029"/>
                    <a:gd name="connsiteX15" fmla="*/ 646718 w 1658436"/>
                    <a:gd name="connsiteY15" fmla="*/ 944691 h 1256029"/>
                    <a:gd name="connsiteX16" fmla="*/ 554377 w 1658436"/>
                    <a:gd name="connsiteY16" fmla="*/ 923332 h 1256029"/>
                    <a:gd name="connsiteX17" fmla="*/ 431365 w 1658436"/>
                    <a:gd name="connsiteY17" fmla="*/ 971242 h 1256029"/>
                    <a:gd name="connsiteX18" fmla="*/ 315114 w 1658436"/>
                    <a:gd name="connsiteY18" fmla="*/ 1197737 h 1256029"/>
                    <a:gd name="connsiteX19" fmla="*/ 302417 w 1658436"/>
                    <a:gd name="connsiteY19" fmla="*/ 1256029 h 1256029"/>
                    <a:gd name="connsiteX20" fmla="*/ 0 w 1658436"/>
                    <a:gd name="connsiteY20" fmla="*/ 1200258 h 1256029"/>
                    <a:gd name="connsiteX21" fmla="*/ 78655 w 1658436"/>
                    <a:gd name="connsiteY21" fmla="*/ 952256 h 1256029"/>
                    <a:gd name="connsiteX22" fmla="*/ 429057 w 1658436"/>
                    <a:gd name="connsiteY22" fmla="*/ 623268 h 1256029"/>
                    <a:gd name="connsiteX23" fmla="*/ 557839 w 1658436"/>
                    <a:gd name="connsiteY23" fmla="*/ 595530 h 1256029"/>
                    <a:gd name="connsiteX24" fmla="*/ 689920 w 1658436"/>
                    <a:gd name="connsiteY24" fmla="*/ 448539 h 1256029"/>
                    <a:gd name="connsiteX25" fmla="*/ 689920 w 1658436"/>
                    <a:gd name="connsiteY25" fmla="*/ 332102 h 1256029"/>
                    <a:gd name="connsiteX26" fmla="*/ 657930 w 1658436"/>
                    <a:gd name="connsiteY26" fmla="*/ 266393 h 1256029"/>
                    <a:gd name="connsiteX27" fmla="*/ 683324 w 1658436"/>
                    <a:gd name="connsiteY27" fmla="*/ 251116 h 1256029"/>
                    <a:gd name="connsiteX28" fmla="*/ 726362 w 1658436"/>
                    <a:gd name="connsiteY28" fmla="*/ 249781 h 1256029"/>
                    <a:gd name="connsiteX29" fmla="*/ 766761 w 1658436"/>
                    <a:gd name="connsiteY29" fmla="*/ 249781 h 1256029"/>
                    <a:gd name="connsiteX30" fmla="*/ 836347 w 1658436"/>
                    <a:gd name="connsiteY30" fmla="*/ 204245 h 1256029"/>
                    <a:gd name="connsiteX0" fmla="*/ 836347 w 1658436"/>
                    <a:gd name="connsiteY0" fmla="*/ 0 h 1256029"/>
                    <a:gd name="connsiteX1" fmla="*/ 1015917 w 1658436"/>
                    <a:gd name="connsiteY1" fmla="*/ 0 h 1256029"/>
                    <a:gd name="connsiteX2" fmla="*/ 1015917 w 1658436"/>
                    <a:gd name="connsiteY2" fmla="*/ 203058 h 1256029"/>
                    <a:gd name="connsiteX3" fmla="*/ 1083029 w 1658436"/>
                    <a:gd name="connsiteY3" fmla="*/ 249781 h 1256029"/>
                    <a:gd name="connsiteX4" fmla="*/ 1154099 w 1658436"/>
                    <a:gd name="connsiteY4" fmla="*/ 249781 h 1256029"/>
                    <a:gd name="connsiteX5" fmla="*/ 1194333 w 1658436"/>
                    <a:gd name="connsiteY5" fmla="*/ 275145 h 1256029"/>
                    <a:gd name="connsiteX6" fmla="*/ 1160200 w 1658436"/>
                    <a:gd name="connsiteY6" fmla="*/ 330767 h 1256029"/>
                    <a:gd name="connsiteX7" fmla="*/ 1178174 w 1658436"/>
                    <a:gd name="connsiteY7" fmla="*/ 514247 h 1256029"/>
                    <a:gd name="connsiteX8" fmla="*/ 1313387 w 1658436"/>
                    <a:gd name="connsiteY8" fmla="*/ 609325 h 1256029"/>
                    <a:gd name="connsiteX9" fmla="*/ 1627182 w 1658436"/>
                    <a:gd name="connsiteY9" fmla="*/ 610511 h 1256029"/>
                    <a:gd name="connsiteX10" fmla="*/ 1648783 w 1658436"/>
                    <a:gd name="connsiteY10" fmla="*/ 959821 h 1256029"/>
                    <a:gd name="connsiteX11" fmla="*/ 1641033 w 1658436"/>
                    <a:gd name="connsiteY11" fmla="*/ 954778 h 1256029"/>
                    <a:gd name="connsiteX12" fmla="*/ 1260126 w 1658436"/>
                    <a:gd name="connsiteY12" fmla="*/ 961156 h 1256029"/>
                    <a:gd name="connsiteX13" fmla="*/ 1099684 w 1658436"/>
                    <a:gd name="connsiteY13" fmla="*/ 1004170 h 1256029"/>
                    <a:gd name="connsiteX14" fmla="*/ 731474 w 1658436"/>
                    <a:gd name="connsiteY14" fmla="*/ 985185 h 1256029"/>
                    <a:gd name="connsiteX15" fmla="*/ 646718 w 1658436"/>
                    <a:gd name="connsiteY15" fmla="*/ 944691 h 1256029"/>
                    <a:gd name="connsiteX16" fmla="*/ 554377 w 1658436"/>
                    <a:gd name="connsiteY16" fmla="*/ 923332 h 1256029"/>
                    <a:gd name="connsiteX17" fmla="*/ 431365 w 1658436"/>
                    <a:gd name="connsiteY17" fmla="*/ 971242 h 1256029"/>
                    <a:gd name="connsiteX18" fmla="*/ 315114 w 1658436"/>
                    <a:gd name="connsiteY18" fmla="*/ 1197737 h 1256029"/>
                    <a:gd name="connsiteX19" fmla="*/ 302417 w 1658436"/>
                    <a:gd name="connsiteY19" fmla="*/ 1256029 h 1256029"/>
                    <a:gd name="connsiteX20" fmla="*/ 0 w 1658436"/>
                    <a:gd name="connsiteY20" fmla="*/ 1200258 h 1256029"/>
                    <a:gd name="connsiteX21" fmla="*/ 78655 w 1658436"/>
                    <a:gd name="connsiteY21" fmla="*/ 952256 h 1256029"/>
                    <a:gd name="connsiteX22" fmla="*/ 429057 w 1658436"/>
                    <a:gd name="connsiteY22" fmla="*/ 623268 h 1256029"/>
                    <a:gd name="connsiteX23" fmla="*/ 557839 w 1658436"/>
                    <a:gd name="connsiteY23" fmla="*/ 595530 h 1256029"/>
                    <a:gd name="connsiteX24" fmla="*/ 689920 w 1658436"/>
                    <a:gd name="connsiteY24" fmla="*/ 448539 h 1256029"/>
                    <a:gd name="connsiteX25" fmla="*/ 689920 w 1658436"/>
                    <a:gd name="connsiteY25" fmla="*/ 332102 h 1256029"/>
                    <a:gd name="connsiteX26" fmla="*/ 657930 w 1658436"/>
                    <a:gd name="connsiteY26" fmla="*/ 266393 h 1256029"/>
                    <a:gd name="connsiteX27" fmla="*/ 683324 w 1658436"/>
                    <a:gd name="connsiteY27" fmla="*/ 251116 h 1256029"/>
                    <a:gd name="connsiteX28" fmla="*/ 726362 w 1658436"/>
                    <a:gd name="connsiteY28" fmla="*/ 249781 h 1256029"/>
                    <a:gd name="connsiteX29" fmla="*/ 766761 w 1658436"/>
                    <a:gd name="connsiteY29" fmla="*/ 249781 h 1256029"/>
                    <a:gd name="connsiteX30" fmla="*/ 836347 w 1658436"/>
                    <a:gd name="connsiteY30" fmla="*/ 0 h 1256029"/>
                    <a:gd name="connsiteX0" fmla="*/ 836347 w 1658436"/>
                    <a:gd name="connsiteY0" fmla="*/ 0 h 1256029"/>
                    <a:gd name="connsiteX1" fmla="*/ 1015917 w 1658436"/>
                    <a:gd name="connsiteY1" fmla="*/ 0 h 1256029"/>
                    <a:gd name="connsiteX2" fmla="*/ 1083029 w 1658436"/>
                    <a:gd name="connsiteY2" fmla="*/ 249781 h 1256029"/>
                    <a:gd name="connsiteX3" fmla="*/ 1154099 w 1658436"/>
                    <a:gd name="connsiteY3" fmla="*/ 249781 h 1256029"/>
                    <a:gd name="connsiteX4" fmla="*/ 1194333 w 1658436"/>
                    <a:gd name="connsiteY4" fmla="*/ 275145 h 1256029"/>
                    <a:gd name="connsiteX5" fmla="*/ 1160200 w 1658436"/>
                    <a:gd name="connsiteY5" fmla="*/ 330767 h 1256029"/>
                    <a:gd name="connsiteX6" fmla="*/ 1178174 w 1658436"/>
                    <a:gd name="connsiteY6" fmla="*/ 514247 h 1256029"/>
                    <a:gd name="connsiteX7" fmla="*/ 1313387 w 1658436"/>
                    <a:gd name="connsiteY7" fmla="*/ 609325 h 1256029"/>
                    <a:gd name="connsiteX8" fmla="*/ 1627182 w 1658436"/>
                    <a:gd name="connsiteY8" fmla="*/ 610511 h 1256029"/>
                    <a:gd name="connsiteX9" fmla="*/ 1648783 w 1658436"/>
                    <a:gd name="connsiteY9" fmla="*/ 959821 h 1256029"/>
                    <a:gd name="connsiteX10" fmla="*/ 1641033 w 1658436"/>
                    <a:gd name="connsiteY10" fmla="*/ 954778 h 1256029"/>
                    <a:gd name="connsiteX11" fmla="*/ 1260126 w 1658436"/>
                    <a:gd name="connsiteY11" fmla="*/ 961156 h 1256029"/>
                    <a:gd name="connsiteX12" fmla="*/ 1099684 w 1658436"/>
                    <a:gd name="connsiteY12" fmla="*/ 1004170 h 1256029"/>
                    <a:gd name="connsiteX13" fmla="*/ 731474 w 1658436"/>
                    <a:gd name="connsiteY13" fmla="*/ 985185 h 1256029"/>
                    <a:gd name="connsiteX14" fmla="*/ 646718 w 1658436"/>
                    <a:gd name="connsiteY14" fmla="*/ 944691 h 1256029"/>
                    <a:gd name="connsiteX15" fmla="*/ 554377 w 1658436"/>
                    <a:gd name="connsiteY15" fmla="*/ 923332 h 1256029"/>
                    <a:gd name="connsiteX16" fmla="*/ 431365 w 1658436"/>
                    <a:gd name="connsiteY16" fmla="*/ 971242 h 1256029"/>
                    <a:gd name="connsiteX17" fmla="*/ 315114 w 1658436"/>
                    <a:gd name="connsiteY17" fmla="*/ 1197737 h 1256029"/>
                    <a:gd name="connsiteX18" fmla="*/ 302417 w 1658436"/>
                    <a:gd name="connsiteY18" fmla="*/ 1256029 h 1256029"/>
                    <a:gd name="connsiteX19" fmla="*/ 0 w 1658436"/>
                    <a:gd name="connsiteY19" fmla="*/ 1200258 h 1256029"/>
                    <a:gd name="connsiteX20" fmla="*/ 78655 w 1658436"/>
                    <a:gd name="connsiteY20" fmla="*/ 952256 h 1256029"/>
                    <a:gd name="connsiteX21" fmla="*/ 429057 w 1658436"/>
                    <a:gd name="connsiteY21" fmla="*/ 623268 h 1256029"/>
                    <a:gd name="connsiteX22" fmla="*/ 557839 w 1658436"/>
                    <a:gd name="connsiteY22" fmla="*/ 595530 h 1256029"/>
                    <a:gd name="connsiteX23" fmla="*/ 689920 w 1658436"/>
                    <a:gd name="connsiteY23" fmla="*/ 448539 h 1256029"/>
                    <a:gd name="connsiteX24" fmla="*/ 689920 w 1658436"/>
                    <a:gd name="connsiteY24" fmla="*/ 332102 h 1256029"/>
                    <a:gd name="connsiteX25" fmla="*/ 657930 w 1658436"/>
                    <a:gd name="connsiteY25" fmla="*/ 266393 h 1256029"/>
                    <a:gd name="connsiteX26" fmla="*/ 683324 w 1658436"/>
                    <a:gd name="connsiteY26" fmla="*/ 251116 h 1256029"/>
                    <a:gd name="connsiteX27" fmla="*/ 726362 w 1658436"/>
                    <a:gd name="connsiteY27" fmla="*/ 249781 h 1256029"/>
                    <a:gd name="connsiteX28" fmla="*/ 766761 w 1658436"/>
                    <a:gd name="connsiteY28" fmla="*/ 249781 h 1256029"/>
                    <a:gd name="connsiteX29" fmla="*/ 836347 w 1658436"/>
                    <a:gd name="connsiteY29" fmla="*/ 0 h 1256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658436" h="1256029">
                      <a:moveTo>
                        <a:pt x="836347" y="0"/>
                      </a:moveTo>
                      <a:lnTo>
                        <a:pt x="1015917" y="0"/>
                      </a:lnTo>
                      <a:lnTo>
                        <a:pt x="1083029" y="249781"/>
                      </a:lnTo>
                      <a:lnTo>
                        <a:pt x="1154099" y="249781"/>
                      </a:lnTo>
                      <a:cubicBezTo>
                        <a:pt x="1171743" y="249781"/>
                        <a:pt x="1191860" y="246073"/>
                        <a:pt x="1194333" y="275145"/>
                      </a:cubicBezTo>
                      <a:cubicBezTo>
                        <a:pt x="1198126" y="315638"/>
                        <a:pt x="1194333" y="323203"/>
                        <a:pt x="1160200" y="330767"/>
                      </a:cubicBezTo>
                      <a:cubicBezTo>
                        <a:pt x="1160200" y="392768"/>
                        <a:pt x="1155418" y="454768"/>
                        <a:pt x="1178174" y="514247"/>
                      </a:cubicBezTo>
                      <a:cubicBezTo>
                        <a:pt x="1200599" y="576396"/>
                        <a:pt x="1246440" y="609325"/>
                        <a:pt x="1313387" y="609325"/>
                      </a:cubicBezTo>
                      <a:lnTo>
                        <a:pt x="1627182" y="610511"/>
                      </a:lnTo>
                      <a:cubicBezTo>
                        <a:pt x="1683081" y="668952"/>
                        <a:pt x="1646475" y="902418"/>
                        <a:pt x="1648783" y="959821"/>
                      </a:cubicBezTo>
                      <a:cubicBezTo>
                        <a:pt x="1643507" y="957299"/>
                        <a:pt x="1642352" y="954778"/>
                        <a:pt x="1641033" y="954778"/>
                      </a:cubicBezTo>
                      <a:cubicBezTo>
                        <a:pt x="1513570" y="955964"/>
                        <a:pt x="1386930" y="953443"/>
                        <a:pt x="1260126" y="961156"/>
                      </a:cubicBezTo>
                      <a:cubicBezTo>
                        <a:pt x="1205711" y="963826"/>
                        <a:pt x="1151625" y="985185"/>
                        <a:pt x="1099684" y="1004170"/>
                      </a:cubicBezTo>
                      <a:cubicBezTo>
                        <a:pt x="973209" y="1052228"/>
                        <a:pt x="850363" y="1048372"/>
                        <a:pt x="731474" y="985185"/>
                      </a:cubicBezTo>
                      <a:cubicBezTo>
                        <a:pt x="703771" y="970055"/>
                        <a:pt x="675904" y="954778"/>
                        <a:pt x="646718" y="944691"/>
                      </a:cubicBezTo>
                      <a:cubicBezTo>
                        <a:pt x="616377" y="934605"/>
                        <a:pt x="584882" y="927041"/>
                        <a:pt x="554377" y="923332"/>
                      </a:cubicBezTo>
                      <a:cubicBezTo>
                        <a:pt x="504908" y="916658"/>
                        <a:pt x="464344" y="936978"/>
                        <a:pt x="431365" y="971242"/>
                      </a:cubicBezTo>
                      <a:cubicBezTo>
                        <a:pt x="366891" y="1033391"/>
                        <a:pt x="336551" y="1114377"/>
                        <a:pt x="315114" y="1197737"/>
                      </a:cubicBezTo>
                      <a:cubicBezTo>
                        <a:pt x="311157" y="1215536"/>
                        <a:pt x="307199" y="1233187"/>
                        <a:pt x="302417" y="1256029"/>
                      </a:cubicBezTo>
                      <a:lnTo>
                        <a:pt x="0" y="1200258"/>
                      </a:lnTo>
                      <a:cubicBezTo>
                        <a:pt x="18798" y="1112894"/>
                        <a:pt x="41719" y="1030869"/>
                        <a:pt x="78655" y="952256"/>
                      </a:cubicBezTo>
                      <a:cubicBezTo>
                        <a:pt x="150714" y="796661"/>
                        <a:pt x="262183" y="679038"/>
                        <a:pt x="429057" y="623268"/>
                      </a:cubicBezTo>
                      <a:cubicBezTo>
                        <a:pt x="470775" y="610511"/>
                        <a:pt x="513812" y="601760"/>
                        <a:pt x="557839" y="595530"/>
                      </a:cubicBezTo>
                      <a:cubicBezTo>
                        <a:pt x="642760" y="583961"/>
                        <a:pt x="688436" y="534716"/>
                        <a:pt x="689920" y="448539"/>
                      </a:cubicBezTo>
                      <a:lnTo>
                        <a:pt x="689920" y="332102"/>
                      </a:lnTo>
                      <a:cubicBezTo>
                        <a:pt x="657930" y="321868"/>
                        <a:pt x="645398" y="295317"/>
                        <a:pt x="657930" y="266393"/>
                      </a:cubicBezTo>
                      <a:cubicBezTo>
                        <a:pt x="661723" y="258532"/>
                        <a:pt x="674420" y="252302"/>
                        <a:pt x="683324" y="251116"/>
                      </a:cubicBezTo>
                      <a:cubicBezTo>
                        <a:pt x="696846" y="248594"/>
                        <a:pt x="712511" y="249781"/>
                        <a:pt x="726362" y="249781"/>
                      </a:cubicBezTo>
                      <a:lnTo>
                        <a:pt x="766761" y="249781"/>
                      </a:lnTo>
                      <a:cubicBezTo>
                        <a:pt x="785092" y="208151"/>
                        <a:pt x="794821" y="41630"/>
                        <a:pt x="83634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noAutofit/>
                </a:bodyPr>
                <a:lstStyle/>
                <a:p>
                  <a:pPr defTabSz="914367"/>
                  <a:endParaRPr lang="en-US" sz="1765">
                    <a:solidFill>
                      <a:srgbClr val="000000"/>
                    </a:solidFill>
                  </a:endParaRPr>
                </a:p>
              </p:txBody>
            </p:sp>
            <p:sp>
              <p:nvSpPr>
                <p:cNvPr id="149" name="Rectangle 148"/>
                <p:cNvSpPr/>
                <p:nvPr/>
              </p:nvSpPr>
              <p:spPr>
                <a:xfrm>
                  <a:off x="915076" y="3741646"/>
                  <a:ext cx="625583" cy="2313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endParaRPr>
                </a:p>
              </p:txBody>
            </p:sp>
            <p:sp>
              <p:nvSpPr>
                <p:cNvPr id="150" name="Rounded Rectangle 149"/>
                <p:cNvSpPr/>
                <p:nvPr/>
              </p:nvSpPr>
              <p:spPr>
                <a:xfrm>
                  <a:off x="1514914" y="3339844"/>
                  <a:ext cx="461959" cy="79307"/>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endParaRPr>
                </a:p>
              </p:txBody>
            </p:sp>
          </p:grpSp>
          <p:sp>
            <p:nvSpPr>
              <p:cNvPr id="139" name="Freeform 6"/>
              <p:cNvSpPr>
                <a:spLocks/>
              </p:cNvSpPr>
              <p:nvPr/>
            </p:nvSpPr>
            <p:spPr bwMode="auto">
              <a:xfrm flipH="1">
                <a:off x="2126453" y="4165336"/>
                <a:ext cx="69280" cy="104424"/>
              </a:xfrm>
              <a:custGeom>
                <a:avLst/>
                <a:gdLst>
                  <a:gd name="T0" fmla="*/ 121 w 258"/>
                  <a:gd name="T1" fmla="*/ 0 h 362"/>
                  <a:gd name="T2" fmla="*/ 124 w 258"/>
                  <a:gd name="T3" fmla="*/ 2 h 362"/>
                  <a:gd name="T4" fmla="*/ 210 w 258"/>
                  <a:gd name="T5" fmla="*/ 162 h 362"/>
                  <a:gd name="T6" fmla="*/ 171 w 258"/>
                  <a:gd name="T7" fmla="*/ 343 h 362"/>
                  <a:gd name="T8" fmla="*/ 51 w 258"/>
                  <a:gd name="T9" fmla="*/ 326 h 362"/>
                  <a:gd name="T10" fmla="*/ 17 w 258"/>
                  <a:gd name="T11" fmla="*/ 195 h 362"/>
                  <a:gd name="T12" fmla="*/ 39 w 258"/>
                  <a:gd name="T13" fmla="*/ 157 h 362"/>
                  <a:gd name="T14" fmla="*/ 121 w 258"/>
                  <a:gd name="T15" fmla="*/ 0 h 3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8" h="362">
                    <a:moveTo>
                      <a:pt x="121" y="0"/>
                    </a:moveTo>
                    <a:cubicBezTo>
                      <a:pt x="123" y="1"/>
                      <a:pt x="124" y="2"/>
                      <a:pt x="124" y="2"/>
                    </a:cubicBezTo>
                    <a:cubicBezTo>
                      <a:pt x="138" y="64"/>
                      <a:pt x="173" y="113"/>
                      <a:pt x="210" y="162"/>
                    </a:cubicBezTo>
                    <a:cubicBezTo>
                      <a:pt x="258" y="225"/>
                      <a:pt x="238" y="308"/>
                      <a:pt x="171" y="343"/>
                    </a:cubicBezTo>
                    <a:cubicBezTo>
                      <a:pt x="132" y="362"/>
                      <a:pt x="84" y="355"/>
                      <a:pt x="51" y="326"/>
                    </a:cubicBezTo>
                    <a:cubicBezTo>
                      <a:pt x="14" y="292"/>
                      <a:pt x="0" y="240"/>
                      <a:pt x="17" y="195"/>
                    </a:cubicBezTo>
                    <a:cubicBezTo>
                      <a:pt x="23" y="182"/>
                      <a:pt x="29" y="168"/>
                      <a:pt x="39" y="157"/>
                    </a:cubicBezTo>
                    <a:cubicBezTo>
                      <a:pt x="78" y="111"/>
                      <a:pt x="111" y="62"/>
                      <a:pt x="121" y="0"/>
                    </a:cubicBezTo>
                    <a:close/>
                  </a:path>
                </a:pathLst>
              </a:custGeom>
              <a:grpFill/>
              <a:ln>
                <a:noFill/>
              </a:ln>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40" name="Freeform 6"/>
              <p:cNvSpPr>
                <a:spLocks/>
              </p:cNvSpPr>
              <p:nvPr/>
            </p:nvSpPr>
            <p:spPr bwMode="auto">
              <a:xfrm flipH="1">
                <a:off x="2195733" y="4165336"/>
                <a:ext cx="69280" cy="104424"/>
              </a:xfrm>
              <a:custGeom>
                <a:avLst/>
                <a:gdLst>
                  <a:gd name="T0" fmla="*/ 121 w 258"/>
                  <a:gd name="T1" fmla="*/ 0 h 362"/>
                  <a:gd name="T2" fmla="*/ 124 w 258"/>
                  <a:gd name="T3" fmla="*/ 2 h 362"/>
                  <a:gd name="T4" fmla="*/ 210 w 258"/>
                  <a:gd name="T5" fmla="*/ 162 h 362"/>
                  <a:gd name="T6" fmla="*/ 171 w 258"/>
                  <a:gd name="T7" fmla="*/ 343 h 362"/>
                  <a:gd name="T8" fmla="*/ 51 w 258"/>
                  <a:gd name="T9" fmla="*/ 326 h 362"/>
                  <a:gd name="T10" fmla="*/ 17 w 258"/>
                  <a:gd name="T11" fmla="*/ 195 h 362"/>
                  <a:gd name="T12" fmla="*/ 39 w 258"/>
                  <a:gd name="T13" fmla="*/ 157 h 362"/>
                  <a:gd name="T14" fmla="*/ 121 w 258"/>
                  <a:gd name="T15" fmla="*/ 0 h 3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8" h="362">
                    <a:moveTo>
                      <a:pt x="121" y="0"/>
                    </a:moveTo>
                    <a:cubicBezTo>
                      <a:pt x="123" y="1"/>
                      <a:pt x="124" y="2"/>
                      <a:pt x="124" y="2"/>
                    </a:cubicBezTo>
                    <a:cubicBezTo>
                      <a:pt x="138" y="64"/>
                      <a:pt x="173" y="113"/>
                      <a:pt x="210" y="162"/>
                    </a:cubicBezTo>
                    <a:cubicBezTo>
                      <a:pt x="258" y="225"/>
                      <a:pt x="238" y="308"/>
                      <a:pt x="171" y="343"/>
                    </a:cubicBezTo>
                    <a:cubicBezTo>
                      <a:pt x="132" y="362"/>
                      <a:pt x="84" y="355"/>
                      <a:pt x="51" y="326"/>
                    </a:cubicBezTo>
                    <a:cubicBezTo>
                      <a:pt x="14" y="292"/>
                      <a:pt x="0" y="240"/>
                      <a:pt x="17" y="195"/>
                    </a:cubicBezTo>
                    <a:cubicBezTo>
                      <a:pt x="23" y="182"/>
                      <a:pt x="29" y="168"/>
                      <a:pt x="39" y="157"/>
                    </a:cubicBezTo>
                    <a:cubicBezTo>
                      <a:pt x="78" y="111"/>
                      <a:pt x="111" y="62"/>
                      <a:pt x="121" y="0"/>
                    </a:cubicBezTo>
                    <a:close/>
                  </a:path>
                </a:pathLst>
              </a:custGeom>
              <a:grpFill/>
              <a:ln>
                <a:noFill/>
              </a:ln>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41" name="Freeform 6"/>
              <p:cNvSpPr>
                <a:spLocks/>
              </p:cNvSpPr>
              <p:nvPr/>
            </p:nvSpPr>
            <p:spPr bwMode="auto">
              <a:xfrm flipH="1">
                <a:off x="2252473" y="4286417"/>
                <a:ext cx="69280" cy="104424"/>
              </a:xfrm>
              <a:custGeom>
                <a:avLst/>
                <a:gdLst>
                  <a:gd name="T0" fmla="*/ 121 w 258"/>
                  <a:gd name="T1" fmla="*/ 0 h 362"/>
                  <a:gd name="T2" fmla="*/ 124 w 258"/>
                  <a:gd name="T3" fmla="*/ 2 h 362"/>
                  <a:gd name="T4" fmla="*/ 210 w 258"/>
                  <a:gd name="T5" fmla="*/ 162 h 362"/>
                  <a:gd name="T6" fmla="*/ 171 w 258"/>
                  <a:gd name="T7" fmla="*/ 343 h 362"/>
                  <a:gd name="T8" fmla="*/ 51 w 258"/>
                  <a:gd name="T9" fmla="*/ 326 h 362"/>
                  <a:gd name="T10" fmla="*/ 17 w 258"/>
                  <a:gd name="T11" fmla="*/ 195 h 362"/>
                  <a:gd name="T12" fmla="*/ 39 w 258"/>
                  <a:gd name="T13" fmla="*/ 157 h 362"/>
                  <a:gd name="T14" fmla="*/ 121 w 258"/>
                  <a:gd name="T15" fmla="*/ 0 h 3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8" h="362">
                    <a:moveTo>
                      <a:pt x="121" y="0"/>
                    </a:moveTo>
                    <a:cubicBezTo>
                      <a:pt x="123" y="1"/>
                      <a:pt x="124" y="2"/>
                      <a:pt x="124" y="2"/>
                    </a:cubicBezTo>
                    <a:cubicBezTo>
                      <a:pt x="138" y="64"/>
                      <a:pt x="173" y="113"/>
                      <a:pt x="210" y="162"/>
                    </a:cubicBezTo>
                    <a:cubicBezTo>
                      <a:pt x="258" y="225"/>
                      <a:pt x="238" y="308"/>
                      <a:pt x="171" y="343"/>
                    </a:cubicBezTo>
                    <a:cubicBezTo>
                      <a:pt x="132" y="362"/>
                      <a:pt x="84" y="355"/>
                      <a:pt x="51" y="326"/>
                    </a:cubicBezTo>
                    <a:cubicBezTo>
                      <a:pt x="14" y="292"/>
                      <a:pt x="0" y="240"/>
                      <a:pt x="17" y="195"/>
                    </a:cubicBezTo>
                    <a:cubicBezTo>
                      <a:pt x="23" y="182"/>
                      <a:pt x="29" y="168"/>
                      <a:pt x="39" y="157"/>
                    </a:cubicBezTo>
                    <a:cubicBezTo>
                      <a:pt x="78" y="111"/>
                      <a:pt x="111" y="62"/>
                      <a:pt x="121" y="0"/>
                    </a:cubicBezTo>
                    <a:close/>
                  </a:path>
                </a:pathLst>
              </a:custGeom>
              <a:grpFill/>
              <a:ln>
                <a:noFill/>
              </a:ln>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42" name="Freeform 6"/>
              <p:cNvSpPr>
                <a:spLocks/>
              </p:cNvSpPr>
              <p:nvPr/>
            </p:nvSpPr>
            <p:spPr bwMode="auto">
              <a:xfrm flipH="1">
                <a:off x="2183193" y="4272130"/>
                <a:ext cx="69280" cy="104424"/>
              </a:xfrm>
              <a:custGeom>
                <a:avLst/>
                <a:gdLst>
                  <a:gd name="T0" fmla="*/ 121 w 258"/>
                  <a:gd name="T1" fmla="*/ 0 h 362"/>
                  <a:gd name="T2" fmla="*/ 124 w 258"/>
                  <a:gd name="T3" fmla="*/ 2 h 362"/>
                  <a:gd name="T4" fmla="*/ 210 w 258"/>
                  <a:gd name="T5" fmla="*/ 162 h 362"/>
                  <a:gd name="T6" fmla="*/ 171 w 258"/>
                  <a:gd name="T7" fmla="*/ 343 h 362"/>
                  <a:gd name="T8" fmla="*/ 51 w 258"/>
                  <a:gd name="T9" fmla="*/ 326 h 362"/>
                  <a:gd name="T10" fmla="*/ 17 w 258"/>
                  <a:gd name="T11" fmla="*/ 195 h 362"/>
                  <a:gd name="T12" fmla="*/ 39 w 258"/>
                  <a:gd name="T13" fmla="*/ 157 h 362"/>
                  <a:gd name="T14" fmla="*/ 121 w 258"/>
                  <a:gd name="T15" fmla="*/ 0 h 3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8" h="362">
                    <a:moveTo>
                      <a:pt x="121" y="0"/>
                    </a:moveTo>
                    <a:cubicBezTo>
                      <a:pt x="123" y="1"/>
                      <a:pt x="124" y="2"/>
                      <a:pt x="124" y="2"/>
                    </a:cubicBezTo>
                    <a:cubicBezTo>
                      <a:pt x="138" y="64"/>
                      <a:pt x="173" y="113"/>
                      <a:pt x="210" y="162"/>
                    </a:cubicBezTo>
                    <a:cubicBezTo>
                      <a:pt x="258" y="225"/>
                      <a:pt x="238" y="308"/>
                      <a:pt x="171" y="343"/>
                    </a:cubicBezTo>
                    <a:cubicBezTo>
                      <a:pt x="132" y="362"/>
                      <a:pt x="84" y="355"/>
                      <a:pt x="51" y="326"/>
                    </a:cubicBezTo>
                    <a:cubicBezTo>
                      <a:pt x="14" y="292"/>
                      <a:pt x="0" y="240"/>
                      <a:pt x="17" y="195"/>
                    </a:cubicBezTo>
                    <a:cubicBezTo>
                      <a:pt x="23" y="182"/>
                      <a:pt x="29" y="168"/>
                      <a:pt x="39" y="157"/>
                    </a:cubicBezTo>
                    <a:cubicBezTo>
                      <a:pt x="78" y="111"/>
                      <a:pt x="111" y="62"/>
                      <a:pt x="121" y="0"/>
                    </a:cubicBezTo>
                    <a:close/>
                  </a:path>
                </a:pathLst>
              </a:custGeom>
              <a:grpFill/>
              <a:ln>
                <a:noFill/>
              </a:ln>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43" name="Freeform 6"/>
              <p:cNvSpPr>
                <a:spLocks/>
              </p:cNvSpPr>
              <p:nvPr/>
            </p:nvSpPr>
            <p:spPr bwMode="auto">
              <a:xfrm flipH="1">
                <a:off x="2105130" y="4281558"/>
                <a:ext cx="69280" cy="104424"/>
              </a:xfrm>
              <a:custGeom>
                <a:avLst/>
                <a:gdLst>
                  <a:gd name="T0" fmla="*/ 121 w 258"/>
                  <a:gd name="T1" fmla="*/ 0 h 362"/>
                  <a:gd name="T2" fmla="*/ 124 w 258"/>
                  <a:gd name="T3" fmla="*/ 2 h 362"/>
                  <a:gd name="T4" fmla="*/ 210 w 258"/>
                  <a:gd name="T5" fmla="*/ 162 h 362"/>
                  <a:gd name="T6" fmla="*/ 171 w 258"/>
                  <a:gd name="T7" fmla="*/ 343 h 362"/>
                  <a:gd name="T8" fmla="*/ 51 w 258"/>
                  <a:gd name="T9" fmla="*/ 326 h 362"/>
                  <a:gd name="T10" fmla="*/ 17 w 258"/>
                  <a:gd name="T11" fmla="*/ 195 h 362"/>
                  <a:gd name="T12" fmla="*/ 39 w 258"/>
                  <a:gd name="T13" fmla="*/ 157 h 362"/>
                  <a:gd name="T14" fmla="*/ 121 w 258"/>
                  <a:gd name="T15" fmla="*/ 0 h 3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8" h="362">
                    <a:moveTo>
                      <a:pt x="121" y="0"/>
                    </a:moveTo>
                    <a:cubicBezTo>
                      <a:pt x="123" y="1"/>
                      <a:pt x="124" y="2"/>
                      <a:pt x="124" y="2"/>
                    </a:cubicBezTo>
                    <a:cubicBezTo>
                      <a:pt x="138" y="64"/>
                      <a:pt x="173" y="113"/>
                      <a:pt x="210" y="162"/>
                    </a:cubicBezTo>
                    <a:cubicBezTo>
                      <a:pt x="258" y="225"/>
                      <a:pt x="238" y="308"/>
                      <a:pt x="171" y="343"/>
                    </a:cubicBezTo>
                    <a:cubicBezTo>
                      <a:pt x="132" y="362"/>
                      <a:pt x="84" y="355"/>
                      <a:pt x="51" y="326"/>
                    </a:cubicBezTo>
                    <a:cubicBezTo>
                      <a:pt x="14" y="292"/>
                      <a:pt x="0" y="240"/>
                      <a:pt x="17" y="195"/>
                    </a:cubicBezTo>
                    <a:cubicBezTo>
                      <a:pt x="23" y="182"/>
                      <a:pt x="29" y="168"/>
                      <a:pt x="39" y="157"/>
                    </a:cubicBezTo>
                    <a:cubicBezTo>
                      <a:pt x="78" y="111"/>
                      <a:pt x="111" y="62"/>
                      <a:pt x="121" y="0"/>
                    </a:cubicBezTo>
                    <a:close/>
                  </a:path>
                </a:pathLst>
              </a:custGeom>
              <a:grpFill/>
              <a:ln>
                <a:noFill/>
              </a:ln>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44" name="Freeform 6"/>
              <p:cNvSpPr>
                <a:spLocks/>
              </p:cNvSpPr>
              <p:nvPr/>
            </p:nvSpPr>
            <p:spPr bwMode="auto">
              <a:xfrm flipH="1">
                <a:off x="2265013" y="4153436"/>
                <a:ext cx="69280" cy="104424"/>
              </a:xfrm>
              <a:custGeom>
                <a:avLst/>
                <a:gdLst>
                  <a:gd name="T0" fmla="*/ 121 w 258"/>
                  <a:gd name="T1" fmla="*/ 0 h 362"/>
                  <a:gd name="T2" fmla="*/ 124 w 258"/>
                  <a:gd name="T3" fmla="*/ 2 h 362"/>
                  <a:gd name="T4" fmla="*/ 210 w 258"/>
                  <a:gd name="T5" fmla="*/ 162 h 362"/>
                  <a:gd name="T6" fmla="*/ 171 w 258"/>
                  <a:gd name="T7" fmla="*/ 343 h 362"/>
                  <a:gd name="T8" fmla="*/ 51 w 258"/>
                  <a:gd name="T9" fmla="*/ 326 h 362"/>
                  <a:gd name="T10" fmla="*/ 17 w 258"/>
                  <a:gd name="T11" fmla="*/ 195 h 362"/>
                  <a:gd name="T12" fmla="*/ 39 w 258"/>
                  <a:gd name="T13" fmla="*/ 157 h 362"/>
                  <a:gd name="T14" fmla="*/ 121 w 258"/>
                  <a:gd name="T15" fmla="*/ 0 h 3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8" h="362">
                    <a:moveTo>
                      <a:pt x="121" y="0"/>
                    </a:moveTo>
                    <a:cubicBezTo>
                      <a:pt x="123" y="1"/>
                      <a:pt x="124" y="2"/>
                      <a:pt x="124" y="2"/>
                    </a:cubicBezTo>
                    <a:cubicBezTo>
                      <a:pt x="138" y="64"/>
                      <a:pt x="173" y="113"/>
                      <a:pt x="210" y="162"/>
                    </a:cubicBezTo>
                    <a:cubicBezTo>
                      <a:pt x="258" y="225"/>
                      <a:pt x="238" y="308"/>
                      <a:pt x="171" y="343"/>
                    </a:cubicBezTo>
                    <a:cubicBezTo>
                      <a:pt x="132" y="362"/>
                      <a:pt x="84" y="355"/>
                      <a:pt x="51" y="326"/>
                    </a:cubicBezTo>
                    <a:cubicBezTo>
                      <a:pt x="14" y="292"/>
                      <a:pt x="0" y="240"/>
                      <a:pt x="17" y="195"/>
                    </a:cubicBezTo>
                    <a:cubicBezTo>
                      <a:pt x="23" y="182"/>
                      <a:pt x="29" y="168"/>
                      <a:pt x="39" y="157"/>
                    </a:cubicBezTo>
                    <a:cubicBezTo>
                      <a:pt x="78" y="111"/>
                      <a:pt x="111" y="62"/>
                      <a:pt x="121" y="0"/>
                    </a:cubicBezTo>
                    <a:close/>
                  </a:path>
                </a:pathLst>
              </a:custGeom>
              <a:grpFill/>
              <a:ln>
                <a:noFill/>
              </a:ln>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45" name="Freeform 6"/>
              <p:cNvSpPr>
                <a:spLocks/>
              </p:cNvSpPr>
              <p:nvPr/>
            </p:nvSpPr>
            <p:spPr bwMode="auto">
              <a:xfrm flipH="1">
                <a:off x="2309383" y="4338626"/>
                <a:ext cx="69280" cy="104424"/>
              </a:xfrm>
              <a:custGeom>
                <a:avLst/>
                <a:gdLst>
                  <a:gd name="T0" fmla="*/ 121 w 258"/>
                  <a:gd name="T1" fmla="*/ 0 h 362"/>
                  <a:gd name="T2" fmla="*/ 124 w 258"/>
                  <a:gd name="T3" fmla="*/ 2 h 362"/>
                  <a:gd name="T4" fmla="*/ 210 w 258"/>
                  <a:gd name="T5" fmla="*/ 162 h 362"/>
                  <a:gd name="T6" fmla="*/ 171 w 258"/>
                  <a:gd name="T7" fmla="*/ 343 h 362"/>
                  <a:gd name="T8" fmla="*/ 51 w 258"/>
                  <a:gd name="T9" fmla="*/ 326 h 362"/>
                  <a:gd name="T10" fmla="*/ 17 w 258"/>
                  <a:gd name="T11" fmla="*/ 195 h 362"/>
                  <a:gd name="T12" fmla="*/ 39 w 258"/>
                  <a:gd name="T13" fmla="*/ 157 h 362"/>
                  <a:gd name="T14" fmla="*/ 121 w 258"/>
                  <a:gd name="T15" fmla="*/ 0 h 3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8" h="362">
                    <a:moveTo>
                      <a:pt x="121" y="0"/>
                    </a:moveTo>
                    <a:cubicBezTo>
                      <a:pt x="123" y="1"/>
                      <a:pt x="124" y="2"/>
                      <a:pt x="124" y="2"/>
                    </a:cubicBezTo>
                    <a:cubicBezTo>
                      <a:pt x="138" y="64"/>
                      <a:pt x="173" y="113"/>
                      <a:pt x="210" y="162"/>
                    </a:cubicBezTo>
                    <a:cubicBezTo>
                      <a:pt x="258" y="225"/>
                      <a:pt x="238" y="308"/>
                      <a:pt x="171" y="343"/>
                    </a:cubicBezTo>
                    <a:cubicBezTo>
                      <a:pt x="132" y="362"/>
                      <a:pt x="84" y="355"/>
                      <a:pt x="51" y="326"/>
                    </a:cubicBezTo>
                    <a:cubicBezTo>
                      <a:pt x="14" y="292"/>
                      <a:pt x="0" y="240"/>
                      <a:pt x="17" y="195"/>
                    </a:cubicBezTo>
                    <a:cubicBezTo>
                      <a:pt x="23" y="182"/>
                      <a:pt x="29" y="168"/>
                      <a:pt x="39" y="157"/>
                    </a:cubicBezTo>
                    <a:cubicBezTo>
                      <a:pt x="78" y="111"/>
                      <a:pt x="111" y="62"/>
                      <a:pt x="121" y="0"/>
                    </a:cubicBezTo>
                    <a:close/>
                  </a:path>
                </a:pathLst>
              </a:custGeom>
              <a:grpFill/>
              <a:ln>
                <a:noFill/>
              </a:ln>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46" name="Freeform 6"/>
              <p:cNvSpPr>
                <a:spLocks/>
              </p:cNvSpPr>
              <p:nvPr/>
            </p:nvSpPr>
            <p:spPr bwMode="auto">
              <a:xfrm flipH="1">
                <a:off x="2126453" y="4386257"/>
                <a:ext cx="69280" cy="104424"/>
              </a:xfrm>
              <a:custGeom>
                <a:avLst/>
                <a:gdLst>
                  <a:gd name="T0" fmla="*/ 121 w 258"/>
                  <a:gd name="T1" fmla="*/ 0 h 362"/>
                  <a:gd name="T2" fmla="*/ 124 w 258"/>
                  <a:gd name="T3" fmla="*/ 2 h 362"/>
                  <a:gd name="T4" fmla="*/ 210 w 258"/>
                  <a:gd name="T5" fmla="*/ 162 h 362"/>
                  <a:gd name="T6" fmla="*/ 171 w 258"/>
                  <a:gd name="T7" fmla="*/ 343 h 362"/>
                  <a:gd name="T8" fmla="*/ 51 w 258"/>
                  <a:gd name="T9" fmla="*/ 326 h 362"/>
                  <a:gd name="T10" fmla="*/ 17 w 258"/>
                  <a:gd name="T11" fmla="*/ 195 h 362"/>
                  <a:gd name="T12" fmla="*/ 39 w 258"/>
                  <a:gd name="T13" fmla="*/ 157 h 362"/>
                  <a:gd name="T14" fmla="*/ 121 w 258"/>
                  <a:gd name="T15" fmla="*/ 0 h 3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8" h="362">
                    <a:moveTo>
                      <a:pt x="121" y="0"/>
                    </a:moveTo>
                    <a:cubicBezTo>
                      <a:pt x="123" y="1"/>
                      <a:pt x="124" y="2"/>
                      <a:pt x="124" y="2"/>
                    </a:cubicBezTo>
                    <a:cubicBezTo>
                      <a:pt x="138" y="64"/>
                      <a:pt x="173" y="113"/>
                      <a:pt x="210" y="162"/>
                    </a:cubicBezTo>
                    <a:cubicBezTo>
                      <a:pt x="258" y="225"/>
                      <a:pt x="238" y="308"/>
                      <a:pt x="171" y="343"/>
                    </a:cubicBezTo>
                    <a:cubicBezTo>
                      <a:pt x="132" y="362"/>
                      <a:pt x="84" y="355"/>
                      <a:pt x="51" y="326"/>
                    </a:cubicBezTo>
                    <a:cubicBezTo>
                      <a:pt x="14" y="292"/>
                      <a:pt x="0" y="240"/>
                      <a:pt x="17" y="195"/>
                    </a:cubicBezTo>
                    <a:cubicBezTo>
                      <a:pt x="23" y="182"/>
                      <a:pt x="29" y="168"/>
                      <a:pt x="39" y="157"/>
                    </a:cubicBezTo>
                    <a:cubicBezTo>
                      <a:pt x="78" y="111"/>
                      <a:pt x="111" y="62"/>
                      <a:pt x="121" y="0"/>
                    </a:cubicBezTo>
                    <a:close/>
                  </a:path>
                </a:pathLst>
              </a:custGeom>
              <a:grpFill/>
              <a:ln>
                <a:noFill/>
              </a:ln>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47" name="Freeform 6"/>
              <p:cNvSpPr>
                <a:spLocks/>
              </p:cNvSpPr>
              <p:nvPr/>
            </p:nvSpPr>
            <p:spPr bwMode="auto">
              <a:xfrm flipH="1">
                <a:off x="2213470" y="4390838"/>
                <a:ext cx="69280" cy="104424"/>
              </a:xfrm>
              <a:custGeom>
                <a:avLst/>
                <a:gdLst>
                  <a:gd name="T0" fmla="*/ 121 w 258"/>
                  <a:gd name="T1" fmla="*/ 0 h 362"/>
                  <a:gd name="T2" fmla="*/ 124 w 258"/>
                  <a:gd name="T3" fmla="*/ 2 h 362"/>
                  <a:gd name="T4" fmla="*/ 210 w 258"/>
                  <a:gd name="T5" fmla="*/ 162 h 362"/>
                  <a:gd name="T6" fmla="*/ 171 w 258"/>
                  <a:gd name="T7" fmla="*/ 343 h 362"/>
                  <a:gd name="T8" fmla="*/ 51 w 258"/>
                  <a:gd name="T9" fmla="*/ 326 h 362"/>
                  <a:gd name="T10" fmla="*/ 17 w 258"/>
                  <a:gd name="T11" fmla="*/ 195 h 362"/>
                  <a:gd name="T12" fmla="*/ 39 w 258"/>
                  <a:gd name="T13" fmla="*/ 157 h 362"/>
                  <a:gd name="T14" fmla="*/ 121 w 258"/>
                  <a:gd name="T15" fmla="*/ 0 h 3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8" h="362">
                    <a:moveTo>
                      <a:pt x="121" y="0"/>
                    </a:moveTo>
                    <a:cubicBezTo>
                      <a:pt x="123" y="1"/>
                      <a:pt x="124" y="2"/>
                      <a:pt x="124" y="2"/>
                    </a:cubicBezTo>
                    <a:cubicBezTo>
                      <a:pt x="138" y="64"/>
                      <a:pt x="173" y="113"/>
                      <a:pt x="210" y="162"/>
                    </a:cubicBezTo>
                    <a:cubicBezTo>
                      <a:pt x="258" y="225"/>
                      <a:pt x="238" y="308"/>
                      <a:pt x="171" y="343"/>
                    </a:cubicBezTo>
                    <a:cubicBezTo>
                      <a:pt x="132" y="362"/>
                      <a:pt x="84" y="355"/>
                      <a:pt x="51" y="326"/>
                    </a:cubicBezTo>
                    <a:cubicBezTo>
                      <a:pt x="14" y="292"/>
                      <a:pt x="0" y="240"/>
                      <a:pt x="17" y="195"/>
                    </a:cubicBezTo>
                    <a:cubicBezTo>
                      <a:pt x="23" y="182"/>
                      <a:pt x="29" y="168"/>
                      <a:pt x="39" y="157"/>
                    </a:cubicBezTo>
                    <a:cubicBezTo>
                      <a:pt x="78" y="111"/>
                      <a:pt x="111" y="62"/>
                      <a:pt x="121" y="0"/>
                    </a:cubicBezTo>
                    <a:close/>
                  </a:path>
                </a:pathLst>
              </a:custGeom>
              <a:grpFill/>
              <a:ln>
                <a:noFill/>
              </a:ln>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grpSp>
        <p:grpSp>
          <p:nvGrpSpPr>
            <p:cNvPr id="151" name="Group 150"/>
            <p:cNvGrpSpPr/>
            <p:nvPr/>
          </p:nvGrpSpPr>
          <p:grpSpPr>
            <a:xfrm>
              <a:off x="7778806" y="2808407"/>
              <a:ext cx="237849" cy="231274"/>
              <a:chOff x="915076" y="3339844"/>
              <a:chExt cx="1463587" cy="1155418"/>
            </a:xfrm>
            <a:solidFill>
              <a:schemeClr val="accent2"/>
            </a:solidFill>
          </p:grpSpPr>
          <p:grpSp>
            <p:nvGrpSpPr>
              <p:cNvPr id="152" name="Group 151"/>
              <p:cNvGrpSpPr/>
              <p:nvPr/>
            </p:nvGrpSpPr>
            <p:grpSpPr>
              <a:xfrm>
                <a:off x="915076" y="3339844"/>
                <a:ext cx="1384747" cy="827695"/>
                <a:chOff x="915076" y="3339844"/>
                <a:chExt cx="1384747" cy="827695"/>
              </a:xfrm>
              <a:grpFill/>
            </p:grpSpPr>
            <p:sp>
              <p:nvSpPr>
                <p:cNvPr id="162" name="Freeform 161"/>
                <p:cNvSpPr>
                  <a:spLocks/>
                </p:cNvSpPr>
                <p:nvPr/>
              </p:nvSpPr>
              <p:spPr bwMode="auto">
                <a:xfrm flipH="1">
                  <a:off x="1286154" y="3342929"/>
                  <a:ext cx="1013669" cy="824610"/>
                </a:xfrm>
                <a:custGeom>
                  <a:avLst/>
                  <a:gdLst>
                    <a:gd name="connsiteX0" fmla="*/ 836347 w 1658436"/>
                    <a:gd name="connsiteY0" fmla="*/ 0 h 1256029"/>
                    <a:gd name="connsiteX1" fmla="*/ 1015917 w 1658436"/>
                    <a:gd name="connsiteY1" fmla="*/ 0 h 1256029"/>
                    <a:gd name="connsiteX2" fmla="*/ 1015917 w 1658436"/>
                    <a:gd name="connsiteY2" fmla="*/ 203058 h 1256029"/>
                    <a:gd name="connsiteX3" fmla="*/ 1083029 w 1658436"/>
                    <a:gd name="connsiteY3" fmla="*/ 249781 h 1256029"/>
                    <a:gd name="connsiteX4" fmla="*/ 1154099 w 1658436"/>
                    <a:gd name="connsiteY4" fmla="*/ 249781 h 1256029"/>
                    <a:gd name="connsiteX5" fmla="*/ 1194333 w 1658436"/>
                    <a:gd name="connsiteY5" fmla="*/ 275145 h 1256029"/>
                    <a:gd name="connsiteX6" fmla="*/ 1160200 w 1658436"/>
                    <a:gd name="connsiteY6" fmla="*/ 330767 h 1256029"/>
                    <a:gd name="connsiteX7" fmla="*/ 1178174 w 1658436"/>
                    <a:gd name="connsiteY7" fmla="*/ 514247 h 1256029"/>
                    <a:gd name="connsiteX8" fmla="*/ 1313387 w 1658436"/>
                    <a:gd name="connsiteY8" fmla="*/ 609325 h 1256029"/>
                    <a:gd name="connsiteX9" fmla="*/ 1627182 w 1658436"/>
                    <a:gd name="connsiteY9" fmla="*/ 610511 h 1256029"/>
                    <a:gd name="connsiteX10" fmla="*/ 1648783 w 1658436"/>
                    <a:gd name="connsiteY10" fmla="*/ 959821 h 1256029"/>
                    <a:gd name="connsiteX11" fmla="*/ 1641033 w 1658436"/>
                    <a:gd name="connsiteY11" fmla="*/ 954778 h 1256029"/>
                    <a:gd name="connsiteX12" fmla="*/ 1260126 w 1658436"/>
                    <a:gd name="connsiteY12" fmla="*/ 961156 h 1256029"/>
                    <a:gd name="connsiteX13" fmla="*/ 1099684 w 1658436"/>
                    <a:gd name="connsiteY13" fmla="*/ 1004170 h 1256029"/>
                    <a:gd name="connsiteX14" fmla="*/ 731474 w 1658436"/>
                    <a:gd name="connsiteY14" fmla="*/ 985185 h 1256029"/>
                    <a:gd name="connsiteX15" fmla="*/ 646718 w 1658436"/>
                    <a:gd name="connsiteY15" fmla="*/ 944691 h 1256029"/>
                    <a:gd name="connsiteX16" fmla="*/ 554377 w 1658436"/>
                    <a:gd name="connsiteY16" fmla="*/ 923332 h 1256029"/>
                    <a:gd name="connsiteX17" fmla="*/ 431365 w 1658436"/>
                    <a:gd name="connsiteY17" fmla="*/ 971242 h 1256029"/>
                    <a:gd name="connsiteX18" fmla="*/ 315114 w 1658436"/>
                    <a:gd name="connsiteY18" fmla="*/ 1197737 h 1256029"/>
                    <a:gd name="connsiteX19" fmla="*/ 302417 w 1658436"/>
                    <a:gd name="connsiteY19" fmla="*/ 1256029 h 1256029"/>
                    <a:gd name="connsiteX20" fmla="*/ 0 w 1658436"/>
                    <a:gd name="connsiteY20" fmla="*/ 1200258 h 1256029"/>
                    <a:gd name="connsiteX21" fmla="*/ 78655 w 1658436"/>
                    <a:gd name="connsiteY21" fmla="*/ 952256 h 1256029"/>
                    <a:gd name="connsiteX22" fmla="*/ 429057 w 1658436"/>
                    <a:gd name="connsiteY22" fmla="*/ 623268 h 1256029"/>
                    <a:gd name="connsiteX23" fmla="*/ 557839 w 1658436"/>
                    <a:gd name="connsiteY23" fmla="*/ 595530 h 1256029"/>
                    <a:gd name="connsiteX24" fmla="*/ 689920 w 1658436"/>
                    <a:gd name="connsiteY24" fmla="*/ 448539 h 1256029"/>
                    <a:gd name="connsiteX25" fmla="*/ 689920 w 1658436"/>
                    <a:gd name="connsiteY25" fmla="*/ 332102 h 1256029"/>
                    <a:gd name="connsiteX26" fmla="*/ 657930 w 1658436"/>
                    <a:gd name="connsiteY26" fmla="*/ 266393 h 1256029"/>
                    <a:gd name="connsiteX27" fmla="*/ 683324 w 1658436"/>
                    <a:gd name="connsiteY27" fmla="*/ 251116 h 1256029"/>
                    <a:gd name="connsiteX28" fmla="*/ 726362 w 1658436"/>
                    <a:gd name="connsiteY28" fmla="*/ 249781 h 1256029"/>
                    <a:gd name="connsiteX29" fmla="*/ 766761 w 1658436"/>
                    <a:gd name="connsiteY29" fmla="*/ 249781 h 1256029"/>
                    <a:gd name="connsiteX30" fmla="*/ 836347 w 1658436"/>
                    <a:gd name="connsiteY30" fmla="*/ 204245 h 1256029"/>
                    <a:gd name="connsiteX0" fmla="*/ 836347 w 1658436"/>
                    <a:gd name="connsiteY0" fmla="*/ 0 h 1256029"/>
                    <a:gd name="connsiteX1" fmla="*/ 1015917 w 1658436"/>
                    <a:gd name="connsiteY1" fmla="*/ 0 h 1256029"/>
                    <a:gd name="connsiteX2" fmla="*/ 1015917 w 1658436"/>
                    <a:gd name="connsiteY2" fmla="*/ 203058 h 1256029"/>
                    <a:gd name="connsiteX3" fmla="*/ 1083029 w 1658436"/>
                    <a:gd name="connsiteY3" fmla="*/ 249781 h 1256029"/>
                    <a:gd name="connsiteX4" fmla="*/ 1154099 w 1658436"/>
                    <a:gd name="connsiteY4" fmla="*/ 249781 h 1256029"/>
                    <a:gd name="connsiteX5" fmla="*/ 1194333 w 1658436"/>
                    <a:gd name="connsiteY5" fmla="*/ 275145 h 1256029"/>
                    <a:gd name="connsiteX6" fmla="*/ 1160200 w 1658436"/>
                    <a:gd name="connsiteY6" fmla="*/ 330767 h 1256029"/>
                    <a:gd name="connsiteX7" fmla="*/ 1178174 w 1658436"/>
                    <a:gd name="connsiteY7" fmla="*/ 514247 h 1256029"/>
                    <a:gd name="connsiteX8" fmla="*/ 1313387 w 1658436"/>
                    <a:gd name="connsiteY8" fmla="*/ 609325 h 1256029"/>
                    <a:gd name="connsiteX9" fmla="*/ 1627182 w 1658436"/>
                    <a:gd name="connsiteY9" fmla="*/ 610511 h 1256029"/>
                    <a:gd name="connsiteX10" fmla="*/ 1648783 w 1658436"/>
                    <a:gd name="connsiteY10" fmla="*/ 959821 h 1256029"/>
                    <a:gd name="connsiteX11" fmla="*/ 1641033 w 1658436"/>
                    <a:gd name="connsiteY11" fmla="*/ 954778 h 1256029"/>
                    <a:gd name="connsiteX12" fmla="*/ 1260126 w 1658436"/>
                    <a:gd name="connsiteY12" fmla="*/ 961156 h 1256029"/>
                    <a:gd name="connsiteX13" fmla="*/ 1099684 w 1658436"/>
                    <a:gd name="connsiteY13" fmla="*/ 1004170 h 1256029"/>
                    <a:gd name="connsiteX14" fmla="*/ 731474 w 1658436"/>
                    <a:gd name="connsiteY14" fmla="*/ 985185 h 1256029"/>
                    <a:gd name="connsiteX15" fmla="*/ 646718 w 1658436"/>
                    <a:gd name="connsiteY15" fmla="*/ 944691 h 1256029"/>
                    <a:gd name="connsiteX16" fmla="*/ 554377 w 1658436"/>
                    <a:gd name="connsiteY16" fmla="*/ 923332 h 1256029"/>
                    <a:gd name="connsiteX17" fmla="*/ 431365 w 1658436"/>
                    <a:gd name="connsiteY17" fmla="*/ 971242 h 1256029"/>
                    <a:gd name="connsiteX18" fmla="*/ 315114 w 1658436"/>
                    <a:gd name="connsiteY18" fmla="*/ 1197737 h 1256029"/>
                    <a:gd name="connsiteX19" fmla="*/ 302417 w 1658436"/>
                    <a:gd name="connsiteY19" fmla="*/ 1256029 h 1256029"/>
                    <a:gd name="connsiteX20" fmla="*/ 0 w 1658436"/>
                    <a:gd name="connsiteY20" fmla="*/ 1200258 h 1256029"/>
                    <a:gd name="connsiteX21" fmla="*/ 78655 w 1658436"/>
                    <a:gd name="connsiteY21" fmla="*/ 952256 h 1256029"/>
                    <a:gd name="connsiteX22" fmla="*/ 429057 w 1658436"/>
                    <a:gd name="connsiteY22" fmla="*/ 623268 h 1256029"/>
                    <a:gd name="connsiteX23" fmla="*/ 557839 w 1658436"/>
                    <a:gd name="connsiteY23" fmla="*/ 595530 h 1256029"/>
                    <a:gd name="connsiteX24" fmla="*/ 689920 w 1658436"/>
                    <a:gd name="connsiteY24" fmla="*/ 448539 h 1256029"/>
                    <a:gd name="connsiteX25" fmla="*/ 689920 w 1658436"/>
                    <a:gd name="connsiteY25" fmla="*/ 332102 h 1256029"/>
                    <a:gd name="connsiteX26" fmla="*/ 657930 w 1658436"/>
                    <a:gd name="connsiteY26" fmla="*/ 266393 h 1256029"/>
                    <a:gd name="connsiteX27" fmla="*/ 683324 w 1658436"/>
                    <a:gd name="connsiteY27" fmla="*/ 251116 h 1256029"/>
                    <a:gd name="connsiteX28" fmla="*/ 726362 w 1658436"/>
                    <a:gd name="connsiteY28" fmla="*/ 249781 h 1256029"/>
                    <a:gd name="connsiteX29" fmla="*/ 766761 w 1658436"/>
                    <a:gd name="connsiteY29" fmla="*/ 249781 h 1256029"/>
                    <a:gd name="connsiteX30" fmla="*/ 836347 w 1658436"/>
                    <a:gd name="connsiteY30" fmla="*/ 0 h 1256029"/>
                    <a:gd name="connsiteX0" fmla="*/ 836347 w 1658436"/>
                    <a:gd name="connsiteY0" fmla="*/ 0 h 1256029"/>
                    <a:gd name="connsiteX1" fmla="*/ 1015917 w 1658436"/>
                    <a:gd name="connsiteY1" fmla="*/ 0 h 1256029"/>
                    <a:gd name="connsiteX2" fmla="*/ 1083029 w 1658436"/>
                    <a:gd name="connsiteY2" fmla="*/ 249781 h 1256029"/>
                    <a:gd name="connsiteX3" fmla="*/ 1154099 w 1658436"/>
                    <a:gd name="connsiteY3" fmla="*/ 249781 h 1256029"/>
                    <a:gd name="connsiteX4" fmla="*/ 1194333 w 1658436"/>
                    <a:gd name="connsiteY4" fmla="*/ 275145 h 1256029"/>
                    <a:gd name="connsiteX5" fmla="*/ 1160200 w 1658436"/>
                    <a:gd name="connsiteY5" fmla="*/ 330767 h 1256029"/>
                    <a:gd name="connsiteX6" fmla="*/ 1178174 w 1658436"/>
                    <a:gd name="connsiteY6" fmla="*/ 514247 h 1256029"/>
                    <a:gd name="connsiteX7" fmla="*/ 1313387 w 1658436"/>
                    <a:gd name="connsiteY7" fmla="*/ 609325 h 1256029"/>
                    <a:gd name="connsiteX8" fmla="*/ 1627182 w 1658436"/>
                    <a:gd name="connsiteY8" fmla="*/ 610511 h 1256029"/>
                    <a:gd name="connsiteX9" fmla="*/ 1648783 w 1658436"/>
                    <a:gd name="connsiteY9" fmla="*/ 959821 h 1256029"/>
                    <a:gd name="connsiteX10" fmla="*/ 1641033 w 1658436"/>
                    <a:gd name="connsiteY10" fmla="*/ 954778 h 1256029"/>
                    <a:gd name="connsiteX11" fmla="*/ 1260126 w 1658436"/>
                    <a:gd name="connsiteY11" fmla="*/ 961156 h 1256029"/>
                    <a:gd name="connsiteX12" fmla="*/ 1099684 w 1658436"/>
                    <a:gd name="connsiteY12" fmla="*/ 1004170 h 1256029"/>
                    <a:gd name="connsiteX13" fmla="*/ 731474 w 1658436"/>
                    <a:gd name="connsiteY13" fmla="*/ 985185 h 1256029"/>
                    <a:gd name="connsiteX14" fmla="*/ 646718 w 1658436"/>
                    <a:gd name="connsiteY14" fmla="*/ 944691 h 1256029"/>
                    <a:gd name="connsiteX15" fmla="*/ 554377 w 1658436"/>
                    <a:gd name="connsiteY15" fmla="*/ 923332 h 1256029"/>
                    <a:gd name="connsiteX16" fmla="*/ 431365 w 1658436"/>
                    <a:gd name="connsiteY16" fmla="*/ 971242 h 1256029"/>
                    <a:gd name="connsiteX17" fmla="*/ 315114 w 1658436"/>
                    <a:gd name="connsiteY17" fmla="*/ 1197737 h 1256029"/>
                    <a:gd name="connsiteX18" fmla="*/ 302417 w 1658436"/>
                    <a:gd name="connsiteY18" fmla="*/ 1256029 h 1256029"/>
                    <a:gd name="connsiteX19" fmla="*/ 0 w 1658436"/>
                    <a:gd name="connsiteY19" fmla="*/ 1200258 h 1256029"/>
                    <a:gd name="connsiteX20" fmla="*/ 78655 w 1658436"/>
                    <a:gd name="connsiteY20" fmla="*/ 952256 h 1256029"/>
                    <a:gd name="connsiteX21" fmla="*/ 429057 w 1658436"/>
                    <a:gd name="connsiteY21" fmla="*/ 623268 h 1256029"/>
                    <a:gd name="connsiteX22" fmla="*/ 557839 w 1658436"/>
                    <a:gd name="connsiteY22" fmla="*/ 595530 h 1256029"/>
                    <a:gd name="connsiteX23" fmla="*/ 689920 w 1658436"/>
                    <a:gd name="connsiteY23" fmla="*/ 448539 h 1256029"/>
                    <a:gd name="connsiteX24" fmla="*/ 689920 w 1658436"/>
                    <a:gd name="connsiteY24" fmla="*/ 332102 h 1256029"/>
                    <a:gd name="connsiteX25" fmla="*/ 657930 w 1658436"/>
                    <a:gd name="connsiteY25" fmla="*/ 266393 h 1256029"/>
                    <a:gd name="connsiteX26" fmla="*/ 683324 w 1658436"/>
                    <a:gd name="connsiteY26" fmla="*/ 251116 h 1256029"/>
                    <a:gd name="connsiteX27" fmla="*/ 726362 w 1658436"/>
                    <a:gd name="connsiteY27" fmla="*/ 249781 h 1256029"/>
                    <a:gd name="connsiteX28" fmla="*/ 766761 w 1658436"/>
                    <a:gd name="connsiteY28" fmla="*/ 249781 h 1256029"/>
                    <a:gd name="connsiteX29" fmla="*/ 836347 w 1658436"/>
                    <a:gd name="connsiteY29" fmla="*/ 0 h 1256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658436" h="1256029">
                      <a:moveTo>
                        <a:pt x="836347" y="0"/>
                      </a:moveTo>
                      <a:lnTo>
                        <a:pt x="1015917" y="0"/>
                      </a:lnTo>
                      <a:lnTo>
                        <a:pt x="1083029" y="249781"/>
                      </a:lnTo>
                      <a:lnTo>
                        <a:pt x="1154099" y="249781"/>
                      </a:lnTo>
                      <a:cubicBezTo>
                        <a:pt x="1171743" y="249781"/>
                        <a:pt x="1191860" y="246073"/>
                        <a:pt x="1194333" y="275145"/>
                      </a:cubicBezTo>
                      <a:cubicBezTo>
                        <a:pt x="1198126" y="315638"/>
                        <a:pt x="1194333" y="323203"/>
                        <a:pt x="1160200" y="330767"/>
                      </a:cubicBezTo>
                      <a:cubicBezTo>
                        <a:pt x="1160200" y="392768"/>
                        <a:pt x="1155418" y="454768"/>
                        <a:pt x="1178174" y="514247"/>
                      </a:cubicBezTo>
                      <a:cubicBezTo>
                        <a:pt x="1200599" y="576396"/>
                        <a:pt x="1246440" y="609325"/>
                        <a:pt x="1313387" y="609325"/>
                      </a:cubicBezTo>
                      <a:lnTo>
                        <a:pt x="1627182" y="610511"/>
                      </a:lnTo>
                      <a:cubicBezTo>
                        <a:pt x="1683081" y="668952"/>
                        <a:pt x="1646475" y="902418"/>
                        <a:pt x="1648783" y="959821"/>
                      </a:cubicBezTo>
                      <a:cubicBezTo>
                        <a:pt x="1643507" y="957299"/>
                        <a:pt x="1642352" y="954778"/>
                        <a:pt x="1641033" y="954778"/>
                      </a:cubicBezTo>
                      <a:cubicBezTo>
                        <a:pt x="1513570" y="955964"/>
                        <a:pt x="1386930" y="953443"/>
                        <a:pt x="1260126" y="961156"/>
                      </a:cubicBezTo>
                      <a:cubicBezTo>
                        <a:pt x="1205711" y="963826"/>
                        <a:pt x="1151625" y="985185"/>
                        <a:pt x="1099684" y="1004170"/>
                      </a:cubicBezTo>
                      <a:cubicBezTo>
                        <a:pt x="973209" y="1052228"/>
                        <a:pt x="850363" y="1048372"/>
                        <a:pt x="731474" y="985185"/>
                      </a:cubicBezTo>
                      <a:cubicBezTo>
                        <a:pt x="703771" y="970055"/>
                        <a:pt x="675904" y="954778"/>
                        <a:pt x="646718" y="944691"/>
                      </a:cubicBezTo>
                      <a:cubicBezTo>
                        <a:pt x="616377" y="934605"/>
                        <a:pt x="584882" y="927041"/>
                        <a:pt x="554377" y="923332"/>
                      </a:cubicBezTo>
                      <a:cubicBezTo>
                        <a:pt x="504908" y="916658"/>
                        <a:pt x="464344" y="936978"/>
                        <a:pt x="431365" y="971242"/>
                      </a:cubicBezTo>
                      <a:cubicBezTo>
                        <a:pt x="366891" y="1033391"/>
                        <a:pt x="336551" y="1114377"/>
                        <a:pt x="315114" y="1197737"/>
                      </a:cubicBezTo>
                      <a:cubicBezTo>
                        <a:pt x="311157" y="1215536"/>
                        <a:pt x="307199" y="1233187"/>
                        <a:pt x="302417" y="1256029"/>
                      </a:cubicBezTo>
                      <a:lnTo>
                        <a:pt x="0" y="1200258"/>
                      </a:lnTo>
                      <a:cubicBezTo>
                        <a:pt x="18798" y="1112894"/>
                        <a:pt x="41719" y="1030869"/>
                        <a:pt x="78655" y="952256"/>
                      </a:cubicBezTo>
                      <a:cubicBezTo>
                        <a:pt x="150714" y="796661"/>
                        <a:pt x="262183" y="679038"/>
                        <a:pt x="429057" y="623268"/>
                      </a:cubicBezTo>
                      <a:cubicBezTo>
                        <a:pt x="470775" y="610511"/>
                        <a:pt x="513812" y="601760"/>
                        <a:pt x="557839" y="595530"/>
                      </a:cubicBezTo>
                      <a:cubicBezTo>
                        <a:pt x="642760" y="583961"/>
                        <a:pt x="688436" y="534716"/>
                        <a:pt x="689920" y="448539"/>
                      </a:cubicBezTo>
                      <a:lnTo>
                        <a:pt x="689920" y="332102"/>
                      </a:lnTo>
                      <a:cubicBezTo>
                        <a:pt x="657930" y="321868"/>
                        <a:pt x="645398" y="295317"/>
                        <a:pt x="657930" y="266393"/>
                      </a:cubicBezTo>
                      <a:cubicBezTo>
                        <a:pt x="661723" y="258532"/>
                        <a:pt x="674420" y="252302"/>
                        <a:pt x="683324" y="251116"/>
                      </a:cubicBezTo>
                      <a:cubicBezTo>
                        <a:pt x="696846" y="248594"/>
                        <a:pt x="712511" y="249781"/>
                        <a:pt x="726362" y="249781"/>
                      </a:cubicBezTo>
                      <a:lnTo>
                        <a:pt x="766761" y="249781"/>
                      </a:lnTo>
                      <a:cubicBezTo>
                        <a:pt x="785092" y="208151"/>
                        <a:pt x="794821" y="41630"/>
                        <a:pt x="83634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noAutofit/>
                </a:bodyPr>
                <a:lstStyle/>
                <a:p>
                  <a:pPr defTabSz="914367"/>
                  <a:endParaRPr lang="en-US" sz="1765">
                    <a:solidFill>
                      <a:srgbClr val="000000"/>
                    </a:solidFill>
                  </a:endParaRPr>
                </a:p>
              </p:txBody>
            </p:sp>
            <p:sp>
              <p:nvSpPr>
                <p:cNvPr id="163" name="Rectangle 162"/>
                <p:cNvSpPr/>
                <p:nvPr/>
              </p:nvSpPr>
              <p:spPr>
                <a:xfrm>
                  <a:off x="915076" y="3741646"/>
                  <a:ext cx="625583" cy="2313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endParaRPr>
                </a:p>
              </p:txBody>
            </p:sp>
            <p:sp>
              <p:nvSpPr>
                <p:cNvPr id="164" name="Rounded Rectangle 163"/>
                <p:cNvSpPr/>
                <p:nvPr/>
              </p:nvSpPr>
              <p:spPr>
                <a:xfrm>
                  <a:off x="1514914" y="3339844"/>
                  <a:ext cx="461959" cy="79307"/>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endParaRPr>
                </a:p>
              </p:txBody>
            </p:sp>
          </p:grpSp>
          <p:sp>
            <p:nvSpPr>
              <p:cNvPr id="153" name="Freeform 6"/>
              <p:cNvSpPr>
                <a:spLocks/>
              </p:cNvSpPr>
              <p:nvPr/>
            </p:nvSpPr>
            <p:spPr bwMode="auto">
              <a:xfrm flipH="1">
                <a:off x="2126453" y="4165336"/>
                <a:ext cx="69280" cy="104424"/>
              </a:xfrm>
              <a:custGeom>
                <a:avLst/>
                <a:gdLst>
                  <a:gd name="T0" fmla="*/ 121 w 258"/>
                  <a:gd name="T1" fmla="*/ 0 h 362"/>
                  <a:gd name="T2" fmla="*/ 124 w 258"/>
                  <a:gd name="T3" fmla="*/ 2 h 362"/>
                  <a:gd name="T4" fmla="*/ 210 w 258"/>
                  <a:gd name="T5" fmla="*/ 162 h 362"/>
                  <a:gd name="T6" fmla="*/ 171 w 258"/>
                  <a:gd name="T7" fmla="*/ 343 h 362"/>
                  <a:gd name="T8" fmla="*/ 51 w 258"/>
                  <a:gd name="T9" fmla="*/ 326 h 362"/>
                  <a:gd name="T10" fmla="*/ 17 w 258"/>
                  <a:gd name="T11" fmla="*/ 195 h 362"/>
                  <a:gd name="T12" fmla="*/ 39 w 258"/>
                  <a:gd name="T13" fmla="*/ 157 h 362"/>
                  <a:gd name="T14" fmla="*/ 121 w 258"/>
                  <a:gd name="T15" fmla="*/ 0 h 3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8" h="362">
                    <a:moveTo>
                      <a:pt x="121" y="0"/>
                    </a:moveTo>
                    <a:cubicBezTo>
                      <a:pt x="123" y="1"/>
                      <a:pt x="124" y="2"/>
                      <a:pt x="124" y="2"/>
                    </a:cubicBezTo>
                    <a:cubicBezTo>
                      <a:pt x="138" y="64"/>
                      <a:pt x="173" y="113"/>
                      <a:pt x="210" y="162"/>
                    </a:cubicBezTo>
                    <a:cubicBezTo>
                      <a:pt x="258" y="225"/>
                      <a:pt x="238" y="308"/>
                      <a:pt x="171" y="343"/>
                    </a:cubicBezTo>
                    <a:cubicBezTo>
                      <a:pt x="132" y="362"/>
                      <a:pt x="84" y="355"/>
                      <a:pt x="51" y="326"/>
                    </a:cubicBezTo>
                    <a:cubicBezTo>
                      <a:pt x="14" y="292"/>
                      <a:pt x="0" y="240"/>
                      <a:pt x="17" y="195"/>
                    </a:cubicBezTo>
                    <a:cubicBezTo>
                      <a:pt x="23" y="182"/>
                      <a:pt x="29" y="168"/>
                      <a:pt x="39" y="157"/>
                    </a:cubicBezTo>
                    <a:cubicBezTo>
                      <a:pt x="78" y="111"/>
                      <a:pt x="111" y="62"/>
                      <a:pt x="121" y="0"/>
                    </a:cubicBezTo>
                    <a:close/>
                  </a:path>
                </a:pathLst>
              </a:custGeom>
              <a:grpFill/>
              <a:ln>
                <a:noFill/>
              </a:ln>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54" name="Freeform 6"/>
              <p:cNvSpPr>
                <a:spLocks/>
              </p:cNvSpPr>
              <p:nvPr/>
            </p:nvSpPr>
            <p:spPr bwMode="auto">
              <a:xfrm flipH="1">
                <a:off x="2195733" y="4165336"/>
                <a:ext cx="69280" cy="104424"/>
              </a:xfrm>
              <a:custGeom>
                <a:avLst/>
                <a:gdLst>
                  <a:gd name="T0" fmla="*/ 121 w 258"/>
                  <a:gd name="T1" fmla="*/ 0 h 362"/>
                  <a:gd name="T2" fmla="*/ 124 w 258"/>
                  <a:gd name="T3" fmla="*/ 2 h 362"/>
                  <a:gd name="T4" fmla="*/ 210 w 258"/>
                  <a:gd name="T5" fmla="*/ 162 h 362"/>
                  <a:gd name="T6" fmla="*/ 171 w 258"/>
                  <a:gd name="T7" fmla="*/ 343 h 362"/>
                  <a:gd name="T8" fmla="*/ 51 w 258"/>
                  <a:gd name="T9" fmla="*/ 326 h 362"/>
                  <a:gd name="T10" fmla="*/ 17 w 258"/>
                  <a:gd name="T11" fmla="*/ 195 h 362"/>
                  <a:gd name="T12" fmla="*/ 39 w 258"/>
                  <a:gd name="T13" fmla="*/ 157 h 362"/>
                  <a:gd name="T14" fmla="*/ 121 w 258"/>
                  <a:gd name="T15" fmla="*/ 0 h 3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8" h="362">
                    <a:moveTo>
                      <a:pt x="121" y="0"/>
                    </a:moveTo>
                    <a:cubicBezTo>
                      <a:pt x="123" y="1"/>
                      <a:pt x="124" y="2"/>
                      <a:pt x="124" y="2"/>
                    </a:cubicBezTo>
                    <a:cubicBezTo>
                      <a:pt x="138" y="64"/>
                      <a:pt x="173" y="113"/>
                      <a:pt x="210" y="162"/>
                    </a:cubicBezTo>
                    <a:cubicBezTo>
                      <a:pt x="258" y="225"/>
                      <a:pt x="238" y="308"/>
                      <a:pt x="171" y="343"/>
                    </a:cubicBezTo>
                    <a:cubicBezTo>
                      <a:pt x="132" y="362"/>
                      <a:pt x="84" y="355"/>
                      <a:pt x="51" y="326"/>
                    </a:cubicBezTo>
                    <a:cubicBezTo>
                      <a:pt x="14" y="292"/>
                      <a:pt x="0" y="240"/>
                      <a:pt x="17" y="195"/>
                    </a:cubicBezTo>
                    <a:cubicBezTo>
                      <a:pt x="23" y="182"/>
                      <a:pt x="29" y="168"/>
                      <a:pt x="39" y="157"/>
                    </a:cubicBezTo>
                    <a:cubicBezTo>
                      <a:pt x="78" y="111"/>
                      <a:pt x="111" y="62"/>
                      <a:pt x="121" y="0"/>
                    </a:cubicBezTo>
                    <a:close/>
                  </a:path>
                </a:pathLst>
              </a:custGeom>
              <a:grpFill/>
              <a:ln>
                <a:noFill/>
              </a:ln>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55" name="Freeform 6"/>
              <p:cNvSpPr>
                <a:spLocks/>
              </p:cNvSpPr>
              <p:nvPr/>
            </p:nvSpPr>
            <p:spPr bwMode="auto">
              <a:xfrm flipH="1">
                <a:off x="2252473" y="4286417"/>
                <a:ext cx="69280" cy="104424"/>
              </a:xfrm>
              <a:custGeom>
                <a:avLst/>
                <a:gdLst>
                  <a:gd name="T0" fmla="*/ 121 w 258"/>
                  <a:gd name="T1" fmla="*/ 0 h 362"/>
                  <a:gd name="T2" fmla="*/ 124 w 258"/>
                  <a:gd name="T3" fmla="*/ 2 h 362"/>
                  <a:gd name="T4" fmla="*/ 210 w 258"/>
                  <a:gd name="T5" fmla="*/ 162 h 362"/>
                  <a:gd name="T6" fmla="*/ 171 w 258"/>
                  <a:gd name="T7" fmla="*/ 343 h 362"/>
                  <a:gd name="T8" fmla="*/ 51 w 258"/>
                  <a:gd name="T9" fmla="*/ 326 h 362"/>
                  <a:gd name="T10" fmla="*/ 17 w 258"/>
                  <a:gd name="T11" fmla="*/ 195 h 362"/>
                  <a:gd name="T12" fmla="*/ 39 w 258"/>
                  <a:gd name="T13" fmla="*/ 157 h 362"/>
                  <a:gd name="T14" fmla="*/ 121 w 258"/>
                  <a:gd name="T15" fmla="*/ 0 h 3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8" h="362">
                    <a:moveTo>
                      <a:pt x="121" y="0"/>
                    </a:moveTo>
                    <a:cubicBezTo>
                      <a:pt x="123" y="1"/>
                      <a:pt x="124" y="2"/>
                      <a:pt x="124" y="2"/>
                    </a:cubicBezTo>
                    <a:cubicBezTo>
                      <a:pt x="138" y="64"/>
                      <a:pt x="173" y="113"/>
                      <a:pt x="210" y="162"/>
                    </a:cubicBezTo>
                    <a:cubicBezTo>
                      <a:pt x="258" y="225"/>
                      <a:pt x="238" y="308"/>
                      <a:pt x="171" y="343"/>
                    </a:cubicBezTo>
                    <a:cubicBezTo>
                      <a:pt x="132" y="362"/>
                      <a:pt x="84" y="355"/>
                      <a:pt x="51" y="326"/>
                    </a:cubicBezTo>
                    <a:cubicBezTo>
                      <a:pt x="14" y="292"/>
                      <a:pt x="0" y="240"/>
                      <a:pt x="17" y="195"/>
                    </a:cubicBezTo>
                    <a:cubicBezTo>
                      <a:pt x="23" y="182"/>
                      <a:pt x="29" y="168"/>
                      <a:pt x="39" y="157"/>
                    </a:cubicBezTo>
                    <a:cubicBezTo>
                      <a:pt x="78" y="111"/>
                      <a:pt x="111" y="62"/>
                      <a:pt x="121" y="0"/>
                    </a:cubicBezTo>
                    <a:close/>
                  </a:path>
                </a:pathLst>
              </a:custGeom>
              <a:grpFill/>
              <a:ln>
                <a:noFill/>
              </a:ln>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56" name="Freeform 6"/>
              <p:cNvSpPr>
                <a:spLocks/>
              </p:cNvSpPr>
              <p:nvPr/>
            </p:nvSpPr>
            <p:spPr bwMode="auto">
              <a:xfrm flipH="1">
                <a:off x="2183193" y="4272130"/>
                <a:ext cx="69280" cy="104424"/>
              </a:xfrm>
              <a:custGeom>
                <a:avLst/>
                <a:gdLst>
                  <a:gd name="T0" fmla="*/ 121 w 258"/>
                  <a:gd name="T1" fmla="*/ 0 h 362"/>
                  <a:gd name="T2" fmla="*/ 124 w 258"/>
                  <a:gd name="T3" fmla="*/ 2 h 362"/>
                  <a:gd name="T4" fmla="*/ 210 w 258"/>
                  <a:gd name="T5" fmla="*/ 162 h 362"/>
                  <a:gd name="T6" fmla="*/ 171 w 258"/>
                  <a:gd name="T7" fmla="*/ 343 h 362"/>
                  <a:gd name="T8" fmla="*/ 51 w 258"/>
                  <a:gd name="T9" fmla="*/ 326 h 362"/>
                  <a:gd name="T10" fmla="*/ 17 w 258"/>
                  <a:gd name="T11" fmla="*/ 195 h 362"/>
                  <a:gd name="T12" fmla="*/ 39 w 258"/>
                  <a:gd name="T13" fmla="*/ 157 h 362"/>
                  <a:gd name="T14" fmla="*/ 121 w 258"/>
                  <a:gd name="T15" fmla="*/ 0 h 3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8" h="362">
                    <a:moveTo>
                      <a:pt x="121" y="0"/>
                    </a:moveTo>
                    <a:cubicBezTo>
                      <a:pt x="123" y="1"/>
                      <a:pt x="124" y="2"/>
                      <a:pt x="124" y="2"/>
                    </a:cubicBezTo>
                    <a:cubicBezTo>
                      <a:pt x="138" y="64"/>
                      <a:pt x="173" y="113"/>
                      <a:pt x="210" y="162"/>
                    </a:cubicBezTo>
                    <a:cubicBezTo>
                      <a:pt x="258" y="225"/>
                      <a:pt x="238" y="308"/>
                      <a:pt x="171" y="343"/>
                    </a:cubicBezTo>
                    <a:cubicBezTo>
                      <a:pt x="132" y="362"/>
                      <a:pt x="84" y="355"/>
                      <a:pt x="51" y="326"/>
                    </a:cubicBezTo>
                    <a:cubicBezTo>
                      <a:pt x="14" y="292"/>
                      <a:pt x="0" y="240"/>
                      <a:pt x="17" y="195"/>
                    </a:cubicBezTo>
                    <a:cubicBezTo>
                      <a:pt x="23" y="182"/>
                      <a:pt x="29" y="168"/>
                      <a:pt x="39" y="157"/>
                    </a:cubicBezTo>
                    <a:cubicBezTo>
                      <a:pt x="78" y="111"/>
                      <a:pt x="111" y="62"/>
                      <a:pt x="121" y="0"/>
                    </a:cubicBezTo>
                    <a:close/>
                  </a:path>
                </a:pathLst>
              </a:custGeom>
              <a:grpFill/>
              <a:ln>
                <a:noFill/>
              </a:ln>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57" name="Freeform 6"/>
              <p:cNvSpPr>
                <a:spLocks/>
              </p:cNvSpPr>
              <p:nvPr/>
            </p:nvSpPr>
            <p:spPr bwMode="auto">
              <a:xfrm flipH="1">
                <a:off x="2105130" y="4281558"/>
                <a:ext cx="69280" cy="104424"/>
              </a:xfrm>
              <a:custGeom>
                <a:avLst/>
                <a:gdLst>
                  <a:gd name="T0" fmla="*/ 121 w 258"/>
                  <a:gd name="T1" fmla="*/ 0 h 362"/>
                  <a:gd name="T2" fmla="*/ 124 w 258"/>
                  <a:gd name="T3" fmla="*/ 2 h 362"/>
                  <a:gd name="T4" fmla="*/ 210 w 258"/>
                  <a:gd name="T5" fmla="*/ 162 h 362"/>
                  <a:gd name="T6" fmla="*/ 171 w 258"/>
                  <a:gd name="T7" fmla="*/ 343 h 362"/>
                  <a:gd name="T8" fmla="*/ 51 w 258"/>
                  <a:gd name="T9" fmla="*/ 326 h 362"/>
                  <a:gd name="T10" fmla="*/ 17 w 258"/>
                  <a:gd name="T11" fmla="*/ 195 h 362"/>
                  <a:gd name="T12" fmla="*/ 39 w 258"/>
                  <a:gd name="T13" fmla="*/ 157 h 362"/>
                  <a:gd name="T14" fmla="*/ 121 w 258"/>
                  <a:gd name="T15" fmla="*/ 0 h 3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8" h="362">
                    <a:moveTo>
                      <a:pt x="121" y="0"/>
                    </a:moveTo>
                    <a:cubicBezTo>
                      <a:pt x="123" y="1"/>
                      <a:pt x="124" y="2"/>
                      <a:pt x="124" y="2"/>
                    </a:cubicBezTo>
                    <a:cubicBezTo>
                      <a:pt x="138" y="64"/>
                      <a:pt x="173" y="113"/>
                      <a:pt x="210" y="162"/>
                    </a:cubicBezTo>
                    <a:cubicBezTo>
                      <a:pt x="258" y="225"/>
                      <a:pt x="238" y="308"/>
                      <a:pt x="171" y="343"/>
                    </a:cubicBezTo>
                    <a:cubicBezTo>
                      <a:pt x="132" y="362"/>
                      <a:pt x="84" y="355"/>
                      <a:pt x="51" y="326"/>
                    </a:cubicBezTo>
                    <a:cubicBezTo>
                      <a:pt x="14" y="292"/>
                      <a:pt x="0" y="240"/>
                      <a:pt x="17" y="195"/>
                    </a:cubicBezTo>
                    <a:cubicBezTo>
                      <a:pt x="23" y="182"/>
                      <a:pt x="29" y="168"/>
                      <a:pt x="39" y="157"/>
                    </a:cubicBezTo>
                    <a:cubicBezTo>
                      <a:pt x="78" y="111"/>
                      <a:pt x="111" y="62"/>
                      <a:pt x="121" y="0"/>
                    </a:cubicBezTo>
                    <a:close/>
                  </a:path>
                </a:pathLst>
              </a:custGeom>
              <a:grpFill/>
              <a:ln>
                <a:noFill/>
              </a:ln>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58" name="Freeform 6"/>
              <p:cNvSpPr>
                <a:spLocks/>
              </p:cNvSpPr>
              <p:nvPr/>
            </p:nvSpPr>
            <p:spPr bwMode="auto">
              <a:xfrm flipH="1">
                <a:off x="2265013" y="4153436"/>
                <a:ext cx="69280" cy="104424"/>
              </a:xfrm>
              <a:custGeom>
                <a:avLst/>
                <a:gdLst>
                  <a:gd name="T0" fmla="*/ 121 w 258"/>
                  <a:gd name="T1" fmla="*/ 0 h 362"/>
                  <a:gd name="T2" fmla="*/ 124 w 258"/>
                  <a:gd name="T3" fmla="*/ 2 h 362"/>
                  <a:gd name="T4" fmla="*/ 210 w 258"/>
                  <a:gd name="T5" fmla="*/ 162 h 362"/>
                  <a:gd name="T6" fmla="*/ 171 w 258"/>
                  <a:gd name="T7" fmla="*/ 343 h 362"/>
                  <a:gd name="T8" fmla="*/ 51 w 258"/>
                  <a:gd name="T9" fmla="*/ 326 h 362"/>
                  <a:gd name="T10" fmla="*/ 17 w 258"/>
                  <a:gd name="T11" fmla="*/ 195 h 362"/>
                  <a:gd name="T12" fmla="*/ 39 w 258"/>
                  <a:gd name="T13" fmla="*/ 157 h 362"/>
                  <a:gd name="T14" fmla="*/ 121 w 258"/>
                  <a:gd name="T15" fmla="*/ 0 h 3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8" h="362">
                    <a:moveTo>
                      <a:pt x="121" y="0"/>
                    </a:moveTo>
                    <a:cubicBezTo>
                      <a:pt x="123" y="1"/>
                      <a:pt x="124" y="2"/>
                      <a:pt x="124" y="2"/>
                    </a:cubicBezTo>
                    <a:cubicBezTo>
                      <a:pt x="138" y="64"/>
                      <a:pt x="173" y="113"/>
                      <a:pt x="210" y="162"/>
                    </a:cubicBezTo>
                    <a:cubicBezTo>
                      <a:pt x="258" y="225"/>
                      <a:pt x="238" y="308"/>
                      <a:pt x="171" y="343"/>
                    </a:cubicBezTo>
                    <a:cubicBezTo>
                      <a:pt x="132" y="362"/>
                      <a:pt x="84" y="355"/>
                      <a:pt x="51" y="326"/>
                    </a:cubicBezTo>
                    <a:cubicBezTo>
                      <a:pt x="14" y="292"/>
                      <a:pt x="0" y="240"/>
                      <a:pt x="17" y="195"/>
                    </a:cubicBezTo>
                    <a:cubicBezTo>
                      <a:pt x="23" y="182"/>
                      <a:pt x="29" y="168"/>
                      <a:pt x="39" y="157"/>
                    </a:cubicBezTo>
                    <a:cubicBezTo>
                      <a:pt x="78" y="111"/>
                      <a:pt x="111" y="62"/>
                      <a:pt x="121" y="0"/>
                    </a:cubicBezTo>
                    <a:close/>
                  </a:path>
                </a:pathLst>
              </a:custGeom>
              <a:grpFill/>
              <a:ln>
                <a:noFill/>
              </a:ln>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59" name="Freeform 6"/>
              <p:cNvSpPr>
                <a:spLocks/>
              </p:cNvSpPr>
              <p:nvPr/>
            </p:nvSpPr>
            <p:spPr bwMode="auto">
              <a:xfrm flipH="1">
                <a:off x="2309383" y="4338626"/>
                <a:ext cx="69280" cy="104424"/>
              </a:xfrm>
              <a:custGeom>
                <a:avLst/>
                <a:gdLst>
                  <a:gd name="T0" fmla="*/ 121 w 258"/>
                  <a:gd name="T1" fmla="*/ 0 h 362"/>
                  <a:gd name="T2" fmla="*/ 124 w 258"/>
                  <a:gd name="T3" fmla="*/ 2 h 362"/>
                  <a:gd name="T4" fmla="*/ 210 w 258"/>
                  <a:gd name="T5" fmla="*/ 162 h 362"/>
                  <a:gd name="T6" fmla="*/ 171 w 258"/>
                  <a:gd name="T7" fmla="*/ 343 h 362"/>
                  <a:gd name="T8" fmla="*/ 51 w 258"/>
                  <a:gd name="T9" fmla="*/ 326 h 362"/>
                  <a:gd name="T10" fmla="*/ 17 w 258"/>
                  <a:gd name="T11" fmla="*/ 195 h 362"/>
                  <a:gd name="T12" fmla="*/ 39 w 258"/>
                  <a:gd name="T13" fmla="*/ 157 h 362"/>
                  <a:gd name="T14" fmla="*/ 121 w 258"/>
                  <a:gd name="T15" fmla="*/ 0 h 3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8" h="362">
                    <a:moveTo>
                      <a:pt x="121" y="0"/>
                    </a:moveTo>
                    <a:cubicBezTo>
                      <a:pt x="123" y="1"/>
                      <a:pt x="124" y="2"/>
                      <a:pt x="124" y="2"/>
                    </a:cubicBezTo>
                    <a:cubicBezTo>
                      <a:pt x="138" y="64"/>
                      <a:pt x="173" y="113"/>
                      <a:pt x="210" y="162"/>
                    </a:cubicBezTo>
                    <a:cubicBezTo>
                      <a:pt x="258" y="225"/>
                      <a:pt x="238" y="308"/>
                      <a:pt x="171" y="343"/>
                    </a:cubicBezTo>
                    <a:cubicBezTo>
                      <a:pt x="132" y="362"/>
                      <a:pt x="84" y="355"/>
                      <a:pt x="51" y="326"/>
                    </a:cubicBezTo>
                    <a:cubicBezTo>
                      <a:pt x="14" y="292"/>
                      <a:pt x="0" y="240"/>
                      <a:pt x="17" y="195"/>
                    </a:cubicBezTo>
                    <a:cubicBezTo>
                      <a:pt x="23" y="182"/>
                      <a:pt x="29" y="168"/>
                      <a:pt x="39" y="157"/>
                    </a:cubicBezTo>
                    <a:cubicBezTo>
                      <a:pt x="78" y="111"/>
                      <a:pt x="111" y="62"/>
                      <a:pt x="121" y="0"/>
                    </a:cubicBezTo>
                    <a:close/>
                  </a:path>
                </a:pathLst>
              </a:custGeom>
              <a:grpFill/>
              <a:ln>
                <a:noFill/>
              </a:ln>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60" name="Freeform 6"/>
              <p:cNvSpPr>
                <a:spLocks/>
              </p:cNvSpPr>
              <p:nvPr/>
            </p:nvSpPr>
            <p:spPr bwMode="auto">
              <a:xfrm flipH="1">
                <a:off x="2126453" y="4386257"/>
                <a:ext cx="69280" cy="104424"/>
              </a:xfrm>
              <a:custGeom>
                <a:avLst/>
                <a:gdLst>
                  <a:gd name="T0" fmla="*/ 121 w 258"/>
                  <a:gd name="T1" fmla="*/ 0 h 362"/>
                  <a:gd name="T2" fmla="*/ 124 w 258"/>
                  <a:gd name="T3" fmla="*/ 2 h 362"/>
                  <a:gd name="T4" fmla="*/ 210 w 258"/>
                  <a:gd name="T5" fmla="*/ 162 h 362"/>
                  <a:gd name="T6" fmla="*/ 171 w 258"/>
                  <a:gd name="T7" fmla="*/ 343 h 362"/>
                  <a:gd name="T8" fmla="*/ 51 w 258"/>
                  <a:gd name="T9" fmla="*/ 326 h 362"/>
                  <a:gd name="T10" fmla="*/ 17 w 258"/>
                  <a:gd name="T11" fmla="*/ 195 h 362"/>
                  <a:gd name="T12" fmla="*/ 39 w 258"/>
                  <a:gd name="T13" fmla="*/ 157 h 362"/>
                  <a:gd name="T14" fmla="*/ 121 w 258"/>
                  <a:gd name="T15" fmla="*/ 0 h 3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8" h="362">
                    <a:moveTo>
                      <a:pt x="121" y="0"/>
                    </a:moveTo>
                    <a:cubicBezTo>
                      <a:pt x="123" y="1"/>
                      <a:pt x="124" y="2"/>
                      <a:pt x="124" y="2"/>
                    </a:cubicBezTo>
                    <a:cubicBezTo>
                      <a:pt x="138" y="64"/>
                      <a:pt x="173" y="113"/>
                      <a:pt x="210" y="162"/>
                    </a:cubicBezTo>
                    <a:cubicBezTo>
                      <a:pt x="258" y="225"/>
                      <a:pt x="238" y="308"/>
                      <a:pt x="171" y="343"/>
                    </a:cubicBezTo>
                    <a:cubicBezTo>
                      <a:pt x="132" y="362"/>
                      <a:pt x="84" y="355"/>
                      <a:pt x="51" y="326"/>
                    </a:cubicBezTo>
                    <a:cubicBezTo>
                      <a:pt x="14" y="292"/>
                      <a:pt x="0" y="240"/>
                      <a:pt x="17" y="195"/>
                    </a:cubicBezTo>
                    <a:cubicBezTo>
                      <a:pt x="23" y="182"/>
                      <a:pt x="29" y="168"/>
                      <a:pt x="39" y="157"/>
                    </a:cubicBezTo>
                    <a:cubicBezTo>
                      <a:pt x="78" y="111"/>
                      <a:pt x="111" y="62"/>
                      <a:pt x="121" y="0"/>
                    </a:cubicBezTo>
                    <a:close/>
                  </a:path>
                </a:pathLst>
              </a:custGeom>
              <a:grpFill/>
              <a:ln>
                <a:noFill/>
              </a:ln>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61" name="Freeform 6"/>
              <p:cNvSpPr>
                <a:spLocks/>
              </p:cNvSpPr>
              <p:nvPr/>
            </p:nvSpPr>
            <p:spPr bwMode="auto">
              <a:xfrm flipH="1">
                <a:off x="2213470" y="4390838"/>
                <a:ext cx="69280" cy="104424"/>
              </a:xfrm>
              <a:custGeom>
                <a:avLst/>
                <a:gdLst>
                  <a:gd name="T0" fmla="*/ 121 w 258"/>
                  <a:gd name="T1" fmla="*/ 0 h 362"/>
                  <a:gd name="T2" fmla="*/ 124 w 258"/>
                  <a:gd name="T3" fmla="*/ 2 h 362"/>
                  <a:gd name="T4" fmla="*/ 210 w 258"/>
                  <a:gd name="T5" fmla="*/ 162 h 362"/>
                  <a:gd name="T6" fmla="*/ 171 w 258"/>
                  <a:gd name="T7" fmla="*/ 343 h 362"/>
                  <a:gd name="T8" fmla="*/ 51 w 258"/>
                  <a:gd name="T9" fmla="*/ 326 h 362"/>
                  <a:gd name="T10" fmla="*/ 17 w 258"/>
                  <a:gd name="T11" fmla="*/ 195 h 362"/>
                  <a:gd name="T12" fmla="*/ 39 w 258"/>
                  <a:gd name="T13" fmla="*/ 157 h 362"/>
                  <a:gd name="T14" fmla="*/ 121 w 258"/>
                  <a:gd name="T15" fmla="*/ 0 h 3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8" h="362">
                    <a:moveTo>
                      <a:pt x="121" y="0"/>
                    </a:moveTo>
                    <a:cubicBezTo>
                      <a:pt x="123" y="1"/>
                      <a:pt x="124" y="2"/>
                      <a:pt x="124" y="2"/>
                    </a:cubicBezTo>
                    <a:cubicBezTo>
                      <a:pt x="138" y="64"/>
                      <a:pt x="173" y="113"/>
                      <a:pt x="210" y="162"/>
                    </a:cubicBezTo>
                    <a:cubicBezTo>
                      <a:pt x="258" y="225"/>
                      <a:pt x="238" y="308"/>
                      <a:pt x="171" y="343"/>
                    </a:cubicBezTo>
                    <a:cubicBezTo>
                      <a:pt x="132" y="362"/>
                      <a:pt x="84" y="355"/>
                      <a:pt x="51" y="326"/>
                    </a:cubicBezTo>
                    <a:cubicBezTo>
                      <a:pt x="14" y="292"/>
                      <a:pt x="0" y="240"/>
                      <a:pt x="17" y="195"/>
                    </a:cubicBezTo>
                    <a:cubicBezTo>
                      <a:pt x="23" y="182"/>
                      <a:pt x="29" y="168"/>
                      <a:pt x="39" y="157"/>
                    </a:cubicBezTo>
                    <a:cubicBezTo>
                      <a:pt x="78" y="111"/>
                      <a:pt x="111" y="62"/>
                      <a:pt x="121" y="0"/>
                    </a:cubicBezTo>
                    <a:close/>
                  </a:path>
                </a:pathLst>
              </a:custGeom>
              <a:grpFill/>
              <a:ln>
                <a:noFill/>
              </a:ln>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grpSp>
      </p:grpSp>
    </p:spTree>
    <p:extLst>
      <p:ext uri="{BB962C8B-B14F-4D97-AF65-F5344CB8AC3E}">
        <p14:creationId xmlns:p14="http://schemas.microsoft.com/office/powerpoint/2010/main" val="770587257"/>
      </p:ext>
    </p:extLst>
  </p:cSld>
  <p:clrMapOvr>
    <a:masterClrMapping/>
  </p:clrMapOvr>
  <p:transition spd="med">
    <p:fad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p:cNvSpPr txBox="1"/>
          <p:nvPr/>
        </p:nvSpPr>
        <p:spPr>
          <a:xfrm>
            <a:off x="443335" y="1117304"/>
            <a:ext cx="5087169" cy="1546068"/>
          </a:xfrm>
          <a:prstGeom prst="rect">
            <a:avLst/>
          </a:prstGeom>
          <a:solidFill>
            <a:schemeClr val="bg1"/>
          </a:solidFill>
        </p:spPr>
        <p:txBody>
          <a:bodyPr wrap="square" lIns="0" tIns="0" rIns="0" bIns="0" rtlCol="0">
            <a:noAutofit/>
          </a:bodyPr>
          <a:lstStyle/>
          <a:p>
            <a:pPr>
              <a:lnSpc>
                <a:spcPct val="90000"/>
              </a:lnSpc>
              <a:spcAft>
                <a:spcPts val="600"/>
              </a:spcAft>
            </a:pPr>
            <a:r>
              <a:rPr lang="en-US" dirty="0">
                <a:ln>
                  <a:solidFill>
                    <a:srgbClr val="FFFFFF">
                      <a:alpha val="0"/>
                    </a:srgbClr>
                  </a:solidFill>
                </a:ln>
                <a:gradFill>
                  <a:gsLst>
                    <a:gs pos="85321">
                      <a:srgbClr val="505050"/>
                    </a:gs>
                    <a:gs pos="57000">
                      <a:srgbClr val="505050"/>
                    </a:gs>
                  </a:gsLst>
                </a:gradFill>
                <a:latin typeface="Segoe UI Semibold" panose="020B0702040204020203" pitchFamily="34" charset="0"/>
                <a:ea typeface="Segoe UI" pitchFamily="34" charset="0"/>
                <a:cs typeface="Segoe UI Semibold" panose="020B0702040204020203" pitchFamily="34" charset="0"/>
              </a:rPr>
              <a:t>Nimbus</a:t>
            </a:r>
          </a:p>
          <a:p>
            <a:pPr defTabSz="914367">
              <a:lnSpc>
                <a:spcPct val="90000"/>
              </a:lnSpc>
              <a:spcAft>
                <a:spcPts val="600"/>
              </a:spcAft>
              <a:buClr>
                <a:schemeClr val="accent3"/>
              </a:buClr>
              <a:buSzPct val="75000"/>
              <a:defRPr/>
            </a:pPr>
            <a:r>
              <a:rPr lang="en-US" dirty="0">
                <a:ln>
                  <a:solidFill>
                    <a:srgbClr val="FFFFFF">
                      <a:alpha val="0"/>
                    </a:srgbClr>
                  </a:solidFill>
                </a:ln>
                <a:gradFill>
                  <a:gsLst>
                    <a:gs pos="85321">
                      <a:srgbClr val="505050"/>
                    </a:gs>
                    <a:gs pos="57000">
                      <a:srgbClr val="505050"/>
                    </a:gs>
                  </a:gsLst>
                </a:gradFill>
                <a:ea typeface="Segoe UI" pitchFamily="34" charset="0"/>
                <a:cs typeface="Segoe UI" pitchFamily="34" charset="0"/>
              </a:rPr>
              <a:t>Similar to Hadoop JobTracker. Responsible for:</a:t>
            </a:r>
          </a:p>
          <a:p>
            <a:pPr marL="285750" lvl="1" indent="-285750" defTabSz="914367">
              <a:lnSpc>
                <a:spcPct val="90000"/>
              </a:lnSpc>
              <a:spcAft>
                <a:spcPts val="600"/>
              </a:spcAft>
              <a:buClr>
                <a:schemeClr val="accent3"/>
              </a:buClr>
              <a:buSzPct val="75000"/>
              <a:buFont typeface="Arial" panose="020B0604020202020204" pitchFamily="34" charset="0"/>
              <a:buChar char="•"/>
              <a:defRPr/>
            </a:pPr>
            <a:r>
              <a:rPr lang="en-US" dirty="0">
                <a:ln>
                  <a:solidFill>
                    <a:srgbClr val="FFFFFF">
                      <a:alpha val="0"/>
                    </a:srgbClr>
                  </a:solidFill>
                </a:ln>
                <a:gradFill>
                  <a:gsLst>
                    <a:gs pos="85321">
                      <a:srgbClr val="505050"/>
                    </a:gs>
                    <a:gs pos="57000">
                      <a:srgbClr val="505050"/>
                    </a:gs>
                  </a:gsLst>
                </a:gradFill>
                <a:ea typeface="Segoe UI" pitchFamily="34" charset="0"/>
                <a:cs typeface="Segoe UI" pitchFamily="34" charset="0"/>
              </a:rPr>
              <a:t>distributing code around the cluster</a:t>
            </a:r>
          </a:p>
          <a:p>
            <a:pPr marL="285750" lvl="1" indent="-285750" defTabSz="914367">
              <a:lnSpc>
                <a:spcPct val="90000"/>
              </a:lnSpc>
              <a:spcAft>
                <a:spcPts val="600"/>
              </a:spcAft>
              <a:buClr>
                <a:schemeClr val="accent3"/>
              </a:buClr>
              <a:buSzPct val="75000"/>
              <a:buFont typeface="Arial" panose="020B0604020202020204" pitchFamily="34" charset="0"/>
              <a:buChar char="•"/>
              <a:defRPr/>
            </a:pPr>
            <a:r>
              <a:rPr lang="en-US" dirty="0">
                <a:ln>
                  <a:solidFill>
                    <a:srgbClr val="FFFFFF">
                      <a:alpha val="0"/>
                    </a:srgbClr>
                  </a:solidFill>
                </a:ln>
                <a:gradFill>
                  <a:gsLst>
                    <a:gs pos="85321">
                      <a:srgbClr val="505050"/>
                    </a:gs>
                    <a:gs pos="57000">
                      <a:srgbClr val="505050"/>
                    </a:gs>
                  </a:gsLst>
                </a:gradFill>
                <a:ea typeface="Segoe UI" pitchFamily="34" charset="0"/>
                <a:cs typeface="Segoe UI" pitchFamily="34" charset="0"/>
              </a:rPr>
              <a:t>assigning tasks to machines</a:t>
            </a:r>
          </a:p>
          <a:p>
            <a:pPr marL="285750" lvl="1" indent="-285750" defTabSz="914367">
              <a:lnSpc>
                <a:spcPct val="90000"/>
              </a:lnSpc>
              <a:spcAft>
                <a:spcPts val="600"/>
              </a:spcAft>
              <a:buClr>
                <a:schemeClr val="accent3"/>
              </a:buClr>
              <a:buSzPct val="75000"/>
              <a:buFont typeface="Arial" panose="020B0604020202020204" pitchFamily="34" charset="0"/>
              <a:buChar char="•"/>
              <a:defRPr/>
            </a:pPr>
            <a:r>
              <a:rPr lang="en-US" dirty="0">
                <a:ln>
                  <a:solidFill>
                    <a:srgbClr val="FFFFFF">
                      <a:alpha val="0"/>
                    </a:srgbClr>
                  </a:solidFill>
                </a:ln>
                <a:gradFill>
                  <a:gsLst>
                    <a:gs pos="85321">
                      <a:srgbClr val="505050"/>
                    </a:gs>
                    <a:gs pos="57000">
                      <a:srgbClr val="505050"/>
                    </a:gs>
                  </a:gsLst>
                </a:gradFill>
                <a:ea typeface="Segoe UI" pitchFamily="34" charset="0"/>
                <a:cs typeface="Segoe UI" pitchFamily="34" charset="0"/>
              </a:rPr>
              <a:t>monitoring for failures</a:t>
            </a:r>
          </a:p>
        </p:txBody>
      </p:sp>
      <p:sp>
        <p:nvSpPr>
          <p:cNvPr id="2" name="Title 1"/>
          <p:cNvSpPr>
            <a:spLocks noGrp="1"/>
          </p:cNvSpPr>
          <p:nvPr>
            <p:ph type="title"/>
          </p:nvPr>
        </p:nvSpPr>
        <p:spPr/>
        <p:txBody>
          <a:bodyPr/>
          <a:lstStyle/>
          <a:p>
            <a:r>
              <a:rPr lang="en-IN" dirty="0"/>
              <a:t>Storm Daemons</a:t>
            </a:r>
          </a:p>
        </p:txBody>
      </p:sp>
      <p:sp>
        <p:nvSpPr>
          <p:cNvPr id="4" name="Slide Number Placeholder 3"/>
          <p:cNvSpPr>
            <a:spLocks noGrp="1"/>
          </p:cNvSpPr>
          <p:nvPr>
            <p:ph type="sldNum" sz="quarter" idx="11"/>
          </p:nvPr>
        </p:nvSpPr>
        <p:spPr/>
        <p:txBody>
          <a:bodyPr/>
          <a:lstStyle/>
          <a:p>
            <a:pPr>
              <a:defRPr/>
            </a:pPr>
            <a:fld id="{F8A0AC42-AA1D-4944-8D96-660DE70C7E1B}" type="slidenum">
              <a:rPr lang="en-IN"/>
              <a:pPr>
                <a:defRPr/>
              </a:pPr>
              <a:t>73</a:t>
            </a:fld>
            <a:endParaRPr lang="en-IN" dirty="0"/>
          </a:p>
        </p:txBody>
      </p:sp>
      <p:sp>
        <p:nvSpPr>
          <p:cNvPr id="7" name="TextBox 6"/>
          <p:cNvSpPr txBox="1"/>
          <p:nvPr/>
        </p:nvSpPr>
        <p:spPr>
          <a:xfrm>
            <a:off x="10719646" y="5603897"/>
            <a:ext cx="241" cy="869997"/>
          </a:xfrm>
          <a:prstGeom prst="rect">
            <a:avLst/>
          </a:prstGeom>
          <a:noFill/>
        </p:spPr>
        <p:txBody>
          <a:bodyPr wrap="none" lIns="0" tIns="0" rIns="0" bIns="0" rtlCol="0">
            <a:spAutoFit/>
          </a:bodyPr>
          <a:lstStyle/>
          <a:p>
            <a:pPr algn="ctr" defTabSz="914367">
              <a:lnSpc>
                <a:spcPct val="90000"/>
              </a:lnSpc>
              <a:spcAft>
                <a:spcPts val="588"/>
              </a:spcAft>
            </a:pPr>
            <a:endParaRPr lang="en-US" sz="1961" dirty="0">
              <a:solidFill>
                <a:srgbClr val="505050"/>
              </a:solidFill>
              <a:latin typeface="Segoe UI Semibold" panose="020B0702040204020203" pitchFamily="34" charset="0"/>
              <a:cs typeface="Segoe UI Semibold" panose="020B0702040204020203" pitchFamily="34" charset="0"/>
            </a:endParaRPr>
          </a:p>
        </p:txBody>
      </p:sp>
      <p:sp>
        <p:nvSpPr>
          <p:cNvPr id="234" name="Oval 233"/>
          <p:cNvSpPr/>
          <p:nvPr/>
        </p:nvSpPr>
        <p:spPr bwMode="auto">
          <a:xfrm>
            <a:off x="10243682" y="1473846"/>
            <a:ext cx="931340" cy="1013097"/>
          </a:xfrm>
          <a:prstGeom prst="ellipse">
            <a:avLst/>
          </a:prstGeom>
          <a:solidFill>
            <a:schemeClr val="bg1">
              <a:lumMod val="95000"/>
            </a:schemeClr>
          </a:solidFill>
          <a:ln>
            <a:solidFill>
              <a:schemeClr val="bg1"/>
            </a:solidFill>
            <a:headEnd type="none" w="med" len="med"/>
            <a:tailEnd type="none" w="med" len="med"/>
          </a:ln>
          <a:effectLst>
            <a:outerShdw dist="25400" dir="8100000" algn="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dirty="0">
              <a:solidFill>
                <a:srgbClr val="FFFFFF"/>
              </a:solidFill>
              <a:latin typeface="Segoe UI Light"/>
              <a:ea typeface="Segoe UI" pitchFamily="34" charset="0"/>
              <a:cs typeface="Segoe UI" pitchFamily="34" charset="0"/>
            </a:endParaRPr>
          </a:p>
        </p:txBody>
      </p:sp>
      <p:sp>
        <p:nvSpPr>
          <p:cNvPr id="235" name="Oval 234"/>
          <p:cNvSpPr/>
          <p:nvPr/>
        </p:nvSpPr>
        <p:spPr bwMode="auto">
          <a:xfrm>
            <a:off x="10243682" y="2665888"/>
            <a:ext cx="931340" cy="1013097"/>
          </a:xfrm>
          <a:prstGeom prst="ellipse">
            <a:avLst/>
          </a:prstGeom>
          <a:solidFill>
            <a:schemeClr val="bg1">
              <a:lumMod val="95000"/>
            </a:schemeClr>
          </a:solidFill>
          <a:ln>
            <a:solidFill>
              <a:schemeClr val="bg1"/>
            </a:solidFill>
            <a:headEnd type="none" w="med" len="med"/>
            <a:tailEnd type="none" w="med" len="med"/>
          </a:ln>
          <a:effectLst>
            <a:outerShdw dist="25400" dir="8100000" algn="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dirty="0">
              <a:solidFill>
                <a:srgbClr val="FFFFFF"/>
              </a:solidFill>
              <a:latin typeface="Segoe UI Light"/>
              <a:ea typeface="Segoe UI" pitchFamily="34" charset="0"/>
              <a:cs typeface="Segoe UI" pitchFamily="34" charset="0"/>
            </a:endParaRPr>
          </a:p>
        </p:txBody>
      </p:sp>
      <p:sp>
        <p:nvSpPr>
          <p:cNvPr id="236" name="Oval 235"/>
          <p:cNvSpPr/>
          <p:nvPr/>
        </p:nvSpPr>
        <p:spPr bwMode="auto">
          <a:xfrm>
            <a:off x="10243682" y="3857929"/>
            <a:ext cx="931340" cy="1013097"/>
          </a:xfrm>
          <a:prstGeom prst="ellipse">
            <a:avLst/>
          </a:prstGeom>
          <a:solidFill>
            <a:schemeClr val="bg1">
              <a:lumMod val="95000"/>
            </a:schemeClr>
          </a:solidFill>
          <a:ln>
            <a:solidFill>
              <a:schemeClr val="bg1"/>
            </a:solidFill>
            <a:headEnd type="none" w="med" len="med"/>
            <a:tailEnd type="none" w="med" len="med"/>
          </a:ln>
          <a:effectLst>
            <a:outerShdw dist="25400" dir="8100000" algn="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dirty="0">
              <a:solidFill>
                <a:srgbClr val="FFFFFF"/>
              </a:solidFill>
              <a:latin typeface="Segoe UI Light"/>
              <a:ea typeface="Segoe UI" pitchFamily="34" charset="0"/>
              <a:cs typeface="Segoe UI" pitchFamily="34" charset="0"/>
            </a:endParaRPr>
          </a:p>
        </p:txBody>
      </p:sp>
      <p:sp>
        <p:nvSpPr>
          <p:cNvPr id="32" name="Freeform 31"/>
          <p:cNvSpPr>
            <a:spLocks/>
          </p:cNvSpPr>
          <p:nvPr/>
        </p:nvSpPr>
        <p:spPr bwMode="auto">
          <a:xfrm>
            <a:off x="10460777" y="1646589"/>
            <a:ext cx="497149" cy="667610"/>
          </a:xfrm>
          <a:custGeom>
            <a:avLst/>
            <a:gdLst>
              <a:gd name="connsiteX0" fmla="*/ 1771650 w 5226051"/>
              <a:gd name="connsiteY0" fmla="*/ 5702301 h 6451600"/>
              <a:gd name="connsiteX1" fmla="*/ 1762125 w 5226051"/>
              <a:gd name="connsiteY1" fmla="*/ 5711826 h 6451600"/>
              <a:gd name="connsiteX2" fmla="*/ 1755775 w 5226051"/>
              <a:gd name="connsiteY2" fmla="*/ 5721351 h 6451600"/>
              <a:gd name="connsiteX3" fmla="*/ 1749425 w 5226051"/>
              <a:gd name="connsiteY3" fmla="*/ 5734051 h 6451600"/>
              <a:gd name="connsiteX4" fmla="*/ 1746250 w 5226051"/>
              <a:gd name="connsiteY4" fmla="*/ 5749926 h 6451600"/>
              <a:gd name="connsiteX5" fmla="*/ 1743075 w 5226051"/>
              <a:gd name="connsiteY5" fmla="*/ 5784851 h 6451600"/>
              <a:gd name="connsiteX6" fmla="*/ 1746250 w 5226051"/>
              <a:gd name="connsiteY6" fmla="*/ 5822951 h 6451600"/>
              <a:gd name="connsiteX7" fmla="*/ 1749425 w 5226051"/>
              <a:gd name="connsiteY7" fmla="*/ 5861051 h 6451600"/>
              <a:gd name="connsiteX8" fmla="*/ 1749425 w 5226051"/>
              <a:gd name="connsiteY8" fmla="*/ 5899151 h 6451600"/>
              <a:gd name="connsiteX9" fmla="*/ 1746250 w 5226051"/>
              <a:gd name="connsiteY9" fmla="*/ 5930901 h 6451600"/>
              <a:gd name="connsiteX10" fmla="*/ 1739900 w 5226051"/>
              <a:gd name="connsiteY10" fmla="*/ 5946776 h 6451600"/>
              <a:gd name="connsiteX11" fmla="*/ 1733550 w 5226051"/>
              <a:gd name="connsiteY11" fmla="*/ 5956301 h 6451600"/>
              <a:gd name="connsiteX12" fmla="*/ 3486150 w 5226051"/>
              <a:gd name="connsiteY12" fmla="*/ 5956301 h 6451600"/>
              <a:gd name="connsiteX13" fmla="*/ 3486150 w 5226051"/>
              <a:gd name="connsiteY13" fmla="*/ 5715001 h 6451600"/>
              <a:gd name="connsiteX14" fmla="*/ 3279775 w 5226051"/>
              <a:gd name="connsiteY14" fmla="*/ 5708651 h 6451600"/>
              <a:gd name="connsiteX15" fmla="*/ 3067050 w 5226051"/>
              <a:gd name="connsiteY15" fmla="*/ 5702301 h 6451600"/>
              <a:gd name="connsiteX16" fmla="*/ 2854325 w 5226051"/>
              <a:gd name="connsiteY16" fmla="*/ 5702301 h 6451600"/>
              <a:gd name="connsiteX17" fmla="*/ 2638425 w 5226051"/>
              <a:gd name="connsiteY17" fmla="*/ 5702301 h 6451600"/>
              <a:gd name="connsiteX18" fmla="*/ 2203450 w 5226051"/>
              <a:gd name="connsiteY18" fmla="*/ 5705476 h 6451600"/>
              <a:gd name="connsiteX19" fmla="*/ 1987550 w 5226051"/>
              <a:gd name="connsiteY19" fmla="*/ 5705476 h 6451600"/>
              <a:gd name="connsiteX20" fmla="*/ 1746250 w 5226051"/>
              <a:gd name="connsiteY20" fmla="*/ 5219701 h 6451600"/>
              <a:gd name="connsiteX21" fmla="*/ 1746250 w 5226051"/>
              <a:gd name="connsiteY21" fmla="*/ 5264151 h 6451600"/>
              <a:gd name="connsiteX22" fmla="*/ 1746250 w 5226051"/>
              <a:gd name="connsiteY22" fmla="*/ 5327651 h 6451600"/>
              <a:gd name="connsiteX23" fmla="*/ 1746250 w 5226051"/>
              <a:gd name="connsiteY23" fmla="*/ 5397501 h 6451600"/>
              <a:gd name="connsiteX24" fmla="*/ 1746250 w 5226051"/>
              <a:gd name="connsiteY24" fmla="*/ 5461001 h 6451600"/>
              <a:gd name="connsiteX25" fmla="*/ 3473450 w 5226051"/>
              <a:gd name="connsiteY25" fmla="*/ 5461001 h 6451600"/>
              <a:gd name="connsiteX26" fmla="*/ 3482975 w 5226051"/>
              <a:gd name="connsiteY26" fmla="*/ 5438776 h 6451600"/>
              <a:gd name="connsiteX27" fmla="*/ 3486150 w 5226051"/>
              <a:gd name="connsiteY27" fmla="*/ 5410201 h 6451600"/>
              <a:gd name="connsiteX28" fmla="*/ 3489325 w 5226051"/>
              <a:gd name="connsiteY28" fmla="*/ 5381626 h 6451600"/>
              <a:gd name="connsiteX29" fmla="*/ 3489325 w 5226051"/>
              <a:gd name="connsiteY29" fmla="*/ 5349876 h 6451600"/>
              <a:gd name="connsiteX30" fmla="*/ 3486150 w 5226051"/>
              <a:gd name="connsiteY30" fmla="*/ 5283201 h 6451600"/>
              <a:gd name="connsiteX31" fmla="*/ 3486150 w 5226051"/>
              <a:gd name="connsiteY31" fmla="*/ 5251451 h 6451600"/>
              <a:gd name="connsiteX32" fmla="*/ 3486150 w 5226051"/>
              <a:gd name="connsiteY32" fmla="*/ 5219701 h 6451600"/>
              <a:gd name="connsiteX33" fmla="*/ 1758950 w 5226051"/>
              <a:gd name="connsiteY33" fmla="*/ 2120901 h 6451600"/>
              <a:gd name="connsiteX34" fmla="*/ 1749425 w 5226051"/>
              <a:gd name="connsiteY34" fmla="*/ 2143126 h 6451600"/>
              <a:gd name="connsiteX35" fmla="*/ 1746250 w 5226051"/>
              <a:gd name="connsiteY35" fmla="*/ 2171701 h 6451600"/>
              <a:gd name="connsiteX36" fmla="*/ 1746250 w 5226051"/>
              <a:gd name="connsiteY36" fmla="*/ 2203451 h 6451600"/>
              <a:gd name="connsiteX37" fmla="*/ 1746250 w 5226051"/>
              <a:gd name="connsiteY37" fmla="*/ 2235201 h 6451600"/>
              <a:gd name="connsiteX38" fmla="*/ 1749425 w 5226051"/>
              <a:gd name="connsiteY38" fmla="*/ 2301876 h 6451600"/>
              <a:gd name="connsiteX39" fmla="*/ 1749425 w 5226051"/>
              <a:gd name="connsiteY39" fmla="*/ 2333626 h 6451600"/>
              <a:gd name="connsiteX40" fmla="*/ 1746250 w 5226051"/>
              <a:gd name="connsiteY40" fmla="*/ 2362201 h 6451600"/>
              <a:gd name="connsiteX41" fmla="*/ 3486150 w 5226051"/>
              <a:gd name="connsiteY41" fmla="*/ 2362201 h 6451600"/>
              <a:gd name="connsiteX42" fmla="*/ 3486150 w 5226051"/>
              <a:gd name="connsiteY42" fmla="*/ 2120901 h 6451600"/>
              <a:gd name="connsiteX43" fmla="*/ 3321050 w 5226051"/>
              <a:gd name="connsiteY43" fmla="*/ 1352550 h 6451600"/>
              <a:gd name="connsiteX44" fmla="*/ 3397250 w 5226051"/>
              <a:gd name="connsiteY44" fmla="*/ 1355725 h 6451600"/>
              <a:gd name="connsiteX45" fmla="*/ 3473450 w 5226051"/>
              <a:gd name="connsiteY45" fmla="*/ 1358900 h 6451600"/>
              <a:gd name="connsiteX46" fmla="*/ 3543300 w 5226051"/>
              <a:gd name="connsiteY46" fmla="*/ 1365250 h 6451600"/>
              <a:gd name="connsiteX47" fmla="*/ 3606800 w 5226051"/>
              <a:gd name="connsiteY47" fmla="*/ 1371600 h 6451600"/>
              <a:gd name="connsiteX48" fmla="*/ 3667125 w 5226051"/>
              <a:gd name="connsiteY48" fmla="*/ 1384300 h 6451600"/>
              <a:gd name="connsiteX49" fmla="*/ 3717925 w 5226051"/>
              <a:gd name="connsiteY49" fmla="*/ 1403350 h 6451600"/>
              <a:gd name="connsiteX50" fmla="*/ 3740150 w 5226051"/>
              <a:gd name="connsiteY50" fmla="*/ 1412875 h 6451600"/>
              <a:gd name="connsiteX51" fmla="*/ 3759200 w 5226051"/>
              <a:gd name="connsiteY51" fmla="*/ 1422400 h 6451600"/>
              <a:gd name="connsiteX52" fmla="*/ 3778250 w 5226051"/>
              <a:gd name="connsiteY52" fmla="*/ 1435100 h 6451600"/>
              <a:gd name="connsiteX53" fmla="*/ 3790950 w 5226051"/>
              <a:gd name="connsiteY53" fmla="*/ 1447800 h 6451600"/>
              <a:gd name="connsiteX54" fmla="*/ 3806825 w 5226051"/>
              <a:gd name="connsiteY54" fmla="*/ 1466850 h 6451600"/>
              <a:gd name="connsiteX55" fmla="*/ 3816350 w 5226051"/>
              <a:gd name="connsiteY55" fmla="*/ 1485900 h 6451600"/>
              <a:gd name="connsiteX56" fmla="*/ 3829050 w 5226051"/>
              <a:gd name="connsiteY56" fmla="*/ 1511300 h 6451600"/>
              <a:gd name="connsiteX57" fmla="*/ 3835400 w 5226051"/>
              <a:gd name="connsiteY57" fmla="*/ 1539875 h 6451600"/>
              <a:gd name="connsiteX58" fmla="*/ 3841750 w 5226051"/>
              <a:gd name="connsiteY58" fmla="*/ 1571625 h 6451600"/>
              <a:gd name="connsiteX59" fmla="*/ 3848100 w 5226051"/>
              <a:gd name="connsiteY59" fmla="*/ 1606550 h 6451600"/>
              <a:gd name="connsiteX60" fmla="*/ 3854450 w 5226051"/>
              <a:gd name="connsiteY60" fmla="*/ 1682750 h 6451600"/>
              <a:gd name="connsiteX61" fmla="*/ 3857625 w 5226051"/>
              <a:gd name="connsiteY61" fmla="*/ 1762125 h 6451600"/>
              <a:gd name="connsiteX62" fmla="*/ 3857625 w 5226051"/>
              <a:gd name="connsiteY62" fmla="*/ 1847850 h 6451600"/>
              <a:gd name="connsiteX63" fmla="*/ 3854450 w 5226051"/>
              <a:gd name="connsiteY63" fmla="*/ 2019300 h 6451600"/>
              <a:gd name="connsiteX64" fmla="*/ 3854450 w 5226051"/>
              <a:gd name="connsiteY64" fmla="*/ 6451600 h 6451600"/>
              <a:gd name="connsiteX65" fmla="*/ 1365250 w 5226051"/>
              <a:gd name="connsiteY65" fmla="*/ 6451600 h 6451600"/>
              <a:gd name="connsiteX66" fmla="*/ 1365250 w 5226051"/>
              <a:gd name="connsiteY66" fmla="*/ 2133600 h 6451600"/>
              <a:gd name="connsiteX67" fmla="*/ 1362075 w 5226051"/>
              <a:gd name="connsiteY67" fmla="*/ 1997075 h 6451600"/>
              <a:gd name="connsiteX68" fmla="*/ 1358900 w 5226051"/>
              <a:gd name="connsiteY68" fmla="*/ 1866900 h 6451600"/>
              <a:gd name="connsiteX69" fmla="*/ 1358900 w 5226051"/>
              <a:gd name="connsiteY69" fmla="*/ 1746250 h 6451600"/>
              <a:gd name="connsiteX70" fmla="*/ 1362075 w 5226051"/>
              <a:gd name="connsiteY70" fmla="*/ 1689100 h 6451600"/>
              <a:gd name="connsiteX71" fmla="*/ 1368425 w 5226051"/>
              <a:gd name="connsiteY71" fmla="*/ 1635125 h 6451600"/>
              <a:gd name="connsiteX72" fmla="*/ 1377950 w 5226051"/>
              <a:gd name="connsiteY72" fmla="*/ 1584325 h 6451600"/>
              <a:gd name="connsiteX73" fmla="*/ 1390650 w 5226051"/>
              <a:gd name="connsiteY73" fmla="*/ 1536700 h 6451600"/>
              <a:gd name="connsiteX74" fmla="*/ 1409700 w 5226051"/>
              <a:gd name="connsiteY74" fmla="*/ 1495425 h 6451600"/>
              <a:gd name="connsiteX75" fmla="*/ 1419225 w 5226051"/>
              <a:gd name="connsiteY75" fmla="*/ 1479550 h 6451600"/>
              <a:gd name="connsiteX76" fmla="*/ 1431925 w 5226051"/>
              <a:gd name="connsiteY76" fmla="*/ 1460500 h 6451600"/>
              <a:gd name="connsiteX77" fmla="*/ 1447800 w 5226051"/>
              <a:gd name="connsiteY77" fmla="*/ 1444625 h 6451600"/>
              <a:gd name="connsiteX78" fmla="*/ 1463675 w 5226051"/>
              <a:gd name="connsiteY78" fmla="*/ 1428750 h 6451600"/>
              <a:gd name="connsiteX79" fmla="*/ 1479550 w 5226051"/>
              <a:gd name="connsiteY79" fmla="*/ 1416050 h 6451600"/>
              <a:gd name="connsiteX80" fmla="*/ 1498600 w 5226051"/>
              <a:gd name="connsiteY80" fmla="*/ 1403350 h 6451600"/>
              <a:gd name="connsiteX81" fmla="*/ 1520825 w 5226051"/>
              <a:gd name="connsiteY81" fmla="*/ 1393825 h 6451600"/>
              <a:gd name="connsiteX82" fmla="*/ 1543050 w 5226051"/>
              <a:gd name="connsiteY82" fmla="*/ 1384300 h 6451600"/>
              <a:gd name="connsiteX83" fmla="*/ 1568450 w 5226051"/>
              <a:gd name="connsiteY83" fmla="*/ 1377950 h 6451600"/>
              <a:gd name="connsiteX84" fmla="*/ 1593850 w 5226051"/>
              <a:gd name="connsiteY84" fmla="*/ 1371600 h 6451600"/>
              <a:gd name="connsiteX85" fmla="*/ 1660525 w 5226051"/>
              <a:gd name="connsiteY85" fmla="*/ 1362075 h 6451600"/>
              <a:gd name="connsiteX86" fmla="*/ 1730375 w 5226051"/>
              <a:gd name="connsiteY86" fmla="*/ 1358900 h 6451600"/>
              <a:gd name="connsiteX87" fmla="*/ 1800225 w 5226051"/>
              <a:gd name="connsiteY87" fmla="*/ 1358900 h 6451600"/>
              <a:gd name="connsiteX88" fmla="*/ 1873250 w 5226051"/>
              <a:gd name="connsiteY88" fmla="*/ 1362075 h 6451600"/>
              <a:gd name="connsiteX89" fmla="*/ 2022475 w 5226051"/>
              <a:gd name="connsiteY89" fmla="*/ 1368425 h 6451600"/>
              <a:gd name="connsiteX90" fmla="*/ 2095500 w 5226051"/>
              <a:gd name="connsiteY90" fmla="*/ 1371600 h 6451600"/>
              <a:gd name="connsiteX91" fmla="*/ 2165350 w 5226051"/>
              <a:gd name="connsiteY91" fmla="*/ 1371600 h 6451600"/>
              <a:gd name="connsiteX92" fmla="*/ 2736850 w 5226051"/>
              <a:gd name="connsiteY92" fmla="*/ 1371600 h 6451600"/>
              <a:gd name="connsiteX93" fmla="*/ 2860675 w 5226051"/>
              <a:gd name="connsiteY93" fmla="*/ 1368425 h 6451600"/>
              <a:gd name="connsiteX94" fmla="*/ 3006725 w 5226051"/>
              <a:gd name="connsiteY94" fmla="*/ 1362075 h 6451600"/>
              <a:gd name="connsiteX95" fmla="*/ 3162300 w 5226051"/>
              <a:gd name="connsiteY95" fmla="*/ 1355725 h 6451600"/>
              <a:gd name="connsiteX96" fmla="*/ 3117851 w 5226051"/>
              <a:gd name="connsiteY96" fmla="*/ 762001 h 6451600"/>
              <a:gd name="connsiteX97" fmla="*/ 3111501 w 5226051"/>
              <a:gd name="connsiteY97" fmla="*/ 784226 h 6451600"/>
              <a:gd name="connsiteX98" fmla="*/ 3105151 w 5226051"/>
              <a:gd name="connsiteY98" fmla="*/ 812801 h 6451600"/>
              <a:gd name="connsiteX99" fmla="*/ 3105151 w 5226051"/>
              <a:gd name="connsiteY99" fmla="*/ 841376 h 6451600"/>
              <a:gd name="connsiteX100" fmla="*/ 3105151 w 5226051"/>
              <a:gd name="connsiteY100" fmla="*/ 876301 h 6451600"/>
              <a:gd name="connsiteX101" fmla="*/ 3108326 w 5226051"/>
              <a:gd name="connsiteY101" fmla="*/ 939801 h 6451600"/>
              <a:gd name="connsiteX102" fmla="*/ 3108326 w 5226051"/>
              <a:gd name="connsiteY102" fmla="*/ 974726 h 6451600"/>
              <a:gd name="connsiteX103" fmla="*/ 3105151 w 5226051"/>
              <a:gd name="connsiteY103" fmla="*/ 1003301 h 6451600"/>
              <a:gd name="connsiteX104" fmla="*/ 4845051 w 5226051"/>
              <a:gd name="connsiteY104" fmla="*/ 1003301 h 6451600"/>
              <a:gd name="connsiteX105" fmla="*/ 4845051 w 5226051"/>
              <a:gd name="connsiteY105" fmla="*/ 762001 h 6451600"/>
              <a:gd name="connsiteX106" fmla="*/ 387350 w 5226051"/>
              <a:gd name="connsiteY106" fmla="*/ 762001 h 6451600"/>
              <a:gd name="connsiteX107" fmla="*/ 381000 w 5226051"/>
              <a:gd name="connsiteY107" fmla="*/ 784226 h 6451600"/>
              <a:gd name="connsiteX108" fmla="*/ 374650 w 5226051"/>
              <a:gd name="connsiteY108" fmla="*/ 815976 h 6451600"/>
              <a:gd name="connsiteX109" fmla="*/ 371475 w 5226051"/>
              <a:gd name="connsiteY109" fmla="*/ 847726 h 6451600"/>
              <a:gd name="connsiteX110" fmla="*/ 371475 w 5226051"/>
              <a:gd name="connsiteY110" fmla="*/ 882651 h 6451600"/>
              <a:gd name="connsiteX111" fmla="*/ 374650 w 5226051"/>
              <a:gd name="connsiteY111" fmla="*/ 917576 h 6451600"/>
              <a:gd name="connsiteX112" fmla="*/ 377825 w 5226051"/>
              <a:gd name="connsiteY112" fmla="*/ 949326 h 6451600"/>
              <a:gd name="connsiteX113" fmla="*/ 381000 w 5226051"/>
              <a:gd name="connsiteY113" fmla="*/ 981076 h 6451600"/>
              <a:gd name="connsiteX114" fmla="*/ 387350 w 5226051"/>
              <a:gd name="connsiteY114" fmla="*/ 1003301 h 6451600"/>
              <a:gd name="connsiteX115" fmla="*/ 2114550 w 5226051"/>
              <a:gd name="connsiteY115" fmla="*/ 1003301 h 6451600"/>
              <a:gd name="connsiteX116" fmla="*/ 2114550 w 5226051"/>
              <a:gd name="connsiteY116" fmla="*/ 762001 h 6451600"/>
              <a:gd name="connsiteX117" fmla="*/ 3073401 w 5226051"/>
              <a:gd name="connsiteY117" fmla="*/ 6350 h 6451600"/>
              <a:gd name="connsiteX118" fmla="*/ 3127376 w 5226051"/>
              <a:gd name="connsiteY118" fmla="*/ 6350 h 6451600"/>
              <a:gd name="connsiteX119" fmla="*/ 3248026 w 5226051"/>
              <a:gd name="connsiteY119" fmla="*/ 6350 h 6451600"/>
              <a:gd name="connsiteX120" fmla="*/ 3368676 w 5226051"/>
              <a:gd name="connsiteY120" fmla="*/ 9525 h 6451600"/>
              <a:gd name="connsiteX121" fmla="*/ 3486151 w 5226051"/>
              <a:gd name="connsiteY121" fmla="*/ 12700 h 6451600"/>
              <a:gd name="connsiteX122" fmla="*/ 4578351 w 5226051"/>
              <a:gd name="connsiteY122" fmla="*/ 12700 h 6451600"/>
              <a:gd name="connsiteX123" fmla="*/ 4679951 w 5226051"/>
              <a:gd name="connsiteY123" fmla="*/ 12700 h 6451600"/>
              <a:gd name="connsiteX124" fmla="*/ 4778376 w 5226051"/>
              <a:gd name="connsiteY124" fmla="*/ 9525 h 6451600"/>
              <a:gd name="connsiteX125" fmla="*/ 4873626 w 5226051"/>
              <a:gd name="connsiteY125" fmla="*/ 9525 h 6451600"/>
              <a:gd name="connsiteX126" fmla="*/ 4921251 w 5226051"/>
              <a:gd name="connsiteY126" fmla="*/ 12700 h 6451600"/>
              <a:gd name="connsiteX127" fmla="*/ 4965701 w 5226051"/>
              <a:gd name="connsiteY127" fmla="*/ 15875 h 6451600"/>
              <a:gd name="connsiteX128" fmla="*/ 5006976 w 5226051"/>
              <a:gd name="connsiteY128" fmla="*/ 22225 h 6451600"/>
              <a:gd name="connsiteX129" fmla="*/ 5045076 w 5226051"/>
              <a:gd name="connsiteY129" fmla="*/ 31750 h 6451600"/>
              <a:gd name="connsiteX130" fmla="*/ 5080001 w 5226051"/>
              <a:gd name="connsiteY130" fmla="*/ 41275 h 6451600"/>
              <a:gd name="connsiteX131" fmla="*/ 5111751 w 5226051"/>
              <a:gd name="connsiteY131" fmla="*/ 57150 h 6451600"/>
              <a:gd name="connsiteX132" fmla="*/ 5140326 w 5226051"/>
              <a:gd name="connsiteY132" fmla="*/ 79375 h 6451600"/>
              <a:gd name="connsiteX133" fmla="*/ 5165726 w 5226051"/>
              <a:gd name="connsiteY133" fmla="*/ 101600 h 6451600"/>
              <a:gd name="connsiteX134" fmla="*/ 5187951 w 5226051"/>
              <a:gd name="connsiteY134" fmla="*/ 130175 h 6451600"/>
              <a:gd name="connsiteX135" fmla="*/ 5200651 w 5226051"/>
              <a:gd name="connsiteY135" fmla="*/ 165100 h 6451600"/>
              <a:gd name="connsiteX136" fmla="*/ 5210176 w 5226051"/>
              <a:gd name="connsiteY136" fmla="*/ 190500 h 6451600"/>
              <a:gd name="connsiteX137" fmla="*/ 5216526 w 5226051"/>
              <a:gd name="connsiteY137" fmla="*/ 219075 h 6451600"/>
              <a:gd name="connsiteX138" fmla="*/ 5222876 w 5226051"/>
              <a:gd name="connsiteY138" fmla="*/ 285750 h 6451600"/>
              <a:gd name="connsiteX139" fmla="*/ 5226051 w 5226051"/>
              <a:gd name="connsiteY139" fmla="*/ 361950 h 6451600"/>
              <a:gd name="connsiteX140" fmla="*/ 5226051 w 5226051"/>
              <a:gd name="connsiteY140" fmla="*/ 444500 h 6451600"/>
              <a:gd name="connsiteX141" fmla="*/ 5219701 w 5226051"/>
              <a:gd name="connsiteY141" fmla="*/ 612775 h 6451600"/>
              <a:gd name="connsiteX142" fmla="*/ 5216526 w 5226051"/>
              <a:gd name="connsiteY142" fmla="*/ 695325 h 6451600"/>
              <a:gd name="connsiteX143" fmla="*/ 5213351 w 5226051"/>
              <a:gd name="connsiteY143" fmla="*/ 774700 h 6451600"/>
              <a:gd name="connsiteX144" fmla="*/ 5213351 w 5226051"/>
              <a:gd name="connsiteY144" fmla="*/ 5092700 h 6451600"/>
              <a:gd name="connsiteX145" fmla="*/ 5073651 w 5226051"/>
              <a:gd name="connsiteY145" fmla="*/ 5092700 h 6451600"/>
              <a:gd name="connsiteX146" fmla="*/ 4933951 w 5226051"/>
              <a:gd name="connsiteY146" fmla="*/ 5092700 h 6451600"/>
              <a:gd name="connsiteX147" fmla="*/ 4648201 w 5226051"/>
              <a:gd name="connsiteY147" fmla="*/ 5095875 h 6451600"/>
              <a:gd name="connsiteX148" fmla="*/ 4505326 w 5226051"/>
              <a:gd name="connsiteY148" fmla="*/ 5095875 h 6451600"/>
              <a:gd name="connsiteX149" fmla="*/ 4365626 w 5226051"/>
              <a:gd name="connsiteY149" fmla="*/ 5095875 h 6451600"/>
              <a:gd name="connsiteX150" fmla="*/ 4229101 w 5226051"/>
              <a:gd name="connsiteY150" fmla="*/ 5089525 h 6451600"/>
              <a:gd name="connsiteX151" fmla="*/ 4095751 w 5226051"/>
              <a:gd name="connsiteY151" fmla="*/ 5080000 h 6451600"/>
              <a:gd name="connsiteX152" fmla="*/ 4095751 w 5226051"/>
              <a:gd name="connsiteY152" fmla="*/ 4597400 h 6451600"/>
              <a:gd name="connsiteX153" fmla="*/ 4832351 w 5226051"/>
              <a:gd name="connsiteY153" fmla="*/ 4597400 h 6451600"/>
              <a:gd name="connsiteX154" fmla="*/ 4841876 w 5226051"/>
              <a:gd name="connsiteY154" fmla="*/ 4575175 h 6451600"/>
              <a:gd name="connsiteX155" fmla="*/ 4848226 w 5226051"/>
              <a:gd name="connsiteY155" fmla="*/ 4546600 h 6451600"/>
              <a:gd name="connsiteX156" fmla="*/ 4848226 w 5226051"/>
              <a:gd name="connsiteY156" fmla="*/ 4518025 h 6451600"/>
              <a:gd name="connsiteX157" fmla="*/ 4848226 w 5226051"/>
              <a:gd name="connsiteY157" fmla="*/ 4486275 h 6451600"/>
              <a:gd name="connsiteX158" fmla="*/ 4845051 w 5226051"/>
              <a:gd name="connsiteY158" fmla="*/ 4419600 h 6451600"/>
              <a:gd name="connsiteX159" fmla="*/ 4845051 w 5226051"/>
              <a:gd name="connsiteY159" fmla="*/ 4387850 h 6451600"/>
              <a:gd name="connsiteX160" fmla="*/ 4845051 w 5226051"/>
              <a:gd name="connsiteY160" fmla="*/ 4356100 h 6451600"/>
              <a:gd name="connsiteX161" fmla="*/ 4108451 w 5226051"/>
              <a:gd name="connsiteY161" fmla="*/ 4356100 h 6451600"/>
              <a:gd name="connsiteX162" fmla="*/ 4102101 w 5226051"/>
              <a:gd name="connsiteY162" fmla="*/ 4330700 h 6451600"/>
              <a:gd name="connsiteX163" fmla="*/ 4095751 w 5226051"/>
              <a:gd name="connsiteY163" fmla="*/ 4302125 h 6451600"/>
              <a:gd name="connsiteX164" fmla="*/ 4095751 w 5226051"/>
              <a:gd name="connsiteY164" fmla="*/ 4270375 h 6451600"/>
              <a:gd name="connsiteX165" fmla="*/ 4095751 w 5226051"/>
              <a:gd name="connsiteY165" fmla="*/ 4238625 h 6451600"/>
              <a:gd name="connsiteX166" fmla="*/ 4098926 w 5226051"/>
              <a:gd name="connsiteY166" fmla="*/ 4168775 h 6451600"/>
              <a:gd name="connsiteX167" fmla="*/ 4098926 w 5226051"/>
              <a:gd name="connsiteY167" fmla="*/ 4133850 h 6451600"/>
              <a:gd name="connsiteX168" fmla="*/ 4095751 w 5226051"/>
              <a:gd name="connsiteY168" fmla="*/ 4102100 h 6451600"/>
              <a:gd name="connsiteX169" fmla="*/ 4832351 w 5226051"/>
              <a:gd name="connsiteY169" fmla="*/ 4102100 h 6451600"/>
              <a:gd name="connsiteX170" fmla="*/ 4841876 w 5226051"/>
              <a:gd name="connsiteY170" fmla="*/ 4079875 h 6451600"/>
              <a:gd name="connsiteX171" fmla="*/ 4848226 w 5226051"/>
              <a:gd name="connsiteY171" fmla="*/ 4051300 h 6451600"/>
              <a:gd name="connsiteX172" fmla="*/ 4848226 w 5226051"/>
              <a:gd name="connsiteY172" fmla="*/ 4022725 h 6451600"/>
              <a:gd name="connsiteX173" fmla="*/ 4848226 w 5226051"/>
              <a:gd name="connsiteY173" fmla="*/ 3990975 h 6451600"/>
              <a:gd name="connsiteX174" fmla="*/ 4845051 w 5226051"/>
              <a:gd name="connsiteY174" fmla="*/ 3924300 h 6451600"/>
              <a:gd name="connsiteX175" fmla="*/ 4845051 w 5226051"/>
              <a:gd name="connsiteY175" fmla="*/ 3892550 h 6451600"/>
              <a:gd name="connsiteX176" fmla="*/ 4845051 w 5226051"/>
              <a:gd name="connsiteY176" fmla="*/ 3860800 h 6451600"/>
              <a:gd name="connsiteX177" fmla="*/ 4759326 w 5226051"/>
              <a:gd name="connsiteY177" fmla="*/ 3854450 h 6451600"/>
              <a:gd name="connsiteX178" fmla="*/ 4670426 w 5226051"/>
              <a:gd name="connsiteY178" fmla="*/ 3848100 h 6451600"/>
              <a:gd name="connsiteX179" fmla="*/ 4575176 w 5226051"/>
              <a:gd name="connsiteY179" fmla="*/ 3848100 h 6451600"/>
              <a:gd name="connsiteX180" fmla="*/ 4479926 w 5226051"/>
              <a:gd name="connsiteY180" fmla="*/ 3848100 h 6451600"/>
              <a:gd name="connsiteX181" fmla="*/ 4286251 w 5226051"/>
              <a:gd name="connsiteY181" fmla="*/ 3851275 h 6451600"/>
              <a:gd name="connsiteX182" fmla="*/ 4191001 w 5226051"/>
              <a:gd name="connsiteY182" fmla="*/ 3851275 h 6451600"/>
              <a:gd name="connsiteX183" fmla="*/ 4095751 w 5226051"/>
              <a:gd name="connsiteY183" fmla="*/ 3848100 h 6451600"/>
              <a:gd name="connsiteX184" fmla="*/ 4095751 w 5226051"/>
              <a:gd name="connsiteY184" fmla="*/ 2095500 h 6451600"/>
              <a:gd name="connsiteX185" fmla="*/ 4098926 w 5226051"/>
              <a:gd name="connsiteY185" fmla="*/ 2012950 h 6451600"/>
              <a:gd name="connsiteX186" fmla="*/ 4102101 w 5226051"/>
              <a:gd name="connsiteY186" fmla="*/ 1924050 h 6451600"/>
              <a:gd name="connsiteX187" fmla="*/ 4105276 w 5226051"/>
              <a:gd name="connsiteY187" fmla="*/ 1746250 h 6451600"/>
              <a:gd name="connsiteX188" fmla="*/ 4105276 w 5226051"/>
              <a:gd name="connsiteY188" fmla="*/ 1660525 h 6451600"/>
              <a:gd name="connsiteX189" fmla="*/ 4102101 w 5226051"/>
              <a:gd name="connsiteY189" fmla="*/ 1581150 h 6451600"/>
              <a:gd name="connsiteX190" fmla="*/ 4095751 w 5226051"/>
              <a:gd name="connsiteY190" fmla="*/ 1546225 h 6451600"/>
              <a:gd name="connsiteX191" fmla="*/ 4089401 w 5226051"/>
              <a:gd name="connsiteY191" fmla="*/ 1511300 h 6451600"/>
              <a:gd name="connsiteX192" fmla="*/ 4083051 w 5226051"/>
              <a:gd name="connsiteY192" fmla="*/ 1476375 h 6451600"/>
              <a:gd name="connsiteX193" fmla="*/ 4070351 w 5226051"/>
              <a:gd name="connsiteY193" fmla="*/ 1447800 h 6451600"/>
              <a:gd name="connsiteX194" fmla="*/ 4057651 w 5226051"/>
              <a:gd name="connsiteY194" fmla="*/ 1419225 h 6451600"/>
              <a:gd name="connsiteX195" fmla="*/ 4044951 w 5226051"/>
              <a:gd name="connsiteY195" fmla="*/ 1390650 h 6451600"/>
              <a:gd name="connsiteX196" fmla="*/ 4025901 w 5226051"/>
              <a:gd name="connsiteY196" fmla="*/ 1362075 h 6451600"/>
              <a:gd name="connsiteX197" fmla="*/ 4010026 w 5226051"/>
              <a:gd name="connsiteY197" fmla="*/ 1333500 h 6451600"/>
              <a:gd name="connsiteX198" fmla="*/ 3987801 w 5226051"/>
              <a:gd name="connsiteY198" fmla="*/ 1308100 h 6451600"/>
              <a:gd name="connsiteX199" fmla="*/ 3968751 w 5226051"/>
              <a:gd name="connsiteY199" fmla="*/ 1285875 h 6451600"/>
              <a:gd name="connsiteX200" fmla="*/ 3946526 w 5226051"/>
              <a:gd name="connsiteY200" fmla="*/ 1260475 h 6451600"/>
              <a:gd name="connsiteX201" fmla="*/ 3921126 w 5226051"/>
              <a:gd name="connsiteY201" fmla="*/ 1238250 h 6451600"/>
              <a:gd name="connsiteX202" fmla="*/ 3895726 w 5226051"/>
              <a:gd name="connsiteY202" fmla="*/ 1219200 h 6451600"/>
              <a:gd name="connsiteX203" fmla="*/ 3867151 w 5226051"/>
              <a:gd name="connsiteY203" fmla="*/ 1200150 h 6451600"/>
              <a:gd name="connsiteX204" fmla="*/ 3838576 w 5226051"/>
              <a:gd name="connsiteY204" fmla="*/ 1184275 h 6451600"/>
              <a:gd name="connsiteX205" fmla="*/ 3810001 w 5226051"/>
              <a:gd name="connsiteY205" fmla="*/ 1168400 h 6451600"/>
              <a:gd name="connsiteX206" fmla="*/ 3778251 w 5226051"/>
              <a:gd name="connsiteY206" fmla="*/ 1155700 h 6451600"/>
              <a:gd name="connsiteX207" fmla="*/ 3746501 w 5226051"/>
              <a:gd name="connsiteY207" fmla="*/ 1146175 h 6451600"/>
              <a:gd name="connsiteX208" fmla="*/ 3711576 w 5226051"/>
              <a:gd name="connsiteY208" fmla="*/ 1136650 h 6451600"/>
              <a:gd name="connsiteX209" fmla="*/ 3676651 w 5226051"/>
              <a:gd name="connsiteY209" fmla="*/ 1130300 h 6451600"/>
              <a:gd name="connsiteX210" fmla="*/ 3629026 w 5226051"/>
              <a:gd name="connsiteY210" fmla="*/ 1123950 h 6451600"/>
              <a:gd name="connsiteX211" fmla="*/ 3578226 w 5226051"/>
              <a:gd name="connsiteY211" fmla="*/ 1120775 h 6451600"/>
              <a:gd name="connsiteX212" fmla="*/ 3470276 w 5226051"/>
              <a:gd name="connsiteY212" fmla="*/ 1117600 h 6451600"/>
              <a:gd name="connsiteX213" fmla="*/ 3359151 w 5226051"/>
              <a:gd name="connsiteY213" fmla="*/ 1120775 h 6451600"/>
              <a:gd name="connsiteX214" fmla="*/ 3238501 w 5226051"/>
              <a:gd name="connsiteY214" fmla="*/ 1127125 h 6451600"/>
              <a:gd name="connsiteX215" fmla="*/ 3117851 w 5226051"/>
              <a:gd name="connsiteY215" fmla="*/ 1133475 h 6451600"/>
              <a:gd name="connsiteX216" fmla="*/ 2994026 w 5226051"/>
              <a:gd name="connsiteY216" fmla="*/ 1136650 h 6451600"/>
              <a:gd name="connsiteX217" fmla="*/ 2867026 w 5226051"/>
              <a:gd name="connsiteY217" fmla="*/ 1136650 h 6451600"/>
              <a:gd name="connsiteX218" fmla="*/ 2800351 w 5226051"/>
              <a:gd name="connsiteY218" fmla="*/ 1133475 h 6451600"/>
              <a:gd name="connsiteX219" fmla="*/ 2736851 w 5226051"/>
              <a:gd name="connsiteY219" fmla="*/ 1130300 h 6451600"/>
              <a:gd name="connsiteX220" fmla="*/ 2736851 w 5226051"/>
              <a:gd name="connsiteY220" fmla="*/ 190500 h 6451600"/>
              <a:gd name="connsiteX221" fmla="*/ 2743201 w 5226051"/>
              <a:gd name="connsiteY221" fmla="*/ 168275 h 6451600"/>
              <a:gd name="connsiteX222" fmla="*/ 2752726 w 5226051"/>
              <a:gd name="connsiteY222" fmla="*/ 149225 h 6451600"/>
              <a:gd name="connsiteX223" fmla="*/ 2762251 w 5226051"/>
              <a:gd name="connsiteY223" fmla="*/ 130175 h 6451600"/>
              <a:gd name="connsiteX224" fmla="*/ 2774951 w 5226051"/>
              <a:gd name="connsiteY224" fmla="*/ 114300 h 6451600"/>
              <a:gd name="connsiteX225" fmla="*/ 2787651 w 5226051"/>
              <a:gd name="connsiteY225" fmla="*/ 98425 h 6451600"/>
              <a:gd name="connsiteX226" fmla="*/ 2803526 w 5226051"/>
              <a:gd name="connsiteY226" fmla="*/ 85725 h 6451600"/>
              <a:gd name="connsiteX227" fmla="*/ 2838451 w 5226051"/>
              <a:gd name="connsiteY227" fmla="*/ 60325 h 6451600"/>
              <a:gd name="connsiteX228" fmla="*/ 2876551 w 5226051"/>
              <a:gd name="connsiteY228" fmla="*/ 41275 h 6451600"/>
              <a:gd name="connsiteX229" fmla="*/ 2921001 w 5226051"/>
              <a:gd name="connsiteY229" fmla="*/ 28575 h 6451600"/>
              <a:gd name="connsiteX230" fmla="*/ 2968626 w 5226051"/>
              <a:gd name="connsiteY230" fmla="*/ 19050 h 6451600"/>
              <a:gd name="connsiteX231" fmla="*/ 3019426 w 5226051"/>
              <a:gd name="connsiteY231" fmla="*/ 12700 h 6451600"/>
              <a:gd name="connsiteX232" fmla="*/ 387350 w 5226051"/>
              <a:gd name="connsiteY232" fmla="*/ 0 h 6451600"/>
              <a:gd name="connsiteX233" fmla="*/ 454025 w 5226051"/>
              <a:gd name="connsiteY233" fmla="*/ 3175 h 6451600"/>
              <a:gd name="connsiteX234" fmla="*/ 596900 w 5226051"/>
              <a:gd name="connsiteY234" fmla="*/ 9525 h 6451600"/>
              <a:gd name="connsiteX235" fmla="*/ 742950 w 5226051"/>
              <a:gd name="connsiteY235" fmla="*/ 12700 h 6451600"/>
              <a:gd name="connsiteX236" fmla="*/ 1809750 w 5226051"/>
              <a:gd name="connsiteY236" fmla="*/ 12700 h 6451600"/>
              <a:gd name="connsiteX237" fmla="*/ 2016125 w 5226051"/>
              <a:gd name="connsiteY237" fmla="*/ 9525 h 6451600"/>
              <a:gd name="connsiteX238" fmla="*/ 2117725 w 5226051"/>
              <a:gd name="connsiteY238" fmla="*/ 9525 h 6451600"/>
              <a:gd name="connsiteX239" fmla="*/ 2165350 w 5226051"/>
              <a:gd name="connsiteY239" fmla="*/ 12700 h 6451600"/>
              <a:gd name="connsiteX240" fmla="*/ 2212975 w 5226051"/>
              <a:gd name="connsiteY240" fmla="*/ 15875 h 6451600"/>
              <a:gd name="connsiteX241" fmla="*/ 2257425 w 5226051"/>
              <a:gd name="connsiteY241" fmla="*/ 22225 h 6451600"/>
              <a:gd name="connsiteX242" fmla="*/ 2301875 w 5226051"/>
              <a:gd name="connsiteY242" fmla="*/ 28575 h 6451600"/>
              <a:gd name="connsiteX243" fmla="*/ 2339975 w 5226051"/>
              <a:gd name="connsiteY243" fmla="*/ 41275 h 6451600"/>
              <a:gd name="connsiteX244" fmla="*/ 2374900 w 5226051"/>
              <a:gd name="connsiteY244" fmla="*/ 53975 h 6451600"/>
              <a:gd name="connsiteX245" fmla="*/ 2406650 w 5226051"/>
              <a:gd name="connsiteY245" fmla="*/ 73025 h 6451600"/>
              <a:gd name="connsiteX246" fmla="*/ 2432050 w 5226051"/>
              <a:gd name="connsiteY246" fmla="*/ 95250 h 6451600"/>
              <a:gd name="connsiteX247" fmla="*/ 2454275 w 5226051"/>
              <a:gd name="connsiteY247" fmla="*/ 120650 h 6451600"/>
              <a:gd name="connsiteX248" fmla="*/ 2470150 w 5226051"/>
              <a:gd name="connsiteY248" fmla="*/ 152400 h 6451600"/>
              <a:gd name="connsiteX249" fmla="*/ 2479675 w 5226051"/>
              <a:gd name="connsiteY249" fmla="*/ 177800 h 6451600"/>
              <a:gd name="connsiteX250" fmla="*/ 2486025 w 5226051"/>
              <a:gd name="connsiteY250" fmla="*/ 203200 h 6451600"/>
              <a:gd name="connsiteX251" fmla="*/ 2495550 w 5226051"/>
              <a:gd name="connsiteY251" fmla="*/ 263525 h 6451600"/>
              <a:gd name="connsiteX252" fmla="*/ 2498725 w 5226051"/>
              <a:gd name="connsiteY252" fmla="*/ 323850 h 6451600"/>
              <a:gd name="connsiteX253" fmla="*/ 2495550 w 5226051"/>
              <a:gd name="connsiteY253" fmla="*/ 390525 h 6451600"/>
              <a:gd name="connsiteX254" fmla="*/ 2489200 w 5226051"/>
              <a:gd name="connsiteY254" fmla="*/ 517525 h 6451600"/>
              <a:gd name="connsiteX255" fmla="*/ 2486025 w 5226051"/>
              <a:gd name="connsiteY255" fmla="*/ 581025 h 6451600"/>
              <a:gd name="connsiteX256" fmla="*/ 2482850 w 5226051"/>
              <a:gd name="connsiteY256" fmla="*/ 635000 h 6451600"/>
              <a:gd name="connsiteX257" fmla="*/ 2482850 w 5226051"/>
              <a:gd name="connsiteY257" fmla="*/ 1130300 h 6451600"/>
              <a:gd name="connsiteX258" fmla="*/ 2413000 w 5226051"/>
              <a:gd name="connsiteY258" fmla="*/ 1136650 h 6451600"/>
              <a:gd name="connsiteX259" fmla="*/ 2343150 w 5226051"/>
              <a:gd name="connsiteY259" fmla="*/ 1139825 h 6451600"/>
              <a:gd name="connsiteX260" fmla="*/ 2270125 w 5226051"/>
              <a:gd name="connsiteY260" fmla="*/ 1139825 h 6451600"/>
              <a:gd name="connsiteX261" fmla="*/ 2197100 w 5226051"/>
              <a:gd name="connsiteY261" fmla="*/ 1136650 h 6451600"/>
              <a:gd name="connsiteX262" fmla="*/ 2051050 w 5226051"/>
              <a:gd name="connsiteY262" fmla="*/ 1130300 h 6451600"/>
              <a:gd name="connsiteX263" fmla="*/ 1908175 w 5226051"/>
              <a:gd name="connsiteY263" fmla="*/ 1123950 h 6451600"/>
              <a:gd name="connsiteX264" fmla="*/ 1771650 w 5226051"/>
              <a:gd name="connsiteY264" fmla="*/ 1120775 h 6451600"/>
              <a:gd name="connsiteX265" fmla="*/ 1704975 w 5226051"/>
              <a:gd name="connsiteY265" fmla="*/ 1120775 h 6451600"/>
              <a:gd name="connsiteX266" fmla="*/ 1641475 w 5226051"/>
              <a:gd name="connsiteY266" fmla="*/ 1123950 h 6451600"/>
              <a:gd name="connsiteX267" fmla="*/ 1577975 w 5226051"/>
              <a:gd name="connsiteY267" fmla="*/ 1130300 h 6451600"/>
              <a:gd name="connsiteX268" fmla="*/ 1520825 w 5226051"/>
              <a:gd name="connsiteY268" fmla="*/ 1136650 h 6451600"/>
              <a:gd name="connsiteX269" fmla="*/ 1466850 w 5226051"/>
              <a:gd name="connsiteY269" fmla="*/ 1152525 h 6451600"/>
              <a:gd name="connsiteX270" fmla="*/ 1416050 w 5226051"/>
              <a:gd name="connsiteY270" fmla="*/ 1168400 h 6451600"/>
              <a:gd name="connsiteX271" fmla="*/ 1390650 w 5226051"/>
              <a:gd name="connsiteY271" fmla="*/ 1181100 h 6451600"/>
              <a:gd name="connsiteX272" fmla="*/ 1368425 w 5226051"/>
              <a:gd name="connsiteY272" fmla="*/ 1193800 h 6451600"/>
              <a:gd name="connsiteX273" fmla="*/ 1320800 w 5226051"/>
              <a:gd name="connsiteY273" fmla="*/ 1225550 h 6451600"/>
              <a:gd name="connsiteX274" fmla="*/ 1273175 w 5226051"/>
              <a:gd name="connsiteY274" fmla="*/ 1263650 h 6451600"/>
              <a:gd name="connsiteX275" fmla="*/ 1231900 w 5226051"/>
              <a:gd name="connsiteY275" fmla="*/ 1308100 h 6451600"/>
              <a:gd name="connsiteX276" fmla="*/ 1193800 w 5226051"/>
              <a:gd name="connsiteY276" fmla="*/ 1358900 h 6451600"/>
              <a:gd name="connsiteX277" fmla="*/ 1162050 w 5226051"/>
              <a:gd name="connsiteY277" fmla="*/ 1412875 h 6451600"/>
              <a:gd name="connsiteX278" fmla="*/ 1149350 w 5226051"/>
              <a:gd name="connsiteY278" fmla="*/ 1438275 h 6451600"/>
              <a:gd name="connsiteX279" fmla="*/ 1139825 w 5226051"/>
              <a:gd name="connsiteY279" fmla="*/ 1466850 h 6451600"/>
              <a:gd name="connsiteX280" fmla="*/ 1130300 w 5226051"/>
              <a:gd name="connsiteY280" fmla="*/ 1495425 h 6451600"/>
              <a:gd name="connsiteX281" fmla="*/ 1123950 w 5226051"/>
              <a:gd name="connsiteY281" fmla="*/ 1524000 h 6451600"/>
              <a:gd name="connsiteX282" fmla="*/ 1117600 w 5226051"/>
              <a:gd name="connsiteY282" fmla="*/ 1587500 h 6451600"/>
              <a:gd name="connsiteX283" fmla="*/ 1111250 w 5226051"/>
              <a:gd name="connsiteY283" fmla="*/ 1657350 h 6451600"/>
              <a:gd name="connsiteX284" fmla="*/ 1111250 w 5226051"/>
              <a:gd name="connsiteY284" fmla="*/ 1727200 h 6451600"/>
              <a:gd name="connsiteX285" fmla="*/ 1114425 w 5226051"/>
              <a:gd name="connsiteY285" fmla="*/ 1800225 h 6451600"/>
              <a:gd name="connsiteX286" fmla="*/ 1120775 w 5226051"/>
              <a:gd name="connsiteY286" fmla="*/ 1952625 h 6451600"/>
              <a:gd name="connsiteX287" fmla="*/ 1123950 w 5226051"/>
              <a:gd name="connsiteY287" fmla="*/ 2032000 h 6451600"/>
              <a:gd name="connsiteX288" fmla="*/ 1123950 w 5226051"/>
              <a:gd name="connsiteY288" fmla="*/ 2108200 h 6451600"/>
              <a:gd name="connsiteX289" fmla="*/ 1123950 w 5226051"/>
              <a:gd name="connsiteY289" fmla="*/ 3848100 h 6451600"/>
              <a:gd name="connsiteX290" fmla="*/ 387350 w 5226051"/>
              <a:gd name="connsiteY290" fmla="*/ 3848100 h 6451600"/>
              <a:gd name="connsiteX291" fmla="*/ 381000 w 5226051"/>
              <a:gd name="connsiteY291" fmla="*/ 3873500 h 6451600"/>
              <a:gd name="connsiteX292" fmla="*/ 374650 w 5226051"/>
              <a:gd name="connsiteY292" fmla="*/ 3898900 h 6451600"/>
              <a:gd name="connsiteX293" fmla="*/ 374650 w 5226051"/>
              <a:gd name="connsiteY293" fmla="*/ 3930650 h 6451600"/>
              <a:gd name="connsiteX294" fmla="*/ 374650 w 5226051"/>
              <a:gd name="connsiteY294" fmla="*/ 3962400 h 6451600"/>
              <a:gd name="connsiteX295" fmla="*/ 374650 w 5226051"/>
              <a:gd name="connsiteY295" fmla="*/ 4029075 h 6451600"/>
              <a:gd name="connsiteX296" fmla="*/ 374650 w 5226051"/>
              <a:gd name="connsiteY296" fmla="*/ 4060825 h 6451600"/>
              <a:gd name="connsiteX297" fmla="*/ 374650 w 5226051"/>
              <a:gd name="connsiteY297" fmla="*/ 4089400 h 6451600"/>
              <a:gd name="connsiteX298" fmla="*/ 460375 w 5226051"/>
              <a:gd name="connsiteY298" fmla="*/ 4098925 h 6451600"/>
              <a:gd name="connsiteX299" fmla="*/ 552450 w 5226051"/>
              <a:gd name="connsiteY299" fmla="*/ 4102100 h 6451600"/>
              <a:gd name="connsiteX300" fmla="*/ 644525 w 5226051"/>
              <a:gd name="connsiteY300" fmla="*/ 4105275 h 6451600"/>
              <a:gd name="connsiteX301" fmla="*/ 742950 w 5226051"/>
              <a:gd name="connsiteY301" fmla="*/ 4105275 h 6451600"/>
              <a:gd name="connsiteX302" fmla="*/ 936625 w 5226051"/>
              <a:gd name="connsiteY302" fmla="*/ 4102100 h 6451600"/>
              <a:gd name="connsiteX303" fmla="*/ 1031875 w 5226051"/>
              <a:gd name="connsiteY303" fmla="*/ 4102100 h 6451600"/>
              <a:gd name="connsiteX304" fmla="*/ 1123950 w 5226051"/>
              <a:gd name="connsiteY304" fmla="*/ 4102100 h 6451600"/>
              <a:gd name="connsiteX305" fmla="*/ 1123950 w 5226051"/>
              <a:gd name="connsiteY305" fmla="*/ 4133850 h 6451600"/>
              <a:gd name="connsiteX306" fmla="*/ 1123950 w 5226051"/>
              <a:gd name="connsiteY306" fmla="*/ 4168775 h 6451600"/>
              <a:gd name="connsiteX307" fmla="*/ 1127125 w 5226051"/>
              <a:gd name="connsiteY307" fmla="*/ 4238625 h 6451600"/>
              <a:gd name="connsiteX308" fmla="*/ 1127125 w 5226051"/>
              <a:gd name="connsiteY308" fmla="*/ 4270375 h 6451600"/>
              <a:gd name="connsiteX309" fmla="*/ 1123950 w 5226051"/>
              <a:gd name="connsiteY309" fmla="*/ 4302125 h 6451600"/>
              <a:gd name="connsiteX310" fmla="*/ 1120775 w 5226051"/>
              <a:gd name="connsiteY310" fmla="*/ 4330700 h 6451600"/>
              <a:gd name="connsiteX311" fmla="*/ 1111250 w 5226051"/>
              <a:gd name="connsiteY311" fmla="*/ 4356100 h 6451600"/>
              <a:gd name="connsiteX312" fmla="*/ 387350 w 5226051"/>
              <a:gd name="connsiteY312" fmla="*/ 4356100 h 6451600"/>
              <a:gd name="connsiteX313" fmla="*/ 377825 w 5226051"/>
              <a:gd name="connsiteY313" fmla="*/ 4381500 h 6451600"/>
              <a:gd name="connsiteX314" fmla="*/ 374650 w 5226051"/>
              <a:gd name="connsiteY314" fmla="*/ 4406900 h 6451600"/>
              <a:gd name="connsiteX315" fmla="*/ 371475 w 5226051"/>
              <a:gd name="connsiteY315" fmla="*/ 4438650 h 6451600"/>
              <a:gd name="connsiteX316" fmla="*/ 374650 w 5226051"/>
              <a:gd name="connsiteY316" fmla="*/ 4470400 h 6451600"/>
              <a:gd name="connsiteX317" fmla="*/ 374650 w 5226051"/>
              <a:gd name="connsiteY317" fmla="*/ 4537075 h 6451600"/>
              <a:gd name="connsiteX318" fmla="*/ 377825 w 5226051"/>
              <a:gd name="connsiteY318" fmla="*/ 4568825 h 6451600"/>
              <a:gd name="connsiteX319" fmla="*/ 374650 w 5226051"/>
              <a:gd name="connsiteY319" fmla="*/ 4597400 h 6451600"/>
              <a:gd name="connsiteX320" fmla="*/ 1123950 w 5226051"/>
              <a:gd name="connsiteY320" fmla="*/ 4597400 h 6451600"/>
              <a:gd name="connsiteX321" fmla="*/ 1123950 w 5226051"/>
              <a:gd name="connsiteY321" fmla="*/ 5080000 h 6451600"/>
              <a:gd name="connsiteX322" fmla="*/ 990600 w 5226051"/>
              <a:gd name="connsiteY322" fmla="*/ 5089525 h 6451600"/>
              <a:gd name="connsiteX323" fmla="*/ 854075 w 5226051"/>
              <a:gd name="connsiteY323" fmla="*/ 5095875 h 6451600"/>
              <a:gd name="connsiteX324" fmla="*/ 714375 w 5226051"/>
              <a:gd name="connsiteY324" fmla="*/ 5095875 h 6451600"/>
              <a:gd name="connsiteX325" fmla="*/ 574675 w 5226051"/>
              <a:gd name="connsiteY325" fmla="*/ 5095875 h 6451600"/>
              <a:gd name="connsiteX326" fmla="*/ 288925 w 5226051"/>
              <a:gd name="connsiteY326" fmla="*/ 5092700 h 6451600"/>
              <a:gd name="connsiteX327" fmla="*/ 146050 w 5226051"/>
              <a:gd name="connsiteY327" fmla="*/ 5092700 h 6451600"/>
              <a:gd name="connsiteX328" fmla="*/ 6350 w 5226051"/>
              <a:gd name="connsiteY328" fmla="*/ 5092700 h 6451600"/>
              <a:gd name="connsiteX329" fmla="*/ 6350 w 5226051"/>
              <a:gd name="connsiteY329" fmla="*/ 762000 h 6451600"/>
              <a:gd name="connsiteX330" fmla="*/ 3175 w 5226051"/>
              <a:gd name="connsiteY330" fmla="*/ 631825 h 6451600"/>
              <a:gd name="connsiteX331" fmla="*/ 0 w 5226051"/>
              <a:gd name="connsiteY331" fmla="*/ 508000 h 6451600"/>
              <a:gd name="connsiteX332" fmla="*/ 0 w 5226051"/>
              <a:gd name="connsiteY332" fmla="*/ 387350 h 6451600"/>
              <a:gd name="connsiteX333" fmla="*/ 3175 w 5226051"/>
              <a:gd name="connsiteY333" fmla="*/ 330200 h 6451600"/>
              <a:gd name="connsiteX334" fmla="*/ 9525 w 5226051"/>
              <a:gd name="connsiteY334" fmla="*/ 279400 h 6451600"/>
              <a:gd name="connsiteX335" fmla="*/ 15875 w 5226051"/>
              <a:gd name="connsiteY335" fmla="*/ 228600 h 6451600"/>
              <a:gd name="connsiteX336" fmla="*/ 28575 w 5226051"/>
              <a:gd name="connsiteY336" fmla="*/ 180975 h 6451600"/>
              <a:gd name="connsiteX337" fmla="*/ 44450 w 5226051"/>
              <a:gd name="connsiteY337" fmla="*/ 139700 h 6451600"/>
              <a:gd name="connsiteX338" fmla="*/ 66675 w 5226051"/>
              <a:gd name="connsiteY338" fmla="*/ 104775 h 6451600"/>
              <a:gd name="connsiteX339" fmla="*/ 79375 w 5226051"/>
              <a:gd name="connsiteY339" fmla="*/ 85725 h 6451600"/>
              <a:gd name="connsiteX340" fmla="*/ 92075 w 5226051"/>
              <a:gd name="connsiteY340" fmla="*/ 73025 h 6451600"/>
              <a:gd name="connsiteX341" fmla="*/ 107950 w 5226051"/>
              <a:gd name="connsiteY341" fmla="*/ 57150 h 6451600"/>
              <a:gd name="connsiteX342" fmla="*/ 123825 w 5226051"/>
              <a:gd name="connsiteY342" fmla="*/ 47625 h 6451600"/>
              <a:gd name="connsiteX343" fmla="*/ 142875 w 5226051"/>
              <a:gd name="connsiteY343" fmla="*/ 34925 h 6451600"/>
              <a:gd name="connsiteX344" fmla="*/ 161925 w 5226051"/>
              <a:gd name="connsiteY344" fmla="*/ 25400 h 6451600"/>
              <a:gd name="connsiteX345" fmla="*/ 184150 w 5226051"/>
              <a:gd name="connsiteY345" fmla="*/ 19050 h 6451600"/>
              <a:gd name="connsiteX346" fmla="*/ 209550 w 5226051"/>
              <a:gd name="connsiteY346" fmla="*/ 12700 h 6451600"/>
              <a:gd name="connsiteX347" fmla="*/ 263525 w 5226051"/>
              <a:gd name="connsiteY347" fmla="*/ 6350 h 6451600"/>
              <a:gd name="connsiteX348" fmla="*/ 320675 w 5226051"/>
              <a:gd name="connsiteY348" fmla="*/ 3175 h 645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Lst>
            <a:rect l="l" t="t" r="r" b="b"/>
            <a:pathLst>
              <a:path w="5226051" h="6451600">
                <a:moveTo>
                  <a:pt x="1771650" y="5702301"/>
                </a:moveTo>
                <a:lnTo>
                  <a:pt x="1762125" y="5711826"/>
                </a:lnTo>
                <a:lnTo>
                  <a:pt x="1755775" y="5721351"/>
                </a:lnTo>
                <a:lnTo>
                  <a:pt x="1749425" y="5734051"/>
                </a:lnTo>
                <a:lnTo>
                  <a:pt x="1746250" y="5749926"/>
                </a:lnTo>
                <a:lnTo>
                  <a:pt x="1743075" y="5784851"/>
                </a:lnTo>
                <a:lnTo>
                  <a:pt x="1746250" y="5822951"/>
                </a:lnTo>
                <a:lnTo>
                  <a:pt x="1749425" y="5861051"/>
                </a:lnTo>
                <a:lnTo>
                  <a:pt x="1749425" y="5899151"/>
                </a:lnTo>
                <a:lnTo>
                  <a:pt x="1746250" y="5930901"/>
                </a:lnTo>
                <a:lnTo>
                  <a:pt x="1739900" y="5946776"/>
                </a:lnTo>
                <a:lnTo>
                  <a:pt x="1733550" y="5956301"/>
                </a:lnTo>
                <a:lnTo>
                  <a:pt x="3486150" y="5956301"/>
                </a:lnTo>
                <a:lnTo>
                  <a:pt x="3486150" y="5715001"/>
                </a:lnTo>
                <a:lnTo>
                  <a:pt x="3279775" y="5708651"/>
                </a:lnTo>
                <a:lnTo>
                  <a:pt x="3067050" y="5702301"/>
                </a:lnTo>
                <a:lnTo>
                  <a:pt x="2854325" y="5702301"/>
                </a:lnTo>
                <a:lnTo>
                  <a:pt x="2638425" y="5702301"/>
                </a:lnTo>
                <a:lnTo>
                  <a:pt x="2203450" y="5705476"/>
                </a:lnTo>
                <a:lnTo>
                  <a:pt x="1987550" y="5705476"/>
                </a:lnTo>
                <a:close/>
                <a:moveTo>
                  <a:pt x="1746250" y="5219701"/>
                </a:moveTo>
                <a:lnTo>
                  <a:pt x="1746250" y="5264151"/>
                </a:lnTo>
                <a:lnTo>
                  <a:pt x="1746250" y="5327651"/>
                </a:lnTo>
                <a:lnTo>
                  <a:pt x="1746250" y="5397501"/>
                </a:lnTo>
                <a:lnTo>
                  <a:pt x="1746250" y="5461001"/>
                </a:lnTo>
                <a:lnTo>
                  <a:pt x="3473450" y="5461001"/>
                </a:lnTo>
                <a:lnTo>
                  <a:pt x="3482975" y="5438776"/>
                </a:lnTo>
                <a:lnTo>
                  <a:pt x="3486150" y="5410201"/>
                </a:lnTo>
                <a:lnTo>
                  <a:pt x="3489325" y="5381626"/>
                </a:lnTo>
                <a:lnTo>
                  <a:pt x="3489325" y="5349876"/>
                </a:lnTo>
                <a:lnTo>
                  <a:pt x="3486150" y="5283201"/>
                </a:lnTo>
                <a:lnTo>
                  <a:pt x="3486150" y="5251451"/>
                </a:lnTo>
                <a:lnTo>
                  <a:pt x="3486150" y="5219701"/>
                </a:lnTo>
                <a:close/>
                <a:moveTo>
                  <a:pt x="1758950" y="2120901"/>
                </a:moveTo>
                <a:lnTo>
                  <a:pt x="1749425" y="2143126"/>
                </a:lnTo>
                <a:lnTo>
                  <a:pt x="1746250" y="2171701"/>
                </a:lnTo>
                <a:lnTo>
                  <a:pt x="1746250" y="2203451"/>
                </a:lnTo>
                <a:lnTo>
                  <a:pt x="1746250" y="2235201"/>
                </a:lnTo>
                <a:lnTo>
                  <a:pt x="1749425" y="2301876"/>
                </a:lnTo>
                <a:lnTo>
                  <a:pt x="1749425" y="2333626"/>
                </a:lnTo>
                <a:lnTo>
                  <a:pt x="1746250" y="2362201"/>
                </a:lnTo>
                <a:lnTo>
                  <a:pt x="3486150" y="2362201"/>
                </a:lnTo>
                <a:lnTo>
                  <a:pt x="3486150" y="2120901"/>
                </a:lnTo>
                <a:close/>
                <a:moveTo>
                  <a:pt x="3321050" y="1352550"/>
                </a:moveTo>
                <a:lnTo>
                  <a:pt x="3397250" y="1355725"/>
                </a:lnTo>
                <a:lnTo>
                  <a:pt x="3473450" y="1358900"/>
                </a:lnTo>
                <a:lnTo>
                  <a:pt x="3543300" y="1365250"/>
                </a:lnTo>
                <a:lnTo>
                  <a:pt x="3606800" y="1371600"/>
                </a:lnTo>
                <a:lnTo>
                  <a:pt x="3667125" y="1384300"/>
                </a:lnTo>
                <a:lnTo>
                  <a:pt x="3717925" y="1403350"/>
                </a:lnTo>
                <a:lnTo>
                  <a:pt x="3740150" y="1412875"/>
                </a:lnTo>
                <a:lnTo>
                  <a:pt x="3759200" y="1422400"/>
                </a:lnTo>
                <a:lnTo>
                  <a:pt x="3778250" y="1435100"/>
                </a:lnTo>
                <a:lnTo>
                  <a:pt x="3790950" y="1447800"/>
                </a:lnTo>
                <a:lnTo>
                  <a:pt x="3806825" y="1466850"/>
                </a:lnTo>
                <a:lnTo>
                  <a:pt x="3816350" y="1485900"/>
                </a:lnTo>
                <a:lnTo>
                  <a:pt x="3829050" y="1511300"/>
                </a:lnTo>
                <a:lnTo>
                  <a:pt x="3835400" y="1539875"/>
                </a:lnTo>
                <a:lnTo>
                  <a:pt x="3841750" y="1571625"/>
                </a:lnTo>
                <a:lnTo>
                  <a:pt x="3848100" y="1606550"/>
                </a:lnTo>
                <a:lnTo>
                  <a:pt x="3854450" y="1682750"/>
                </a:lnTo>
                <a:lnTo>
                  <a:pt x="3857625" y="1762125"/>
                </a:lnTo>
                <a:lnTo>
                  <a:pt x="3857625" y="1847850"/>
                </a:lnTo>
                <a:lnTo>
                  <a:pt x="3854450" y="2019300"/>
                </a:lnTo>
                <a:lnTo>
                  <a:pt x="3854450" y="6451600"/>
                </a:lnTo>
                <a:lnTo>
                  <a:pt x="1365250" y="6451600"/>
                </a:lnTo>
                <a:lnTo>
                  <a:pt x="1365250" y="2133600"/>
                </a:lnTo>
                <a:lnTo>
                  <a:pt x="1362075" y="1997075"/>
                </a:lnTo>
                <a:lnTo>
                  <a:pt x="1358900" y="1866900"/>
                </a:lnTo>
                <a:lnTo>
                  <a:pt x="1358900" y="1746250"/>
                </a:lnTo>
                <a:lnTo>
                  <a:pt x="1362075" y="1689100"/>
                </a:lnTo>
                <a:lnTo>
                  <a:pt x="1368425" y="1635125"/>
                </a:lnTo>
                <a:lnTo>
                  <a:pt x="1377950" y="1584325"/>
                </a:lnTo>
                <a:lnTo>
                  <a:pt x="1390650" y="1536700"/>
                </a:lnTo>
                <a:lnTo>
                  <a:pt x="1409700" y="1495425"/>
                </a:lnTo>
                <a:lnTo>
                  <a:pt x="1419225" y="1479550"/>
                </a:lnTo>
                <a:lnTo>
                  <a:pt x="1431925" y="1460500"/>
                </a:lnTo>
                <a:lnTo>
                  <a:pt x="1447800" y="1444625"/>
                </a:lnTo>
                <a:lnTo>
                  <a:pt x="1463675" y="1428750"/>
                </a:lnTo>
                <a:lnTo>
                  <a:pt x="1479550" y="1416050"/>
                </a:lnTo>
                <a:lnTo>
                  <a:pt x="1498600" y="1403350"/>
                </a:lnTo>
                <a:lnTo>
                  <a:pt x="1520825" y="1393825"/>
                </a:lnTo>
                <a:lnTo>
                  <a:pt x="1543050" y="1384300"/>
                </a:lnTo>
                <a:lnTo>
                  <a:pt x="1568450" y="1377950"/>
                </a:lnTo>
                <a:lnTo>
                  <a:pt x="1593850" y="1371600"/>
                </a:lnTo>
                <a:lnTo>
                  <a:pt x="1660525" y="1362075"/>
                </a:lnTo>
                <a:lnTo>
                  <a:pt x="1730375" y="1358900"/>
                </a:lnTo>
                <a:lnTo>
                  <a:pt x="1800225" y="1358900"/>
                </a:lnTo>
                <a:lnTo>
                  <a:pt x="1873250" y="1362075"/>
                </a:lnTo>
                <a:lnTo>
                  <a:pt x="2022475" y="1368425"/>
                </a:lnTo>
                <a:lnTo>
                  <a:pt x="2095500" y="1371600"/>
                </a:lnTo>
                <a:lnTo>
                  <a:pt x="2165350" y="1371600"/>
                </a:lnTo>
                <a:lnTo>
                  <a:pt x="2736850" y="1371600"/>
                </a:lnTo>
                <a:lnTo>
                  <a:pt x="2860675" y="1368425"/>
                </a:lnTo>
                <a:lnTo>
                  <a:pt x="3006725" y="1362075"/>
                </a:lnTo>
                <a:lnTo>
                  <a:pt x="3162300" y="1355725"/>
                </a:lnTo>
                <a:close/>
                <a:moveTo>
                  <a:pt x="3117851" y="762001"/>
                </a:moveTo>
                <a:lnTo>
                  <a:pt x="3111501" y="784226"/>
                </a:lnTo>
                <a:lnTo>
                  <a:pt x="3105151" y="812801"/>
                </a:lnTo>
                <a:lnTo>
                  <a:pt x="3105151" y="841376"/>
                </a:lnTo>
                <a:lnTo>
                  <a:pt x="3105151" y="876301"/>
                </a:lnTo>
                <a:lnTo>
                  <a:pt x="3108326" y="939801"/>
                </a:lnTo>
                <a:lnTo>
                  <a:pt x="3108326" y="974726"/>
                </a:lnTo>
                <a:lnTo>
                  <a:pt x="3105151" y="1003301"/>
                </a:lnTo>
                <a:lnTo>
                  <a:pt x="4845051" y="1003301"/>
                </a:lnTo>
                <a:lnTo>
                  <a:pt x="4845051" y="762001"/>
                </a:lnTo>
                <a:close/>
                <a:moveTo>
                  <a:pt x="387350" y="762001"/>
                </a:moveTo>
                <a:lnTo>
                  <a:pt x="381000" y="784226"/>
                </a:lnTo>
                <a:lnTo>
                  <a:pt x="374650" y="815976"/>
                </a:lnTo>
                <a:lnTo>
                  <a:pt x="371475" y="847726"/>
                </a:lnTo>
                <a:lnTo>
                  <a:pt x="371475" y="882651"/>
                </a:lnTo>
                <a:lnTo>
                  <a:pt x="374650" y="917576"/>
                </a:lnTo>
                <a:lnTo>
                  <a:pt x="377825" y="949326"/>
                </a:lnTo>
                <a:lnTo>
                  <a:pt x="381000" y="981076"/>
                </a:lnTo>
                <a:lnTo>
                  <a:pt x="387350" y="1003301"/>
                </a:lnTo>
                <a:lnTo>
                  <a:pt x="2114550" y="1003301"/>
                </a:lnTo>
                <a:lnTo>
                  <a:pt x="2114550" y="762001"/>
                </a:lnTo>
                <a:close/>
                <a:moveTo>
                  <a:pt x="3073401" y="6350"/>
                </a:moveTo>
                <a:lnTo>
                  <a:pt x="3127376" y="6350"/>
                </a:lnTo>
                <a:lnTo>
                  <a:pt x="3248026" y="6350"/>
                </a:lnTo>
                <a:lnTo>
                  <a:pt x="3368676" y="9525"/>
                </a:lnTo>
                <a:lnTo>
                  <a:pt x="3486151" y="12700"/>
                </a:lnTo>
                <a:lnTo>
                  <a:pt x="4578351" y="12700"/>
                </a:lnTo>
                <a:lnTo>
                  <a:pt x="4679951" y="12700"/>
                </a:lnTo>
                <a:lnTo>
                  <a:pt x="4778376" y="9525"/>
                </a:lnTo>
                <a:lnTo>
                  <a:pt x="4873626" y="9525"/>
                </a:lnTo>
                <a:lnTo>
                  <a:pt x="4921251" y="12700"/>
                </a:lnTo>
                <a:lnTo>
                  <a:pt x="4965701" y="15875"/>
                </a:lnTo>
                <a:lnTo>
                  <a:pt x="5006976" y="22225"/>
                </a:lnTo>
                <a:lnTo>
                  <a:pt x="5045076" y="31750"/>
                </a:lnTo>
                <a:lnTo>
                  <a:pt x="5080001" y="41275"/>
                </a:lnTo>
                <a:lnTo>
                  <a:pt x="5111751" y="57150"/>
                </a:lnTo>
                <a:lnTo>
                  <a:pt x="5140326" y="79375"/>
                </a:lnTo>
                <a:lnTo>
                  <a:pt x="5165726" y="101600"/>
                </a:lnTo>
                <a:lnTo>
                  <a:pt x="5187951" y="130175"/>
                </a:lnTo>
                <a:lnTo>
                  <a:pt x="5200651" y="165100"/>
                </a:lnTo>
                <a:lnTo>
                  <a:pt x="5210176" y="190500"/>
                </a:lnTo>
                <a:lnTo>
                  <a:pt x="5216526" y="219075"/>
                </a:lnTo>
                <a:lnTo>
                  <a:pt x="5222876" y="285750"/>
                </a:lnTo>
                <a:lnTo>
                  <a:pt x="5226051" y="361950"/>
                </a:lnTo>
                <a:lnTo>
                  <a:pt x="5226051" y="444500"/>
                </a:lnTo>
                <a:lnTo>
                  <a:pt x="5219701" y="612775"/>
                </a:lnTo>
                <a:lnTo>
                  <a:pt x="5216526" y="695325"/>
                </a:lnTo>
                <a:lnTo>
                  <a:pt x="5213351" y="774700"/>
                </a:lnTo>
                <a:lnTo>
                  <a:pt x="5213351" y="5092700"/>
                </a:lnTo>
                <a:lnTo>
                  <a:pt x="5073651" y="5092700"/>
                </a:lnTo>
                <a:lnTo>
                  <a:pt x="4933951" y="5092700"/>
                </a:lnTo>
                <a:lnTo>
                  <a:pt x="4648201" y="5095875"/>
                </a:lnTo>
                <a:lnTo>
                  <a:pt x="4505326" y="5095875"/>
                </a:lnTo>
                <a:lnTo>
                  <a:pt x="4365626" y="5095875"/>
                </a:lnTo>
                <a:lnTo>
                  <a:pt x="4229101" y="5089525"/>
                </a:lnTo>
                <a:lnTo>
                  <a:pt x="4095751" y="5080000"/>
                </a:lnTo>
                <a:lnTo>
                  <a:pt x="4095751" y="4597400"/>
                </a:lnTo>
                <a:lnTo>
                  <a:pt x="4832351" y="4597400"/>
                </a:lnTo>
                <a:lnTo>
                  <a:pt x="4841876" y="4575175"/>
                </a:lnTo>
                <a:lnTo>
                  <a:pt x="4848226" y="4546600"/>
                </a:lnTo>
                <a:lnTo>
                  <a:pt x="4848226" y="4518025"/>
                </a:lnTo>
                <a:lnTo>
                  <a:pt x="4848226" y="4486275"/>
                </a:lnTo>
                <a:lnTo>
                  <a:pt x="4845051" y="4419600"/>
                </a:lnTo>
                <a:lnTo>
                  <a:pt x="4845051" y="4387850"/>
                </a:lnTo>
                <a:lnTo>
                  <a:pt x="4845051" y="4356100"/>
                </a:lnTo>
                <a:lnTo>
                  <a:pt x="4108451" y="4356100"/>
                </a:lnTo>
                <a:lnTo>
                  <a:pt x="4102101" y="4330700"/>
                </a:lnTo>
                <a:lnTo>
                  <a:pt x="4095751" y="4302125"/>
                </a:lnTo>
                <a:lnTo>
                  <a:pt x="4095751" y="4270375"/>
                </a:lnTo>
                <a:lnTo>
                  <a:pt x="4095751" y="4238625"/>
                </a:lnTo>
                <a:lnTo>
                  <a:pt x="4098926" y="4168775"/>
                </a:lnTo>
                <a:lnTo>
                  <a:pt x="4098926" y="4133850"/>
                </a:lnTo>
                <a:lnTo>
                  <a:pt x="4095751" y="4102100"/>
                </a:lnTo>
                <a:lnTo>
                  <a:pt x="4832351" y="4102100"/>
                </a:lnTo>
                <a:lnTo>
                  <a:pt x="4841876" y="4079875"/>
                </a:lnTo>
                <a:lnTo>
                  <a:pt x="4848226" y="4051300"/>
                </a:lnTo>
                <a:lnTo>
                  <a:pt x="4848226" y="4022725"/>
                </a:lnTo>
                <a:lnTo>
                  <a:pt x="4848226" y="3990975"/>
                </a:lnTo>
                <a:lnTo>
                  <a:pt x="4845051" y="3924300"/>
                </a:lnTo>
                <a:lnTo>
                  <a:pt x="4845051" y="3892550"/>
                </a:lnTo>
                <a:lnTo>
                  <a:pt x="4845051" y="3860800"/>
                </a:lnTo>
                <a:lnTo>
                  <a:pt x="4759326" y="3854450"/>
                </a:lnTo>
                <a:lnTo>
                  <a:pt x="4670426" y="3848100"/>
                </a:lnTo>
                <a:lnTo>
                  <a:pt x="4575176" y="3848100"/>
                </a:lnTo>
                <a:lnTo>
                  <a:pt x="4479926" y="3848100"/>
                </a:lnTo>
                <a:lnTo>
                  <a:pt x="4286251" y="3851275"/>
                </a:lnTo>
                <a:lnTo>
                  <a:pt x="4191001" y="3851275"/>
                </a:lnTo>
                <a:lnTo>
                  <a:pt x="4095751" y="3848100"/>
                </a:lnTo>
                <a:lnTo>
                  <a:pt x="4095751" y="2095500"/>
                </a:lnTo>
                <a:lnTo>
                  <a:pt x="4098926" y="2012950"/>
                </a:lnTo>
                <a:lnTo>
                  <a:pt x="4102101" y="1924050"/>
                </a:lnTo>
                <a:lnTo>
                  <a:pt x="4105276" y="1746250"/>
                </a:lnTo>
                <a:lnTo>
                  <a:pt x="4105276" y="1660525"/>
                </a:lnTo>
                <a:lnTo>
                  <a:pt x="4102101" y="1581150"/>
                </a:lnTo>
                <a:lnTo>
                  <a:pt x="4095751" y="1546225"/>
                </a:lnTo>
                <a:lnTo>
                  <a:pt x="4089401" y="1511300"/>
                </a:lnTo>
                <a:lnTo>
                  <a:pt x="4083051" y="1476375"/>
                </a:lnTo>
                <a:lnTo>
                  <a:pt x="4070351" y="1447800"/>
                </a:lnTo>
                <a:lnTo>
                  <a:pt x="4057651" y="1419225"/>
                </a:lnTo>
                <a:lnTo>
                  <a:pt x="4044951" y="1390650"/>
                </a:lnTo>
                <a:lnTo>
                  <a:pt x="4025901" y="1362075"/>
                </a:lnTo>
                <a:lnTo>
                  <a:pt x="4010026" y="1333500"/>
                </a:lnTo>
                <a:lnTo>
                  <a:pt x="3987801" y="1308100"/>
                </a:lnTo>
                <a:lnTo>
                  <a:pt x="3968751" y="1285875"/>
                </a:lnTo>
                <a:lnTo>
                  <a:pt x="3946526" y="1260475"/>
                </a:lnTo>
                <a:lnTo>
                  <a:pt x="3921126" y="1238250"/>
                </a:lnTo>
                <a:lnTo>
                  <a:pt x="3895726" y="1219200"/>
                </a:lnTo>
                <a:lnTo>
                  <a:pt x="3867151" y="1200150"/>
                </a:lnTo>
                <a:lnTo>
                  <a:pt x="3838576" y="1184275"/>
                </a:lnTo>
                <a:lnTo>
                  <a:pt x="3810001" y="1168400"/>
                </a:lnTo>
                <a:lnTo>
                  <a:pt x="3778251" y="1155700"/>
                </a:lnTo>
                <a:lnTo>
                  <a:pt x="3746501" y="1146175"/>
                </a:lnTo>
                <a:lnTo>
                  <a:pt x="3711576" y="1136650"/>
                </a:lnTo>
                <a:lnTo>
                  <a:pt x="3676651" y="1130300"/>
                </a:lnTo>
                <a:lnTo>
                  <a:pt x="3629026" y="1123950"/>
                </a:lnTo>
                <a:lnTo>
                  <a:pt x="3578226" y="1120775"/>
                </a:lnTo>
                <a:lnTo>
                  <a:pt x="3470276" y="1117600"/>
                </a:lnTo>
                <a:lnTo>
                  <a:pt x="3359151" y="1120775"/>
                </a:lnTo>
                <a:lnTo>
                  <a:pt x="3238501" y="1127125"/>
                </a:lnTo>
                <a:lnTo>
                  <a:pt x="3117851" y="1133475"/>
                </a:lnTo>
                <a:lnTo>
                  <a:pt x="2994026" y="1136650"/>
                </a:lnTo>
                <a:lnTo>
                  <a:pt x="2867026" y="1136650"/>
                </a:lnTo>
                <a:lnTo>
                  <a:pt x="2800351" y="1133475"/>
                </a:lnTo>
                <a:lnTo>
                  <a:pt x="2736851" y="1130300"/>
                </a:lnTo>
                <a:lnTo>
                  <a:pt x="2736851" y="190500"/>
                </a:lnTo>
                <a:lnTo>
                  <a:pt x="2743201" y="168275"/>
                </a:lnTo>
                <a:lnTo>
                  <a:pt x="2752726" y="149225"/>
                </a:lnTo>
                <a:lnTo>
                  <a:pt x="2762251" y="130175"/>
                </a:lnTo>
                <a:lnTo>
                  <a:pt x="2774951" y="114300"/>
                </a:lnTo>
                <a:lnTo>
                  <a:pt x="2787651" y="98425"/>
                </a:lnTo>
                <a:lnTo>
                  <a:pt x="2803526" y="85725"/>
                </a:lnTo>
                <a:lnTo>
                  <a:pt x="2838451" y="60325"/>
                </a:lnTo>
                <a:lnTo>
                  <a:pt x="2876551" y="41275"/>
                </a:lnTo>
                <a:lnTo>
                  <a:pt x="2921001" y="28575"/>
                </a:lnTo>
                <a:lnTo>
                  <a:pt x="2968626" y="19050"/>
                </a:lnTo>
                <a:lnTo>
                  <a:pt x="3019426" y="12700"/>
                </a:lnTo>
                <a:close/>
                <a:moveTo>
                  <a:pt x="387350" y="0"/>
                </a:moveTo>
                <a:lnTo>
                  <a:pt x="454025" y="3175"/>
                </a:lnTo>
                <a:lnTo>
                  <a:pt x="596900" y="9525"/>
                </a:lnTo>
                <a:lnTo>
                  <a:pt x="742950" y="12700"/>
                </a:lnTo>
                <a:lnTo>
                  <a:pt x="1809750" y="12700"/>
                </a:lnTo>
                <a:lnTo>
                  <a:pt x="2016125" y="9525"/>
                </a:lnTo>
                <a:lnTo>
                  <a:pt x="2117725" y="9525"/>
                </a:lnTo>
                <a:lnTo>
                  <a:pt x="2165350" y="12700"/>
                </a:lnTo>
                <a:lnTo>
                  <a:pt x="2212975" y="15875"/>
                </a:lnTo>
                <a:lnTo>
                  <a:pt x="2257425" y="22225"/>
                </a:lnTo>
                <a:lnTo>
                  <a:pt x="2301875" y="28575"/>
                </a:lnTo>
                <a:lnTo>
                  <a:pt x="2339975" y="41275"/>
                </a:lnTo>
                <a:lnTo>
                  <a:pt x="2374900" y="53975"/>
                </a:lnTo>
                <a:lnTo>
                  <a:pt x="2406650" y="73025"/>
                </a:lnTo>
                <a:lnTo>
                  <a:pt x="2432050" y="95250"/>
                </a:lnTo>
                <a:lnTo>
                  <a:pt x="2454275" y="120650"/>
                </a:lnTo>
                <a:lnTo>
                  <a:pt x="2470150" y="152400"/>
                </a:lnTo>
                <a:lnTo>
                  <a:pt x="2479675" y="177800"/>
                </a:lnTo>
                <a:lnTo>
                  <a:pt x="2486025" y="203200"/>
                </a:lnTo>
                <a:lnTo>
                  <a:pt x="2495550" y="263525"/>
                </a:lnTo>
                <a:lnTo>
                  <a:pt x="2498725" y="323850"/>
                </a:lnTo>
                <a:lnTo>
                  <a:pt x="2495550" y="390525"/>
                </a:lnTo>
                <a:lnTo>
                  <a:pt x="2489200" y="517525"/>
                </a:lnTo>
                <a:lnTo>
                  <a:pt x="2486025" y="581025"/>
                </a:lnTo>
                <a:lnTo>
                  <a:pt x="2482850" y="635000"/>
                </a:lnTo>
                <a:lnTo>
                  <a:pt x="2482850" y="1130300"/>
                </a:lnTo>
                <a:lnTo>
                  <a:pt x="2413000" y="1136650"/>
                </a:lnTo>
                <a:lnTo>
                  <a:pt x="2343150" y="1139825"/>
                </a:lnTo>
                <a:lnTo>
                  <a:pt x="2270125" y="1139825"/>
                </a:lnTo>
                <a:lnTo>
                  <a:pt x="2197100" y="1136650"/>
                </a:lnTo>
                <a:lnTo>
                  <a:pt x="2051050" y="1130300"/>
                </a:lnTo>
                <a:lnTo>
                  <a:pt x="1908175" y="1123950"/>
                </a:lnTo>
                <a:lnTo>
                  <a:pt x="1771650" y="1120775"/>
                </a:lnTo>
                <a:lnTo>
                  <a:pt x="1704975" y="1120775"/>
                </a:lnTo>
                <a:lnTo>
                  <a:pt x="1641475" y="1123950"/>
                </a:lnTo>
                <a:lnTo>
                  <a:pt x="1577975" y="1130300"/>
                </a:lnTo>
                <a:lnTo>
                  <a:pt x="1520825" y="1136650"/>
                </a:lnTo>
                <a:lnTo>
                  <a:pt x="1466850" y="1152525"/>
                </a:lnTo>
                <a:lnTo>
                  <a:pt x="1416050" y="1168400"/>
                </a:lnTo>
                <a:lnTo>
                  <a:pt x="1390650" y="1181100"/>
                </a:lnTo>
                <a:lnTo>
                  <a:pt x="1368425" y="1193800"/>
                </a:lnTo>
                <a:lnTo>
                  <a:pt x="1320800" y="1225550"/>
                </a:lnTo>
                <a:lnTo>
                  <a:pt x="1273175" y="1263650"/>
                </a:lnTo>
                <a:lnTo>
                  <a:pt x="1231900" y="1308100"/>
                </a:lnTo>
                <a:lnTo>
                  <a:pt x="1193800" y="1358900"/>
                </a:lnTo>
                <a:lnTo>
                  <a:pt x="1162050" y="1412875"/>
                </a:lnTo>
                <a:lnTo>
                  <a:pt x="1149350" y="1438275"/>
                </a:lnTo>
                <a:lnTo>
                  <a:pt x="1139825" y="1466850"/>
                </a:lnTo>
                <a:lnTo>
                  <a:pt x="1130300" y="1495425"/>
                </a:lnTo>
                <a:lnTo>
                  <a:pt x="1123950" y="1524000"/>
                </a:lnTo>
                <a:lnTo>
                  <a:pt x="1117600" y="1587500"/>
                </a:lnTo>
                <a:lnTo>
                  <a:pt x="1111250" y="1657350"/>
                </a:lnTo>
                <a:lnTo>
                  <a:pt x="1111250" y="1727200"/>
                </a:lnTo>
                <a:lnTo>
                  <a:pt x="1114425" y="1800225"/>
                </a:lnTo>
                <a:lnTo>
                  <a:pt x="1120775" y="1952625"/>
                </a:lnTo>
                <a:lnTo>
                  <a:pt x="1123950" y="2032000"/>
                </a:lnTo>
                <a:lnTo>
                  <a:pt x="1123950" y="2108200"/>
                </a:lnTo>
                <a:lnTo>
                  <a:pt x="1123950" y="3848100"/>
                </a:lnTo>
                <a:lnTo>
                  <a:pt x="387350" y="3848100"/>
                </a:lnTo>
                <a:lnTo>
                  <a:pt x="381000" y="3873500"/>
                </a:lnTo>
                <a:lnTo>
                  <a:pt x="374650" y="3898900"/>
                </a:lnTo>
                <a:lnTo>
                  <a:pt x="374650" y="3930650"/>
                </a:lnTo>
                <a:lnTo>
                  <a:pt x="374650" y="3962400"/>
                </a:lnTo>
                <a:lnTo>
                  <a:pt x="374650" y="4029075"/>
                </a:lnTo>
                <a:lnTo>
                  <a:pt x="374650" y="4060825"/>
                </a:lnTo>
                <a:lnTo>
                  <a:pt x="374650" y="4089400"/>
                </a:lnTo>
                <a:lnTo>
                  <a:pt x="460375" y="4098925"/>
                </a:lnTo>
                <a:lnTo>
                  <a:pt x="552450" y="4102100"/>
                </a:lnTo>
                <a:lnTo>
                  <a:pt x="644525" y="4105275"/>
                </a:lnTo>
                <a:lnTo>
                  <a:pt x="742950" y="4105275"/>
                </a:lnTo>
                <a:lnTo>
                  <a:pt x="936625" y="4102100"/>
                </a:lnTo>
                <a:lnTo>
                  <a:pt x="1031875" y="4102100"/>
                </a:lnTo>
                <a:lnTo>
                  <a:pt x="1123950" y="4102100"/>
                </a:lnTo>
                <a:lnTo>
                  <a:pt x="1123950" y="4133850"/>
                </a:lnTo>
                <a:lnTo>
                  <a:pt x="1123950" y="4168775"/>
                </a:lnTo>
                <a:lnTo>
                  <a:pt x="1127125" y="4238625"/>
                </a:lnTo>
                <a:lnTo>
                  <a:pt x="1127125" y="4270375"/>
                </a:lnTo>
                <a:lnTo>
                  <a:pt x="1123950" y="4302125"/>
                </a:lnTo>
                <a:lnTo>
                  <a:pt x="1120775" y="4330700"/>
                </a:lnTo>
                <a:lnTo>
                  <a:pt x="1111250" y="4356100"/>
                </a:lnTo>
                <a:lnTo>
                  <a:pt x="387350" y="4356100"/>
                </a:lnTo>
                <a:lnTo>
                  <a:pt x="377825" y="4381500"/>
                </a:lnTo>
                <a:lnTo>
                  <a:pt x="374650" y="4406900"/>
                </a:lnTo>
                <a:lnTo>
                  <a:pt x="371475" y="4438650"/>
                </a:lnTo>
                <a:lnTo>
                  <a:pt x="374650" y="4470400"/>
                </a:lnTo>
                <a:lnTo>
                  <a:pt x="374650" y="4537075"/>
                </a:lnTo>
                <a:lnTo>
                  <a:pt x="377825" y="4568825"/>
                </a:lnTo>
                <a:lnTo>
                  <a:pt x="374650" y="4597400"/>
                </a:lnTo>
                <a:lnTo>
                  <a:pt x="1123950" y="4597400"/>
                </a:lnTo>
                <a:lnTo>
                  <a:pt x="1123950" y="5080000"/>
                </a:lnTo>
                <a:lnTo>
                  <a:pt x="990600" y="5089525"/>
                </a:lnTo>
                <a:lnTo>
                  <a:pt x="854075" y="5095875"/>
                </a:lnTo>
                <a:lnTo>
                  <a:pt x="714375" y="5095875"/>
                </a:lnTo>
                <a:lnTo>
                  <a:pt x="574675" y="5095875"/>
                </a:lnTo>
                <a:lnTo>
                  <a:pt x="288925" y="5092700"/>
                </a:lnTo>
                <a:lnTo>
                  <a:pt x="146050" y="5092700"/>
                </a:lnTo>
                <a:lnTo>
                  <a:pt x="6350" y="5092700"/>
                </a:lnTo>
                <a:lnTo>
                  <a:pt x="6350" y="762000"/>
                </a:lnTo>
                <a:lnTo>
                  <a:pt x="3175" y="631825"/>
                </a:lnTo>
                <a:lnTo>
                  <a:pt x="0" y="508000"/>
                </a:lnTo>
                <a:lnTo>
                  <a:pt x="0" y="387350"/>
                </a:lnTo>
                <a:lnTo>
                  <a:pt x="3175" y="330200"/>
                </a:lnTo>
                <a:lnTo>
                  <a:pt x="9525" y="279400"/>
                </a:lnTo>
                <a:lnTo>
                  <a:pt x="15875" y="228600"/>
                </a:lnTo>
                <a:lnTo>
                  <a:pt x="28575" y="180975"/>
                </a:lnTo>
                <a:lnTo>
                  <a:pt x="44450" y="139700"/>
                </a:lnTo>
                <a:lnTo>
                  <a:pt x="66675" y="104775"/>
                </a:lnTo>
                <a:lnTo>
                  <a:pt x="79375" y="85725"/>
                </a:lnTo>
                <a:lnTo>
                  <a:pt x="92075" y="73025"/>
                </a:lnTo>
                <a:lnTo>
                  <a:pt x="107950" y="57150"/>
                </a:lnTo>
                <a:lnTo>
                  <a:pt x="123825" y="47625"/>
                </a:lnTo>
                <a:lnTo>
                  <a:pt x="142875" y="34925"/>
                </a:lnTo>
                <a:lnTo>
                  <a:pt x="161925" y="25400"/>
                </a:lnTo>
                <a:lnTo>
                  <a:pt x="184150" y="19050"/>
                </a:lnTo>
                <a:lnTo>
                  <a:pt x="209550" y="12700"/>
                </a:lnTo>
                <a:lnTo>
                  <a:pt x="263525" y="6350"/>
                </a:lnTo>
                <a:lnTo>
                  <a:pt x="320675" y="3175"/>
                </a:lnTo>
                <a:close/>
              </a:path>
            </a:pathLst>
          </a:custGeom>
          <a:solidFill>
            <a:schemeClr val="accent1"/>
          </a:solidFill>
          <a:ln>
            <a:noFill/>
          </a:ln>
        </p:spPr>
        <p:txBody>
          <a:bodyPr vert="horz" wrap="square" lIns="89642" tIns="44821" rIns="89642" bIns="44821" numCol="1" anchor="t" anchorCtr="0" compatLnSpc="1">
            <a:prstTxWarp prst="textNoShape">
              <a:avLst/>
            </a:prstTxWarp>
            <a:noAutofit/>
          </a:bodyPr>
          <a:lstStyle/>
          <a:p>
            <a:pPr defTabSz="914367"/>
            <a:endParaRPr lang="en-IN" sz="1765">
              <a:solidFill>
                <a:srgbClr val="000000"/>
              </a:solidFill>
            </a:endParaRPr>
          </a:p>
        </p:txBody>
      </p:sp>
      <p:sp>
        <p:nvSpPr>
          <p:cNvPr id="238" name="Freeform 237"/>
          <p:cNvSpPr>
            <a:spLocks/>
          </p:cNvSpPr>
          <p:nvPr/>
        </p:nvSpPr>
        <p:spPr bwMode="auto">
          <a:xfrm>
            <a:off x="10460777" y="2838631"/>
            <a:ext cx="497149" cy="667610"/>
          </a:xfrm>
          <a:custGeom>
            <a:avLst/>
            <a:gdLst>
              <a:gd name="connsiteX0" fmla="*/ 1771650 w 5226051"/>
              <a:gd name="connsiteY0" fmla="*/ 5702301 h 6451600"/>
              <a:gd name="connsiteX1" fmla="*/ 1762125 w 5226051"/>
              <a:gd name="connsiteY1" fmla="*/ 5711826 h 6451600"/>
              <a:gd name="connsiteX2" fmla="*/ 1755775 w 5226051"/>
              <a:gd name="connsiteY2" fmla="*/ 5721351 h 6451600"/>
              <a:gd name="connsiteX3" fmla="*/ 1749425 w 5226051"/>
              <a:gd name="connsiteY3" fmla="*/ 5734051 h 6451600"/>
              <a:gd name="connsiteX4" fmla="*/ 1746250 w 5226051"/>
              <a:gd name="connsiteY4" fmla="*/ 5749926 h 6451600"/>
              <a:gd name="connsiteX5" fmla="*/ 1743075 w 5226051"/>
              <a:gd name="connsiteY5" fmla="*/ 5784851 h 6451600"/>
              <a:gd name="connsiteX6" fmla="*/ 1746250 w 5226051"/>
              <a:gd name="connsiteY6" fmla="*/ 5822951 h 6451600"/>
              <a:gd name="connsiteX7" fmla="*/ 1749425 w 5226051"/>
              <a:gd name="connsiteY7" fmla="*/ 5861051 h 6451600"/>
              <a:gd name="connsiteX8" fmla="*/ 1749425 w 5226051"/>
              <a:gd name="connsiteY8" fmla="*/ 5899151 h 6451600"/>
              <a:gd name="connsiteX9" fmla="*/ 1746250 w 5226051"/>
              <a:gd name="connsiteY9" fmla="*/ 5930901 h 6451600"/>
              <a:gd name="connsiteX10" fmla="*/ 1739900 w 5226051"/>
              <a:gd name="connsiteY10" fmla="*/ 5946776 h 6451600"/>
              <a:gd name="connsiteX11" fmla="*/ 1733550 w 5226051"/>
              <a:gd name="connsiteY11" fmla="*/ 5956301 h 6451600"/>
              <a:gd name="connsiteX12" fmla="*/ 3486150 w 5226051"/>
              <a:gd name="connsiteY12" fmla="*/ 5956301 h 6451600"/>
              <a:gd name="connsiteX13" fmla="*/ 3486150 w 5226051"/>
              <a:gd name="connsiteY13" fmla="*/ 5715001 h 6451600"/>
              <a:gd name="connsiteX14" fmla="*/ 3279775 w 5226051"/>
              <a:gd name="connsiteY14" fmla="*/ 5708651 h 6451600"/>
              <a:gd name="connsiteX15" fmla="*/ 3067050 w 5226051"/>
              <a:gd name="connsiteY15" fmla="*/ 5702301 h 6451600"/>
              <a:gd name="connsiteX16" fmla="*/ 2854325 w 5226051"/>
              <a:gd name="connsiteY16" fmla="*/ 5702301 h 6451600"/>
              <a:gd name="connsiteX17" fmla="*/ 2638425 w 5226051"/>
              <a:gd name="connsiteY17" fmla="*/ 5702301 h 6451600"/>
              <a:gd name="connsiteX18" fmla="*/ 2203450 w 5226051"/>
              <a:gd name="connsiteY18" fmla="*/ 5705476 h 6451600"/>
              <a:gd name="connsiteX19" fmla="*/ 1987550 w 5226051"/>
              <a:gd name="connsiteY19" fmla="*/ 5705476 h 6451600"/>
              <a:gd name="connsiteX20" fmla="*/ 1746250 w 5226051"/>
              <a:gd name="connsiteY20" fmla="*/ 5219701 h 6451600"/>
              <a:gd name="connsiteX21" fmla="*/ 1746250 w 5226051"/>
              <a:gd name="connsiteY21" fmla="*/ 5264151 h 6451600"/>
              <a:gd name="connsiteX22" fmla="*/ 1746250 w 5226051"/>
              <a:gd name="connsiteY22" fmla="*/ 5327651 h 6451600"/>
              <a:gd name="connsiteX23" fmla="*/ 1746250 w 5226051"/>
              <a:gd name="connsiteY23" fmla="*/ 5397501 h 6451600"/>
              <a:gd name="connsiteX24" fmla="*/ 1746250 w 5226051"/>
              <a:gd name="connsiteY24" fmla="*/ 5461001 h 6451600"/>
              <a:gd name="connsiteX25" fmla="*/ 3473450 w 5226051"/>
              <a:gd name="connsiteY25" fmla="*/ 5461001 h 6451600"/>
              <a:gd name="connsiteX26" fmla="*/ 3482975 w 5226051"/>
              <a:gd name="connsiteY26" fmla="*/ 5438776 h 6451600"/>
              <a:gd name="connsiteX27" fmla="*/ 3486150 w 5226051"/>
              <a:gd name="connsiteY27" fmla="*/ 5410201 h 6451600"/>
              <a:gd name="connsiteX28" fmla="*/ 3489325 w 5226051"/>
              <a:gd name="connsiteY28" fmla="*/ 5381626 h 6451600"/>
              <a:gd name="connsiteX29" fmla="*/ 3489325 w 5226051"/>
              <a:gd name="connsiteY29" fmla="*/ 5349876 h 6451600"/>
              <a:gd name="connsiteX30" fmla="*/ 3486150 w 5226051"/>
              <a:gd name="connsiteY30" fmla="*/ 5283201 h 6451600"/>
              <a:gd name="connsiteX31" fmla="*/ 3486150 w 5226051"/>
              <a:gd name="connsiteY31" fmla="*/ 5251451 h 6451600"/>
              <a:gd name="connsiteX32" fmla="*/ 3486150 w 5226051"/>
              <a:gd name="connsiteY32" fmla="*/ 5219701 h 6451600"/>
              <a:gd name="connsiteX33" fmla="*/ 1758950 w 5226051"/>
              <a:gd name="connsiteY33" fmla="*/ 2120901 h 6451600"/>
              <a:gd name="connsiteX34" fmla="*/ 1749425 w 5226051"/>
              <a:gd name="connsiteY34" fmla="*/ 2143126 h 6451600"/>
              <a:gd name="connsiteX35" fmla="*/ 1746250 w 5226051"/>
              <a:gd name="connsiteY35" fmla="*/ 2171701 h 6451600"/>
              <a:gd name="connsiteX36" fmla="*/ 1746250 w 5226051"/>
              <a:gd name="connsiteY36" fmla="*/ 2203451 h 6451600"/>
              <a:gd name="connsiteX37" fmla="*/ 1746250 w 5226051"/>
              <a:gd name="connsiteY37" fmla="*/ 2235201 h 6451600"/>
              <a:gd name="connsiteX38" fmla="*/ 1749425 w 5226051"/>
              <a:gd name="connsiteY38" fmla="*/ 2301876 h 6451600"/>
              <a:gd name="connsiteX39" fmla="*/ 1749425 w 5226051"/>
              <a:gd name="connsiteY39" fmla="*/ 2333626 h 6451600"/>
              <a:gd name="connsiteX40" fmla="*/ 1746250 w 5226051"/>
              <a:gd name="connsiteY40" fmla="*/ 2362201 h 6451600"/>
              <a:gd name="connsiteX41" fmla="*/ 3486150 w 5226051"/>
              <a:gd name="connsiteY41" fmla="*/ 2362201 h 6451600"/>
              <a:gd name="connsiteX42" fmla="*/ 3486150 w 5226051"/>
              <a:gd name="connsiteY42" fmla="*/ 2120901 h 6451600"/>
              <a:gd name="connsiteX43" fmla="*/ 3321050 w 5226051"/>
              <a:gd name="connsiteY43" fmla="*/ 1352550 h 6451600"/>
              <a:gd name="connsiteX44" fmla="*/ 3397250 w 5226051"/>
              <a:gd name="connsiteY44" fmla="*/ 1355725 h 6451600"/>
              <a:gd name="connsiteX45" fmla="*/ 3473450 w 5226051"/>
              <a:gd name="connsiteY45" fmla="*/ 1358900 h 6451600"/>
              <a:gd name="connsiteX46" fmla="*/ 3543300 w 5226051"/>
              <a:gd name="connsiteY46" fmla="*/ 1365250 h 6451600"/>
              <a:gd name="connsiteX47" fmla="*/ 3606800 w 5226051"/>
              <a:gd name="connsiteY47" fmla="*/ 1371600 h 6451600"/>
              <a:gd name="connsiteX48" fmla="*/ 3667125 w 5226051"/>
              <a:gd name="connsiteY48" fmla="*/ 1384300 h 6451600"/>
              <a:gd name="connsiteX49" fmla="*/ 3717925 w 5226051"/>
              <a:gd name="connsiteY49" fmla="*/ 1403350 h 6451600"/>
              <a:gd name="connsiteX50" fmla="*/ 3740150 w 5226051"/>
              <a:gd name="connsiteY50" fmla="*/ 1412875 h 6451600"/>
              <a:gd name="connsiteX51" fmla="*/ 3759200 w 5226051"/>
              <a:gd name="connsiteY51" fmla="*/ 1422400 h 6451600"/>
              <a:gd name="connsiteX52" fmla="*/ 3778250 w 5226051"/>
              <a:gd name="connsiteY52" fmla="*/ 1435100 h 6451600"/>
              <a:gd name="connsiteX53" fmla="*/ 3790950 w 5226051"/>
              <a:gd name="connsiteY53" fmla="*/ 1447800 h 6451600"/>
              <a:gd name="connsiteX54" fmla="*/ 3806825 w 5226051"/>
              <a:gd name="connsiteY54" fmla="*/ 1466850 h 6451600"/>
              <a:gd name="connsiteX55" fmla="*/ 3816350 w 5226051"/>
              <a:gd name="connsiteY55" fmla="*/ 1485900 h 6451600"/>
              <a:gd name="connsiteX56" fmla="*/ 3829050 w 5226051"/>
              <a:gd name="connsiteY56" fmla="*/ 1511300 h 6451600"/>
              <a:gd name="connsiteX57" fmla="*/ 3835400 w 5226051"/>
              <a:gd name="connsiteY57" fmla="*/ 1539875 h 6451600"/>
              <a:gd name="connsiteX58" fmla="*/ 3841750 w 5226051"/>
              <a:gd name="connsiteY58" fmla="*/ 1571625 h 6451600"/>
              <a:gd name="connsiteX59" fmla="*/ 3848100 w 5226051"/>
              <a:gd name="connsiteY59" fmla="*/ 1606550 h 6451600"/>
              <a:gd name="connsiteX60" fmla="*/ 3854450 w 5226051"/>
              <a:gd name="connsiteY60" fmla="*/ 1682750 h 6451600"/>
              <a:gd name="connsiteX61" fmla="*/ 3857625 w 5226051"/>
              <a:gd name="connsiteY61" fmla="*/ 1762125 h 6451600"/>
              <a:gd name="connsiteX62" fmla="*/ 3857625 w 5226051"/>
              <a:gd name="connsiteY62" fmla="*/ 1847850 h 6451600"/>
              <a:gd name="connsiteX63" fmla="*/ 3854450 w 5226051"/>
              <a:gd name="connsiteY63" fmla="*/ 2019300 h 6451600"/>
              <a:gd name="connsiteX64" fmla="*/ 3854450 w 5226051"/>
              <a:gd name="connsiteY64" fmla="*/ 6451600 h 6451600"/>
              <a:gd name="connsiteX65" fmla="*/ 1365250 w 5226051"/>
              <a:gd name="connsiteY65" fmla="*/ 6451600 h 6451600"/>
              <a:gd name="connsiteX66" fmla="*/ 1365250 w 5226051"/>
              <a:gd name="connsiteY66" fmla="*/ 2133600 h 6451600"/>
              <a:gd name="connsiteX67" fmla="*/ 1362075 w 5226051"/>
              <a:gd name="connsiteY67" fmla="*/ 1997075 h 6451600"/>
              <a:gd name="connsiteX68" fmla="*/ 1358900 w 5226051"/>
              <a:gd name="connsiteY68" fmla="*/ 1866900 h 6451600"/>
              <a:gd name="connsiteX69" fmla="*/ 1358900 w 5226051"/>
              <a:gd name="connsiteY69" fmla="*/ 1746250 h 6451600"/>
              <a:gd name="connsiteX70" fmla="*/ 1362075 w 5226051"/>
              <a:gd name="connsiteY70" fmla="*/ 1689100 h 6451600"/>
              <a:gd name="connsiteX71" fmla="*/ 1368425 w 5226051"/>
              <a:gd name="connsiteY71" fmla="*/ 1635125 h 6451600"/>
              <a:gd name="connsiteX72" fmla="*/ 1377950 w 5226051"/>
              <a:gd name="connsiteY72" fmla="*/ 1584325 h 6451600"/>
              <a:gd name="connsiteX73" fmla="*/ 1390650 w 5226051"/>
              <a:gd name="connsiteY73" fmla="*/ 1536700 h 6451600"/>
              <a:gd name="connsiteX74" fmla="*/ 1409700 w 5226051"/>
              <a:gd name="connsiteY74" fmla="*/ 1495425 h 6451600"/>
              <a:gd name="connsiteX75" fmla="*/ 1419225 w 5226051"/>
              <a:gd name="connsiteY75" fmla="*/ 1479550 h 6451600"/>
              <a:gd name="connsiteX76" fmla="*/ 1431925 w 5226051"/>
              <a:gd name="connsiteY76" fmla="*/ 1460500 h 6451600"/>
              <a:gd name="connsiteX77" fmla="*/ 1447800 w 5226051"/>
              <a:gd name="connsiteY77" fmla="*/ 1444625 h 6451600"/>
              <a:gd name="connsiteX78" fmla="*/ 1463675 w 5226051"/>
              <a:gd name="connsiteY78" fmla="*/ 1428750 h 6451600"/>
              <a:gd name="connsiteX79" fmla="*/ 1479550 w 5226051"/>
              <a:gd name="connsiteY79" fmla="*/ 1416050 h 6451600"/>
              <a:gd name="connsiteX80" fmla="*/ 1498600 w 5226051"/>
              <a:gd name="connsiteY80" fmla="*/ 1403350 h 6451600"/>
              <a:gd name="connsiteX81" fmla="*/ 1520825 w 5226051"/>
              <a:gd name="connsiteY81" fmla="*/ 1393825 h 6451600"/>
              <a:gd name="connsiteX82" fmla="*/ 1543050 w 5226051"/>
              <a:gd name="connsiteY82" fmla="*/ 1384300 h 6451600"/>
              <a:gd name="connsiteX83" fmla="*/ 1568450 w 5226051"/>
              <a:gd name="connsiteY83" fmla="*/ 1377950 h 6451600"/>
              <a:gd name="connsiteX84" fmla="*/ 1593850 w 5226051"/>
              <a:gd name="connsiteY84" fmla="*/ 1371600 h 6451600"/>
              <a:gd name="connsiteX85" fmla="*/ 1660525 w 5226051"/>
              <a:gd name="connsiteY85" fmla="*/ 1362075 h 6451600"/>
              <a:gd name="connsiteX86" fmla="*/ 1730375 w 5226051"/>
              <a:gd name="connsiteY86" fmla="*/ 1358900 h 6451600"/>
              <a:gd name="connsiteX87" fmla="*/ 1800225 w 5226051"/>
              <a:gd name="connsiteY87" fmla="*/ 1358900 h 6451600"/>
              <a:gd name="connsiteX88" fmla="*/ 1873250 w 5226051"/>
              <a:gd name="connsiteY88" fmla="*/ 1362075 h 6451600"/>
              <a:gd name="connsiteX89" fmla="*/ 2022475 w 5226051"/>
              <a:gd name="connsiteY89" fmla="*/ 1368425 h 6451600"/>
              <a:gd name="connsiteX90" fmla="*/ 2095500 w 5226051"/>
              <a:gd name="connsiteY90" fmla="*/ 1371600 h 6451600"/>
              <a:gd name="connsiteX91" fmla="*/ 2165350 w 5226051"/>
              <a:gd name="connsiteY91" fmla="*/ 1371600 h 6451600"/>
              <a:gd name="connsiteX92" fmla="*/ 2736850 w 5226051"/>
              <a:gd name="connsiteY92" fmla="*/ 1371600 h 6451600"/>
              <a:gd name="connsiteX93" fmla="*/ 2860675 w 5226051"/>
              <a:gd name="connsiteY93" fmla="*/ 1368425 h 6451600"/>
              <a:gd name="connsiteX94" fmla="*/ 3006725 w 5226051"/>
              <a:gd name="connsiteY94" fmla="*/ 1362075 h 6451600"/>
              <a:gd name="connsiteX95" fmla="*/ 3162300 w 5226051"/>
              <a:gd name="connsiteY95" fmla="*/ 1355725 h 6451600"/>
              <a:gd name="connsiteX96" fmla="*/ 3117851 w 5226051"/>
              <a:gd name="connsiteY96" fmla="*/ 762001 h 6451600"/>
              <a:gd name="connsiteX97" fmla="*/ 3111501 w 5226051"/>
              <a:gd name="connsiteY97" fmla="*/ 784226 h 6451600"/>
              <a:gd name="connsiteX98" fmla="*/ 3105151 w 5226051"/>
              <a:gd name="connsiteY98" fmla="*/ 812801 h 6451600"/>
              <a:gd name="connsiteX99" fmla="*/ 3105151 w 5226051"/>
              <a:gd name="connsiteY99" fmla="*/ 841376 h 6451600"/>
              <a:gd name="connsiteX100" fmla="*/ 3105151 w 5226051"/>
              <a:gd name="connsiteY100" fmla="*/ 876301 h 6451600"/>
              <a:gd name="connsiteX101" fmla="*/ 3108326 w 5226051"/>
              <a:gd name="connsiteY101" fmla="*/ 939801 h 6451600"/>
              <a:gd name="connsiteX102" fmla="*/ 3108326 w 5226051"/>
              <a:gd name="connsiteY102" fmla="*/ 974726 h 6451600"/>
              <a:gd name="connsiteX103" fmla="*/ 3105151 w 5226051"/>
              <a:gd name="connsiteY103" fmla="*/ 1003301 h 6451600"/>
              <a:gd name="connsiteX104" fmla="*/ 4845051 w 5226051"/>
              <a:gd name="connsiteY104" fmla="*/ 1003301 h 6451600"/>
              <a:gd name="connsiteX105" fmla="*/ 4845051 w 5226051"/>
              <a:gd name="connsiteY105" fmla="*/ 762001 h 6451600"/>
              <a:gd name="connsiteX106" fmla="*/ 387350 w 5226051"/>
              <a:gd name="connsiteY106" fmla="*/ 762001 h 6451600"/>
              <a:gd name="connsiteX107" fmla="*/ 381000 w 5226051"/>
              <a:gd name="connsiteY107" fmla="*/ 784226 h 6451600"/>
              <a:gd name="connsiteX108" fmla="*/ 374650 w 5226051"/>
              <a:gd name="connsiteY108" fmla="*/ 815976 h 6451600"/>
              <a:gd name="connsiteX109" fmla="*/ 371475 w 5226051"/>
              <a:gd name="connsiteY109" fmla="*/ 847726 h 6451600"/>
              <a:gd name="connsiteX110" fmla="*/ 371475 w 5226051"/>
              <a:gd name="connsiteY110" fmla="*/ 882651 h 6451600"/>
              <a:gd name="connsiteX111" fmla="*/ 374650 w 5226051"/>
              <a:gd name="connsiteY111" fmla="*/ 917576 h 6451600"/>
              <a:gd name="connsiteX112" fmla="*/ 377825 w 5226051"/>
              <a:gd name="connsiteY112" fmla="*/ 949326 h 6451600"/>
              <a:gd name="connsiteX113" fmla="*/ 381000 w 5226051"/>
              <a:gd name="connsiteY113" fmla="*/ 981076 h 6451600"/>
              <a:gd name="connsiteX114" fmla="*/ 387350 w 5226051"/>
              <a:gd name="connsiteY114" fmla="*/ 1003301 h 6451600"/>
              <a:gd name="connsiteX115" fmla="*/ 2114550 w 5226051"/>
              <a:gd name="connsiteY115" fmla="*/ 1003301 h 6451600"/>
              <a:gd name="connsiteX116" fmla="*/ 2114550 w 5226051"/>
              <a:gd name="connsiteY116" fmla="*/ 762001 h 6451600"/>
              <a:gd name="connsiteX117" fmla="*/ 3073401 w 5226051"/>
              <a:gd name="connsiteY117" fmla="*/ 6350 h 6451600"/>
              <a:gd name="connsiteX118" fmla="*/ 3127376 w 5226051"/>
              <a:gd name="connsiteY118" fmla="*/ 6350 h 6451600"/>
              <a:gd name="connsiteX119" fmla="*/ 3248026 w 5226051"/>
              <a:gd name="connsiteY119" fmla="*/ 6350 h 6451600"/>
              <a:gd name="connsiteX120" fmla="*/ 3368676 w 5226051"/>
              <a:gd name="connsiteY120" fmla="*/ 9525 h 6451600"/>
              <a:gd name="connsiteX121" fmla="*/ 3486151 w 5226051"/>
              <a:gd name="connsiteY121" fmla="*/ 12700 h 6451600"/>
              <a:gd name="connsiteX122" fmla="*/ 4578351 w 5226051"/>
              <a:gd name="connsiteY122" fmla="*/ 12700 h 6451600"/>
              <a:gd name="connsiteX123" fmla="*/ 4679951 w 5226051"/>
              <a:gd name="connsiteY123" fmla="*/ 12700 h 6451600"/>
              <a:gd name="connsiteX124" fmla="*/ 4778376 w 5226051"/>
              <a:gd name="connsiteY124" fmla="*/ 9525 h 6451600"/>
              <a:gd name="connsiteX125" fmla="*/ 4873626 w 5226051"/>
              <a:gd name="connsiteY125" fmla="*/ 9525 h 6451600"/>
              <a:gd name="connsiteX126" fmla="*/ 4921251 w 5226051"/>
              <a:gd name="connsiteY126" fmla="*/ 12700 h 6451600"/>
              <a:gd name="connsiteX127" fmla="*/ 4965701 w 5226051"/>
              <a:gd name="connsiteY127" fmla="*/ 15875 h 6451600"/>
              <a:gd name="connsiteX128" fmla="*/ 5006976 w 5226051"/>
              <a:gd name="connsiteY128" fmla="*/ 22225 h 6451600"/>
              <a:gd name="connsiteX129" fmla="*/ 5045076 w 5226051"/>
              <a:gd name="connsiteY129" fmla="*/ 31750 h 6451600"/>
              <a:gd name="connsiteX130" fmla="*/ 5080001 w 5226051"/>
              <a:gd name="connsiteY130" fmla="*/ 41275 h 6451600"/>
              <a:gd name="connsiteX131" fmla="*/ 5111751 w 5226051"/>
              <a:gd name="connsiteY131" fmla="*/ 57150 h 6451600"/>
              <a:gd name="connsiteX132" fmla="*/ 5140326 w 5226051"/>
              <a:gd name="connsiteY132" fmla="*/ 79375 h 6451600"/>
              <a:gd name="connsiteX133" fmla="*/ 5165726 w 5226051"/>
              <a:gd name="connsiteY133" fmla="*/ 101600 h 6451600"/>
              <a:gd name="connsiteX134" fmla="*/ 5187951 w 5226051"/>
              <a:gd name="connsiteY134" fmla="*/ 130175 h 6451600"/>
              <a:gd name="connsiteX135" fmla="*/ 5200651 w 5226051"/>
              <a:gd name="connsiteY135" fmla="*/ 165100 h 6451600"/>
              <a:gd name="connsiteX136" fmla="*/ 5210176 w 5226051"/>
              <a:gd name="connsiteY136" fmla="*/ 190500 h 6451600"/>
              <a:gd name="connsiteX137" fmla="*/ 5216526 w 5226051"/>
              <a:gd name="connsiteY137" fmla="*/ 219075 h 6451600"/>
              <a:gd name="connsiteX138" fmla="*/ 5222876 w 5226051"/>
              <a:gd name="connsiteY138" fmla="*/ 285750 h 6451600"/>
              <a:gd name="connsiteX139" fmla="*/ 5226051 w 5226051"/>
              <a:gd name="connsiteY139" fmla="*/ 361950 h 6451600"/>
              <a:gd name="connsiteX140" fmla="*/ 5226051 w 5226051"/>
              <a:gd name="connsiteY140" fmla="*/ 444500 h 6451600"/>
              <a:gd name="connsiteX141" fmla="*/ 5219701 w 5226051"/>
              <a:gd name="connsiteY141" fmla="*/ 612775 h 6451600"/>
              <a:gd name="connsiteX142" fmla="*/ 5216526 w 5226051"/>
              <a:gd name="connsiteY142" fmla="*/ 695325 h 6451600"/>
              <a:gd name="connsiteX143" fmla="*/ 5213351 w 5226051"/>
              <a:gd name="connsiteY143" fmla="*/ 774700 h 6451600"/>
              <a:gd name="connsiteX144" fmla="*/ 5213351 w 5226051"/>
              <a:gd name="connsiteY144" fmla="*/ 5092700 h 6451600"/>
              <a:gd name="connsiteX145" fmla="*/ 5073651 w 5226051"/>
              <a:gd name="connsiteY145" fmla="*/ 5092700 h 6451600"/>
              <a:gd name="connsiteX146" fmla="*/ 4933951 w 5226051"/>
              <a:gd name="connsiteY146" fmla="*/ 5092700 h 6451600"/>
              <a:gd name="connsiteX147" fmla="*/ 4648201 w 5226051"/>
              <a:gd name="connsiteY147" fmla="*/ 5095875 h 6451600"/>
              <a:gd name="connsiteX148" fmla="*/ 4505326 w 5226051"/>
              <a:gd name="connsiteY148" fmla="*/ 5095875 h 6451600"/>
              <a:gd name="connsiteX149" fmla="*/ 4365626 w 5226051"/>
              <a:gd name="connsiteY149" fmla="*/ 5095875 h 6451600"/>
              <a:gd name="connsiteX150" fmla="*/ 4229101 w 5226051"/>
              <a:gd name="connsiteY150" fmla="*/ 5089525 h 6451600"/>
              <a:gd name="connsiteX151" fmla="*/ 4095751 w 5226051"/>
              <a:gd name="connsiteY151" fmla="*/ 5080000 h 6451600"/>
              <a:gd name="connsiteX152" fmla="*/ 4095751 w 5226051"/>
              <a:gd name="connsiteY152" fmla="*/ 4597400 h 6451600"/>
              <a:gd name="connsiteX153" fmla="*/ 4832351 w 5226051"/>
              <a:gd name="connsiteY153" fmla="*/ 4597400 h 6451600"/>
              <a:gd name="connsiteX154" fmla="*/ 4841876 w 5226051"/>
              <a:gd name="connsiteY154" fmla="*/ 4575175 h 6451600"/>
              <a:gd name="connsiteX155" fmla="*/ 4848226 w 5226051"/>
              <a:gd name="connsiteY155" fmla="*/ 4546600 h 6451600"/>
              <a:gd name="connsiteX156" fmla="*/ 4848226 w 5226051"/>
              <a:gd name="connsiteY156" fmla="*/ 4518025 h 6451600"/>
              <a:gd name="connsiteX157" fmla="*/ 4848226 w 5226051"/>
              <a:gd name="connsiteY157" fmla="*/ 4486275 h 6451600"/>
              <a:gd name="connsiteX158" fmla="*/ 4845051 w 5226051"/>
              <a:gd name="connsiteY158" fmla="*/ 4419600 h 6451600"/>
              <a:gd name="connsiteX159" fmla="*/ 4845051 w 5226051"/>
              <a:gd name="connsiteY159" fmla="*/ 4387850 h 6451600"/>
              <a:gd name="connsiteX160" fmla="*/ 4845051 w 5226051"/>
              <a:gd name="connsiteY160" fmla="*/ 4356100 h 6451600"/>
              <a:gd name="connsiteX161" fmla="*/ 4108451 w 5226051"/>
              <a:gd name="connsiteY161" fmla="*/ 4356100 h 6451600"/>
              <a:gd name="connsiteX162" fmla="*/ 4102101 w 5226051"/>
              <a:gd name="connsiteY162" fmla="*/ 4330700 h 6451600"/>
              <a:gd name="connsiteX163" fmla="*/ 4095751 w 5226051"/>
              <a:gd name="connsiteY163" fmla="*/ 4302125 h 6451600"/>
              <a:gd name="connsiteX164" fmla="*/ 4095751 w 5226051"/>
              <a:gd name="connsiteY164" fmla="*/ 4270375 h 6451600"/>
              <a:gd name="connsiteX165" fmla="*/ 4095751 w 5226051"/>
              <a:gd name="connsiteY165" fmla="*/ 4238625 h 6451600"/>
              <a:gd name="connsiteX166" fmla="*/ 4098926 w 5226051"/>
              <a:gd name="connsiteY166" fmla="*/ 4168775 h 6451600"/>
              <a:gd name="connsiteX167" fmla="*/ 4098926 w 5226051"/>
              <a:gd name="connsiteY167" fmla="*/ 4133850 h 6451600"/>
              <a:gd name="connsiteX168" fmla="*/ 4095751 w 5226051"/>
              <a:gd name="connsiteY168" fmla="*/ 4102100 h 6451600"/>
              <a:gd name="connsiteX169" fmla="*/ 4832351 w 5226051"/>
              <a:gd name="connsiteY169" fmla="*/ 4102100 h 6451600"/>
              <a:gd name="connsiteX170" fmla="*/ 4841876 w 5226051"/>
              <a:gd name="connsiteY170" fmla="*/ 4079875 h 6451600"/>
              <a:gd name="connsiteX171" fmla="*/ 4848226 w 5226051"/>
              <a:gd name="connsiteY171" fmla="*/ 4051300 h 6451600"/>
              <a:gd name="connsiteX172" fmla="*/ 4848226 w 5226051"/>
              <a:gd name="connsiteY172" fmla="*/ 4022725 h 6451600"/>
              <a:gd name="connsiteX173" fmla="*/ 4848226 w 5226051"/>
              <a:gd name="connsiteY173" fmla="*/ 3990975 h 6451600"/>
              <a:gd name="connsiteX174" fmla="*/ 4845051 w 5226051"/>
              <a:gd name="connsiteY174" fmla="*/ 3924300 h 6451600"/>
              <a:gd name="connsiteX175" fmla="*/ 4845051 w 5226051"/>
              <a:gd name="connsiteY175" fmla="*/ 3892550 h 6451600"/>
              <a:gd name="connsiteX176" fmla="*/ 4845051 w 5226051"/>
              <a:gd name="connsiteY176" fmla="*/ 3860800 h 6451600"/>
              <a:gd name="connsiteX177" fmla="*/ 4759326 w 5226051"/>
              <a:gd name="connsiteY177" fmla="*/ 3854450 h 6451600"/>
              <a:gd name="connsiteX178" fmla="*/ 4670426 w 5226051"/>
              <a:gd name="connsiteY178" fmla="*/ 3848100 h 6451600"/>
              <a:gd name="connsiteX179" fmla="*/ 4575176 w 5226051"/>
              <a:gd name="connsiteY179" fmla="*/ 3848100 h 6451600"/>
              <a:gd name="connsiteX180" fmla="*/ 4479926 w 5226051"/>
              <a:gd name="connsiteY180" fmla="*/ 3848100 h 6451600"/>
              <a:gd name="connsiteX181" fmla="*/ 4286251 w 5226051"/>
              <a:gd name="connsiteY181" fmla="*/ 3851275 h 6451600"/>
              <a:gd name="connsiteX182" fmla="*/ 4191001 w 5226051"/>
              <a:gd name="connsiteY182" fmla="*/ 3851275 h 6451600"/>
              <a:gd name="connsiteX183" fmla="*/ 4095751 w 5226051"/>
              <a:gd name="connsiteY183" fmla="*/ 3848100 h 6451600"/>
              <a:gd name="connsiteX184" fmla="*/ 4095751 w 5226051"/>
              <a:gd name="connsiteY184" fmla="*/ 2095500 h 6451600"/>
              <a:gd name="connsiteX185" fmla="*/ 4098926 w 5226051"/>
              <a:gd name="connsiteY185" fmla="*/ 2012950 h 6451600"/>
              <a:gd name="connsiteX186" fmla="*/ 4102101 w 5226051"/>
              <a:gd name="connsiteY186" fmla="*/ 1924050 h 6451600"/>
              <a:gd name="connsiteX187" fmla="*/ 4105276 w 5226051"/>
              <a:gd name="connsiteY187" fmla="*/ 1746250 h 6451600"/>
              <a:gd name="connsiteX188" fmla="*/ 4105276 w 5226051"/>
              <a:gd name="connsiteY188" fmla="*/ 1660525 h 6451600"/>
              <a:gd name="connsiteX189" fmla="*/ 4102101 w 5226051"/>
              <a:gd name="connsiteY189" fmla="*/ 1581150 h 6451600"/>
              <a:gd name="connsiteX190" fmla="*/ 4095751 w 5226051"/>
              <a:gd name="connsiteY190" fmla="*/ 1546225 h 6451600"/>
              <a:gd name="connsiteX191" fmla="*/ 4089401 w 5226051"/>
              <a:gd name="connsiteY191" fmla="*/ 1511300 h 6451600"/>
              <a:gd name="connsiteX192" fmla="*/ 4083051 w 5226051"/>
              <a:gd name="connsiteY192" fmla="*/ 1476375 h 6451600"/>
              <a:gd name="connsiteX193" fmla="*/ 4070351 w 5226051"/>
              <a:gd name="connsiteY193" fmla="*/ 1447800 h 6451600"/>
              <a:gd name="connsiteX194" fmla="*/ 4057651 w 5226051"/>
              <a:gd name="connsiteY194" fmla="*/ 1419225 h 6451600"/>
              <a:gd name="connsiteX195" fmla="*/ 4044951 w 5226051"/>
              <a:gd name="connsiteY195" fmla="*/ 1390650 h 6451600"/>
              <a:gd name="connsiteX196" fmla="*/ 4025901 w 5226051"/>
              <a:gd name="connsiteY196" fmla="*/ 1362075 h 6451600"/>
              <a:gd name="connsiteX197" fmla="*/ 4010026 w 5226051"/>
              <a:gd name="connsiteY197" fmla="*/ 1333500 h 6451600"/>
              <a:gd name="connsiteX198" fmla="*/ 3987801 w 5226051"/>
              <a:gd name="connsiteY198" fmla="*/ 1308100 h 6451600"/>
              <a:gd name="connsiteX199" fmla="*/ 3968751 w 5226051"/>
              <a:gd name="connsiteY199" fmla="*/ 1285875 h 6451600"/>
              <a:gd name="connsiteX200" fmla="*/ 3946526 w 5226051"/>
              <a:gd name="connsiteY200" fmla="*/ 1260475 h 6451600"/>
              <a:gd name="connsiteX201" fmla="*/ 3921126 w 5226051"/>
              <a:gd name="connsiteY201" fmla="*/ 1238250 h 6451600"/>
              <a:gd name="connsiteX202" fmla="*/ 3895726 w 5226051"/>
              <a:gd name="connsiteY202" fmla="*/ 1219200 h 6451600"/>
              <a:gd name="connsiteX203" fmla="*/ 3867151 w 5226051"/>
              <a:gd name="connsiteY203" fmla="*/ 1200150 h 6451600"/>
              <a:gd name="connsiteX204" fmla="*/ 3838576 w 5226051"/>
              <a:gd name="connsiteY204" fmla="*/ 1184275 h 6451600"/>
              <a:gd name="connsiteX205" fmla="*/ 3810001 w 5226051"/>
              <a:gd name="connsiteY205" fmla="*/ 1168400 h 6451600"/>
              <a:gd name="connsiteX206" fmla="*/ 3778251 w 5226051"/>
              <a:gd name="connsiteY206" fmla="*/ 1155700 h 6451600"/>
              <a:gd name="connsiteX207" fmla="*/ 3746501 w 5226051"/>
              <a:gd name="connsiteY207" fmla="*/ 1146175 h 6451600"/>
              <a:gd name="connsiteX208" fmla="*/ 3711576 w 5226051"/>
              <a:gd name="connsiteY208" fmla="*/ 1136650 h 6451600"/>
              <a:gd name="connsiteX209" fmla="*/ 3676651 w 5226051"/>
              <a:gd name="connsiteY209" fmla="*/ 1130300 h 6451600"/>
              <a:gd name="connsiteX210" fmla="*/ 3629026 w 5226051"/>
              <a:gd name="connsiteY210" fmla="*/ 1123950 h 6451600"/>
              <a:gd name="connsiteX211" fmla="*/ 3578226 w 5226051"/>
              <a:gd name="connsiteY211" fmla="*/ 1120775 h 6451600"/>
              <a:gd name="connsiteX212" fmla="*/ 3470276 w 5226051"/>
              <a:gd name="connsiteY212" fmla="*/ 1117600 h 6451600"/>
              <a:gd name="connsiteX213" fmla="*/ 3359151 w 5226051"/>
              <a:gd name="connsiteY213" fmla="*/ 1120775 h 6451600"/>
              <a:gd name="connsiteX214" fmla="*/ 3238501 w 5226051"/>
              <a:gd name="connsiteY214" fmla="*/ 1127125 h 6451600"/>
              <a:gd name="connsiteX215" fmla="*/ 3117851 w 5226051"/>
              <a:gd name="connsiteY215" fmla="*/ 1133475 h 6451600"/>
              <a:gd name="connsiteX216" fmla="*/ 2994026 w 5226051"/>
              <a:gd name="connsiteY216" fmla="*/ 1136650 h 6451600"/>
              <a:gd name="connsiteX217" fmla="*/ 2867026 w 5226051"/>
              <a:gd name="connsiteY217" fmla="*/ 1136650 h 6451600"/>
              <a:gd name="connsiteX218" fmla="*/ 2800351 w 5226051"/>
              <a:gd name="connsiteY218" fmla="*/ 1133475 h 6451600"/>
              <a:gd name="connsiteX219" fmla="*/ 2736851 w 5226051"/>
              <a:gd name="connsiteY219" fmla="*/ 1130300 h 6451600"/>
              <a:gd name="connsiteX220" fmla="*/ 2736851 w 5226051"/>
              <a:gd name="connsiteY220" fmla="*/ 190500 h 6451600"/>
              <a:gd name="connsiteX221" fmla="*/ 2743201 w 5226051"/>
              <a:gd name="connsiteY221" fmla="*/ 168275 h 6451600"/>
              <a:gd name="connsiteX222" fmla="*/ 2752726 w 5226051"/>
              <a:gd name="connsiteY222" fmla="*/ 149225 h 6451600"/>
              <a:gd name="connsiteX223" fmla="*/ 2762251 w 5226051"/>
              <a:gd name="connsiteY223" fmla="*/ 130175 h 6451600"/>
              <a:gd name="connsiteX224" fmla="*/ 2774951 w 5226051"/>
              <a:gd name="connsiteY224" fmla="*/ 114300 h 6451600"/>
              <a:gd name="connsiteX225" fmla="*/ 2787651 w 5226051"/>
              <a:gd name="connsiteY225" fmla="*/ 98425 h 6451600"/>
              <a:gd name="connsiteX226" fmla="*/ 2803526 w 5226051"/>
              <a:gd name="connsiteY226" fmla="*/ 85725 h 6451600"/>
              <a:gd name="connsiteX227" fmla="*/ 2838451 w 5226051"/>
              <a:gd name="connsiteY227" fmla="*/ 60325 h 6451600"/>
              <a:gd name="connsiteX228" fmla="*/ 2876551 w 5226051"/>
              <a:gd name="connsiteY228" fmla="*/ 41275 h 6451600"/>
              <a:gd name="connsiteX229" fmla="*/ 2921001 w 5226051"/>
              <a:gd name="connsiteY229" fmla="*/ 28575 h 6451600"/>
              <a:gd name="connsiteX230" fmla="*/ 2968626 w 5226051"/>
              <a:gd name="connsiteY230" fmla="*/ 19050 h 6451600"/>
              <a:gd name="connsiteX231" fmla="*/ 3019426 w 5226051"/>
              <a:gd name="connsiteY231" fmla="*/ 12700 h 6451600"/>
              <a:gd name="connsiteX232" fmla="*/ 387350 w 5226051"/>
              <a:gd name="connsiteY232" fmla="*/ 0 h 6451600"/>
              <a:gd name="connsiteX233" fmla="*/ 454025 w 5226051"/>
              <a:gd name="connsiteY233" fmla="*/ 3175 h 6451600"/>
              <a:gd name="connsiteX234" fmla="*/ 596900 w 5226051"/>
              <a:gd name="connsiteY234" fmla="*/ 9525 h 6451600"/>
              <a:gd name="connsiteX235" fmla="*/ 742950 w 5226051"/>
              <a:gd name="connsiteY235" fmla="*/ 12700 h 6451600"/>
              <a:gd name="connsiteX236" fmla="*/ 1809750 w 5226051"/>
              <a:gd name="connsiteY236" fmla="*/ 12700 h 6451600"/>
              <a:gd name="connsiteX237" fmla="*/ 2016125 w 5226051"/>
              <a:gd name="connsiteY237" fmla="*/ 9525 h 6451600"/>
              <a:gd name="connsiteX238" fmla="*/ 2117725 w 5226051"/>
              <a:gd name="connsiteY238" fmla="*/ 9525 h 6451600"/>
              <a:gd name="connsiteX239" fmla="*/ 2165350 w 5226051"/>
              <a:gd name="connsiteY239" fmla="*/ 12700 h 6451600"/>
              <a:gd name="connsiteX240" fmla="*/ 2212975 w 5226051"/>
              <a:gd name="connsiteY240" fmla="*/ 15875 h 6451600"/>
              <a:gd name="connsiteX241" fmla="*/ 2257425 w 5226051"/>
              <a:gd name="connsiteY241" fmla="*/ 22225 h 6451600"/>
              <a:gd name="connsiteX242" fmla="*/ 2301875 w 5226051"/>
              <a:gd name="connsiteY242" fmla="*/ 28575 h 6451600"/>
              <a:gd name="connsiteX243" fmla="*/ 2339975 w 5226051"/>
              <a:gd name="connsiteY243" fmla="*/ 41275 h 6451600"/>
              <a:gd name="connsiteX244" fmla="*/ 2374900 w 5226051"/>
              <a:gd name="connsiteY244" fmla="*/ 53975 h 6451600"/>
              <a:gd name="connsiteX245" fmla="*/ 2406650 w 5226051"/>
              <a:gd name="connsiteY245" fmla="*/ 73025 h 6451600"/>
              <a:gd name="connsiteX246" fmla="*/ 2432050 w 5226051"/>
              <a:gd name="connsiteY246" fmla="*/ 95250 h 6451600"/>
              <a:gd name="connsiteX247" fmla="*/ 2454275 w 5226051"/>
              <a:gd name="connsiteY247" fmla="*/ 120650 h 6451600"/>
              <a:gd name="connsiteX248" fmla="*/ 2470150 w 5226051"/>
              <a:gd name="connsiteY248" fmla="*/ 152400 h 6451600"/>
              <a:gd name="connsiteX249" fmla="*/ 2479675 w 5226051"/>
              <a:gd name="connsiteY249" fmla="*/ 177800 h 6451600"/>
              <a:gd name="connsiteX250" fmla="*/ 2486025 w 5226051"/>
              <a:gd name="connsiteY250" fmla="*/ 203200 h 6451600"/>
              <a:gd name="connsiteX251" fmla="*/ 2495550 w 5226051"/>
              <a:gd name="connsiteY251" fmla="*/ 263525 h 6451600"/>
              <a:gd name="connsiteX252" fmla="*/ 2498725 w 5226051"/>
              <a:gd name="connsiteY252" fmla="*/ 323850 h 6451600"/>
              <a:gd name="connsiteX253" fmla="*/ 2495550 w 5226051"/>
              <a:gd name="connsiteY253" fmla="*/ 390525 h 6451600"/>
              <a:gd name="connsiteX254" fmla="*/ 2489200 w 5226051"/>
              <a:gd name="connsiteY254" fmla="*/ 517525 h 6451600"/>
              <a:gd name="connsiteX255" fmla="*/ 2486025 w 5226051"/>
              <a:gd name="connsiteY255" fmla="*/ 581025 h 6451600"/>
              <a:gd name="connsiteX256" fmla="*/ 2482850 w 5226051"/>
              <a:gd name="connsiteY256" fmla="*/ 635000 h 6451600"/>
              <a:gd name="connsiteX257" fmla="*/ 2482850 w 5226051"/>
              <a:gd name="connsiteY257" fmla="*/ 1130300 h 6451600"/>
              <a:gd name="connsiteX258" fmla="*/ 2413000 w 5226051"/>
              <a:gd name="connsiteY258" fmla="*/ 1136650 h 6451600"/>
              <a:gd name="connsiteX259" fmla="*/ 2343150 w 5226051"/>
              <a:gd name="connsiteY259" fmla="*/ 1139825 h 6451600"/>
              <a:gd name="connsiteX260" fmla="*/ 2270125 w 5226051"/>
              <a:gd name="connsiteY260" fmla="*/ 1139825 h 6451600"/>
              <a:gd name="connsiteX261" fmla="*/ 2197100 w 5226051"/>
              <a:gd name="connsiteY261" fmla="*/ 1136650 h 6451600"/>
              <a:gd name="connsiteX262" fmla="*/ 2051050 w 5226051"/>
              <a:gd name="connsiteY262" fmla="*/ 1130300 h 6451600"/>
              <a:gd name="connsiteX263" fmla="*/ 1908175 w 5226051"/>
              <a:gd name="connsiteY263" fmla="*/ 1123950 h 6451600"/>
              <a:gd name="connsiteX264" fmla="*/ 1771650 w 5226051"/>
              <a:gd name="connsiteY264" fmla="*/ 1120775 h 6451600"/>
              <a:gd name="connsiteX265" fmla="*/ 1704975 w 5226051"/>
              <a:gd name="connsiteY265" fmla="*/ 1120775 h 6451600"/>
              <a:gd name="connsiteX266" fmla="*/ 1641475 w 5226051"/>
              <a:gd name="connsiteY266" fmla="*/ 1123950 h 6451600"/>
              <a:gd name="connsiteX267" fmla="*/ 1577975 w 5226051"/>
              <a:gd name="connsiteY267" fmla="*/ 1130300 h 6451600"/>
              <a:gd name="connsiteX268" fmla="*/ 1520825 w 5226051"/>
              <a:gd name="connsiteY268" fmla="*/ 1136650 h 6451600"/>
              <a:gd name="connsiteX269" fmla="*/ 1466850 w 5226051"/>
              <a:gd name="connsiteY269" fmla="*/ 1152525 h 6451600"/>
              <a:gd name="connsiteX270" fmla="*/ 1416050 w 5226051"/>
              <a:gd name="connsiteY270" fmla="*/ 1168400 h 6451600"/>
              <a:gd name="connsiteX271" fmla="*/ 1390650 w 5226051"/>
              <a:gd name="connsiteY271" fmla="*/ 1181100 h 6451600"/>
              <a:gd name="connsiteX272" fmla="*/ 1368425 w 5226051"/>
              <a:gd name="connsiteY272" fmla="*/ 1193800 h 6451600"/>
              <a:gd name="connsiteX273" fmla="*/ 1320800 w 5226051"/>
              <a:gd name="connsiteY273" fmla="*/ 1225550 h 6451600"/>
              <a:gd name="connsiteX274" fmla="*/ 1273175 w 5226051"/>
              <a:gd name="connsiteY274" fmla="*/ 1263650 h 6451600"/>
              <a:gd name="connsiteX275" fmla="*/ 1231900 w 5226051"/>
              <a:gd name="connsiteY275" fmla="*/ 1308100 h 6451600"/>
              <a:gd name="connsiteX276" fmla="*/ 1193800 w 5226051"/>
              <a:gd name="connsiteY276" fmla="*/ 1358900 h 6451600"/>
              <a:gd name="connsiteX277" fmla="*/ 1162050 w 5226051"/>
              <a:gd name="connsiteY277" fmla="*/ 1412875 h 6451600"/>
              <a:gd name="connsiteX278" fmla="*/ 1149350 w 5226051"/>
              <a:gd name="connsiteY278" fmla="*/ 1438275 h 6451600"/>
              <a:gd name="connsiteX279" fmla="*/ 1139825 w 5226051"/>
              <a:gd name="connsiteY279" fmla="*/ 1466850 h 6451600"/>
              <a:gd name="connsiteX280" fmla="*/ 1130300 w 5226051"/>
              <a:gd name="connsiteY280" fmla="*/ 1495425 h 6451600"/>
              <a:gd name="connsiteX281" fmla="*/ 1123950 w 5226051"/>
              <a:gd name="connsiteY281" fmla="*/ 1524000 h 6451600"/>
              <a:gd name="connsiteX282" fmla="*/ 1117600 w 5226051"/>
              <a:gd name="connsiteY282" fmla="*/ 1587500 h 6451600"/>
              <a:gd name="connsiteX283" fmla="*/ 1111250 w 5226051"/>
              <a:gd name="connsiteY283" fmla="*/ 1657350 h 6451600"/>
              <a:gd name="connsiteX284" fmla="*/ 1111250 w 5226051"/>
              <a:gd name="connsiteY284" fmla="*/ 1727200 h 6451600"/>
              <a:gd name="connsiteX285" fmla="*/ 1114425 w 5226051"/>
              <a:gd name="connsiteY285" fmla="*/ 1800225 h 6451600"/>
              <a:gd name="connsiteX286" fmla="*/ 1120775 w 5226051"/>
              <a:gd name="connsiteY286" fmla="*/ 1952625 h 6451600"/>
              <a:gd name="connsiteX287" fmla="*/ 1123950 w 5226051"/>
              <a:gd name="connsiteY287" fmla="*/ 2032000 h 6451600"/>
              <a:gd name="connsiteX288" fmla="*/ 1123950 w 5226051"/>
              <a:gd name="connsiteY288" fmla="*/ 2108200 h 6451600"/>
              <a:gd name="connsiteX289" fmla="*/ 1123950 w 5226051"/>
              <a:gd name="connsiteY289" fmla="*/ 3848100 h 6451600"/>
              <a:gd name="connsiteX290" fmla="*/ 387350 w 5226051"/>
              <a:gd name="connsiteY290" fmla="*/ 3848100 h 6451600"/>
              <a:gd name="connsiteX291" fmla="*/ 381000 w 5226051"/>
              <a:gd name="connsiteY291" fmla="*/ 3873500 h 6451600"/>
              <a:gd name="connsiteX292" fmla="*/ 374650 w 5226051"/>
              <a:gd name="connsiteY292" fmla="*/ 3898900 h 6451600"/>
              <a:gd name="connsiteX293" fmla="*/ 374650 w 5226051"/>
              <a:gd name="connsiteY293" fmla="*/ 3930650 h 6451600"/>
              <a:gd name="connsiteX294" fmla="*/ 374650 w 5226051"/>
              <a:gd name="connsiteY294" fmla="*/ 3962400 h 6451600"/>
              <a:gd name="connsiteX295" fmla="*/ 374650 w 5226051"/>
              <a:gd name="connsiteY295" fmla="*/ 4029075 h 6451600"/>
              <a:gd name="connsiteX296" fmla="*/ 374650 w 5226051"/>
              <a:gd name="connsiteY296" fmla="*/ 4060825 h 6451600"/>
              <a:gd name="connsiteX297" fmla="*/ 374650 w 5226051"/>
              <a:gd name="connsiteY297" fmla="*/ 4089400 h 6451600"/>
              <a:gd name="connsiteX298" fmla="*/ 460375 w 5226051"/>
              <a:gd name="connsiteY298" fmla="*/ 4098925 h 6451600"/>
              <a:gd name="connsiteX299" fmla="*/ 552450 w 5226051"/>
              <a:gd name="connsiteY299" fmla="*/ 4102100 h 6451600"/>
              <a:gd name="connsiteX300" fmla="*/ 644525 w 5226051"/>
              <a:gd name="connsiteY300" fmla="*/ 4105275 h 6451600"/>
              <a:gd name="connsiteX301" fmla="*/ 742950 w 5226051"/>
              <a:gd name="connsiteY301" fmla="*/ 4105275 h 6451600"/>
              <a:gd name="connsiteX302" fmla="*/ 936625 w 5226051"/>
              <a:gd name="connsiteY302" fmla="*/ 4102100 h 6451600"/>
              <a:gd name="connsiteX303" fmla="*/ 1031875 w 5226051"/>
              <a:gd name="connsiteY303" fmla="*/ 4102100 h 6451600"/>
              <a:gd name="connsiteX304" fmla="*/ 1123950 w 5226051"/>
              <a:gd name="connsiteY304" fmla="*/ 4102100 h 6451600"/>
              <a:gd name="connsiteX305" fmla="*/ 1123950 w 5226051"/>
              <a:gd name="connsiteY305" fmla="*/ 4133850 h 6451600"/>
              <a:gd name="connsiteX306" fmla="*/ 1123950 w 5226051"/>
              <a:gd name="connsiteY306" fmla="*/ 4168775 h 6451600"/>
              <a:gd name="connsiteX307" fmla="*/ 1127125 w 5226051"/>
              <a:gd name="connsiteY307" fmla="*/ 4238625 h 6451600"/>
              <a:gd name="connsiteX308" fmla="*/ 1127125 w 5226051"/>
              <a:gd name="connsiteY308" fmla="*/ 4270375 h 6451600"/>
              <a:gd name="connsiteX309" fmla="*/ 1123950 w 5226051"/>
              <a:gd name="connsiteY309" fmla="*/ 4302125 h 6451600"/>
              <a:gd name="connsiteX310" fmla="*/ 1120775 w 5226051"/>
              <a:gd name="connsiteY310" fmla="*/ 4330700 h 6451600"/>
              <a:gd name="connsiteX311" fmla="*/ 1111250 w 5226051"/>
              <a:gd name="connsiteY311" fmla="*/ 4356100 h 6451600"/>
              <a:gd name="connsiteX312" fmla="*/ 387350 w 5226051"/>
              <a:gd name="connsiteY312" fmla="*/ 4356100 h 6451600"/>
              <a:gd name="connsiteX313" fmla="*/ 377825 w 5226051"/>
              <a:gd name="connsiteY313" fmla="*/ 4381500 h 6451600"/>
              <a:gd name="connsiteX314" fmla="*/ 374650 w 5226051"/>
              <a:gd name="connsiteY314" fmla="*/ 4406900 h 6451600"/>
              <a:gd name="connsiteX315" fmla="*/ 371475 w 5226051"/>
              <a:gd name="connsiteY315" fmla="*/ 4438650 h 6451600"/>
              <a:gd name="connsiteX316" fmla="*/ 374650 w 5226051"/>
              <a:gd name="connsiteY316" fmla="*/ 4470400 h 6451600"/>
              <a:gd name="connsiteX317" fmla="*/ 374650 w 5226051"/>
              <a:gd name="connsiteY317" fmla="*/ 4537075 h 6451600"/>
              <a:gd name="connsiteX318" fmla="*/ 377825 w 5226051"/>
              <a:gd name="connsiteY318" fmla="*/ 4568825 h 6451600"/>
              <a:gd name="connsiteX319" fmla="*/ 374650 w 5226051"/>
              <a:gd name="connsiteY319" fmla="*/ 4597400 h 6451600"/>
              <a:gd name="connsiteX320" fmla="*/ 1123950 w 5226051"/>
              <a:gd name="connsiteY320" fmla="*/ 4597400 h 6451600"/>
              <a:gd name="connsiteX321" fmla="*/ 1123950 w 5226051"/>
              <a:gd name="connsiteY321" fmla="*/ 5080000 h 6451600"/>
              <a:gd name="connsiteX322" fmla="*/ 990600 w 5226051"/>
              <a:gd name="connsiteY322" fmla="*/ 5089525 h 6451600"/>
              <a:gd name="connsiteX323" fmla="*/ 854075 w 5226051"/>
              <a:gd name="connsiteY323" fmla="*/ 5095875 h 6451600"/>
              <a:gd name="connsiteX324" fmla="*/ 714375 w 5226051"/>
              <a:gd name="connsiteY324" fmla="*/ 5095875 h 6451600"/>
              <a:gd name="connsiteX325" fmla="*/ 574675 w 5226051"/>
              <a:gd name="connsiteY325" fmla="*/ 5095875 h 6451600"/>
              <a:gd name="connsiteX326" fmla="*/ 288925 w 5226051"/>
              <a:gd name="connsiteY326" fmla="*/ 5092700 h 6451600"/>
              <a:gd name="connsiteX327" fmla="*/ 146050 w 5226051"/>
              <a:gd name="connsiteY327" fmla="*/ 5092700 h 6451600"/>
              <a:gd name="connsiteX328" fmla="*/ 6350 w 5226051"/>
              <a:gd name="connsiteY328" fmla="*/ 5092700 h 6451600"/>
              <a:gd name="connsiteX329" fmla="*/ 6350 w 5226051"/>
              <a:gd name="connsiteY329" fmla="*/ 762000 h 6451600"/>
              <a:gd name="connsiteX330" fmla="*/ 3175 w 5226051"/>
              <a:gd name="connsiteY330" fmla="*/ 631825 h 6451600"/>
              <a:gd name="connsiteX331" fmla="*/ 0 w 5226051"/>
              <a:gd name="connsiteY331" fmla="*/ 508000 h 6451600"/>
              <a:gd name="connsiteX332" fmla="*/ 0 w 5226051"/>
              <a:gd name="connsiteY332" fmla="*/ 387350 h 6451600"/>
              <a:gd name="connsiteX333" fmla="*/ 3175 w 5226051"/>
              <a:gd name="connsiteY333" fmla="*/ 330200 h 6451600"/>
              <a:gd name="connsiteX334" fmla="*/ 9525 w 5226051"/>
              <a:gd name="connsiteY334" fmla="*/ 279400 h 6451600"/>
              <a:gd name="connsiteX335" fmla="*/ 15875 w 5226051"/>
              <a:gd name="connsiteY335" fmla="*/ 228600 h 6451600"/>
              <a:gd name="connsiteX336" fmla="*/ 28575 w 5226051"/>
              <a:gd name="connsiteY336" fmla="*/ 180975 h 6451600"/>
              <a:gd name="connsiteX337" fmla="*/ 44450 w 5226051"/>
              <a:gd name="connsiteY337" fmla="*/ 139700 h 6451600"/>
              <a:gd name="connsiteX338" fmla="*/ 66675 w 5226051"/>
              <a:gd name="connsiteY338" fmla="*/ 104775 h 6451600"/>
              <a:gd name="connsiteX339" fmla="*/ 79375 w 5226051"/>
              <a:gd name="connsiteY339" fmla="*/ 85725 h 6451600"/>
              <a:gd name="connsiteX340" fmla="*/ 92075 w 5226051"/>
              <a:gd name="connsiteY340" fmla="*/ 73025 h 6451600"/>
              <a:gd name="connsiteX341" fmla="*/ 107950 w 5226051"/>
              <a:gd name="connsiteY341" fmla="*/ 57150 h 6451600"/>
              <a:gd name="connsiteX342" fmla="*/ 123825 w 5226051"/>
              <a:gd name="connsiteY342" fmla="*/ 47625 h 6451600"/>
              <a:gd name="connsiteX343" fmla="*/ 142875 w 5226051"/>
              <a:gd name="connsiteY343" fmla="*/ 34925 h 6451600"/>
              <a:gd name="connsiteX344" fmla="*/ 161925 w 5226051"/>
              <a:gd name="connsiteY344" fmla="*/ 25400 h 6451600"/>
              <a:gd name="connsiteX345" fmla="*/ 184150 w 5226051"/>
              <a:gd name="connsiteY345" fmla="*/ 19050 h 6451600"/>
              <a:gd name="connsiteX346" fmla="*/ 209550 w 5226051"/>
              <a:gd name="connsiteY346" fmla="*/ 12700 h 6451600"/>
              <a:gd name="connsiteX347" fmla="*/ 263525 w 5226051"/>
              <a:gd name="connsiteY347" fmla="*/ 6350 h 6451600"/>
              <a:gd name="connsiteX348" fmla="*/ 320675 w 5226051"/>
              <a:gd name="connsiteY348" fmla="*/ 3175 h 645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Lst>
            <a:rect l="l" t="t" r="r" b="b"/>
            <a:pathLst>
              <a:path w="5226051" h="6451600">
                <a:moveTo>
                  <a:pt x="1771650" y="5702301"/>
                </a:moveTo>
                <a:lnTo>
                  <a:pt x="1762125" y="5711826"/>
                </a:lnTo>
                <a:lnTo>
                  <a:pt x="1755775" y="5721351"/>
                </a:lnTo>
                <a:lnTo>
                  <a:pt x="1749425" y="5734051"/>
                </a:lnTo>
                <a:lnTo>
                  <a:pt x="1746250" y="5749926"/>
                </a:lnTo>
                <a:lnTo>
                  <a:pt x="1743075" y="5784851"/>
                </a:lnTo>
                <a:lnTo>
                  <a:pt x="1746250" y="5822951"/>
                </a:lnTo>
                <a:lnTo>
                  <a:pt x="1749425" y="5861051"/>
                </a:lnTo>
                <a:lnTo>
                  <a:pt x="1749425" y="5899151"/>
                </a:lnTo>
                <a:lnTo>
                  <a:pt x="1746250" y="5930901"/>
                </a:lnTo>
                <a:lnTo>
                  <a:pt x="1739900" y="5946776"/>
                </a:lnTo>
                <a:lnTo>
                  <a:pt x="1733550" y="5956301"/>
                </a:lnTo>
                <a:lnTo>
                  <a:pt x="3486150" y="5956301"/>
                </a:lnTo>
                <a:lnTo>
                  <a:pt x="3486150" y="5715001"/>
                </a:lnTo>
                <a:lnTo>
                  <a:pt x="3279775" y="5708651"/>
                </a:lnTo>
                <a:lnTo>
                  <a:pt x="3067050" y="5702301"/>
                </a:lnTo>
                <a:lnTo>
                  <a:pt x="2854325" y="5702301"/>
                </a:lnTo>
                <a:lnTo>
                  <a:pt x="2638425" y="5702301"/>
                </a:lnTo>
                <a:lnTo>
                  <a:pt x="2203450" y="5705476"/>
                </a:lnTo>
                <a:lnTo>
                  <a:pt x="1987550" y="5705476"/>
                </a:lnTo>
                <a:close/>
                <a:moveTo>
                  <a:pt x="1746250" y="5219701"/>
                </a:moveTo>
                <a:lnTo>
                  <a:pt x="1746250" y="5264151"/>
                </a:lnTo>
                <a:lnTo>
                  <a:pt x="1746250" y="5327651"/>
                </a:lnTo>
                <a:lnTo>
                  <a:pt x="1746250" y="5397501"/>
                </a:lnTo>
                <a:lnTo>
                  <a:pt x="1746250" y="5461001"/>
                </a:lnTo>
                <a:lnTo>
                  <a:pt x="3473450" y="5461001"/>
                </a:lnTo>
                <a:lnTo>
                  <a:pt x="3482975" y="5438776"/>
                </a:lnTo>
                <a:lnTo>
                  <a:pt x="3486150" y="5410201"/>
                </a:lnTo>
                <a:lnTo>
                  <a:pt x="3489325" y="5381626"/>
                </a:lnTo>
                <a:lnTo>
                  <a:pt x="3489325" y="5349876"/>
                </a:lnTo>
                <a:lnTo>
                  <a:pt x="3486150" y="5283201"/>
                </a:lnTo>
                <a:lnTo>
                  <a:pt x="3486150" y="5251451"/>
                </a:lnTo>
                <a:lnTo>
                  <a:pt x="3486150" y="5219701"/>
                </a:lnTo>
                <a:close/>
                <a:moveTo>
                  <a:pt x="1758950" y="2120901"/>
                </a:moveTo>
                <a:lnTo>
                  <a:pt x="1749425" y="2143126"/>
                </a:lnTo>
                <a:lnTo>
                  <a:pt x="1746250" y="2171701"/>
                </a:lnTo>
                <a:lnTo>
                  <a:pt x="1746250" y="2203451"/>
                </a:lnTo>
                <a:lnTo>
                  <a:pt x="1746250" y="2235201"/>
                </a:lnTo>
                <a:lnTo>
                  <a:pt x="1749425" y="2301876"/>
                </a:lnTo>
                <a:lnTo>
                  <a:pt x="1749425" y="2333626"/>
                </a:lnTo>
                <a:lnTo>
                  <a:pt x="1746250" y="2362201"/>
                </a:lnTo>
                <a:lnTo>
                  <a:pt x="3486150" y="2362201"/>
                </a:lnTo>
                <a:lnTo>
                  <a:pt x="3486150" y="2120901"/>
                </a:lnTo>
                <a:close/>
                <a:moveTo>
                  <a:pt x="3321050" y="1352550"/>
                </a:moveTo>
                <a:lnTo>
                  <a:pt x="3397250" y="1355725"/>
                </a:lnTo>
                <a:lnTo>
                  <a:pt x="3473450" y="1358900"/>
                </a:lnTo>
                <a:lnTo>
                  <a:pt x="3543300" y="1365250"/>
                </a:lnTo>
                <a:lnTo>
                  <a:pt x="3606800" y="1371600"/>
                </a:lnTo>
                <a:lnTo>
                  <a:pt x="3667125" y="1384300"/>
                </a:lnTo>
                <a:lnTo>
                  <a:pt x="3717925" y="1403350"/>
                </a:lnTo>
                <a:lnTo>
                  <a:pt x="3740150" y="1412875"/>
                </a:lnTo>
                <a:lnTo>
                  <a:pt x="3759200" y="1422400"/>
                </a:lnTo>
                <a:lnTo>
                  <a:pt x="3778250" y="1435100"/>
                </a:lnTo>
                <a:lnTo>
                  <a:pt x="3790950" y="1447800"/>
                </a:lnTo>
                <a:lnTo>
                  <a:pt x="3806825" y="1466850"/>
                </a:lnTo>
                <a:lnTo>
                  <a:pt x="3816350" y="1485900"/>
                </a:lnTo>
                <a:lnTo>
                  <a:pt x="3829050" y="1511300"/>
                </a:lnTo>
                <a:lnTo>
                  <a:pt x="3835400" y="1539875"/>
                </a:lnTo>
                <a:lnTo>
                  <a:pt x="3841750" y="1571625"/>
                </a:lnTo>
                <a:lnTo>
                  <a:pt x="3848100" y="1606550"/>
                </a:lnTo>
                <a:lnTo>
                  <a:pt x="3854450" y="1682750"/>
                </a:lnTo>
                <a:lnTo>
                  <a:pt x="3857625" y="1762125"/>
                </a:lnTo>
                <a:lnTo>
                  <a:pt x="3857625" y="1847850"/>
                </a:lnTo>
                <a:lnTo>
                  <a:pt x="3854450" y="2019300"/>
                </a:lnTo>
                <a:lnTo>
                  <a:pt x="3854450" y="6451600"/>
                </a:lnTo>
                <a:lnTo>
                  <a:pt x="1365250" y="6451600"/>
                </a:lnTo>
                <a:lnTo>
                  <a:pt x="1365250" y="2133600"/>
                </a:lnTo>
                <a:lnTo>
                  <a:pt x="1362075" y="1997075"/>
                </a:lnTo>
                <a:lnTo>
                  <a:pt x="1358900" y="1866900"/>
                </a:lnTo>
                <a:lnTo>
                  <a:pt x="1358900" y="1746250"/>
                </a:lnTo>
                <a:lnTo>
                  <a:pt x="1362075" y="1689100"/>
                </a:lnTo>
                <a:lnTo>
                  <a:pt x="1368425" y="1635125"/>
                </a:lnTo>
                <a:lnTo>
                  <a:pt x="1377950" y="1584325"/>
                </a:lnTo>
                <a:lnTo>
                  <a:pt x="1390650" y="1536700"/>
                </a:lnTo>
                <a:lnTo>
                  <a:pt x="1409700" y="1495425"/>
                </a:lnTo>
                <a:lnTo>
                  <a:pt x="1419225" y="1479550"/>
                </a:lnTo>
                <a:lnTo>
                  <a:pt x="1431925" y="1460500"/>
                </a:lnTo>
                <a:lnTo>
                  <a:pt x="1447800" y="1444625"/>
                </a:lnTo>
                <a:lnTo>
                  <a:pt x="1463675" y="1428750"/>
                </a:lnTo>
                <a:lnTo>
                  <a:pt x="1479550" y="1416050"/>
                </a:lnTo>
                <a:lnTo>
                  <a:pt x="1498600" y="1403350"/>
                </a:lnTo>
                <a:lnTo>
                  <a:pt x="1520825" y="1393825"/>
                </a:lnTo>
                <a:lnTo>
                  <a:pt x="1543050" y="1384300"/>
                </a:lnTo>
                <a:lnTo>
                  <a:pt x="1568450" y="1377950"/>
                </a:lnTo>
                <a:lnTo>
                  <a:pt x="1593850" y="1371600"/>
                </a:lnTo>
                <a:lnTo>
                  <a:pt x="1660525" y="1362075"/>
                </a:lnTo>
                <a:lnTo>
                  <a:pt x="1730375" y="1358900"/>
                </a:lnTo>
                <a:lnTo>
                  <a:pt x="1800225" y="1358900"/>
                </a:lnTo>
                <a:lnTo>
                  <a:pt x="1873250" y="1362075"/>
                </a:lnTo>
                <a:lnTo>
                  <a:pt x="2022475" y="1368425"/>
                </a:lnTo>
                <a:lnTo>
                  <a:pt x="2095500" y="1371600"/>
                </a:lnTo>
                <a:lnTo>
                  <a:pt x="2165350" y="1371600"/>
                </a:lnTo>
                <a:lnTo>
                  <a:pt x="2736850" y="1371600"/>
                </a:lnTo>
                <a:lnTo>
                  <a:pt x="2860675" y="1368425"/>
                </a:lnTo>
                <a:lnTo>
                  <a:pt x="3006725" y="1362075"/>
                </a:lnTo>
                <a:lnTo>
                  <a:pt x="3162300" y="1355725"/>
                </a:lnTo>
                <a:close/>
                <a:moveTo>
                  <a:pt x="3117851" y="762001"/>
                </a:moveTo>
                <a:lnTo>
                  <a:pt x="3111501" y="784226"/>
                </a:lnTo>
                <a:lnTo>
                  <a:pt x="3105151" y="812801"/>
                </a:lnTo>
                <a:lnTo>
                  <a:pt x="3105151" y="841376"/>
                </a:lnTo>
                <a:lnTo>
                  <a:pt x="3105151" y="876301"/>
                </a:lnTo>
                <a:lnTo>
                  <a:pt x="3108326" y="939801"/>
                </a:lnTo>
                <a:lnTo>
                  <a:pt x="3108326" y="974726"/>
                </a:lnTo>
                <a:lnTo>
                  <a:pt x="3105151" y="1003301"/>
                </a:lnTo>
                <a:lnTo>
                  <a:pt x="4845051" y="1003301"/>
                </a:lnTo>
                <a:lnTo>
                  <a:pt x="4845051" y="762001"/>
                </a:lnTo>
                <a:close/>
                <a:moveTo>
                  <a:pt x="387350" y="762001"/>
                </a:moveTo>
                <a:lnTo>
                  <a:pt x="381000" y="784226"/>
                </a:lnTo>
                <a:lnTo>
                  <a:pt x="374650" y="815976"/>
                </a:lnTo>
                <a:lnTo>
                  <a:pt x="371475" y="847726"/>
                </a:lnTo>
                <a:lnTo>
                  <a:pt x="371475" y="882651"/>
                </a:lnTo>
                <a:lnTo>
                  <a:pt x="374650" y="917576"/>
                </a:lnTo>
                <a:lnTo>
                  <a:pt x="377825" y="949326"/>
                </a:lnTo>
                <a:lnTo>
                  <a:pt x="381000" y="981076"/>
                </a:lnTo>
                <a:lnTo>
                  <a:pt x="387350" y="1003301"/>
                </a:lnTo>
                <a:lnTo>
                  <a:pt x="2114550" y="1003301"/>
                </a:lnTo>
                <a:lnTo>
                  <a:pt x="2114550" y="762001"/>
                </a:lnTo>
                <a:close/>
                <a:moveTo>
                  <a:pt x="3073401" y="6350"/>
                </a:moveTo>
                <a:lnTo>
                  <a:pt x="3127376" y="6350"/>
                </a:lnTo>
                <a:lnTo>
                  <a:pt x="3248026" y="6350"/>
                </a:lnTo>
                <a:lnTo>
                  <a:pt x="3368676" y="9525"/>
                </a:lnTo>
                <a:lnTo>
                  <a:pt x="3486151" y="12700"/>
                </a:lnTo>
                <a:lnTo>
                  <a:pt x="4578351" y="12700"/>
                </a:lnTo>
                <a:lnTo>
                  <a:pt x="4679951" y="12700"/>
                </a:lnTo>
                <a:lnTo>
                  <a:pt x="4778376" y="9525"/>
                </a:lnTo>
                <a:lnTo>
                  <a:pt x="4873626" y="9525"/>
                </a:lnTo>
                <a:lnTo>
                  <a:pt x="4921251" y="12700"/>
                </a:lnTo>
                <a:lnTo>
                  <a:pt x="4965701" y="15875"/>
                </a:lnTo>
                <a:lnTo>
                  <a:pt x="5006976" y="22225"/>
                </a:lnTo>
                <a:lnTo>
                  <a:pt x="5045076" y="31750"/>
                </a:lnTo>
                <a:lnTo>
                  <a:pt x="5080001" y="41275"/>
                </a:lnTo>
                <a:lnTo>
                  <a:pt x="5111751" y="57150"/>
                </a:lnTo>
                <a:lnTo>
                  <a:pt x="5140326" y="79375"/>
                </a:lnTo>
                <a:lnTo>
                  <a:pt x="5165726" y="101600"/>
                </a:lnTo>
                <a:lnTo>
                  <a:pt x="5187951" y="130175"/>
                </a:lnTo>
                <a:lnTo>
                  <a:pt x="5200651" y="165100"/>
                </a:lnTo>
                <a:lnTo>
                  <a:pt x="5210176" y="190500"/>
                </a:lnTo>
                <a:lnTo>
                  <a:pt x="5216526" y="219075"/>
                </a:lnTo>
                <a:lnTo>
                  <a:pt x="5222876" y="285750"/>
                </a:lnTo>
                <a:lnTo>
                  <a:pt x="5226051" y="361950"/>
                </a:lnTo>
                <a:lnTo>
                  <a:pt x="5226051" y="444500"/>
                </a:lnTo>
                <a:lnTo>
                  <a:pt x="5219701" y="612775"/>
                </a:lnTo>
                <a:lnTo>
                  <a:pt x="5216526" y="695325"/>
                </a:lnTo>
                <a:lnTo>
                  <a:pt x="5213351" y="774700"/>
                </a:lnTo>
                <a:lnTo>
                  <a:pt x="5213351" y="5092700"/>
                </a:lnTo>
                <a:lnTo>
                  <a:pt x="5073651" y="5092700"/>
                </a:lnTo>
                <a:lnTo>
                  <a:pt x="4933951" y="5092700"/>
                </a:lnTo>
                <a:lnTo>
                  <a:pt x="4648201" y="5095875"/>
                </a:lnTo>
                <a:lnTo>
                  <a:pt x="4505326" y="5095875"/>
                </a:lnTo>
                <a:lnTo>
                  <a:pt x="4365626" y="5095875"/>
                </a:lnTo>
                <a:lnTo>
                  <a:pt x="4229101" y="5089525"/>
                </a:lnTo>
                <a:lnTo>
                  <a:pt x="4095751" y="5080000"/>
                </a:lnTo>
                <a:lnTo>
                  <a:pt x="4095751" y="4597400"/>
                </a:lnTo>
                <a:lnTo>
                  <a:pt x="4832351" y="4597400"/>
                </a:lnTo>
                <a:lnTo>
                  <a:pt x="4841876" y="4575175"/>
                </a:lnTo>
                <a:lnTo>
                  <a:pt x="4848226" y="4546600"/>
                </a:lnTo>
                <a:lnTo>
                  <a:pt x="4848226" y="4518025"/>
                </a:lnTo>
                <a:lnTo>
                  <a:pt x="4848226" y="4486275"/>
                </a:lnTo>
                <a:lnTo>
                  <a:pt x="4845051" y="4419600"/>
                </a:lnTo>
                <a:lnTo>
                  <a:pt x="4845051" y="4387850"/>
                </a:lnTo>
                <a:lnTo>
                  <a:pt x="4845051" y="4356100"/>
                </a:lnTo>
                <a:lnTo>
                  <a:pt x="4108451" y="4356100"/>
                </a:lnTo>
                <a:lnTo>
                  <a:pt x="4102101" y="4330700"/>
                </a:lnTo>
                <a:lnTo>
                  <a:pt x="4095751" y="4302125"/>
                </a:lnTo>
                <a:lnTo>
                  <a:pt x="4095751" y="4270375"/>
                </a:lnTo>
                <a:lnTo>
                  <a:pt x="4095751" y="4238625"/>
                </a:lnTo>
                <a:lnTo>
                  <a:pt x="4098926" y="4168775"/>
                </a:lnTo>
                <a:lnTo>
                  <a:pt x="4098926" y="4133850"/>
                </a:lnTo>
                <a:lnTo>
                  <a:pt x="4095751" y="4102100"/>
                </a:lnTo>
                <a:lnTo>
                  <a:pt x="4832351" y="4102100"/>
                </a:lnTo>
                <a:lnTo>
                  <a:pt x="4841876" y="4079875"/>
                </a:lnTo>
                <a:lnTo>
                  <a:pt x="4848226" y="4051300"/>
                </a:lnTo>
                <a:lnTo>
                  <a:pt x="4848226" y="4022725"/>
                </a:lnTo>
                <a:lnTo>
                  <a:pt x="4848226" y="3990975"/>
                </a:lnTo>
                <a:lnTo>
                  <a:pt x="4845051" y="3924300"/>
                </a:lnTo>
                <a:lnTo>
                  <a:pt x="4845051" y="3892550"/>
                </a:lnTo>
                <a:lnTo>
                  <a:pt x="4845051" y="3860800"/>
                </a:lnTo>
                <a:lnTo>
                  <a:pt x="4759326" y="3854450"/>
                </a:lnTo>
                <a:lnTo>
                  <a:pt x="4670426" y="3848100"/>
                </a:lnTo>
                <a:lnTo>
                  <a:pt x="4575176" y="3848100"/>
                </a:lnTo>
                <a:lnTo>
                  <a:pt x="4479926" y="3848100"/>
                </a:lnTo>
                <a:lnTo>
                  <a:pt x="4286251" y="3851275"/>
                </a:lnTo>
                <a:lnTo>
                  <a:pt x="4191001" y="3851275"/>
                </a:lnTo>
                <a:lnTo>
                  <a:pt x="4095751" y="3848100"/>
                </a:lnTo>
                <a:lnTo>
                  <a:pt x="4095751" y="2095500"/>
                </a:lnTo>
                <a:lnTo>
                  <a:pt x="4098926" y="2012950"/>
                </a:lnTo>
                <a:lnTo>
                  <a:pt x="4102101" y="1924050"/>
                </a:lnTo>
                <a:lnTo>
                  <a:pt x="4105276" y="1746250"/>
                </a:lnTo>
                <a:lnTo>
                  <a:pt x="4105276" y="1660525"/>
                </a:lnTo>
                <a:lnTo>
                  <a:pt x="4102101" y="1581150"/>
                </a:lnTo>
                <a:lnTo>
                  <a:pt x="4095751" y="1546225"/>
                </a:lnTo>
                <a:lnTo>
                  <a:pt x="4089401" y="1511300"/>
                </a:lnTo>
                <a:lnTo>
                  <a:pt x="4083051" y="1476375"/>
                </a:lnTo>
                <a:lnTo>
                  <a:pt x="4070351" y="1447800"/>
                </a:lnTo>
                <a:lnTo>
                  <a:pt x="4057651" y="1419225"/>
                </a:lnTo>
                <a:lnTo>
                  <a:pt x="4044951" y="1390650"/>
                </a:lnTo>
                <a:lnTo>
                  <a:pt x="4025901" y="1362075"/>
                </a:lnTo>
                <a:lnTo>
                  <a:pt x="4010026" y="1333500"/>
                </a:lnTo>
                <a:lnTo>
                  <a:pt x="3987801" y="1308100"/>
                </a:lnTo>
                <a:lnTo>
                  <a:pt x="3968751" y="1285875"/>
                </a:lnTo>
                <a:lnTo>
                  <a:pt x="3946526" y="1260475"/>
                </a:lnTo>
                <a:lnTo>
                  <a:pt x="3921126" y="1238250"/>
                </a:lnTo>
                <a:lnTo>
                  <a:pt x="3895726" y="1219200"/>
                </a:lnTo>
                <a:lnTo>
                  <a:pt x="3867151" y="1200150"/>
                </a:lnTo>
                <a:lnTo>
                  <a:pt x="3838576" y="1184275"/>
                </a:lnTo>
                <a:lnTo>
                  <a:pt x="3810001" y="1168400"/>
                </a:lnTo>
                <a:lnTo>
                  <a:pt x="3778251" y="1155700"/>
                </a:lnTo>
                <a:lnTo>
                  <a:pt x="3746501" y="1146175"/>
                </a:lnTo>
                <a:lnTo>
                  <a:pt x="3711576" y="1136650"/>
                </a:lnTo>
                <a:lnTo>
                  <a:pt x="3676651" y="1130300"/>
                </a:lnTo>
                <a:lnTo>
                  <a:pt x="3629026" y="1123950"/>
                </a:lnTo>
                <a:lnTo>
                  <a:pt x="3578226" y="1120775"/>
                </a:lnTo>
                <a:lnTo>
                  <a:pt x="3470276" y="1117600"/>
                </a:lnTo>
                <a:lnTo>
                  <a:pt x="3359151" y="1120775"/>
                </a:lnTo>
                <a:lnTo>
                  <a:pt x="3238501" y="1127125"/>
                </a:lnTo>
                <a:lnTo>
                  <a:pt x="3117851" y="1133475"/>
                </a:lnTo>
                <a:lnTo>
                  <a:pt x="2994026" y="1136650"/>
                </a:lnTo>
                <a:lnTo>
                  <a:pt x="2867026" y="1136650"/>
                </a:lnTo>
                <a:lnTo>
                  <a:pt x="2800351" y="1133475"/>
                </a:lnTo>
                <a:lnTo>
                  <a:pt x="2736851" y="1130300"/>
                </a:lnTo>
                <a:lnTo>
                  <a:pt x="2736851" y="190500"/>
                </a:lnTo>
                <a:lnTo>
                  <a:pt x="2743201" y="168275"/>
                </a:lnTo>
                <a:lnTo>
                  <a:pt x="2752726" y="149225"/>
                </a:lnTo>
                <a:lnTo>
                  <a:pt x="2762251" y="130175"/>
                </a:lnTo>
                <a:lnTo>
                  <a:pt x="2774951" y="114300"/>
                </a:lnTo>
                <a:lnTo>
                  <a:pt x="2787651" y="98425"/>
                </a:lnTo>
                <a:lnTo>
                  <a:pt x="2803526" y="85725"/>
                </a:lnTo>
                <a:lnTo>
                  <a:pt x="2838451" y="60325"/>
                </a:lnTo>
                <a:lnTo>
                  <a:pt x="2876551" y="41275"/>
                </a:lnTo>
                <a:lnTo>
                  <a:pt x="2921001" y="28575"/>
                </a:lnTo>
                <a:lnTo>
                  <a:pt x="2968626" y="19050"/>
                </a:lnTo>
                <a:lnTo>
                  <a:pt x="3019426" y="12700"/>
                </a:lnTo>
                <a:close/>
                <a:moveTo>
                  <a:pt x="387350" y="0"/>
                </a:moveTo>
                <a:lnTo>
                  <a:pt x="454025" y="3175"/>
                </a:lnTo>
                <a:lnTo>
                  <a:pt x="596900" y="9525"/>
                </a:lnTo>
                <a:lnTo>
                  <a:pt x="742950" y="12700"/>
                </a:lnTo>
                <a:lnTo>
                  <a:pt x="1809750" y="12700"/>
                </a:lnTo>
                <a:lnTo>
                  <a:pt x="2016125" y="9525"/>
                </a:lnTo>
                <a:lnTo>
                  <a:pt x="2117725" y="9525"/>
                </a:lnTo>
                <a:lnTo>
                  <a:pt x="2165350" y="12700"/>
                </a:lnTo>
                <a:lnTo>
                  <a:pt x="2212975" y="15875"/>
                </a:lnTo>
                <a:lnTo>
                  <a:pt x="2257425" y="22225"/>
                </a:lnTo>
                <a:lnTo>
                  <a:pt x="2301875" y="28575"/>
                </a:lnTo>
                <a:lnTo>
                  <a:pt x="2339975" y="41275"/>
                </a:lnTo>
                <a:lnTo>
                  <a:pt x="2374900" y="53975"/>
                </a:lnTo>
                <a:lnTo>
                  <a:pt x="2406650" y="73025"/>
                </a:lnTo>
                <a:lnTo>
                  <a:pt x="2432050" y="95250"/>
                </a:lnTo>
                <a:lnTo>
                  <a:pt x="2454275" y="120650"/>
                </a:lnTo>
                <a:lnTo>
                  <a:pt x="2470150" y="152400"/>
                </a:lnTo>
                <a:lnTo>
                  <a:pt x="2479675" y="177800"/>
                </a:lnTo>
                <a:lnTo>
                  <a:pt x="2486025" y="203200"/>
                </a:lnTo>
                <a:lnTo>
                  <a:pt x="2495550" y="263525"/>
                </a:lnTo>
                <a:lnTo>
                  <a:pt x="2498725" y="323850"/>
                </a:lnTo>
                <a:lnTo>
                  <a:pt x="2495550" y="390525"/>
                </a:lnTo>
                <a:lnTo>
                  <a:pt x="2489200" y="517525"/>
                </a:lnTo>
                <a:lnTo>
                  <a:pt x="2486025" y="581025"/>
                </a:lnTo>
                <a:lnTo>
                  <a:pt x="2482850" y="635000"/>
                </a:lnTo>
                <a:lnTo>
                  <a:pt x="2482850" y="1130300"/>
                </a:lnTo>
                <a:lnTo>
                  <a:pt x="2413000" y="1136650"/>
                </a:lnTo>
                <a:lnTo>
                  <a:pt x="2343150" y="1139825"/>
                </a:lnTo>
                <a:lnTo>
                  <a:pt x="2270125" y="1139825"/>
                </a:lnTo>
                <a:lnTo>
                  <a:pt x="2197100" y="1136650"/>
                </a:lnTo>
                <a:lnTo>
                  <a:pt x="2051050" y="1130300"/>
                </a:lnTo>
                <a:lnTo>
                  <a:pt x="1908175" y="1123950"/>
                </a:lnTo>
                <a:lnTo>
                  <a:pt x="1771650" y="1120775"/>
                </a:lnTo>
                <a:lnTo>
                  <a:pt x="1704975" y="1120775"/>
                </a:lnTo>
                <a:lnTo>
                  <a:pt x="1641475" y="1123950"/>
                </a:lnTo>
                <a:lnTo>
                  <a:pt x="1577975" y="1130300"/>
                </a:lnTo>
                <a:lnTo>
                  <a:pt x="1520825" y="1136650"/>
                </a:lnTo>
                <a:lnTo>
                  <a:pt x="1466850" y="1152525"/>
                </a:lnTo>
                <a:lnTo>
                  <a:pt x="1416050" y="1168400"/>
                </a:lnTo>
                <a:lnTo>
                  <a:pt x="1390650" y="1181100"/>
                </a:lnTo>
                <a:lnTo>
                  <a:pt x="1368425" y="1193800"/>
                </a:lnTo>
                <a:lnTo>
                  <a:pt x="1320800" y="1225550"/>
                </a:lnTo>
                <a:lnTo>
                  <a:pt x="1273175" y="1263650"/>
                </a:lnTo>
                <a:lnTo>
                  <a:pt x="1231900" y="1308100"/>
                </a:lnTo>
                <a:lnTo>
                  <a:pt x="1193800" y="1358900"/>
                </a:lnTo>
                <a:lnTo>
                  <a:pt x="1162050" y="1412875"/>
                </a:lnTo>
                <a:lnTo>
                  <a:pt x="1149350" y="1438275"/>
                </a:lnTo>
                <a:lnTo>
                  <a:pt x="1139825" y="1466850"/>
                </a:lnTo>
                <a:lnTo>
                  <a:pt x="1130300" y="1495425"/>
                </a:lnTo>
                <a:lnTo>
                  <a:pt x="1123950" y="1524000"/>
                </a:lnTo>
                <a:lnTo>
                  <a:pt x="1117600" y="1587500"/>
                </a:lnTo>
                <a:lnTo>
                  <a:pt x="1111250" y="1657350"/>
                </a:lnTo>
                <a:lnTo>
                  <a:pt x="1111250" y="1727200"/>
                </a:lnTo>
                <a:lnTo>
                  <a:pt x="1114425" y="1800225"/>
                </a:lnTo>
                <a:lnTo>
                  <a:pt x="1120775" y="1952625"/>
                </a:lnTo>
                <a:lnTo>
                  <a:pt x="1123950" y="2032000"/>
                </a:lnTo>
                <a:lnTo>
                  <a:pt x="1123950" y="2108200"/>
                </a:lnTo>
                <a:lnTo>
                  <a:pt x="1123950" y="3848100"/>
                </a:lnTo>
                <a:lnTo>
                  <a:pt x="387350" y="3848100"/>
                </a:lnTo>
                <a:lnTo>
                  <a:pt x="381000" y="3873500"/>
                </a:lnTo>
                <a:lnTo>
                  <a:pt x="374650" y="3898900"/>
                </a:lnTo>
                <a:lnTo>
                  <a:pt x="374650" y="3930650"/>
                </a:lnTo>
                <a:lnTo>
                  <a:pt x="374650" y="3962400"/>
                </a:lnTo>
                <a:lnTo>
                  <a:pt x="374650" y="4029075"/>
                </a:lnTo>
                <a:lnTo>
                  <a:pt x="374650" y="4060825"/>
                </a:lnTo>
                <a:lnTo>
                  <a:pt x="374650" y="4089400"/>
                </a:lnTo>
                <a:lnTo>
                  <a:pt x="460375" y="4098925"/>
                </a:lnTo>
                <a:lnTo>
                  <a:pt x="552450" y="4102100"/>
                </a:lnTo>
                <a:lnTo>
                  <a:pt x="644525" y="4105275"/>
                </a:lnTo>
                <a:lnTo>
                  <a:pt x="742950" y="4105275"/>
                </a:lnTo>
                <a:lnTo>
                  <a:pt x="936625" y="4102100"/>
                </a:lnTo>
                <a:lnTo>
                  <a:pt x="1031875" y="4102100"/>
                </a:lnTo>
                <a:lnTo>
                  <a:pt x="1123950" y="4102100"/>
                </a:lnTo>
                <a:lnTo>
                  <a:pt x="1123950" y="4133850"/>
                </a:lnTo>
                <a:lnTo>
                  <a:pt x="1123950" y="4168775"/>
                </a:lnTo>
                <a:lnTo>
                  <a:pt x="1127125" y="4238625"/>
                </a:lnTo>
                <a:lnTo>
                  <a:pt x="1127125" y="4270375"/>
                </a:lnTo>
                <a:lnTo>
                  <a:pt x="1123950" y="4302125"/>
                </a:lnTo>
                <a:lnTo>
                  <a:pt x="1120775" y="4330700"/>
                </a:lnTo>
                <a:lnTo>
                  <a:pt x="1111250" y="4356100"/>
                </a:lnTo>
                <a:lnTo>
                  <a:pt x="387350" y="4356100"/>
                </a:lnTo>
                <a:lnTo>
                  <a:pt x="377825" y="4381500"/>
                </a:lnTo>
                <a:lnTo>
                  <a:pt x="374650" y="4406900"/>
                </a:lnTo>
                <a:lnTo>
                  <a:pt x="371475" y="4438650"/>
                </a:lnTo>
                <a:lnTo>
                  <a:pt x="374650" y="4470400"/>
                </a:lnTo>
                <a:lnTo>
                  <a:pt x="374650" y="4537075"/>
                </a:lnTo>
                <a:lnTo>
                  <a:pt x="377825" y="4568825"/>
                </a:lnTo>
                <a:lnTo>
                  <a:pt x="374650" y="4597400"/>
                </a:lnTo>
                <a:lnTo>
                  <a:pt x="1123950" y="4597400"/>
                </a:lnTo>
                <a:lnTo>
                  <a:pt x="1123950" y="5080000"/>
                </a:lnTo>
                <a:lnTo>
                  <a:pt x="990600" y="5089525"/>
                </a:lnTo>
                <a:lnTo>
                  <a:pt x="854075" y="5095875"/>
                </a:lnTo>
                <a:lnTo>
                  <a:pt x="714375" y="5095875"/>
                </a:lnTo>
                <a:lnTo>
                  <a:pt x="574675" y="5095875"/>
                </a:lnTo>
                <a:lnTo>
                  <a:pt x="288925" y="5092700"/>
                </a:lnTo>
                <a:lnTo>
                  <a:pt x="146050" y="5092700"/>
                </a:lnTo>
                <a:lnTo>
                  <a:pt x="6350" y="5092700"/>
                </a:lnTo>
                <a:lnTo>
                  <a:pt x="6350" y="762000"/>
                </a:lnTo>
                <a:lnTo>
                  <a:pt x="3175" y="631825"/>
                </a:lnTo>
                <a:lnTo>
                  <a:pt x="0" y="508000"/>
                </a:lnTo>
                <a:lnTo>
                  <a:pt x="0" y="387350"/>
                </a:lnTo>
                <a:lnTo>
                  <a:pt x="3175" y="330200"/>
                </a:lnTo>
                <a:lnTo>
                  <a:pt x="9525" y="279400"/>
                </a:lnTo>
                <a:lnTo>
                  <a:pt x="15875" y="228600"/>
                </a:lnTo>
                <a:lnTo>
                  <a:pt x="28575" y="180975"/>
                </a:lnTo>
                <a:lnTo>
                  <a:pt x="44450" y="139700"/>
                </a:lnTo>
                <a:lnTo>
                  <a:pt x="66675" y="104775"/>
                </a:lnTo>
                <a:lnTo>
                  <a:pt x="79375" y="85725"/>
                </a:lnTo>
                <a:lnTo>
                  <a:pt x="92075" y="73025"/>
                </a:lnTo>
                <a:lnTo>
                  <a:pt x="107950" y="57150"/>
                </a:lnTo>
                <a:lnTo>
                  <a:pt x="123825" y="47625"/>
                </a:lnTo>
                <a:lnTo>
                  <a:pt x="142875" y="34925"/>
                </a:lnTo>
                <a:lnTo>
                  <a:pt x="161925" y="25400"/>
                </a:lnTo>
                <a:lnTo>
                  <a:pt x="184150" y="19050"/>
                </a:lnTo>
                <a:lnTo>
                  <a:pt x="209550" y="12700"/>
                </a:lnTo>
                <a:lnTo>
                  <a:pt x="263525" y="6350"/>
                </a:lnTo>
                <a:lnTo>
                  <a:pt x="320675" y="3175"/>
                </a:lnTo>
                <a:close/>
              </a:path>
            </a:pathLst>
          </a:custGeom>
          <a:solidFill>
            <a:schemeClr val="accent1"/>
          </a:solidFill>
          <a:ln>
            <a:noFill/>
          </a:ln>
        </p:spPr>
        <p:txBody>
          <a:bodyPr vert="horz" wrap="square" lIns="89642" tIns="44821" rIns="89642" bIns="44821" numCol="1" anchor="t" anchorCtr="0" compatLnSpc="1">
            <a:prstTxWarp prst="textNoShape">
              <a:avLst/>
            </a:prstTxWarp>
            <a:noAutofit/>
          </a:bodyPr>
          <a:lstStyle/>
          <a:p>
            <a:pPr defTabSz="914367"/>
            <a:endParaRPr lang="en-IN" sz="1765">
              <a:solidFill>
                <a:srgbClr val="000000"/>
              </a:solidFill>
            </a:endParaRPr>
          </a:p>
        </p:txBody>
      </p:sp>
      <p:sp>
        <p:nvSpPr>
          <p:cNvPr id="239" name="Freeform 238"/>
          <p:cNvSpPr>
            <a:spLocks/>
          </p:cNvSpPr>
          <p:nvPr/>
        </p:nvSpPr>
        <p:spPr bwMode="auto">
          <a:xfrm>
            <a:off x="10460777" y="4030672"/>
            <a:ext cx="497149" cy="667610"/>
          </a:xfrm>
          <a:custGeom>
            <a:avLst/>
            <a:gdLst>
              <a:gd name="connsiteX0" fmla="*/ 1771650 w 5226051"/>
              <a:gd name="connsiteY0" fmla="*/ 5702301 h 6451600"/>
              <a:gd name="connsiteX1" fmla="*/ 1762125 w 5226051"/>
              <a:gd name="connsiteY1" fmla="*/ 5711826 h 6451600"/>
              <a:gd name="connsiteX2" fmla="*/ 1755775 w 5226051"/>
              <a:gd name="connsiteY2" fmla="*/ 5721351 h 6451600"/>
              <a:gd name="connsiteX3" fmla="*/ 1749425 w 5226051"/>
              <a:gd name="connsiteY3" fmla="*/ 5734051 h 6451600"/>
              <a:gd name="connsiteX4" fmla="*/ 1746250 w 5226051"/>
              <a:gd name="connsiteY4" fmla="*/ 5749926 h 6451600"/>
              <a:gd name="connsiteX5" fmla="*/ 1743075 w 5226051"/>
              <a:gd name="connsiteY5" fmla="*/ 5784851 h 6451600"/>
              <a:gd name="connsiteX6" fmla="*/ 1746250 w 5226051"/>
              <a:gd name="connsiteY6" fmla="*/ 5822951 h 6451600"/>
              <a:gd name="connsiteX7" fmla="*/ 1749425 w 5226051"/>
              <a:gd name="connsiteY7" fmla="*/ 5861051 h 6451600"/>
              <a:gd name="connsiteX8" fmla="*/ 1749425 w 5226051"/>
              <a:gd name="connsiteY8" fmla="*/ 5899151 h 6451600"/>
              <a:gd name="connsiteX9" fmla="*/ 1746250 w 5226051"/>
              <a:gd name="connsiteY9" fmla="*/ 5930901 h 6451600"/>
              <a:gd name="connsiteX10" fmla="*/ 1739900 w 5226051"/>
              <a:gd name="connsiteY10" fmla="*/ 5946776 h 6451600"/>
              <a:gd name="connsiteX11" fmla="*/ 1733550 w 5226051"/>
              <a:gd name="connsiteY11" fmla="*/ 5956301 h 6451600"/>
              <a:gd name="connsiteX12" fmla="*/ 3486150 w 5226051"/>
              <a:gd name="connsiteY12" fmla="*/ 5956301 h 6451600"/>
              <a:gd name="connsiteX13" fmla="*/ 3486150 w 5226051"/>
              <a:gd name="connsiteY13" fmla="*/ 5715001 h 6451600"/>
              <a:gd name="connsiteX14" fmla="*/ 3279775 w 5226051"/>
              <a:gd name="connsiteY14" fmla="*/ 5708651 h 6451600"/>
              <a:gd name="connsiteX15" fmla="*/ 3067050 w 5226051"/>
              <a:gd name="connsiteY15" fmla="*/ 5702301 h 6451600"/>
              <a:gd name="connsiteX16" fmla="*/ 2854325 w 5226051"/>
              <a:gd name="connsiteY16" fmla="*/ 5702301 h 6451600"/>
              <a:gd name="connsiteX17" fmla="*/ 2638425 w 5226051"/>
              <a:gd name="connsiteY17" fmla="*/ 5702301 h 6451600"/>
              <a:gd name="connsiteX18" fmla="*/ 2203450 w 5226051"/>
              <a:gd name="connsiteY18" fmla="*/ 5705476 h 6451600"/>
              <a:gd name="connsiteX19" fmla="*/ 1987550 w 5226051"/>
              <a:gd name="connsiteY19" fmla="*/ 5705476 h 6451600"/>
              <a:gd name="connsiteX20" fmla="*/ 1746250 w 5226051"/>
              <a:gd name="connsiteY20" fmla="*/ 5219701 h 6451600"/>
              <a:gd name="connsiteX21" fmla="*/ 1746250 w 5226051"/>
              <a:gd name="connsiteY21" fmla="*/ 5264151 h 6451600"/>
              <a:gd name="connsiteX22" fmla="*/ 1746250 w 5226051"/>
              <a:gd name="connsiteY22" fmla="*/ 5327651 h 6451600"/>
              <a:gd name="connsiteX23" fmla="*/ 1746250 w 5226051"/>
              <a:gd name="connsiteY23" fmla="*/ 5397501 h 6451600"/>
              <a:gd name="connsiteX24" fmla="*/ 1746250 w 5226051"/>
              <a:gd name="connsiteY24" fmla="*/ 5461001 h 6451600"/>
              <a:gd name="connsiteX25" fmla="*/ 3473450 w 5226051"/>
              <a:gd name="connsiteY25" fmla="*/ 5461001 h 6451600"/>
              <a:gd name="connsiteX26" fmla="*/ 3482975 w 5226051"/>
              <a:gd name="connsiteY26" fmla="*/ 5438776 h 6451600"/>
              <a:gd name="connsiteX27" fmla="*/ 3486150 w 5226051"/>
              <a:gd name="connsiteY27" fmla="*/ 5410201 h 6451600"/>
              <a:gd name="connsiteX28" fmla="*/ 3489325 w 5226051"/>
              <a:gd name="connsiteY28" fmla="*/ 5381626 h 6451600"/>
              <a:gd name="connsiteX29" fmla="*/ 3489325 w 5226051"/>
              <a:gd name="connsiteY29" fmla="*/ 5349876 h 6451600"/>
              <a:gd name="connsiteX30" fmla="*/ 3486150 w 5226051"/>
              <a:gd name="connsiteY30" fmla="*/ 5283201 h 6451600"/>
              <a:gd name="connsiteX31" fmla="*/ 3486150 w 5226051"/>
              <a:gd name="connsiteY31" fmla="*/ 5251451 h 6451600"/>
              <a:gd name="connsiteX32" fmla="*/ 3486150 w 5226051"/>
              <a:gd name="connsiteY32" fmla="*/ 5219701 h 6451600"/>
              <a:gd name="connsiteX33" fmla="*/ 1758950 w 5226051"/>
              <a:gd name="connsiteY33" fmla="*/ 2120901 h 6451600"/>
              <a:gd name="connsiteX34" fmla="*/ 1749425 w 5226051"/>
              <a:gd name="connsiteY34" fmla="*/ 2143126 h 6451600"/>
              <a:gd name="connsiteX35" fmla="*/ 1746250 w 5226051"/>
              <a:gd name="connsiteY35" fmla="*/ 2171701 h 6451600"/>
              <a:gd name="connsiteX36" fmla="*/ 1746250 w 5226051"/>
              <a:gd name="connsiteY36" fmla="*/ 2203451 h 6451600"/>
              <a:gd name="connsiteX37" fmla="*/ 1746250 w 5226051"/>
              <a:gd name="connsiteY37" fmla="*/ 2235201 h 6451600"/>
              <a:gd name="connsiteX38" fmla="*/ 1749425 w 5226051"/>
              <a:gd name="connsiteY38" fmla="*/ 2301876 h 6451600"/>
              <a:gd name="connsiteX39" fmla="*/ 1749425 w 5226051"/>
              <a:gd name="connsiteY39" fmla="*/ 2333626 h 6451600"/>
              <a:gd name="connsiteX40" fmla="*/ 1746250 w 5226051"/>
              <a:gd name="connsiteY40" fmla="*/ 2362201 h 6451600"/>
              <a:gd name="connsiteX41" fmla="*/ 3486150 w 5226051"/>
              <a:gd name="connsiteY41" fmla="*/ 2362201 h 6451600"/>
              <a:gd name="connsiteX42" fmla="*/ 3486150 w 5226051"/>
              <a:gd name="connsiteY42" fmla="*/ 2120901 h 6451600"/>
              <a:gd name="connsiteX43" fmla="*/ 3321050 w 5226051"/>
              <a:gd name="connsiteY43" fmla="*/ 1352550 h 6451600"/>
              <a:gd name="connsiteX44" fmla="*/ 3397250 w 5226051"/>
              <a:gd name="connsiteY44" fmla="*/ 1355725 h 6451600"/>
              <a:gd name="connsiteX45" fmla="*/ 3473450 w 5226051"/>
              <a:gd name="connsiteY45" fmla="*/ 1358900 h 6451600"/>
              <a:gd name="connsiteX46" fmla="*/ 3543300 w 5226051"/>
              <a:gd name="connsiteY46" fmla="*/ 1365250 h 6451600"/>
              <a:gd name="connsiteX47" fmla="*/ 3606800 w 5226051"/>
              <a:gd name="connsiteY47" fmla="*/ 1371600 h 6451600"/>
              <a:gd name="connsiteX48" fmla="*/ 3667125 w 5226051"/>
              <a:gd name="connsiteY48" fmla="*/ 1384300 h 6451600"/>
              <a:gd name="connsiteX49" fmla="*/ 3717925 w 5226051"/>
              <a:gd name="connsiteY49" fmla="*/ 1403350 h 6451600"/>
              <a:gd name="connsiteX50" fmla="*/ 3740150 w 5226051"/>
              <a:gd name="connsiteY50" fmla="*/ 1412875 h 6451600"/>
              <a:gd name="connsiteX51" fmla="*/ 3759200 w 5226051"/>
              <a:gd name="connsiteY51" fmla="*/ 1422400 h 6451600"/>
              <a:gd name="connsiteX52" fmla="*/ 3778250 w 5226051"/>
              <a:gd name="connsiteY52" fmla="*/ 1435100 h 6451600"/>
              <a:gd name="connsiteX53" fmla="*/ 3790950 w 5226051"/>
              <a:gd name="connsiteY53" fmla="*/ 1447800 h 6451600"/>
              <a:gd name="connsiteX54" fmla="*/ 3806825 w 5226051"/>
              <a:gd name="connsiteY54" fmla="*/ 1466850 h 6451600"/>
              <a:gd name="connsiteX55" fmla="*/ 3816350 w 5226051"/>
              <a:gd name="connsiteY55" fmla="*/ 1485900 h 6451600"/>
              <a:gd name="connsiteX56" fmla="*/ 3829050 w 5226051"/>
              <a:gd name="connsiteY56" fmla="*/ 1511300 h 6451600"/>
              <a:gd name="connsiteX57" fmla="*/ 3835400 w 5226051"/>
              <a:gd name="connsiteY57" fmla="*/ 1539875 h 6451600"/>
              <a:gd name="connsiteX58" fmla="*/ 3841750 w 5226051"/>
              <a:gd name="connsiteY58" fmla="*/ 1571625 h 6451600"/>
              <a:gd name="connsiteX59" fmla="*/ 3848100 w 5226051"/>
              <a:gd name="connsiteY59" fmla="*/ 1606550 h 6451600"/>
              <a:gd name="connsiteX60" fmla="*/ 3854450 w 5226051"/>
              <a:gd name="connsiteY60" fmla="*/ 1682750 h 6451600"/>
              <a:gd name="connsiteX61" fmla="*/ 3857625 w 5226051"/>
              <a:gd name="connsiteY61" fmla="*/ 1762125 h 6451600"/>
              <a:gd name="connsiteX62" fmla="*/ 3857625 w 5226051"/>
              <a:gd name="connsiteY62" fmla="*/ 1847850 h 6451600"/>
              <a:gd name="connsiteX63" fmla="*/ 3854450 w 5226051"/>
              <a:gd name="connsiteY63" fmla="*/ 2019300 h 6451600"/>
              <a:gd name="connsiteX64" fmla="*/ 3854450 w 5226051"/>
              <a:gd name="connsiteY64" fmla="*/ 6451600 h 6451600"/>
              <a:gd name="connsiteX65" fmla="*/ 1365250 w 5226051"/>
              <a:gd name="connsiteY65" fmla="*/ 6451600 h 6451600"/>
              <a:gd name="connsiteX66" fmla="*/ 1365250 w 5226051"/>
              <a:gd name="connsiteY66" fmla="*/ 2133600 h 6451600"/>
              <a:gd name="connsiteX67" fmla="*/ 1362075 w 5226051"/>
              <a:gd name="connsiteY67" fmla="*/ 1997075 h 6451600"/>
              <a:gd name="connsiteX68" fmla="*/ 1358900 w 5226051"/>
              <a:gd name="connsiteY68" fmla="*/ 1866900 h 6451600"/>
              <a:gd name="connsiteX69" fmla="*/ 1358900 w 5226051"/>
              <a:gd name="connsiteY69" fmla="*/ 1746250 h 6451600"/>
              <a:gd name="connsiteX70" fmla="*/ 1362075 w 5226051"/>
              <a:gd name="connsiteY70" fmla="*/ 1689100 h 6451600"/>
              <a:gd name="connsiteX71" fmla="*/ 1368425 w 5226051"/>
              <a:gd name="connsiteY71" fmla="*/ 1635125 h 6451600"/>
              <a:gd name="connsiteX72" fmla="*/ 1377950 w 5226051"/>
              <a:gd name="connsiteY72" fmla="*/ 1584325 h 6451600"/>
              <a:gd name="connsiteX73" fmla="*/ 1390650 w 5226051"/>
              <a:gd name="connsiteY73" fmla="*/ 1536700 h 6451600"/>
              <a:gd name="connsiteX74" fmla="*/ 1409700 w 5226051"/>
              <a:gd name="connsiteY74" fmla="*/ 1495425 h 6451600"/>
              <a:gd name="connsiteX75" fmla="*/ 1419225 w 5226051"/>
              <a:gd name="connsiteY75" fmla="*/ 1479550 h 6451600"/>
              <a:gd name="connsiteX76" fmla="*/ 1431925 w 5226051"/>
              <a:gd name="connsiteY76" fmla="*/ 1460500 h 6451600"/>
              <a:gd name="connsiteX77" fmla="*/ 1447800 w 5226051"/>
              <a:gd name="connsiteY77" fmla="*/ 1444625 h 6451600"/>
              <a:gd name="connsiteX78" fmla="*/ 1463675 w 5226051"/>
              <a:gd name="connsiteY78" fmla="*/ 1428750 h 6451600"/>
              <a:gd name="connsiteX79" fmla="*/ 1479550 w 5226051"/>
              <a:gd name="connsiteY79" fmla="*/ 1416050 h 6451600"/>
              <a:gd name="connsiteX80" fmla="*/ 1498600 w 5226051"/>
              <a:gd name="connsiteY80" fmla="*/ 1403350 h 6451600"/>
              <a:gd name="connsiteX81" fmla="*/ 1520825 w 5226051"/>
              <a:gd name="connsiteY81" fmla="*/ 1393825 h 6451600"/>
              <a:gd name="connsiteX82" fmla="*/ 1543050 w 5226051"/>
              <a:gd name="connsiteY82" fmla="*/ 1384300 h 6451600"/>
              <a:gd name="connsiteX83" fmla="*/ 1568450 w 5226051"/>
              <a:gd name="connsiteY83" fmla="*/ 1377950 h 6451600"/>
              <a:gd name="connsiteX84" fmla="*/ 1593850 w 5226051"/>
              <a:gd name="connsiteY84" fmla="*/ 1371600 h 6451600"/>
              <a:gd name="connsiteX85" fmla="*/ 1660525 w 5226051"/>
              <a:gd name="connsiteY85" fmla="*/ 1362075 h 6451600"/>
              <a:gd name="connsiteX86" fmla="*/ 1730375 w 5226051"/>
              <a:gd name="connsiteY86" fmla="*/ 1358900 h 6451600"/>
              <a:gd name="connsiteX87" fmla="*/ 1800225 w 5226051"/>
              <a:gd name="connsiteY87" fmla="*/ 1358900 h 6451600"/>
              <a:gd name="connsiteX88" fmla="*/ 1873250 w 5226051"/>
              <a:gd name="connsiteY88" fmla="*/ 1362075 h 6451600"/>
              <a:gd name="connsiteX89" fmla="*/ 2022475 w 5226051"/>
              <a:gd name="connsiteY89" fmla="*/ 1368425 h 6451600"/>
              <a:gd name="connsiteX90" fmla="*/ 2095500 w 5226051"/>
              <a:gd name="connsiteY90" fmla="*/ 1371600 h 6451600"/>
              <a:gd name="connsiteX91" fmla="*/ 2165350 w 5226051"/>
              <a:gd name="connsiteY91" fmla="*/ 1371600 h 6451600"/>
              <a:gd name="connsiteX92" fmla="*/ 2736850 w 5226051"/>
              <a:gd name="connsiteY92" fmla="*/ 1371600 h 6451600"/>
              <a:gd name="connsiteX93" fmla="*/ 2860675 w 5226051"/>
              <a:gd name="connsiteY93" fmla="*/ 1368425 h 6451600"/>
              <a:gd name="connsiteX94" fmla="*/ 3006725 w 5226051"/>
              <a:gd name="connsiteY94" fmla="*/ 1362075 h 6451600"/>
              <a:gd name="connsiteX95" fmla="*/ 3162300 w 5226051"/>
              <a:gd name="connsiteY95" fmla="*/ 1355725 h 6451600"/>
              <a:gd name="connsiteX96" fmla="*/ 3117851 w 5226051"/>
              <a:gd name="connsiteY96" fmla="*/ 762001 h 6451600"/>
              <a:gd name="connsiteX97" fmla="*/ 3111501 w 5226051"/>
              <a:gd name="connsiteY97" fmla="*/ 784226 h 6451600"/>
              <a:gd name="connsiteX98" fmla="*/ 3105151 w 5226051"/>
              <a:gd name="connsiteY98" fmla="*/ 812801 h 6451600"/>
              <a:gd name="connsiteX99" fmla="*/ 3105151 w 5226051"/>
              <a:gd name="connsiteY99" fmla="*/ 841376 h 6451600"/>
              <a:gd name="connsiteX100" fmla="*/ 3105151 w 5226051"/>
              <a:gd name="connsiteY100" fmla="*/ 876301 h 6451600"/>
              <a:gd name="connsiteX101" fmla="*/ 3108326 w 5226051"/>
              <a:gd name="connsiteY101" fmla="*/ 939801 h 6451600"/>
              <a:gd name="connsiteX102" fmla="*/ 3108326 w 5226051"/>
              <a:gd name="connsiteY102" fmla="*/ 974726 h 6451600"/>
              <a:gd name="connsiteX103" fmla="*/ 3105151 w 5226051"/>
              <a:gd name="connsiteY103" fmla="*/ 1003301 h 6451600"/>
              <a:gd name="connsiteX104" fmla="*/ 4845051 w 5226051"/>
              <a:gd name="connsiteY104" fmla="*/ 1003301 h 6451600"/>
              <a:gd name="connsiteX105" fmla="*/ 4845051 w 5226051"/>
              <a:gd name="connsiteY105" fmla="*/ 762001 h 6451600"/>
              <a:gd name="connsiteX106" fmla="*/ 387350 w 5226051"/>
              <a:gd name="connsiteY106" fmla="*/ 762001 h 6451600"/>
              <a:gd name="connsiteX107" fmla="*/ 381000 w 5226051"/>
              <a:gd name="connsiteY107" fmla="*/ 784226 h 6451600"/>
              <a:gd name="connsiteX108" fmla="*/ 374650 w 5226051"/>
              <a:gd name="connsiteY108" fmla="*/ 815976 h 6451600"/>
              <a:gd name="connsiteX109" fmla="*/ 371475 w 5226051"/>
              <a:gd name="connsiteY109" fmla="*/ 847726 h 6451600"/>
              <a:gd name="connsiteX110" fmla="*/ 371475 w 5226051"/>
              <a:gd name="connsiteY110" fmla="*/ 882651 h 6451600"/>
              <a:gd name="connsiteX111" fmla="*/ 374650 w 5226051"/>
              <a:gd name="connsiteY111" fmla="*/ 917576 h 6451600"/>
              <a:gd name="connsiteX112" fmla="*/ 377825 w 5226051"/>
              <a:gd name="connsiteY112" fmla="*/ 949326 h 6451600"/>
              <a:gd name="connsiteX113" fmla="*/ 381000 w 5226051"/>
              <a:gd name="connsiteY113" fmla="*/ 981076 h 6451600"/>
              <a:gd name="connsiteX114" fmla="*/ 387350 w 5226051"/>
              <a:gd name="connsiteY114" fmla="*/ 1003301 h 6451600"/>
              <a:gd name="connsiteX115" fmla="*/ 2114550 w 5226051"/>
              <a:gd name="connsiteY115" fmla="*/ 1003301 h 6451600"/>
              <a:gd name="connsiteX116" fmla="*/ 2114550 w 5226051"/>
              <a:gd name="connsiteY116" fmla="*/ 762001 h 6451600"/>
              <a:gd name="connsiteX117" fmla="*/ 3073401 w 5226051"/>
              <a:gd name="connsiteY117" fmla="*/ 6350 h 6451600"/>
              <a:gd name="connsiteX118" fmla="*/ 3127376 w 5226051"/>
              <a:gd name="connsiteY118" fmla="*/ 6350 h 6451600"/>
              <a:gd name="connsiteX119" fmla="*/ 3248026 w 5226051"/>
              <a:gd name="connsiteY119" fmla="*/ 6350 h 6451600"/>
              <a:gd name="connsiteX120" fmla="*/ 3368676 w 5226051"/>
              <a:gd name="connsiteY120" fmla="*/ 9525 h 6451600"/>
              <a:gd name="connsiteX121" fmla="*/ 3486151 w 5226051"/>
              <a:gd name="connsiteY121" fmla="*/ 12700 h 6451600"/>
              <a:gd name="connsiteX122" fmla="*/ 4578351 w 5226051"/>
              <a:gd name="connsiteY122" fmla="*/ 12700 h 6451600"/>
              <a:gd name="connsiteX123" fmla="*/ 4679951 w 5226051"/>
              <a:gd name="connsiteY123" fmla="*/ 12700 h 6451600"/>
              <a:gd name="connsiteX124" fmla="*/ 4778376 w 5226051"/>
              <a:gd name="connsiteY124" fmla="*/ 9525 h 6451600"/>
              <a:gd name="connsiteX125" fmla="*/ 4873626 w 5226051"/>
              <a:gd name="connsiteY125" fmla="*/ 9525 h 6451600"/>
              <a:gd name="connsiteX126" fmla="*/ 4921251 w 5226051"/>
              <a:gd name="connsiteY126" fmla="*/ 12700 h 6451600"/>
              <a:gd name="connsiteX127" fmla="*/ 4965701 w 5226051"/>
              <a:gd name="connsiteY127" fmla="*/ 15875 h 6451600"/>
              <a:gd name="connsiteX128" fmla="*/ 5006976 w 5226051"/>
              <a:gd name="connsiteY128" fmla="*/ 22225 h 6451600"/>
              <a:gd name="connsiteX129" fmla="*/ 5045076 w 5226051"/>
              <a:gd name="connsiteY129" fmla="*/ 31750 h 6451600"/>
              <a:gd name="connsiteX130" fmla="*/ 5080001 w 5226051"/>
              <a:gd name="connsiteY130" fmla="*/ 41275 h 6451600"/>
              <a:gd name="connsiteX131" fmla="*/ 5111751 w 5226051"/>
              <a:gd name="connsiteY131" fmla="*/ 57150 h 6451600"/>
              <a:gd name="connsiteX132" fmla="*/ 5140326 w 5226051"/>
              <a:gd name="connsiteY132" fmla="*/ 79375 h 6451600"/>
              <a:gd name="connsiteX133" fmla="*/ 5165726 w 5226051"/>
              <a:gd name="connsiteY133" fmla="*/ 101600 h 6451600"/>
              <a:gd name="connsiteX134" fmla="*/ 5187951 w 5226051"/>
              <a:gd name="connsiteY134" fmla="*/ 130175 h 6451600"/>
              <a:gd name="connsiteX135" fmla="*/ 5200651 w 5226051"/>
              <a:gd name="connsiteY135" fmla="*/ 165100 h 6451600"/>
              <a:gd name="connsiteX136" fmla="*/ 5210176 w 5226051"/>
              <a:gd name="connsiteY136" fmla="*/ 190500 h 6451600"/>
              <a:gd name="connsiteX137" fmla="*/ 5216526 w 5226051"/>
              <a:gd name="connsiteY137" fmla="*/ 219075 h 6451600"/>
              <a:gd name="connsiteX138" fmla="*/ 5222876 w 5226051"/>
              <a:gd name="connsiteY138" fmla="*/ 285750 h 6451600"/>
              <a:gd name="connsiteX139" fmla="*/ 5226051 w 5226051"/>
              <a:gd name="connsiteY139" fmla="*/ 361950 h 6451600"/>
              <a:gd name="connsiteX140" fmla="*/ 5226051 w 5226051"/>
              <a:gd name="connsiteY140" fmla="*/ 444500 h 6451600"/>
              <a:gd name="connsiteX141" fmla="*/ 5219701 w 5226051"/>
              <a:gd name="connsiteY141" fmla="*/ 612775 h 6451600"/>
              <a:gd name="connsiteX142" fmla="*/ 5216526 w 5226051"/>
              <a:gd name="connsiteY142" fmla="*/ 695325 h 6451600"/>
              <a:gd name="connsiteX143" fmla="*/ 5213351 w 5226051"/>
              <a:gd name="connsiteY143" fmla="*/ 774700 h 6451600"/>
              <a:gd name="connsiteX144" fmla="*/ 5213351 w 5226051"/>
              <a:gd name="connsiteY144" fmla="*/ 5092700 h 6451600"/>
              <a:gd name="connsiteX145" fmla="*/ 5073651 w 5226051"/>
              <a:gd name="connsiteY145" fmla="*/ 5092700 h 6451600"/>
              <a:gd name="connsiteX146" fmla="*/ 4933951 w 5226051"/>
              <a:gd name="connsiteY146" fmla="*/ 5092700 h 6451600"/>
              <a:gd name="connsiteX147" fmla="*/ 4648201 w 5226051"/>
              <a:gd name="connsiteY147" fmla="*/ 5095875 h 6451600"/>
              <a:gd name="connsiteX148" fmla="*/ 4505326 w 5226051"/>
              <a:gd name="connsiteY148" fmla="*/ 5095875 h 6451600"/>
              <a:gd name="connsiteX149" fmla="*/ 4365626 w 5226051"/>
              <a:gd name="connsiteY149" fmla="*/ 5095875 h 6451600"/>
              <a:gd name="connsiteX150" fmla="*/ 4229101 w 5226051"/>
              <a:gd name="connsiteY150" fmla="*/ 5089525 h 6451600"/>
              <a:gd name="connsiteX151" fmla="*/ 4095751 w 5226051"/>
              <a:gd name="connsiteY151" fmla="*/ 5080000 h 6451600"/>
              <a:gd name="connsiteX152" fmla="*/ 4095751 w 5226051"/>
              <a:gd name="connsiteY152" fmla="*/ 4597400 h 6451600"/>
              <a:gd name="connsiteX153" fmla="*/ 4832351 w 5226051"/>
              <a:gd name="connsiteY153" fmla="*/ 4597400 h 6451600"/>
              <a:gd name="connsiteX154" fmla="*/ 4841876 w 5226051"/>
              <a:gd name="connsiteY154" fmla="*/ 4575175 h 6451600"/>
              <a:gd name="connsiteX155" fmla="*/ 4848226 w 5226051"/>
              <a:gd name="connsiteY155" fmla="*/ 4546600 h 6451600"/>
              <a:gd name="connsiteX156" fmla="*/ 4848226 w 5226051"/>
              <a:gd name="connsiteY156" fmla="*/ 4518025 h 6451600"/>
              <a:gd name="connsiteX157" fmla="*/ 4848226 w 5226051"/>
              <a:gd name="connsiteY157" fmla="*/ 4486275 h 6451600"/>
              <a:gd name="connsiteX158" fmla="*/ 4845051 w 5226051"/>
              <a:gd name="connsiteY158" fmla="*/ 4419600 h 6451600"/>
              <a:gd name="connsiteX159" fmla="*/ 4845051 w 5226051"/>
              <a:gd name="connsiteY159" fmla="*/ 4387850 h 6451600"/>
              <a:gd name="connsiteX160" fmla="*/ 4845051 w 5226051"/>
              <a:gd name="connsiteY160" fmla="*/ 4356100 h 6451600"/>
              <a:gd name="connsiteX161" fmla="*/ 4108451 w 5226051"/>
              <a:gd name="connsiteY161" fmla="*/ 4356100 h 6451600"/>
              <a:gd name="connsiteX162" fmla="*/ 4102101 w 5226051"/>
              <a:gd name="connsiteY162" fmla="*/ 4330700 h 6451600"/>
              <a:gd name="connsiteX163" fmla="*/ 4095751 w 5226051"/>
              <a:gd name="connsiteY163" fmla="*/ 4302125 h 6451600"/>
              <a:gd name="connsiteX164" fmla="*/ 4095751 w 5226051"/>
              <a:gd name="connsiteY164" fmla="*/ 4270375 h 6451600"/>
              <a:gd name="connsiteX165" fmla="*/ 4095751 w 5226051"/>
              <a:gd name="connsiteY165" fmla="*/ 4238625 h 6451600"/>
              <a:gd name="connsiteX166" fmla="*/ 4098926 w 5226051"/>
              <a:gd name="connsiteY166" fmla="*/ 4168775 h 6451600"/>
              <a:gd name="connsiteX167" fmla="*/ 4098926 w 5226051"/>
              <a:gd name="connsiteY167" fmla="*/ 4133850 h 6451600"/>
              <a:gd name="connsiteX168" fmla="*/ 4095751 w 5226051"/>
              <a:gd name="connsiteY168" fmla="*/ 4102100 h 6451600"/>
              <a:gd name="connsiteX169" fmla="*/ 4832351 w 5226051"/>
              <a:gd name="connsiteY169" fmla="*/ 4102100 h 6451600"/>
              <a:gd name="connsiteX170" fmla="*/ 4841876 w 5226051"/>
              <a:gd name="connsiteY170" fmla="*/ 4079875 h 6451600"/>
              <a:gd name="connsiteX171" fmla="*/ 4848226 w 5226051"/>
              <a:gd name="connsiteY171" fmla="*/ 4051300 h 6451600"/>
              <a:gd name="connsiteX172" fmla="*/ 4848226 w 5226051"/>
              <a:gd name="connsiteY172" fmla="*/ 4022725 h 6451600"/>
              <a:gd name="connsiteX173" fmla="*/ 4848226 w 5226051"/>
              <a:gd name="connsiteY173" fmla="*/ 3990975 h 6451600"/>
              <a:gd name="connsiteX174" fmla="*/ 4845051 w 5226051"/>
              <a:gd name="connsiteY174" fmla="*/ 3924300 h 6451600"/>
              <a:gd name="connsiteX175" fmla="*/ 4845051 w 5226051"/>
              <a:gd name="connsiteY175" fmla="*/ 3892550 h 6451600"/>
              <a:gd name="connsiteX176" fmla="*/ 4845051 w 5226051"/>
              <a:gd name="connsiteY176" fmla="*/ 3860800 h 6451600"/>
              <a:gd name="connsiteX177" fmla="*/ 4759326 w 5226051"/>
              <a:gd name="connsiteY177" fmla="*/ 3854450 h 6451600"/>
              <a:gd name="connsiteX178" fmla="*/ 4670426 w 5226051"/>
              <a:gd name="connsiteY178" fmla="*/ 3848100 h 6451600"/>
              <a:gd name="connsiteX179" fmla="*/ 4575176 w 5226051"/>
              <a:gd name="connsiteY179" fmla="*/ 3848100 h 6451600"/>
              <a:gd name="connsiteX180" fmla="*/ 4479926 w 5226051"/>
              <a:gd name="connsiteY180" fmla="*/ 3848100 h 6451600"/>
              <a:gd name="connsiteX181" fmla="*/ 4286251 w 5226051"/>
              <a:gd name="connsiteY181" fmla="*/ 3851275 h 6451600"/>
              <a:gd name="connsiteX182" fmla="*/ 4191001 w 5226051"/>
              <a:gd name="connsiteY182" fmla="*/ 3851275 h 6451600"/>
              <a:gd name="connsiteX183" fmla="*/ 4095751 w 5226051"/>
              <a:gd name="connsiteY183" fmla="*/ 3848100 h 6451600"/>
              <a:gd name="connsiteX184" fmla="*/ 4095751 w 5226051"/>
              <a:gd name="connsiteY184" fmla="*/ 2095500 h 6451600"/>
              <a:gd name="connsiteX185" fmla="*/ 4098926 w 5226051"/>
              <a:gd name="connsiteY185" fmla="*/ 2012950 h 6451600"/>
              <a:gd name="connsiteX186" fmla="*/ 4102101 w 5226051"/>
              <a:gd name="connsiteY186" fmla="*/ 1924050 h 6451600"/>
              <a:gd name="connsiteX187" fmla="*/ 4105276 w 5226051"/>
              <a:gd name="connsiteY187" fmla="*/ 1746250 h 6451600"/>
              <a:gd name="connsiteX188" fmla="*/ 4105276 w 5226051"/>
              <a:gd name="connsiteY188" fmla="*/ 1660525 h 6451600"/>
              <a:gd name="connsiteX189" fmla="*/ 4102101 w 5226051"/>
              <a:gd name="connsiteY189" fmla="*/ 1581150 h 6451600"/>
              <a:gd name="connsiteX190" fmla="*/ 4095751 w 5226051"/>
              <a:gd name="connsiteY190" fmla="*/ 1546225 h 6451600"/>
              <a:gd name="connsiteX191" fmla="*/ 4089401 w 5226051"/>
              <a:gd name="connsiteY191" fmla="*/ 1511300 h 6451600"/>
              <a:gd name="connsiteX192" fmla="*/ 4083051 w 5226051"/>
              <a:gd name="connsiteY192" fmla="*/ 1476375 h 6451600"/>
              <a:gd name="connsiteX193" fmla="*/ 4070351 w 5226051"/>
              <a:gd name="connsiteY193" fmla="*/ 1447800 h 6451600"/>
              <a:gd name="connsiteX194" fmla="*/ 4057651 w 5226051"/>
              <a:gd name="connsiteY194" fmla="*/ 1419225 h 6451600"/>
              <a:gd name="connsiteX195" fmla="*/ 4044951 w 5226051"/>
              <a:gd name="connsiteY195" fmla="*/ 1390650 h 6451600"/>
              <a:gd name="connsiteX196" fmla="*/ 4025901 w 5226051"/>
              <a:gd name="connsiteY196" fmla="*/ 1362075 h 6451600"/>
              <a:gd name="connsiteX197" fmla="*/ 4010026 w 5226051"/>
              <a:gd name="connsiteY197" fmla="*/ 1333500 h 6451600"/>
              <a:gd name="connsiteX198" fmla="*/ 3987801 w 5226051"/>
              <a:gd name="connsiteY198" fmla="*/ 1308100 h 6451600"/>
              <a:gd name="connsiteX199" fmla="*/ 3968751 w 5226051"/>
              <a:gd name="connsiteY199" fmla="*/ 1285875 h 6451600"/>
              <a:gd name="connsiteX200" fmla="*/ 3946526 w 5226051"/>
              <a:gd name="connsiteY200" fmla="*/ 1260475 h 6451600"/>
              <a:gd name="connsiteX201" fmla="*/ 3921126 w 5226051"/>
              <a:gd name="connsiteY201" fmla="*/ 1238250 h 6451600"/>
              <a:gd name="connsiteX202" fmla="*/ 3895726 w 5226051"/>
              <a:gd name="connsiteY202" fmla="*/ 1219200 h 6451600"/>
              <a:gd name="connsiteX203" fmla="*/ 3867151 w 5226051"/>
              <a:gd name="connsiteY203" fmla="*/ 1200150 h 6451600"/>
              <a:gd name="connsiteX204" fmla="*/ 3838576 w 5226051"/>
              <a:gd name="connsiteY204" fmla="*/ 1184275 h 6451600"/>
              <a:gd name="connsiteX205" fmla="*/ 3810001 w 5226051"/>
              <a:gd name="connsiteY205" fmla="*/ 1168400 h 6451600"/>
              <a:gd name="connsiteX206" fmla="*/ 3778251 w 5226051"/>
              <a:gd name="connsiteY206" fmla="*/ 1155700 h 6451600"/>
              <a:gd name="connsiteX207" fmla="*/ 3746501 w 5226051"/>
              <a:gd name="connsiteY207" fmla="*/ 1146175 h 6451600"/>
              <a:gd name="connsiteX208" fmla="*/ 3711576 w 5226051"/>
              <a:gd name="connsiteY208" fmla="*/ 1136650 h 6451600"/>
              <a:gd name="connsiteX209" fmla="*/ 3676651 w 5226051"/>
              <a:gd name="connsiteY209" fmla="*/ 1130300 h 6451600"/>
              <a:gd name="connsiteX210" fmla="*/ 3629026 w 5226051"/>
              <a:gd name="connsiteY210" fmla="*/ 1123950 h 6451600"/>
              <a:gd name="connsiteX211" fmla="*/ 3578226 w 5226051"/>
              <a:gd name="connsiteY211" fmla="*/ 1120775 h 6451600"/>
              <a:gd name="connsiteX212" fmla="*/ 3470276 w 5226051"/>
              <a:gd name="connsiteY212" fmla="*/ 1117600 h 6451600"/>
              <a:gd name="connsiteX213" fmla="*/ 3359151 w 5226051"/>
              <a:gd name="connsiteY213" fmla="*/ 1120775 h 6451600"/>
              <a:gd name="connsiteX214" fmla="*/ 3238501 w 5226051"/>
              <a:gd name="connsiteY214" fmla="*/ 1127125 h 6451600"/>
              <a:gd name="connsiteX215" fmla="*/ 3117851 w 5226051"/>
              <a:gd name="connsiteY215" fmla="*/ 1133475 h 6451600"/>
              <a:gd name="connsiteX216" fmla="*/ 2994026 w 5226051"/>
              <a:gd name="connsiteY216" fmla="*/ 1136650 h 6451600"/>
              <a:gd name="connsiteX217" fmla="*/ 2867026 w 5226051"/>
              <a:gd name="connsiteY217" fmla="*/ 1136650 h 6451600"/>
              <a:gd name="connsiteX218" fmla="*/ 2800351 w 5226051"/>
              <a:gd name="connsiteY218" fmla="*/ 1133475 h 6451600"/>
              <a:gd name="connsiteX219" fmla="*/ 2736851 w 5226051"/>
              <a:gd name="connsiteY219" fmla="*/ 1130300 h 6451600"/>
              <a:gd name="connsiteX220" fmla="*/ 2736851 w 5226051"/>
              <a:gd name="connsiteY220" fmla="*/ 190500 h 6451600"/>
              <a:gd name="connsiteX221" fmla="*/ 2743201 w 5226051"/>
              <a:gd name="connsiteY221" fmla="*/ 168275 h 6451600"/>
              <a:gd name="connsiteX222" fmla="*/ 2752726 w 5226051"/>
              <a:gd name="connsiteY222" fmla="*/ 149225 h 6451600"/>
              <a:gd name="connsiteX223" fmla="*/ 2762251 w 5226051"/>
              <a:gd name="connsiteY223" fmla="*/ 130175 h 6451600"/>
              <a:gd name="connsiteX224" fmla="*/ 2774951 w 5226051"/>
              <a:gd name="connsiteY224" fmla="*/ 114300 h 6451600"/>
              <a:gd name="connsiteX225" fmla="*/ 2787651 w 5226051"/>
              <a:gd name="connsiteY225" fmla="*/ 98425 h 6451600"/>
              <a:gd name="connsiteX226" fmla="*/ 2803526 w 5226051"/>
              <a:gd name="connsiteY226" fmla="*/ 85725 h 6451600"/>
              <a:gd name="connsiteX227" fmla="*/ 2838451 w 5226051"/>
              <a:gd name="connsiteY227" fmla="*/ 60325 h 6451600"/>
              <a:gd name="connsiteX228" fmla="*/ 2876551 w 5226051"/>
              <a:gd name="connsiteY228" fmla="*/ 41275 h 6451600"/>
              <a:gd name="connsiteX229" fmla="*/ 2921001 w 5226051"/>
              <a:gd name="connsiteY229" fmla="*/ 28575 h 6451600"/>
              <a:gd name="connsiteX230" fmla="*/ 2968626 w 5226051"/>
              <a:gd name="connsiteY230" fmla="*/ 19050 h 6451600"/>
              <a:gd name="connsiteX231" fmla="*/ 3019426 w 5226051"/>
              <a:gd name="connsiteY231" fmla="*/ 12700 h 6451600"/>
              <a:gd name="connsiteX232" fmla="*/ 387350 w 5226051"/>
              <a:gd name="connsiteY232" fmla="*/ 0 h 6451600"/>
              <a:gd name="connsiteX233" fmla="*/ 454025 w 5226051"/>
              <a:gd name="connsiteY233" fmla="*/ 3175 h 6451600"/>
              <a:gd name="connsiteX234" fmla="*/ 596900 w 5226051"/>
              <a:gd name="connsiteY234" fmla="*/ 9525 h 6451600"/>
              <a:gd name="connsiteX235" fmla="*/ 742950 w 5226051"/>
              <a:gd name="connsiteY235" fmla="*/ 12700 h 6451600"/>
              <a:gd name="connsiteX236" fmla="*/ 1809750 w 5226051"/>
              <a:gd name="connsiteY236" fmla="*/ 12700 h 6451600"/>
              <a:gd name="connsiteX237" fmla="*/ 2016125 w 5226051"/>
              <a:gd name="connsiteY237" fmla="*/ 9525 h 6451600"/>
              <a:gd name="connsiteX238" fmla="*/ 2117725 w 5226051"/>
              <a:gd name="connsiteY238" fmla="*/ 9525 h 6451600"/>
              <a:gd name="connsiteX239" fmla="*/ 2165350 w 5226051"/>
              <a:gd name="connsiteY239" fmla="*/ 12700 h 6451600"/>
              <a:gd name="connsiteX240" fmla="*/ 2212975 w 5226051"/>
              <a:gd name="connsiteY240" fmla="*/ 15875 h 6451600"/>
              <a:gd name="connsiteX241" fmla="*/ 2257425 w 5226051"/>
              <a:gd name="connsiteY241" fmla="*/ 22225 h 6451600"/>
              <a:gd name="connsiteX242" fmla="*/ 2301875 w 5226051"/>
              <a:gd name="connsiteY242" fmla="*/ 28575 h 6451600"/>
              <a:gd name="connsiteX243" fmla="*/ 2339975 w 5226051"/>
              <a:gd name="connsiteY243" fmla="*/ 41275 h 6451600"/>
              <a:gd name="connsiteX244" fmla="*/ 2374900 w 5226051"/>
              <a:gd name="connsiteY244" fmla="*/ 53975 h 6451600"/>
              <a:gd name="connsiteX245" fmla="*/ 2406650 w 5226051"/>
              <a:gd name="connsiteY245" fmla="*/ 73025 h 6451600"/>
              <a:gd name="connsiteX246" fmla="*/ 2432050 w 5226051"/>
              <a:gd name="connsiteY246" fmla="*/ 95250 h 6451600"/>
              <a:gd name="connsiteX247" fmla="*/ 2454275 w 5226051"/>
              <a:gd name="connsiteY247" fmla="*/ 120650 h 6451600"/>
              <a:gd name="connsiteX248" fmla="*/ 2470150 w 5226051"/>
              <a:gd name="connsiteY248" fmla="*/ 152400 h 6451600"/>
              <a:gd name="connsiteX249" fmla="*/ 2479675 w 5226051"/>
              <a:gd name="connsiteY249" fmla="*/ 177800 h 6451600"/>
              <a:gd name="connsiteX250" fmla="*/ 2486025 w 5226051"/>
              <a:gd name="connsiteY250" fmla="*/ 203200 h 6451600"/>
              <a:gd name="connsiteX251" fmla="*/ 2495550 w 5226051"/>
              <a:gd name="connsiteY251" fmla="*/ 263525 h 6451600"/>
              <a:gd name="connsiteX252" fmla="*/ 2498725 w 5226051"/>
              <a:gd name="connsiteY252" fmla="*/ 323850 h 6451600"/>
              <a:gd name="connsiteX253" fmla="*/ 2495550 w 5226051"/>
              <a:gd name="connsiteY253" fmla="*/ 390525 h 6451600"/>
              <a:gd name="connsiteX254" fmla="*/ 2489200 w 5226051"/>
              <a:gd name="connsiteY254" fmla="*/ 517525 h 6451600"/>
              <a:gd name="connsiteX255" fmla="*/ 2486025 w 5226051"/>
              <a:gd name="connsiteY255" fmla="*/ 581025 h 6451600"/>
              <a:gd name="connsiteX256" fmla="*/ 2482850 w 5226051"/>
              <a:gd name="connsiteY256" fmla="*/ 635000 h 6451600"/>
              <a:gd name="connsiteX257" fmla="*/ 2482850 w 5226051"/>
              <a:gd name="connsiteY257" fmla="*/ 1130300 h 6451600"/>
              <a:gd name="connsiteX258" fmla="*/ 2413000 w 5226051"/>
              <a:gd name="connsiteY258" fmla="*/ 1136650 h 6451600"/>
              <a:gd name="connsiteX259" fmla="*/ 2343150 w 5226051"/>
              <a:gd name="connsiteY259" fmla="*/ 1139825 h 6451600"/>
              <a:gd name="connsiteX260" fmla="*/ 2270125 w 5226051"/>
              <a:gd name="connsiteY260" fmla="*/ 1139825 h 6451600"/>
              <a:gd name="connsiteX261" fmla="*/ 2197100 w 5226051"/>
              <a:gd name="connsiteY261" fmla="*/ 1136650 h 6451600"/>
              <a:gd name="connsiteX262" fmla="*/ 2051050 w 5226051"/>
              <a:gd name="connsiteY262" fmla="*/ 1130300 h 6451600"/>
              <a:gd name="connsiteX263" fmla="*/ 1908175 w 5226051"/>
              <a:gd name="connsiteY263" fmla="*/ 1123950 h 6451600"/>
              <a:gd name="connsiteX264" fmla="*/ 1771650 w 5226051"/>
              <a:gd name="connsiteY264" fmla="*/ 1120775 h 6451600"/>
              <a:gd name="connsiteX265" fmla="*/ 1704975 w 5226051"/>
              <a:gd name="connsiteY265" fmla="*/ 1120775 h 6451600"/>
              <a:gd name="connsiteX266" fmla="*/ 1641475 w 5226051"/>
              <a:gd name="connsiteY266" fmla="*/ 1123950 h 6451600"/>
              <a:gd name="connsiteX267" fmla="*/ 1577975 w 5226051"/>
              <a:gd name="connsiteY267" fmla="*/ 1130300 h 6451600"/>
              <a:gd name="connsiteX268" fmla="*/ 1520825 w 5226051"/>
              <a:gd name="connsiteY268" fmla="*/ 1136650 h 6451600"/>
              <a:gd name="connsiteX269" fmla="*/ 1466850 w 5226051"/>
              <a:gd name="connsiteY269" fmla="*/ 1152525 h 6451600"/>
              <a:gd name="connsiteX270" fmla="*/ 1416050 w 5226051"/>
              <a:gd name="connsiteY270" fmla="*/ 1168400 h 6451600"/>
              <a:gd name="connsiteX271" fmla="*/ 1390650 w 5226051"/>
              <a:gd name="connsiteY271" fmla="*/ 1181100 h 6451600"/>
              <a:gd name="connsiteX272" fmla="*/ 1368425 w 5226051"/>
              <a:gd name="connsiteY272" fmla="*/ 1193800 h 6451600"/>
              <a:gd name="connsiteX273" fmla="*/ 1320800 w 5226051"/>
              <a:gd name="connsiteY273" fmla="*/ 1225550 h 6451600"/>
              <a:gd name="connsiteX274" fmla="*/ 1273175 w 5226051"/>
              <a:gd name="connsiteY274" fmla="*/ 1263650 h 6451600"/>
              <a:gd name="connsiteX275" fmla="*/ 1231900 w 5226051"/>
              <a:gd name="connsiteY275" fmla="*/ 1308100 h 6451600"/>
              <a:gd name="connsiteX276" fmla="*/ 1193800 w 5226051"/>
              <a:gd name="connsiteY276" fmla="*/ 1358900 h 6451600"/>
              <a:gd name="connsiteX277" fmla="*/ 1162050 w 5226051"/>
              <a:gd name="connsiteY277" fmla="*/ 1412875 h 6451600"/>
              <a:gd name="connsiteX278" fmla="*/ 1149350 w 5226051"/>
              <a:gd name="connsiteY278" fmla="*/ 1438275 h 6451600"/>
              <a:gd name="connsiteX279" fmla="*/ 1139825 w 5226051"/>
              <a:gd name="connsiteY279" fmla="*/ 1466850 h 6451600"/>
              <a:gd name="connsiteX280" fmla="*/ 1130300 w 5226051"/>
              <a:gd name="connsiteY280" fmla="*/ 1495425 h 6451600"/>
              <a:gd name="connsiteX281" fmla="*/ 1123950 w 5226051"/>
              <a:gd name="connsiteY281" fmla="*/ 1524000 h 6451600"/>
              <a:gd name="connsiteX282" fmla="*/ 1117600 w 5226051"/>
              <a:gd name="connsiteY282" fmla="*/ 1587500 h 6451600"/>
              <a:gd name="connsiteX283" fmla="*/ 1111250 w 5226051"/>
              <a:gd name="connsiteY283" fmla="*/ 1657350 h 6451600"/>
              <a:gd name="connsiteX284" fmla="*/ 1111250 w 5226051"/>
              <a:gd name="connsiteY284" fmla="*/ 1727200 h 6451600"/>
              <a:gd name="connsiteX285" fmla="*/ 1114425 w 5226051"/>
              <a:gd name="connsiteY285" fmla="*/ 1800225 h 6451600"/>
              <a:gd name="connsiteX286" fmla="*/ 1120775 w 5226051"/>
              <a:gd name="connsiteY286" fmla="*/ 1952625 h 6451600"/>
              <a:gd name="connsiteX287" fmla="*/ 1123950 w 5226051"/>
              <a:gd name="connsiteY287" fmla="*/ 2032000 h 6451600"/>
              <a:gd name="connsiteX288" fmla="*/ 1123950 w 5226051"/>
              <a:gd name="connsiteY288" fmla="*/ 2108200 h 6451600"/>
              <a:gd name="connsiteX289" fmla="*/ 1123950 w 5226051"/>
              <a:gd name="connsiteY289" fmla="*/ 3848100 h 6451600"/>
              <a:gd name="connsiteX290" fmla="*/ 387350 w 5226051"/>
              <a:gd name="connsiteY290" fmla="*/ 3848100 h 6451600"/>
              <a:gd name="connsiteX291" fmla="*/ 381000 w 5226051"/>
              <a:gd name="connsiteY291" fmla="*/ 3873500 h 6451600"/>
              <a:gd name="connsiteX292" fmla="*/ 374650 w 5226051"/>
              <a:gd name="connsiteY292" fmla="*/ 3898900 h 6451600"/>
              <a:gd name="connsiteX293" fmla="*/ 374650 w 5226051"/>
              <a:gd name="connsiteY293" fmla="*/ 3930650 h 6451600"/>
              <a:gd name="connsiteX294" fmla="*/ 374650 w 5226051"/>
              <a:gd name="connsiteY294" fmla="*/ 3962400 h 6451600"/>
              <a:gd name="connsiteX295" fmla="*/ 374650 w 5226051"/>
              <a:gd name="connsiteY295" fmla="*/ 4029075 h 6451600"/>
              <a:gd name="connsiteX296" fmla="*/ 374650 w 5226051"/>
              <a:gd name="connsiteY296" fmla="*/ 4060825 h 6451600"/>
              <a:gd name="connsiteX297" fmla="*/ 374650 w 5226051"/>
              <a:gd name="connsiteY297" fmla="*/ 4089400 h 6451600"/>
              <a:gd name="connsiteX298" fmla="*/ 460375 w 5226051"/>
              <a:gd name="connsiteY298" fmla="*/ 4098925 h 6451600"/>
              <a:gd name="connsiteX299" fmla="*/ 552450 w 5226051"/>
              <a:gd name="connsiteY299" fmla="*/ 4102100 h 6451600"/>
              <a:gd name="connsiteX300" fmla="*/ 644525 w 5226051"/>
              <a:gd name="connsiteY300" fmla="*/ 4105275 h 6451600"/>
              <a:gd name="connsiteX301" fmla="*/ 742950 w 5226051"/>
              <a:gd name="connsiteY301" fmla="*/ 4105275 h 6451600"/>
              <a:gd name="connsiteX302" fmla="*/ 936625 w 5226051"/>
              <a:gd name="connsiteY302" fmla="*/ 4102100 h 6451600"/>
              <a:gd name="connsiteX303" fmla="*/ 1031875 w 5226051"/>
              <a:gd name="connsiteY303" fmla="*/ 4102100 h 6451600"/>
              <a:gd name="connsiteX304" fmla="*/ 1123950 w 5226051"/>
              <a:gd name="connsiteY304" fmla="*/ 4102100 h 6451600"/>
              <a:gd name="connsiteX305" fmla="*/ 1123950 w 5226051"/>
              <a:gd name="connsiteY305" fmla="*/ 4133850 h 6451600"/>
              <a:gd name="connsiteX306" fmla="*/ 1123950 w 5226051"/>
              <a:gd name="connsiteY306" fmla="*/ 4168775 h 6451600"/>
              <a:gd name="connsiteX307" fmla="*/ 1127125 w 5226051"/>
              <a:gd name="connsiteY307" fmla="*/ 4238625 h 6451600"/>
              <a:gd name="connsiteX308" fmla="*/ 1127125 w 5226051"/>
              <a:gd name="connsiteY308" fmla="*/ 4270375 h 6451600"/>
              <a:gd name="connsiteX309" fmla="*/ 1123950 w 5226051"/>
              <a:gd name="connsiteY309" fmla="*/ 4302125 h 6451600"/>
              <a:gd name="connsiteX310" fmla="*/ 1120775 w 5226051"/>
              <a:gd name="connsiteY310" fmla="*/ 4330700 h 6451600"/>
              <a:gd name="connsiteX311" fmla="*/ 1111250 w 5226051"/>
              <a:gd name="connsiteY311" fmla="*/ 4356100 h 6451600"/>
              <a:gd name="connsiteX312" fmla="*/ 387350 w 5226051"/>
              <a:gd name="connsiteY312" fmla="*/ 4356100 h 6451600"/>
              <a:gd name="connsiteX313" fmla="*/ 377825 w 5226051"/>
              <a:gd name="connsiteY313" fmla="*/ 4381500 h 6451600"/>
              <a:gd name="connsiteX314" fmla="*/ 374650 w 5226051"/>
              <a:gd name="connsiteY314" fmla="*/ 4406900 h 6451600"/>
              <a:gd name="connsiteX315" fmla="*/ 371475 w 5226051"/>
              <a:gd name="connsiteY315" fmla="*/ 4438650 h 6451600"/>
              <a:gd name="connsiteX316" fmla="*/ 374650 w 5226051"/>
              <a:gd name="connsiteY316" fmla="*/ 4470400 h 6451600"/>
              <a:gd name="connsiteX317" fmla="*/ 374650 w 5226051"/>
              <a:gd name="connsiteY317" fmla="*/ 4537075 h 6451600"/>
              <a:gd name="connsiteX318" fmla="*/ 377825 w 5226051"/>
              <a:gd name="connsiteY318" fmla="*/ 4568825 h 6451600"/>
              <a:gd name="connsiteX319" fmla="*/ 374650 w 5226051"/>
              <a:gd name="connsiteY319" fmla="*/ 4597400 h 6451600"/>
              <a:gd name="connsiteX320" fmla="*/ 1123950 w 5226051"/>
              <a:gd name="connsiteY320" fmla="*/ 4597400 h 6451600"/>
              <a:gd name="connsiteX321" fmla="*/ 1123950 w 5226051"/>
              <a:gd name="connsiteY321" fmla="*/ 5080000 h 6451600"/>
              <a:gd name="connsiteX322" fmla="*/ 990600 w 5226051"/>
              <a:gd name="connsiteY322" fmla="*/ 5089525 h 6451600"/>
              <a:gd name="connsiteX323" fmla="*/ 854075 w 5226051"/>
              <a:gd name="connsiteY323" fmla="*/ 5095875 h 6451600"/>
              <a:gd name="connsiteX324" fmla="*/ 714375 w 5226051"/>
              <a:gd name="connsiteY324" fmla="*/ 5095875 h 6451600"/>
              <a:gd name="connsiteX325" fmla="*/ 574675 w 5226051"/>
              <a:gd name="connsiteY325" fmla="*/ 5095875 h 6451600"/>
              <a:gd name="connsiteX326" fmla="*/ 288925 w 5226051"/>
              <a:gd name="connsiteY326" fmla="*/ 5092700 h 6451600"/>
              <a:gd name="connsiteX327" fmla="*/ 146050 w 5226051"/>
              <a:gd name="connsiteY327" fmla="*/ 5092700 h 6451600"/>
              <a:gd name="connsiteX328" fmla="*/ 6350 w 5226051"/>
              <a:gd name="connsiteY328" fmla="*/ 5092700 h 6451600"/>
              <a:gd name="connsiteX329" fmla="*/ 6350 w 5226051"/>
              <a:gd name="connsiteY329" fmla="*/ 762000 h 6451600"/>
              <a:gd name="connsiteX330" fmla="*/ 3175 w 5226051"/>
              <a:gd name="connsiteY330" fmla="*/ 631825 h 6451600"/>
              <a:gd name="connsiteX331" fmla="*/ 0 w 5226051"/>
              <a:gd name="connsiteY331" fmla="*/ 508000 h 6451600"/>
              <a:gd name="connsiteX332" fmla="*/ 0 w 5226051"/>
              <a:gd name="connsiteY332" fmla="*/ 387350 h 6451600"/>
              <a:gd name="connsiteX333" fmla="*/ 3175 w 5226051"/>
              <a:gd name="connsiteY333" fmla="*/ 330200 h 6451600"/>
              <a:gd name="connsiteX334" fmla="*/ 9525 w 5226051"/>
              <a:gd name="connsiteY334" fmla="*/ 279400 h 6451600"/>
              <a:gd name="connsiteX335" fmla="*/ 15875 w 5226051"/>
              <a:gd name="connsiteY335" fmla="*/ 228600 h 6451600"/>
              <a:gd name="connsiteX336" fmla="*/ 28575 w 5226051"/>
              <a:gd name="connsiteY336" fmla="*/ 180975 h 6451600"/>
              <a:gd name="connsiteX337" fmla="*/ 44450 w 5226051"/>
              <a:gd name="connsiteY337" fmla="*/ 139700 h 6451600"/>
              <a:gd name="connsiteX338" fmla="*/ 66675 w 5226051"/>
              <a:gd name="connsiteY338" fmla="*/ 104775 h 6451600"/>
              <a:gd name="connsiteX339" fmla="*/ 79375 w 5226051"/>
              <a:gd name="connsiteY339" fmla="*/ 85725 h 6451600"/>
              <a:gd name="connsiteX340" fmla="*/ 92075 w 5226051"/>
              <a:gd name="connsiteY340" fmla="*/ 73025 h 6451600"/>
              <a:gd name="connsiteX341" fmla="*/ 107950 w 5226051"/>
              <a:gd name="connsiteY341" fmla="*/ 57150 h 6451600"/>
              <a:gd name="connsiteX342" fmla="*/ 123825 w 5226051"/>
              <a:gd name="connsiteY342" fmla="*/ 47625 h 6451600"/>
              <a:gd name="connsiteX343" fmla="*/ 142875 w 5226051"/>
              <a:gd name="connsiteY343" fmla="*/ 34925 h 6451600"/>
              <a:gd name="connsiteX344" fmla="*/ 161925 w 5226051"/>
              <a:gd name="connsiteY344" fmla="*/ 25400 h 6451600"/>
              <a:gd name="connsiteX345" fmla="*/ 184150 w 5226051"/>
              <a:gd name="connsiteY345" fmla="*/ 19050 h 6451600"/>
              <a:gd name="connsiteX346" fmla="*/ 209550 w 5226051"/>
              <a:gd name="connsiteY346" fmla="*/ 12700 h 6451600"/>
              <a:gd name="connsiteX347" fmla="*/ 263525 w 5226051"/>
              <a:gd name="connsiteY347" fmla="*/ 6350 h 6451600"/>
              <a:gd name="connsiteX348" fmla="*/ 320675 w 5226051"/>
              <a:gd name="connsiteY348" fmla="*/ 3175 h 645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Lst>
            <a:rect l="l" t="t" r="r" b="b"/>
            <a:pathLst>
              <a:path w="5226051" h="6451600">
                <a:moveTo>
                  <a:pt x="1771650" y="5702301"/>
                </a:moveTo>
                <a:lnTo>
                  <a:pt x="1762125" y="5711826"/>
                </a:lnTo>
                <a:lnTo>
                  <a:pt x="1755775" y="5721351"/>
                </a:lnTo>
                <a:lnTo>
                  <a:pt x="1749425" y="5734051"/>
                </a:lnTo>
                <a:lnTo>
                  <a:pt x="1746250" y="5749926"/>
                </a:lnTo>
                <a:lnTo>
                  <a:pt x="1743075" y="5784851"/>
                </a:lnTo>
                <a:lnTo>
                  <a:pt x="1746250" y="5822951"/>
                </a:lnTo>
                <a:lnTo>
                  <a:pt x="1749425" y="5861051"/>
                </a:lnTo>
                <a:lnTo>
                  <a:pt x="1749425" y="5899151"/>
                </a:lnTo>
                <a:lnTo>
                  <a:pt x="1746250" y="5930901"/>
                </a:lnTo>
                <a:lnTo>
                  <a:pt x="1739900" y="5946776"/>
                </a:lnTo>
                <a:lnTo>
                  <a:pt x="1733550" y="5956301"/>
                </a:lnTo>
                <a:lnTo>
                  <a:pt x="3486150" y="5956301"/>
                </a:lnTo>
                <a:lnTo>
                  <a:pt x="3486150" y="5715001"/>
                </a:lnTo>
                <a:lnTo>
                  <a:pt x="3279775" y="5708651"/>
                </a:lnTo>
                <a:lnTo>
                  <a:pt x="3067050" y="5702301"/>
                </a:lnTo>
                <a:lnTo>
                  <a:pt x="2854325" y="5702301"/>
                </a:lnTo>
                <a:lnTo>
                  <a:pt x="2638425" y="5702301"/>
                </a:lnTo>
                <a:lnTo>
                  <a:pt x="2203450" y="5705476"/>
                </a:lnTo>
                <a:lnTo>
                  <a:pt x="1987550" y="5705476"/>
                </a:lnTo>
                <a:close/>
                <a:moveTo>
                  <a:pt x="1746250" y="5219701"/>
                </a:moveTo>
                <a:lnTo>
                  <a:pt x="1746250" y="5264151"/>
                </a:lnTo>
                <a:lnTo>
                  <a:pt x="1746250" y="5327651"/>
                </a:lnTo>
                <a:lnTo>
                  <a:pt x="1746250" y="5397501"/>
                </a:lnTo>
                <a:lnTo>
                  <a:pt x="1746250" y="5461001"/>
                </a:lnTo>
                <a:lnTo>
                  <a:pt x="3473450" y="5461001"/>
                </a:lnTo>
                <a:lnTo>
                  <a:pt x="3482975" y="5438776"/>
                </a:lnTo>
                <a:lnTo>
                  <a:pt x="3486150" y="5410201"/>
                </a:lnTo>
                <a:lnTo>
                  <a:pt x="3489325" y="5381626"/>
                </a:lnTo>
                <a:lnTo>
                  <a:pt x="3489325" y="5349876"/>
                </a:lnTo>
                <a:lnTo>
                  <a:pt x="3486150" y="5283201"/>
                </a:lnTo>
                <a:lnTo>
                  <a:pt x="3486150" y="5251451"/>
                </a:lnTo>
                <a:lnTo>
                  <a:pt x="3486150" y="5219701"/>
                </a:lnTo>
                <a:close/>
                <a:moveTo>
                  <a:pt x="1758950" y="2120901"/>
                </a:moveTo>
                <a:lnTo>
                  <a:pt x="1749425" y="2143126"/>
                </a:lnTo>
                <a:lnTo>
                  <a:pt x="1746250" y="2171701"/>
                </a:lnTo>
                <a:lnTo>
                  <a:pt x="1746250" y="2203451"/>
                </a:lnTo>
                <a:lnTo>
                  <a:pt x="1746250" y="2235201"/>
                </a:lnTo>
                <a:lnTo>
                  <a:pt x="1749425" y="2301876"/>
                </a:lnTo>
                <a:lnTo>
                  <a:pt x="1749425" y="2333626"/>
                </a:lnTo>
                <a:lnTo>
                  <a:pt x="1746250" y="2362201"/>
                </a:lnTo>
                <a:lnTo>
                  <a:pt x="3486150" y="2362201"/>
                </a:lnTo>
                <a:lnTo>
                  <a:pt x="3486150" y="2120901"/>
                </a:lnTo>
                <a:close/>
                <a:moveTo>
                  <a:pt x="3321050" y="1352550"/>
                </a:moveTo>
                <a:lnTo>
                  <a:pt x="3397250" y="1355725"/>
                </a:lnTo>
                <a:lnTo>
                  <a:pt x="3473450" y="1358900"/>
                </a:lnTo>
                <a:lnTo>
                  <a:pt x="3543300" y="1365250"/>
                </a:lnTo>
                <a:lnTo>
                  <a:pt x="3606800" y="1371600"/>
                </a:lnTo>
                <a:lnTo>
                  <a:pt x="3667125" y="1384300"/>
                </a:lnTo>
                <a:lnTo>
                  <a:pt x="3717925" y="1403350"/>
                </a:lnTo>
                <a:lnTo>
                  <a:pt x="3740150" y="1412875"/>
                </a:lnTo>
                <a:lnTo>
                  <a:pt x="3759200" y="1422400"/>
                </a:lnTo>
                <a:lnTo>
                  <a:pt x="3778250" y="1435100"/>
                </a:lnTo>
                <a:lnTo>
                  <a:pt x="3790950" y="1447800"/>
                </a:lnTo>
                <a:lnTo>
                  <a:pt x="3806825" y="1466850"/>
                </a:lnTo>
                <a:lnTo>
                  <a:pt x="3816350" y="1485900"/>
                </a:lnTo>
                <a:lnTo>
                  <a:pt x="3829050" y="1511300"/>
                </a:lnTo>
                <a:lnTo>
                  <a:pt x="3835400" y="1539875"/>
                </a:lnTo>
                <a:lnTo>
                  <a:pt x="3841750" y="1571625"/>
                </a:lnTo>
                <a:lnTo>
                  <a:pt x="3848100" y="1606550"/>
                </a:lnTo>
                <a:lnTo>
                  <a:pt x="3854450" y="1682750"/>
                </a:lnTo>
                <a:lnTo>
                  <a:pt x="3857625" y="1762125"/>
                </a:lnTo>
                <a:lnTo>
                  <a:pt x="3857625" y="1847850"/>
                </a:lnTo>
                <a:lnTo>
                  <a:pt x="3854450" y="2019300"/>
                </a:lnTo>
                <a:lnTo>
                  <a:pt x="3854450" y="6451600"/>
                </a:lnTo>
                <a:lnTo>
                  <a:pt x="1365250" y="6451600"/>
                </a:lnTo>
                <a:lnTo>
                  <a:pt x="1365250" y="2133600"/>
                </a:lnTo>
                <a:lnTo>
                  <a:pt x="1362075" y="1997075"/>
                </a:lnTo>
                <a:lnTo>
                  <a:pt x="1358900" y="1866900"/>
                </a:lnTo>
                <a:lnTo>
                  <a:pt x="1358900" y="1746250"/>
                </a:lnTo>
                <a:lnTo>
                  <a:pt x="1362075" y="1689100"/>
                </a:lnTo>
                <a:lnTo>
                  <a:pt x="1368425" y="1635125"/>
                </a:lnTo>
                <a:lnTo>
                  <a:pt x="1377950" y="1584325"/>
                </a:lnTo>
                <a:lnTo>
                  <a:pt x="1390650" y="1536700"/>
                </a:lnTo>
                <a:lnTo>
                  <a:pt x="1409700" y="1495425"/>
                </a:lnTo>
                <a:lnTo>
                  <a:pt x="1419225" y="1479550"/>
                </a:lnTo>
                <a:lnTo>
                  <a:pt x="1431925" y="1460500"/>
                </a:lnTo>
                <a:lnTo>
                  <a:pt x="1447800" y="1444625"/>
                </a:lnTo>
                <a:lnTo>
                  <a:pt x="1463675" y="1428750"/>
                </a:lnTo>
                <a:lnTo>
                  <a:pt x="1479550" y="1416050"/>
                </a:lnTo>
                <a:lnTo>
                  <a:pt x="1498600" y="1403350"/>
                </a:lnTo>
                <a:lnTo>
                  <a:pt x="1520825" y="1393825"/>
                </a:lnTo>
                <a:lnTo>
                  <a:pt x="1543050" y="1384300"/>
                </a:lnTo>
                <a:lnTo>
                  <a:pt x="1568450" y="1377950"/>
                </a:lnTo>
                <a:lnTo>
                  <a:pt x="1593850" y="1371600"/>
                </a:lnTo>
                <a:lnTo>
                  <a:pt x="1660525" y="1362075"/>
                </a:lnTo>
                <a:lnTo>
                  <a:pt x="1730375" y="1358900"/>
                </a:lnTo>
                <a:lnTo>
                  <a:pt x="1800225" y="1358900"/>
                </a:lnTo>
                <a:lnTo>
                  <a:pt x="1873250" y="1362075"/>
                </a:lnTo>
                <a:lnTo>
                  <a:pt x="2022475" y="1368425"/>
                </a:lnTo>
                <a:lnTo>
                  <a:pt x="2095500" y="1371600"/>
                </a:lnTo>
                <a:lnTo>
                  <a:pt x="2165350" y="1371600"/>
                </a:lnTo>
                <a:lnTo>
                  <a:pt x="2736850" y="1371600"/>
                </a:lnTo>
                <a:lnTo>
                  <a:pt x="2860675" y="1368425"/>
                </a:lnTo>
                <a:lnTo>
                  <a:pt x="3006725" y="1362075"/>
                </a:lnTo>
                <a:lnTo>
                  <a:pt x="3162300" y="1355725"/>
                </a:lnTo>
                <a:close/>
                <a:moveTo>
                  <a:pt x="3117851" y="762001"/>
                </a:moveTo>
                <a:lnTo>
                  <a:pt x="3111501" y="784226"/>
                </a:lnTo>
                <a:lnTo>
                  <a:pt x="3105151" y="812801"/>
                </a:lnTo>
                <a:lnTo>
                  <a:pt x="3105151" y="841376"/>
                </a:lnTo>
                <a:lnTo>
                  <a:pt x="3105151" y="876301"/>
                </a:lnTo>
                <a:lnTo>
                  <a:pt x="3108326" y="939801"/>
                </a:lnTo>
                <a:lnTo>
                  <a:pt x="3108326" y="974726"/>
                </a:lnTo>
                <a:lnTo>
                  <a:pt x="3105151" y="1003301"/>
                </a:lnTo>
                <a:lnTo>
                  <a:pt x="4845051" y="1003301"/>
                </a:lnTo>
                <a:lnTo>
                  <a:pt x="4845051" y="762001"/>
                </a:lnTo>
                <a:close/>
                <a:moveTo>
                  <a:pt x="387350" y="762001"/>
                </a:moveTo>
                <a:lnTo>
                  <a:pt x="381000" y="784226"/>
                </a:lnTo>
                <a:lnTo>
                  <a:pt x="374650" y="815976"/>
                </a:lnTo>
                <a:lnTo>
                  <a:pt x="371475" y="847726"/>
                </a:lnTo>
                <a:lnTo>
                  <a:pt x="371475" y="882651"/>
                </a:lnTo>
                <a:lnTo>
                  <a:pt x="374650" y="917576"/>
                </a:lnTo>
                <a:lnTo>
                  <a:pt x="377825" y="949326"/>
                </a:lnTo>
                <a:lnTo>
                  <a:pt x="381000" y="981076"/>
                </a:lnTo>
                <a:lnTo>
                  <a:pt x="387350" y="1003301"/>
                </a:lnTo>
                <a:lnTo>
                  <a:pt x="2114550" y="1003301"/>
                </a:lnTo>
                <a:lnTo>
                  <a:pt x="2114550" y="762001"/>
                </a:lnTo>
                <a:close/>
                <a:moveTo>
                  <a:pt x="3073401" y="6350"/>
                </a:moveTo>
                <a:lnTo>
                  <a:pt x="3127376" y="6350"/>
                </a:lnTo>
                <a:lnTo>
                  <a:pt x="3248026" y="6350"/>
                </a:lnTo>
                <a:lnTo>
                  <a:pt x="3368676" y="9525"/>
                </a:lnTo>
                <a:lnTo>
                  <a:pt x="3486151" y="12700"/>
                </a:lnTo>
                <a:lnTo>
                  <a:pt x="4578351" y="12700"/>
                </a:lnTo>
                <a:lnTo>
                  <a:pt x="4679951" y="12700"/>
                </a:lnTo>
                <a:lnTo>
                  <a:pt x="4778376" y="9525"/>
                </a:lnTo>
                <a:lnTo>
                  <a:pt x="4873626" y="9525"/>
                </a:lnTo>
                <a:lnTo>
                  <a:pt x="4921251" y="12700"/>
                </a:lnTo>
                <a:lnTo>
                  <a:pt x="4965701" y="15875"/>
                </a:lnTo>
                <a:lnTo>
                  <a:pt x="5006976" y="22225"/>
                </a:lnTo>
                <a:lnTo>
                  <a:pt x="5045076" y="31750"/>
                </a:lnTo>
                <a:lnTo>
                  <a:pt x="5080001" y="41275"/>
                </a:lnTo>
                <a:lnTo>
                  <a:pt x="5111751" y="57150"/>
                </a:lnTo>
                <a:lnTo>
                  <a:pt x="5140326" y="79375"/>
                </a:lnTo>
                <a:lnTo>
                  <a:pt x="5165726" y="101600"/>
                </a:lnTo>
                <a:lnTo>
                  <a:pt x="5187951" y="130175"/>
                </a:lnTo>
                <a:lnTo>
                  <a:pt x="5200651" y="165100"/>
                </a:lnTo>
                <a:lnTo>
                  <a:pt x="5210176" y="190500"/>
                </a:lnTo>
                <a:lnTo>
                  <a:pt x="5216526" y="219075"/>
                </a:lnTo>
                <a:lnTo>
                  <a:pt x="5222876" y="285750"/>
                </a:lnTo>
                <a:lnTo>
                  <a:pt x="5226051" y="361950"/>
                </a:lnTo>
                <a:lnTo>
                  <a:pt x="5226051" y="444500"/>
                </a:lnTo>
                <a:lnTo>
                  <a:pt x="5219701" y="612775"/>
                </a:lnTo>
                <a:lnTo>
                  <a:pt x="5216526" y="695325"/>
                </a:lnTo>
                <a:lnTo>
                  <a:pt x="5213351" y="774700"/>
                </a:lnTo>
                <a:lnTo>
                  <a:pt x="5213351" y="5092700"/>
                </a:lnTo>
                <a:lnTo>
                  <a:pt x="5073651" y="5092700"/>
                </a:lnTo>
                <a:lnTo>
                  <a:pt x="4933951" y="5092700"/>
                </a:lnTo>
                <a:lnTo>
                  <a:pt x="4648201" y="5095875"/>
                </a:lnTo>
                <a:lnTo>
                  <a:pt x="4505326" y="5095875"/>
                </a:lnTo>
                <a:lnTo>
                  <a:pt x="4365626" y="5095875"/>
                </a:lnTo>
                <a:lnTo>
                  <a:pt x="4229101" y="5089525"/>
                </a:lnTo>
                <a:lnTo>
                  <a:pt x="4095751" y="5080000"/>
                </a:lnTo>
                <a:lnTo>
                  <a:pt x="4095751" y="4597400"/>
                </a:lnTo>
                <a:lnTo>
                  <a:pt x="4832351" y="4597400"/>
                </a:lnTo>
                <a:lnTo>
                  <a:pt x="4841876" y="4575175"/>
                </a:lnTo>
                <a:lnTo>
                  <a:pt x="4848226" y="4546600"/>
                </a:lnTo>
                <a:lnTo>
                  <a:pt x="4848226" y="4518025"/>
                </a:lnTo>
                <a:lnTo>
                  <a:pt x="4848226" y="4486275"/>
                </a:lnTo>
                <a:lnTo>
                  <a:pt x="4845051" y="4419600"/>
                </a:lnTo>
                <a:lnTo>
                  <a:pt x="4845051" y="4387850"/>
                </a:lnTo>
                <a:lnTo>
                  <a:pt x="4845051" y="4356100"/>
                </a:lnTo>
                <a:lnTo>
                  <a:pt x="4108451" y="4356100"/>
                </a:lnTo>
                <a:lnTo>
                  <a:pt x="4102101" y="4330700"/>
                </a:lnTo>
                <a:lnTo>
                  <a:pt x="4095751" y="4302125"/>
                </a:lnTo>
                <a:lnTo>
                  <a:pt x="4095751" y="4270375"/>
                </a:lnTo>
                <a:lnTo>
                  <a:pt x="4095751" y="4238625"/>
                </a:lnTo>
                <a:lnTo>
                  <a:pt x="4098926" y="4168775"/>
                </a:lnTo>
                <a:lnTo>
                  <a:pt x="4098926" y="4133850"/>
                </a:lnTo>
                <a:lnTo>
                  <a:pt x="4095751" y="4102100"/>
                </a:lnTo>
                <a:lnTo>
                  <a:pt x="4832351" y="4102100"/>
                </a:lnTo>
                <a:lnTo>
                  <a:pt x="4841876" y="4079875"/>
                </a:lnTo>
                <a:lnTo>
                  <a:pt x="4848226" y="4051300"/>
                </a:lnTo>
                <a:lnTo>
                  <a:pt x="4848226" y="4022725"/>
                </a:lnTo>
                <a:lnTo>
                  <a:pt x="4848226" y="3990975"/>
                </a:lnTo>
                <a:lnTo>
                  <a:pt x="4845051" y="3924300"/>
                </a:lnTo>
                <a:lnTo>
                  <a:pt x="4845051" y="3892550"/>
                </a:lnTo>
                <a:lnTo>
                  <a:pt x="4845051" y="3860800"/>
                </a:lnTo>
                <a:lnTo>
                  <a:pt x="4759326" y="3854450"/>
                </a:lnTo>
                <a:lnTo>
                  <a:pt x="4670426" y="3848100"/>
                </a:lnTo>
                <a:lnTo>
                  <a:pt x="4575176" y="3848100"/>
                </a:lnTo>
                <a:lnTo>
                  <a:pt x="4479926" y="3848100"/>
                </a:lnTo>
                <a:lnTo>
                  <a:pt x="4286251" y="3851275"/>
                </a:lnTo>
                <a:lnTo>
                  <a:pt x="4191001" y="3851275"/>
                </a:lnTo>
                <a:lnTo>
                  <a:pt x="4095751" y="3848100"/>
                </a:lnTo>
                <a:lnTo>
                  <a:pt x="4095751" y="2095500"/>
                </a:lnTo>
                <a:lnTo>
                  <a:pt x="4098926" y="2012950"/>
                </a:lnTo>
                <a:lnTo>
                  <a:pt x="4102101" y="1924050"/>
                </a:lnTo>
                <a:lnTo>
                  <a:pt x="4105276" y="1746250"/>
                </a:lnTo>
                <a:lnTo>
                  <a:pt x="4105276" y="1660525"/>
                </a:lnTo>
                <a:lnTo>
                  <a:pt x="4102101" y="1581150"/>
                </a:lnTo>
                <a:lnTo>
                  <a:pt x="4095751" y="1546225"/>
                </a:lnTo>
                <a:lnTo>
                  <a:pt x="4089401" y="1511300"/>
                </a:lnTo>
                <a:lnTo>
                  <a:pt x="4083051" y="1476375"/>
                </a:lnTo>
                <a:lnTo>
                  <a:pt x="4070351" y="1447800"/>
                </a:lnTo>
                <a:lnTo>
                  <a:pt x="4057651" y="1419225"/>
                </a:lnTo>
                <a:lnTo>
                  <a:pt x="4044951" y="1390650"/>
                </a:lnTo>
                <a:lnTo>
                  <a:pt x="4025901" y="1362075"/>
                </a:lnTo>
                <a:lnTo>
                  <a:pt x="4010026" y="1333500"/>
                </a:lnTo>
                <a:lnTo>
                  <a:pt x="3987801" y="1308100"/>
                </a:lnTo>
                <a:lnTo>
                  <a:pt x="3968751" y="1285875"/>
                </a:lnTo>
                <a:lnTo>
                  <a:pt x="3946526" y="1260475"/>
                </a:lnTo>
                <a:lnTo>
                  <a:pt x="3921126" y="1238250"/>
                </a:lnTo>
                <a:lnTo>
                  <a:pt x="3895726" y="1219200"/>
                </a:lnTo>
                <a:lnTo>
                  <a:pt x="3867151" y="1200150"/>
                </a:lnTo>
                <a:lnTo>
                  <a:pt x="3838576" y="1184275"/>
                </a:lnTo>
                <a:lnTo>
                  <a:pt x="3810001" y="1168400"/>
                </a:lnTo>
                <a:lnTo>
                  <a:pt x="3778251" y="1155700"/>
                </a:lnTo>
                <a:lnTo>
                  <a:pt x="3746501" y="1146175"/>
                </a:lnTo>
                <a:lnTo>
                  <a:pt x="3711576" y="1136650"/>
                </a:lnTo>
                <a:lnTo>
                  <a:pt x="3676651" y="1130300"/>
                </a:lnTo>
                <a:lnTo>
                  <a:pt x="3629026" y="1123950"/>
                </a:lnTo>
                <a:lnTo>
                  <a:pt x="3578226" y="1120775"/>
                </a:lnTo>
                <a:lnTo>
                  <a:pt x="3470276" y="1117600"/>
                </a:lnTo>
                <a:lnTo>
                  <a:pt x="3359151" y="1120775"/>
                </a:lnTo>
                <a:lnTo>
                  <a:pt x="3238501" y="1127125"/>
                </a:lnTo>
                <a:lnTo>
                  <a:pt x="3117851" y="1133475"/>
                </a:lnTo>
                <a:lnTo>
                  <a:pt x="2994026" y="1136650"/>
                </a:lnTo>
                <a:lnTo>
                  <a:pt x="2867026" y="1136650"/>
                </a:lnTo>
                <a:lnTo>
                  <a:pt x="2800351" y="1133475"/>
                </a:lnTo>
                <a:lnTo>
                  <a:pt x="2736851" y="1130300"/>
                </a:lnTo>
                <a:lnTo>
                  <a:pt x="2736851" y="190500"/>
                </a:lnTo>
                <a:lnTo>
                  <a:pt x="2743201" y="168275"/>
                </a:lnTo>
                <a:lnTo>
                  <a:pt x="2752726" y="149225"/>
                </a:lnTo>
                <a:lnTo>
                  <a:pt x="2762251" y="130175"/>
                </a:lnTo>
                <a:lnTo>
                  <a:pt x="2774951" y="114300"/>
                </a:lnTo>
                <a:lnTo>
                  <a:pt x="2787651" y="98425"/>
                </a:lnTo>
                <a:lnTo>
                  <a:pt x="2803526" y="85725"/>
                </a:lnTo>
                <a:lnTo>
                  <a:pt x="2838451" y="60325"/>
                </a:lnTo>
                <a:lnTo>
                  <a:pt x="2876551" y="41275"/>
                </a:lnTo>
                <a:lnTo>
                  <a:pt x="2921001" y="28575"/>
                </a:lnTo>
                <a:lnTo>
                  <a:pt x="2968626" y="19050"/>
                </a:lnTo>
                <a:lnTo>
                  <a:pt x="3019426" y="12700"/>
                </a:lnTo>
                <a:close/>
                <a:moveTo>
                  <a:pt x="387350" y="0"/>
                </a:moveTo>
                <a:lnTo>
                  <a:pt x="454025" y="3175"/>
                </a:lnTo>
                <a:lnTo>
                  <a:pt x="596900" y="9525"/>
                </a:lnTo>
                <a:lnTo>
                  <a:pt x="742950" y="12700"/>
                </a:lnTo>
                <a:lnTo>
                  <a:pt x="1809750" y="12700"/>
                </a:lnTo>
                <a:lnTo>
                  <a:pt x="2016125" y="9525"/>
                </a:lnTo>
                <a:lnTo>
                  <a:pt x="2117725" y="9525"/>
                </a:lnTo>
                <a:lnTo>
                  <a:pt x="2165350" y="12700"/>
                </a:lnTo>
                <a:lnTo>
                  <a:pt x="2212975" y="15875"/>
                </a:lnTo>
                <a:lnTo>
                  <a:pt x="2257425" y="22225"/>
                </a:lnTo>
                <a:lnTo>
                  <a:pt x="2301875" y="28575"/>
                </a:lnTo>
                <a:lnTo>
                  <a:pt x="2339975" y="41275"/>
                </a:lnTo>
                <a:lnTo>
                  <a:pt x="2374900" y="53975"/>
                </a:lnTo>
                <a:lnTo>
                  <a:pt x="2406650" y="73025"/>
                </a:lnTo>
                <a:lnTo>
                  <a:pt x="2432050" y="95250"/>
                </a:lnTo>
                <a:lnTo>
                  <a:pt x="2454275" y="120650"/>
                </a:lnTo>
                <a:lnTo>
                  <a:pt x="2470150" y="152400"/>
                </a:lnTo>
                <a:lnTo>
                  <a:pt x="2479675" y="177800"/>
                </a:lnTo>
                <a:lnTo>
                  <a:pt x="2486025" y="203200"/>
                </a:lnTo>
                <a:lnTo>
                  <a:pt x="2495550" y="263525"/>
                </a:lnTo>
                <a:lnTo>
                  <a:pt x="2498725" y="323850"/>
                </a:lnTo>
                <a:lnTo>
                  <a:pt x="2495550" y="390525"/>
                </a:lnTo>
                <a:lnTo>
                  <a:pt x="2489200" y="517525"/>
                </a:lnTo>
                <a:lnTo>
                  <a:pt x="2486025" y="581025"/>
                </a:lnTo>
                <a:lnTo>
                  <a:pt x="2482850" y="635000"/>
                </a:lnTo>
                <a:lnTo>
                  <a:pt x="2482850" y="1130300"/>
                </a:lnTo>
                <a:lnTo>
                  <a:pt x="2413000" y="1136650"/>
                </a:lnTo>
                <a:lnTo>
                  <a:pt x="2343150" y="1139825"/>
                </a:lnTo>
                <a:lnTo>
                  <a:pt x="2270125" y="1139825"/>
                </a:lnTo>
                <a:lnTo>
                  <a:pt x="2197100" y="1136650"/>
                </a:lnTo>
                <a:lnTo>
                  <a:pt x="2051050" y="1130300"/>
                </a:lnTo>
                <a:lnTo>
                  <a:pt x="1908175" y="1123950"/>
                </a:lnTo>
                <a:lnTo>
                  <a:pt x="1771650" y="1120775"/>
                </a:lnTo>
                <a:lnTo>
                  <a:pt x="1704975" y="1120775"/>
                </a:lnTo>
                <a:lnTo>
                  <a:pt x="1641475" y="1123950"/>
                </a:lnTo>
                <a:lnTo>
                  <a:pt x="1577975" y="1130300"/>
                </a:lnTo>
                <a:lnTo>
                  <a:pt x="1520825" y="1136650"/>
                </a:lnTo>
                <a:lnTo>
                  <a:pt x="1466850" y="1152525"/>
                </a:lnTo>
                <a:lnTo>
                  <a:pt x="1416050" y="1168400"/>
                </a:lnTo>
                <a:lnTo>
                  <a:pt x="1390650" y="1181100"/>
                </a:lnTo>
                <a:lnTo>
                  <a:pt x="1368425" y="1193800"/>
                </a:lnTo>
                <a:lnTo>
                  <a:pt x="1320800" y="1225550"/>
                </a:lnTo>
                <a:lnTo>
                  <a:pt x="1273175" y="1263650"/>
                </a:lnTo>
                <a:lnTo>
                  <a:pt x="1231900" y="1308100"/>
                </a:lnTo>
                <a:lnTo>
                  <a:pt x="1193800" y="1358900"/>
                </a:lnTo>
                <a:lnTo>
                  <a:pt x="1162050" y="1412875"/>
                </a:lnTo>
                <a:lnTo>
                  <a:pt x="1149350" y="1438275"/>
                </a:lnTo>
                <a:lnTo>
                  <a:pt x="1139825" y="1466850"/>
                </a:lnTo>
                <a:lnTo>
                  <a:pt x="1130300" y="1495425"/>
                </a:lnTo>
                <a:lnTo>
                  <a:pt x="1123950" y="1524000"/>
                </a:lnTo>
                <a:lnTo>
                  <a:pt x="1117600" y="1587500"/>
                </a:lnTo>
                <a:lnTo>
                  <a:pt x="1111250" y="1657350"/>
                </a:lnTo>
                <a:lnTo>
                  <a:pt x="1111250" y="1727200"/>
                </a:lnTo>
                <a:lnTo>
                  <a:pt x="1114425" y="1800225"/>
                </a:lnTo>
                <a:lnTo>
                  <a:pt x="1120775" y="1952625"/>
                </a:lnTo>
                <a:lnTo>
                  <a:pt x="1123950" y="2032000"/>
                </a:lnTo>
                <a:lnTo>
                  <a:pt x="1123950" y="2108200"/>
                </a:lnTo>
                <a:lnTo>
                  <a:pt x="1123950" y="3848100"/>
                </a:lnTo>
                <a:lnTo>
                  <a:pt x="387350" y="3848100"/>
                </a:lnTo>
                <a:lnTo>
                  <a:pt x="381000" y="3873500"/>
                </a:lnTo>
                <a:lnTo>
                  <a:pt x="374650" y="3898900"/>
                </a:lnTo>
                <a:lnTo>
                  <a:pt x="374650" y="3930650"/>
                </a:lnTo>
                <a:lnTo>
                  <a:pt x="374650" y="3962400"/>
                </a:lnTo>
                <a:lnTo>
                  <a:pt x="374650" y="4029075"/>
                </a:lnTo>
                <a:lnTo>
                  <a:pt x="374650" y="4060825"/>
                </a:lnTo>
                <a:lnTo>
                  <a:pt x="374650" y="4089400"/>
                </a:lnTo>
                <a:lnTo>
                  <a:pt x="460375" y="4098925"/>
                </a:lnTo>
                <a:lnTo>
                  <a:pt x="552450" y="4102100"/>
                </a:lnTo>
                <a:lnTo>
                  <a:pt x="644525" y="4105275"/>
                </a:lnTo>
                <a:lnTo>
                  <a:pt x="742950" y="4105275"/>
                </a:lnTo>
                <a:lnTo>
                  <a:pt x="936625" y="4102100"/>
                </a:lnTo>
                <a:lnTo>
                  <a:pt x="1031875" y="4102100"/>
                </a:lnTo>
                <a:lnTo>
                  <a:pt x="1123950" y="4102100"/>
                </a:lnTo>
                <a:lnTo>
                  <a:pt x="1123950" y="4133850"/>
                </a:lnTo>
                <a:lnTo>
                  <a:pt x="1123950" y="4168775"/>
                </a:lnTo>
                <a:lnTo>
                  <a:pt x="1127125" y="4238625"/>
                </a:lnTo>
                <a:lnTo>
                  <a:pt x="1127125" y="4270375"/>
                </a:lnTo>
                <a:lnTo>
                  <a:pt x="1123950" y="4302125"/>
                </a:lnTo>
                <a:lnTo>
                  <a:pt x="1120775" y="4330700"/>
                </a:lnTo>
                <a:lnTo>
                  <a:pt x="1111250" y="4356100"/>
                </a:lnTo>
                <a:lnTo>
                  <a:pt x="387350" y="4356100"/>
                </a:lnTo>
                <a:lnTo>
                  <a:pt x="377825" y="4381500"/>
                </a:lnTo>
                <a:lnTo>
                  <a:pt x="374650" y="4406900"/>
                </a:lnTo>
                <a:lnTo>
                  <a:pt x="371475" y="4438650"/>
                </a:lnTo>
                <a:lnTo>
                  <a:pt x="374650" y="4470400"/>
                </a:lnTo>
                <a:lnTo>
                  <a:pt x="374650" y="4537075"/>
                </a:lnTo>
                <a:lnTo>
                  <a:pt x="377825" y="4568825"/>
                </a:lnTo>
                <a:lnTo>
                  <a:pt x="374650" y="4597400"/>
                </a:lnTo>
                <a:lnTo>
                  <a:pt x="1123950" y="4597400"/>
                </a:lnTo>
                <a:lnTo>
                  <a:pt x="1123950" y="5080000"/>
                </a:lnTo>
                <a:lnTo>
                  <a:pt x="990600" y="5089525"/>
                </a:lnTo>
                <a:lnTo>
                  <a:pt x="854075" y="5095875"/>
                </a:lnTo>
                <a:lnTo>
                  <a:pt x="714375" y="5095875"/>
                </a:lnTo>
                <a:lnTo>
                  <a:pt x="574675" y="5095875"/>
                </a:lnTo>
                <a:lnTo>
                  <a:pt x="288925" y="5092700"/>
                </a:lnTo>
                <a:lnTo>
                  <a:pt x="146050" y="5092700"/>
                </a:lnTo>
                <a:lnTo>
                  <a:pt x="6350" y="5092700"/>
                </a:lnTo>
                <a:lnTo>
                  <a:pt x="6350" y="762000"/>
                </a:lnTo>
                <a:lnTo>
                  <a:pt x="3175" y="631825"/>
                </a:lnTo>
                <a:lnTo>
                  <a:pt x="0" y="508000"/>
                </a:lnTo>
                <a:lnTo>
                  <a:pt x="0" y="387350"/>
                </a:lnTo>
                <a:lnTo>
                  <a:pt x="3175" y="330200"/>
                </a:lnTo>
                <a:lnTo>
                  <a:pt x="9525" y="279400"/>
                </a:lnTo>
                <a:lnTo>
                  <a:pt x="15875" y="228600"/>
                </a:lnTo>
                <a:lnTo>
                  <a:pt x="28575" y="180975"/>
                </a:lnTo>
                <a:lnTo>
                  <a:pt x="44450" y="139700"/>
                </a:lnTo>
                <a:lnTo>
                  <a:pt x="66675" y="104775"/>
                </a:lnTo>
                <a:lnTo>
                  <a:pt x="79375" y="85725"/>
                </a:lnTo>
                <a:lnTo>
                  <a:pt x="92075" y="73025"/>
                </a:lnTo>
                <a:lnTo>
                  <a:pt x="107950" y="57150"/>
                </a:lnTo>
                <a:lnTo>
                  <a:pt x="123825" y="47625"/>
                </a:lnTo>
                <a:lnTo>
                  <a:pt x="142875" y="34925"/>
                </a:lnTo>
                <a:lnTo>
                  <a:pt x="161925" y="25400"/>
                </a:lnTo>
                <a:lnTo>
                  <a:pt x="184150" y="19050"/>
                </a:lnTo>
                <a:lnTo>
                  <a:pt x="209550" y="12700"/>
                </a:lnTo>
                <a:lnTo>
                  <a:pt x="263525" y="6350"/>
                </a:lnTo>
                <a:lnTo>
                  <a:pt x="320675" y="3175"/>
                </a:lnTo>
                <a:close/>
              </a:path>
            </a:pathLst>
          </a:custGeom>
          <a:solidFill>
            <a:schemeClr val="accent1"/>
          </a:solidFill>
          <a:ln>
            <a:noFill/>
          </a:ln>
        </p:spPr>
        <p:txBody>
          <a:bodyPr vert="horz" wrap="square" lIns="89642" tIns="44821" rIns="89642" bIns="44821" numCol="1" anchor="t" anchorCtr="0" compatLnSpc="1">
            <a:prstTxWarp prst="textNoShape">
              <a:avLst/>
            </a:prstTxWarp>
            <a:noAutofit/>
          </a:bodyPr>
          <a:lstStyle/>
          <a:p>
            <a:pPr defTabSz="914367"/>
            <a:endParaRPr lang="en-IN" sz="1765">
              <a:solidFill>
                <a:srgbClr val="000000"/>
              </a:solidFill>
            </a:endParaRPr>
          </a:p>
        </p:txBody>
      </p:sp>
      <p:sp>
        <p:nvSpPr>
          <p:cNvPr id="240" name="Oval 239"/>
          <p:cNvSpPr/>
          <p:nvPr/>
        </p:nvSpPr>
        <p:spPr bwMode="auto">
          <a:xfrm>
            <a:off x="10243682" y="5049970"/>
            <a:ext cx="931340" cy="1013097"/>
          </a:xfrm>
          <a:prstGeom prst="ellipse">
            <a:avLst/>
          </a:prstGeom>
          <a:solidFill>
            <a:schemeClr val="bg1">
              <a:lumMod val="95000"/>
            </a:schemeClr>
          </a:solidFill>
          <a:ln>
            <a:solidFill>
              <a:schemeClr val="bg1"/>
            </a:solidFill>
            <a:headEnd type="none" w="med" len="med"/>
            <a:tailEnd type="none" w="med" len="med"/>
          </a:ln>
          <a:effectLst>
            <a:outerShdw dist="25400" dir="8100000" algn="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dirty="0">
              <a:solidFill>
                <a:srgbClr val="FFFFFF"/>
              </a:solidFill>
              <a:latin typeface="Segoe UI Light"/>
              <a:ea typeface="Segoe UI" pitchFamily="34" charset="0"/>
              <a:cs typeface="Segoe UI" pitchFamily="34" charset="0"/>
            </a:endParaRPr>
          </a:p>
        </p:txBody>
      </p:sp>
      <p:sp>
        <p:nvSpPr>
          <p:cNvPr id="241" name="Freeform 240"/>
          <p:cNvSpPr>
            <a:spLocks/>
          </p:cNvSpPr>
          <p:nvPr/>
        </p:nvSpPr>
        <p:spPr bwMode="auto">
          <a:xfrm>
            <a:off x="10460777" y="5222713"/>
            <a:ext cx="497149" cy="667610"/>
          </a:xfrm>
          <a:custGeom>
            <a:avLst/>
            <a:gdLst>
              <a:gd name="connsiteX0" fmla="*/ 1771650 w 5226051"/>
              <a:gd name="connsiteY0" fmla="*/ 5702301 h 6451600"/>
              <a:gd name="connsiteX1" fmla="*/ 1762125 w 5226051"/>
              <a:gd name="connsiteY1" fmla="*/ 5711826 h 6451600"/>
              <a:gd name="connsiteX2" fmla="*/ 1755775 w 5226051"/>
              <a:gd name="connsiteY2" fmla="*/ 5721351 h 6451600"/>
              <a:gd name="connsiteX3" fmla="*/ 1749425 w 5226051"/>
              <a:gd name="connsiteY3" fmla="*/ 5734051 h 6451600"/>
              <a:gd name="connsiteX4" fmla="*/ 1746250 w 5226051"/>
              <a:gd name="connsiteY4" fmla="*/ 5749926 h 6451600"/>
              <a:gd name="connsiteX5" fmla="*/ 1743075 w 5226051"/>
              <a:gd name="connsiteY5" fmla="*/ 5784851 h 6451600"/>
              <a:gd name="connsiteX6" fmla="*/ 1746250 w 5226051"/>
              <a:gd name="connsiteY6" fmla="*/ 5822951 h 6451600"/>
              <a:gd name="connsiteX7" fmla="*/ 1749425 w 5226051"/>
              <a:gd name="connsiteY7" fmla="*/ 5861051 h 6451600"/>
              <a:gd name="connsiteX8" fmla="*/ 1749425 w 5226051"/>
              <a:gd name="connsiteY8" fmla="*/ 5899151 h 6451600"/>
              <a:gd name="connsiteX9" fmla="*/ 1746250 w 5226051"/>
              <a:gd name="connsiteY9" fmla="*/ 5930901 h 6451600"/>
              <a:gd name="connsiteX10" fmla="*/ 1739900 w 5226051"/>
              <a:gd name="connsiteY10" fmla="*/ 5946776 h 6451600"/>
              <a:gd name="connsiteX11" fmla="*/ 1733550 w 5226051"/>
              <a:gd name="connsiteY11" fmla="*/ 5956301 h 6451600"/>
              <a:gd name="connsiteX12" fmla="*/ 3486150 w 5226051"/>
              <a:gd name="connsiteY12" fmla="*/ 5956301 h 6451600"/>
              <a:gd name="connsiteX13" fmla="*/ 3486150 w 5226051"/>
              <a:gd name="connsiteY13" fmla="*/ 5715001 h 6451600"/>
              <a:gd name="connsiteX14" fmla="*/ 3279775 w 5226051"/>
              <a:gd name="connsiteY14" fmla="*/ 5708651 h 6451600"/>
              <a:gd name="connsiteX15" fmla="*/ 3067050 w 5226051"/>
              <a:gd name="connsiteY15" fmla="*/ 5702301 h 6451600"/>
              <a:gd name="connsiteX16" fmla="*/ 2854325 w 5226051"/>
              <a:gd name="connsiteY16" fmla="*/ 5702301 h 6451600"/>
              <a:gd name="connsiteX17" fmla="*/ 2638425 w 5226051"/>
              <a:gd name="connsiteY17" fmla="*/ 5702301 h 6451600"/>
              <a:gd name="connsiteX18" fmla="*/ 2203450 w 5226051"/>
              <a:gd name="connsiteY18" fmla="*/ 5705476 h 6451600"/>
              <a:gd name="connsiteX19" fmla="*/ 1987550 w 5226051"/>
              <a:gd name="connsiteY19" fmla="*/ 5705476 h 6451600"/>
              <a:gd name="connsiteX20" fmla="*/ 1746250 w 5226051"/>
              <a:gd name="connsiteY20" fmla="*/ 5219701 h 6451600"/>
              <a:gd name="connsiteX21" fmla="*/ 1746250 w 5226051"/>
              <a:gd name="connsiteY21" fmla="*/ 5264151 h 6451600"/>
              <a:gd name="connsiteX22" fmla="*/ 1746250 w 5226051"/>
              <a:gd name="connsiteY22" fmla="*/ 5327651 h 6451600"/>
              <a:gd name="connsiteX23" fmla="*/ 1746250 w 5226051"/>
              <a:gd name="connsiteY23" fmla="*/ 5397501 h 6451600"/>
              <a:gd name="connsiteX24" fmla="*/ 1746250 w 5226051"/>
              <a:gd name="connsiteY24" fmla="*/ 5461001 h 6451600"/>
              <a:gd name="connsiteX25" fmla="*/ 3473450 w 5226051"/>
              <a:gd name="connsiteY25" fmla="*/ 5461001 h 6451600"/>
              <a:gd name="connsiteX26" fmla="*/ 3482975 w 5226051"/>
              <a:gd name="connsiteY26" fmla="*/ 5438776 h 6451600"/>
              <a:gd name="connsiteX27" fmla="*/ 3486150 w 5226051"/>
              <a:gd name="connsiteY27" fmla="*/ 5410201 h 6451600"/>
              <a:gd name="connsiteX28" fmla="*/ 3489325 w 5226051"/>
              <a:gd name="connsiteY28" fmla="*/ 5381626 h 6451600"/>
              <a:gd name="connsiteX29" fmla="*/ 3489325 w 5226051"/>
              <a:gd name="connsiteY29" fmla="*/ 5349876 h 6451600"/>
              <a:gd name="connsiteX30" fmla="*/ 3486150 w 5226051"/>
              <a:gd name="connsiteY30" fmla="*/ 5283201 h 6451600"/>
              <a:gd name="connsiteX31" fmla="*/ 3486150 w 5226051"/>
              <a:gd name="connsiteY31" fmla="*/ 5251451 h 6451600"/>
              <a:gd name="connsiteX32" fmla="*/ 3486150 w 5226051"/>
              <a:gd name="connsiteY32" fmla="*/ 5219701 h 6451600"/>
              <a:gd name="connsiteX33" fmla="*/ 1758950 w 5226051"/>
              <a:gd name="connsiteY33" fmla="*/ 2120901 h 6451600"/>
              <a:gd name="connsiteX34" fmla="*/ 1749425 w 5226051"/>
              <a:gd name="connsiteY34" fmla="*/ 2143126 h 6451600"/>
              <a:gd name="connsiteX35" fmla="*/ 1746250 w 5226051"/>
              <a:gd name="connsiteY35" fmla="*/ 2171701 h 6451600"/>
              <a:gd name="connsiteX36" fmla="*/ 1746250 w 5226051"/>
              <a:gd name="connsiteY36" fmla="*/ 2203451 h 6451600"/>
              <a:gd name="connsiteX37" fmla="*/ 1746250 w 5226051"/>
              <a:gd name="connsiteY37" fmla="*/ 2235201 h 6451600"/>
              <a:gd name="connsiteX38" fmla="*/ 1749425 w 5226051"/>
              <a:gd name="connsiteY38" fmla="*/ 2301876 h 6451600"/>
              <a:gd name="connsiteX39" fmla="*/ 1749425 w 5226051"/>
              <a:gd name="connsiteY39" fmla="*/ 2333626 h 6451600"/>
              <a:gd name="connsiteX40" fmla="*/ 1746250 w 5226051"/>
              <a:gd name="connsiteY40" fmla="*/ 2362201 h 6451600"/>
              <a:gd name="connsiteX41" fmla="*/ 3486150 w 5226051"/>
              <a:gd name="connsiteY41" fmla="*/ 2362201 h 6451600"/>
              <a:gd name="connsiteX42" fmla="*/ 3486150 w 5226051"/>
              <a:gd name="connsiteY42" fmla="*/ 2120901 h 6451600"/>
              <a:gd name="connsiteX43" fmla="*/ 3321050 w 5226051"/>
              <a:gd name="connsiteY43" fmla="*/ 1352550 h 6451600"/>
              <a:gd name="connsiteX44" fmla="*/ 3397250 w 5226051"/>
              <a:gd name="connsiteY44" fmla="*/ 1355725 h 6451600"/>
              <a:gd name="connsiteX45" fmla="*/ 3473450 w 5226051"/>
              <a:gd name="connsiteY45" fmla="*/ 1358900 h 6451600"/>
              <a:gd name="connsiteX46" fmla="*/ 3543300 w 5226051"/>
              <a:gd name="connsiteY46" fmla="*/ 1365250 h 6451600"/>
              <a:gd name="connsiteX47" fmla="*/ 3606800 w 5226051"/>
              <a:gd name="connsiteY47" fmla="*/ 1371600 h 6451600"/>
              <a:gd name="connsiteX48" fmla="*/ 3667125 w 5226051"/>
              <a:gd name="connsiteY48" fmla="*/ 1384300 h 6451600"/>
              <a:gd name="connsiteX49" fmla="*/ 3717925 w 5226051"/>
              <a:gd name="connsiteY49" fmla="*/ 1403350 h 6451600"/>
              <a:gd name="connsiteX50" fmla="*/ 3740150 w 5226051"/>
              <a:gd name="connsiteY50" fmla="*/ 1412875 h 6451600"/>
              <a:gd name="connsiteX51" fmla="*/ 3759200 w 5226051"/>
              <a:gd name="connsiteY51" fmla="*/ 1422400 h 6451600"/>
              <a:gd name="connsiteX52" fmla="*/ 3778250 w 5226051"/>
              <a:gd name="connsiteY52" fmla="*/ 1435100 h 6451600"/>
              <a:gd name="connsiteX53" fmla="*/ 3790950 w 5226051"/>
              <a:gd name="connsiteY53" fmla="*/ 1447800 h 6451600"/>
              <a:gd name="connsiteX54" fmla="*/ 3806825 w 5226051"/>
              <a:gd name="connsiteY54" fmla="*/ 1466850 h 6451600"/>
              <a:gd name="connsiteX55" fmla="*/ 3816350 w 5226051"/>
              <a:gd name="connsiteY55" fmla="*/ 1485900 h 6451600"/>
              <a:gd name="connsiteX56" fmla="*/ 3829050 w 5226051"/>
              <a:gd name="connsiteY56" fmla="*/ 1511300 h 6451600"/>
              <a:gd name="connsiteX57" fmla="*/ 3835400 w 5226051"/>
              <a:gd name="connsiteY57" fmla="*/ 1539875 h 6451600"/>
              <a:gd name="connsiteX58" fmla="*/ 3841750 w 5226051"/>
              <a:gd name="connsiteY58" fmla="*/ 1571625 h 6451600"/>
              <a:gd name="connsiteX59" fmla="*/ 3848100 w 5226051"/>
              <a:gd name="connsiteY59" fmla="*/ 1606550 h 6451600"/>
              <a:gd name="connsiteX60" fmla="*/ 3854450 w 5226051"/>
              <a:gd name="connsiteY60" fmla="*/ 1682750 h 6451600"/>
              <a:gd name="connsiteX61" fmla="*/ 3857625 w 5226051"/>
              <a:gd name="connsiteY61" fmla="*/ 1762125 h 6451600"/>
              <a:gd name="connsiteX62" fmla="*/ 3857625 w 5226051"/>
              <a:gd name="connsiteY62" fmla="*/ 1847850 h 6451600"/>
              <a:gd name="connsiteX63" fmla="*/ 3854450 w 5226051"/>
              <a:gd name="connsiteY63" fmla="*/ 2019300 h 6451600"/>
              <a:gd name="connsiteX64" fmla="*/ 3854450 w 5226051"/>
              <a:gd name="connsiteY64" fmla="*/ 6451600 h 6451600"/>
              <a:gd name="connsiteX65" fmla="*/ 1365250 w 5226051"/>
              <a:gd name="connsiteY65" fmla="*/ 6451600 h 6451600"/>
              <a:gd name="connsiteX66" fmla="*/ 1365250 w 5226051"/>
              <a:gd name="connsiteY66" fmla="*/ 2133600 h 6451600"/>
              <a:gd name="connsiteX67" fmla="*/ 1362075 w 5226051"/>
              <a:gd name="connsiteY67" fmla="*/ 1997075 h 6451600"/>
              <a:gd name="connsiteX68" fmla="*/ 1358900 w 5226051"/>
              <a:gd name="connsiteY68" fmla="*/ 1866900 h 6451600"/>
              <a:gd name="connsiteX69" fmla="*/ 1358900 w 5226051"/>
              <a:gd name="connsiteY69" fmla="*/ 1746250 h 6451600"/>
              <a:gd name="connsiteX70" fmla="*/ 1362075 w 5226051"/>
              <a:gd name="connsiteY70" fmla="*/ 1689100 h 6451600"/>
              <a:gd name="connsiteX71" fmla="*/ 1368425 w 5226051"/>
              <a:gd name="connsiteY71" fmla="*/ 1635125 h 6451600"/>
              <a:gd name="connsiteX72" fmla="*/ 1377950 w 5226051"/>
              <a:gd name="connsiteY72" fmla="*/ 1584325 h 6451600"/>
              <a:gd name="connsiteX73" fmla="*/ 1390650 w 5226051"/>
              <a:gd name="connsiteY73" fmla="*/ 1536700 h 6451600"/>
              <a:gd name="connsiteX74" fmla="*/ 1409700 w 5226051"/>
              <a:gd name="connsiteY74" fmla="*/ 1495425 h 6451600"/>
              <a:gd name="connsiteX75" fmla="*/ 1419225 w 5226051"/>
              <a:gd name="connsiteY75" fmla="*/ 1479550 h 6451600"/>
              <a:gd name="connsiteX76" fmla="*/ 1431925 w 5226051"/>
              <a:gd name="connsiteY76" fmla="*/ 1460500 h 6451600"/>
              <a:gd name="connsiteX77" fmla="*/ 1447800 w 5226051"/>
              <a:gd name="connsiteY77" fmla="*/ 1444625 h 6451600"/>
              <a:gd name="connsiteX78" fmla="*/ 1463675 w 5226051"/>
              <a:gd name="connsiteY78" fmla="*/ 1428750 h 6451600"/>
              <a:gd name="connsiteX79" fmla="*/ 1479550 w 5226051"/>
              <a:gd name="connsiteY79" fmla="*/ 1416050 h 6451600"/>
              <a:gd name="connsiteX80" fmla="*/ 1498600 w 5226051"/>
              <a:gd name="connsiteY80" fmla="*/ 1403350 h 6451600"/>
              <a:gd name="connsiteX81" fmla="*/ 1520825 w 5226051"/>
              <a:gd name="connsiteY81" fmla="*/ 1393825 h 6451600"/>
              <a:gd name="connsiteX82" fmla="*/ 1543050 w 5226051"/>
              <a:gd name="connsiteY82" fmla="*/ 1384300 h 6451600"/>
              <a:gd name="connsiteX83" fmla="*/ 1568450 w 5226051"/>
              <a:gd name="connsiteY83" fmla="*/ 1377950 h 6451600"/>
              <a:gd name="connsiteX84" fmla="*/ 1593850 w 5226051"/>
              <a:gd name="connsiteY84" fmla="*/ 1371600 h 6451600"/>
              <a:gd name="connsiteX85" fmla="*/ 1660525 w 5226051"/>
              <a:gd name="connsiteY85" fmla="*/ 1362075 h 6451600"/>
              <a:gd name="connsiteX86" fmla="*/ 1730375 w 5226051"/>
              <a:gd name="connsiteY86" fmla="*/ 1358900 h 6451600"/>
              <a:gd name="connsiteX87" fmla="*/ 1800225 w 5226051"/>
              <a:gd name="connsiteY87" fmla="*/ 1358900 h 6451600"/>
              <a:gd name="connsiteX88" fmla="*/ 1873250 w 5226051"/>
              <a:gd name="connsiteY88" fmla="*/ 1362075 h 6451600"/>
              <a:gd name="connsiteX89" fmla="*/ 2022475 w 5226051"/>
              <a:gd name="connsiteY89" fmla="*/ 1368425 h 6451600"/>
              <a:gd name="connsiteX90" fmla="*/ 2095500 w 5226051"/>
              <a:gd name="connsiteY90" fmla="*/ 1371600 h 6451600"/>
              <a:gd name="connsiteX91" fmla="*/ 2165350 w 5226051"/>
              <a:gd name="connsiteY91" fmla="*/ 1371600 h 6451600"/>
              <a:gd name="connsiteX92" fmla="*/ 2736850 w 5226051"/>
              <a:gd name="connsiteY92" fmla="*/ 1371600 h 6451600"/>
              <a:gd name="connsiteX93" fmla="*/ 2860675 w 5226051"/>
              <a:gd name="connsiteY93" fmla="*/ 1368425 h 6451600"/>
              <a:gd name="connsiteX94" fmla="*/ 3006725 w 5226051"/>
              <a:gd name="connsiteY94" fmla="*/ 1362075 h 6451600"/>
              <a:gd name="connsiteX95" fmla="*/ 3162300 w 5226051"/>
              <a:gd name="connsiteY95" fmla="*/ 1355725 h 6451600"/>
              <a:gd name="connsiteX96" fmla="*/ 3117851 w 5226051"/>
              <a:gd name="connsiteY96" fmla="*/ 762001 h 6451600"/>
              <a:gd name="connsiteX97" fmla="*/ 3111501 w 5226051"/>
              <a:gd name="connsiteY97" fmla="*/ 784226 h 6451600"/>
              <a:gd name="connsiteX98" fmla="*/ 3105151 w 5226051"/>
              <a:gd name="connsiteY98" fmla="*/ 812801 h 6451600"/>
              <a:gd name="connsiteX99" fmla="*/ 3105151 w 5226051"/>
              <a:gd name="connsiteY99" fmla="*/ 841376 h 6451600"/>
              <a:gd name="connsiteX100" fmla="*/ 3105151 w 5226051"/>
              <a:gd name="connsiteY100" fmla="*/ 876301 h 6451600"/>
              <a:gd name="connsiteX101" fmla="*/ 3108326 w 5226051"/>
              <a:gd name="connsiteY101" fmla="*/ 939801 h 6451600"/>
              <a:gd name="connsiteX102" fmla="*/ 3108326 w 5226051"/>
              <a:gd name="connsiteY102" fmla="*/ 974726 h 6451600"/>
              <a:gd name="connsiteX103" fmla="*/ 3105151 w 5226051"/>
              <a:gd name="connsiteY103" fmla="*/ 1003301 h 6451600"/>
              <a:gd name="connsiteX104" fmla="*/ 4845051 w 5226051"/>
              <a:gd name="connsiteY104" fmla="*/ 1003301 h 6451600"/>
              <a:gd name="connsiteX105" fmla="*/ 4845051 w 5226051"/>
              <a:gd name="connsiteY105" fmla="*/ 762001 h 6451600"/>
              <a:gd name="connsiteX106" fmla="*/ 387350 w 5226051"/>
              <a:gd name="connsiteY106" fmla="*/ 762001 h 6451600"/>
              <a:gd name="connsiteX107" fmla="*/ 381000 w 5226051"/>
              <a:gd name="connsiteY107" fmla="*/ 784226 h 6451600"/>
              <a:gd name="connsiteX108" fmla="*/ 374650 w 5226051"/>
              <a:gd name="connsiteY108" fmla="*/ 815976 h 6451600"/>
              <a:gd name="connsiteX109" fmla="*/ 371475 w 5226051"/>
              <a:gd name="connsiteY109" fmla="*/ 847726 h 6451600"/>
              <a:gd name="connsiteX110" fmla="*/ 371475 w 5226051"/>
              <a:gd name="connsiteY110" fmla="*/ 882651 h 6451600"/>
              <a:gd name="connsiteX111" fmla="*/ 374650 w 5226051"/>
              <a:gd name="connsiteY111" fmla="*/ 917576 h 6451600"/>
              <a:gd name="connsiteX112" fmla="*/ 377825 w 5226051"/>
              <a:gd name="connsiteY112" fmla="*/ 949326 h 6451600"/>
              <a:gd name="connsiteX113" fmla="*/ 381000 w 5226051"/>
              <a:gd name="connsiteY113" fmla="*/ 981076 h 6451600"/>
              <a:gd name="connsiteX114" fmla="*/ 387350 w 5226051"/>
              <a:gd name="connsiteY114" fmla="*/ 1003301 h 6451600"/>
              <a:gd name="connsiteX115" fmla="*/ 2114550 w 5226051"/>
              <a:gd name="connsiteY115" fmla="*/ 1003301 h 6451600"/>
              <a:gd name="connsiteX116" fmla="*/ 2114550 w 5226051"/>
              <a:gd name="connsiteY116" fmla="*/ 762001 h 6451600"/>
              <a:gd name="connsiteX117" fmla="*/ 3073401 w 5226051"/>
              <a:gd name="connsiteY117" fmla="*/ 6350 h 6451600"/>
              <a:gd name="connsiteX118" fmla="*/ 3127376 w 5226051"/>
              <a:gd name="connsiteY118" fmla="*/ 6350 h 6451600"/>
              <a:gd name="connsiteX119" fmla="*/ 3248026 w 5226051"/>
              <a:gd name="connsiteY119" fmla="*/ 6350 h 6451600"/>
              <a:gd name="connsiteX120" fmla="*/ 3368676 w 5226051"/>
              <a:gd name="connsiteY120" fmla="*/ 9525 h 6451600"/>
              <a:gd name="connsiteX121" fmla="*/ 3486151 w 5226051"/>
              <a:gd name="connsiteY121" fmla="*/ 12700 h 6451600"/>
              <a:gd name="connsiteX122" fmla="*/ 4578351 w 5226051"/>
              <a:gd name="connsiteY122" fmla="*/ 12700 h 6451600"/>
              <a:gd name="connsiteX123" fmla="*/ 4679951 w 5226051"/>
              <a:gd name="connsiteY123" fmla="*/ 12700 h 6451600"/>
              <a:gd name="connsiteX124" fmla="*/ 4778376 w 5226051"/>
              <a:gd name="connsiteY124" fmla="*/ 9525 h 6451600"/>
              <a:gd name="connsiteX125" fmla="*/ 4873626 w 5226051"/>
              <a:gd name="connsiteY125" fmla="*/ 9525 h 6451600"/>
              <a:gd name="connsiteX126" fmla="*/ 4921251 w 5226051"/>
              <a:gd name="connsiteY126" fmla="*/ 12700 h 6451600"/>
              <a:gd name="connsiteX127" fmla="*/ 4965701 w 5226051"/>
              <a:gd name="connsiteY127" fmla="*/ 15875 h 6451600"/>
              <a:gd name="connsiteX128" fmla="*/ 5006976 w 5226051"/>
              <a:gd name="connsiteY128" fmla="*/ 22225 h 6451600"/>
              <a:gd name="connsiteX129" fmla="*/ 5045076 w 5226051"/>
              <a:gd name="connsiteY129" fmla="*/ 31750 h 6451600"/>
              <a:gd name="connsiteX130" fmla="*/ 5080001 w 5226051"/>
              <a:gd name="connsiteY130" fmla="*/ 41275 h 6451600"/>
              <a:gd name="connsiteX131" fmla="*/ 5111751 w 5226051"/>
              <a:gd name="connsiteY131" fmla="*/ 57150 h 6451600"/>
              <a:gd name="connsiteX132" fmla="*/ 5140326 w 5226051"/>
              <a:gd name="connsiteY132" fmla="*/ 79375 h 6451600"/>
              <a:gd name="connsiteX133" fmla="*/ 5165726 w 5226051"/>
              <a:gd name="connsiteY133" fmla="*/ 101600 h 6451600"/>
              <a:gd name="connsiteX134" fmla="*/ 5187951 w 5226051"/>
              <a:gd name="connsiteY134" fmla="*/ 130175 h 6451600"/>
              <a:gd name="connsiteX135" fmla="*/ 5200651 w 5226051"/>
              <a:gd name="connsiteY135" fmla="*/ 165100 h 6451600"/>
              <a:gd name="connsiteX136" fmla="*/ 5210176 w 5226051"/>
              <a:gd name="connsiteY136" fmla="*/ 190500 h 6451600"/>
              <a:gd name="connsiteX137" fmla="*/ 5216526 w 5226051"/>
              <a:gd name="connsiteY137" fmla="*/ 219075 h 6451600"/>
              <a:gd name="connsiteX138" fmla="*/ 5222876 w 5226051"/>
              <a:gd name="connsiteY138" fmla="*/ 285750 h 6451600"/>
              <a:gd name="connsiteX139" fmla="*/ 5226051 w 5226051"/>
              <a:gd name="connsiteY139" fmla="*/ 361950 h 6451600"/>
              <a:gd name="connsiteX140" fmla="*/ 5226051 w 5226051"/>
              <a:gd name="connsiteY140" fmla="*/ 444500 h 6451600"/>
              <a:gd name="connsiteX141" fmla="*/ 5219701 w 5226051"/>
              <a:gd name="connsiteY141" fmla="*/ 612775 h 6451600"/>
              <a:gd name="connsiteX142" fmla="*/ 5216526 w 5226051"/>
              <a:gd name="connsiteY142" fmla="*/ 695325 h 6451600"/>
              <a:gd name="connsiteX143" fmla="*/ 5213351 w 5226051"/>
              <a:gd name="connsiteY143" fmla="*/ 774700 h 6451600"/>
              <a:gd name="connsiteX144" fmla="*/ 5213351 w 5226051"/>
              <a:gd name="connsiteY144" fmla="*/ 5092700 h 6451600"/>
              <a:gd name="connsiteX145" fmla="*/ 5073651 w 5226051"/>
              <a:gd name="connsiteY145" fmla="*/ 5092700 h 6451600"/>
              <a:gd name="connsiteX146" fmla="*/ 4933951 w 5226051"/>
              <a:gd name="connsiteY146" fmla="*/ 5092700 h 6451600"/>
              <a:gd name="connsiteX147" fmla="*/ 4648201 w 5226051"/>
              <a:gd name="connsiteY147" fmla="*/ 5095875 h 6451600"/>
              <a:gd name="connsiteX148" fmla="*/ 4505326 w 5226051"/>
              <a:gd name="connsiteY148" fmla="*/ 5095875 h 6451600"/>
              <a:gd name="connsiteX149" fmla="*/ 4365626 w 5226051"/>
              <a:gd name="connsiteY149" fmla="*/ 5095875 h 6451600"/>
              <a:gd name="connsiteX150" fmla="*/ 4229101 w 5226051"/>
              <a:gd name="connsiteY150" fmla="*/ 5089525 h 6451600"/>
              <a:gd name="connsiteX151" fmla="*/ 4095751 w 5226051"/>
              <a:gd name="connsiteY151" fmla="*/ 5080000 h 6451600"/>
              <a:gd name="connsiteX152" fmla="*/ 4095751 w 5226051"/>
              <a:gd name="connsiteY152" fmla="*/ 4597400 h 6451600"/>
              <a:gd name="connsiteX153" fmla="*/ 4832351 w 5226051"/>
              <a:gd name="connsiteY153" fmla="*/ 4597400 h 6451600"/>
              <a:gd name="connsiteX154" fmla="*/ 4841876 w 5226051"/>
              <a:gd name="connsiteY154" fmla="*/ 4575175 h 6451600"/>
              <a:gd name="connsiteX155" fmla="*/ 4848226 w 5226051"/>
              <a:gd name="connsiteY155" fmla="*/ 4546600 h 6451600"/>
              <a:gd name="connsiteX156" fmla="*/ 4848226 w 5226051"/>
              <a:gd name="connsiteY156" fmla="*/ 4518025 h 6451600"/>
              <a:gd name="connsiteX157" fmla="*/ 4848226 w 5226051"/>
              <a:gd name="connsiteY157" fmla="*/ 4486275 h 6451600"/>
              <a:gd name="connsiteX158" fmla="*/ 4845051 w 5226051"/>
              <a:gd name="connsiteY158" fmla="*/ 4419600 h 6451600"/>
              <a:gd name="connsiteX159" fmla="*/ 4845051 w 5226051"/>
              <a:gd name="connsiteY159" fmla="*/ 4387850 h 6451600"/>
              <a:gd name="connsiteX160" fmla="*/ 4845051 w 5226051"/>
              <a:gd name="connsiteY160" fmla="*/ 4356100 h 6451600"/>
              <a:gd name="connsiteX161" fmla="*/ 4108451 w 5226051"/>
              <a:gd name="connsiteY161" fmla="*/ 4356100 h 6451600"/>
              <a:gd name="connsiteX162" fmla="*/ 4102101 w 5226051"/>
              <a:gd name="connsiteY162" fmla="*/ 4330700 h 6451600"/>
              <a:gd name="connsiteX163" fmla="*/ 4095751 w 5226051"/>
              <a:gd name="connsiteY163" fmla="*/ 4302125 h 6451600"/>
              <a:gd name="connsiteX164" fmla="*/ 4095751 w 5226051"/>
              <a:gd name="connsiteY164" fmla="*/ 4270375 h 6451600"/>
              <a:gd name="connsiteX165" fmla="*/ 4095751 w 5226051"/>
              <a:gd name="connsiteY165" fmla="*/ 4238625 h 6451600"/>
              <a:gd name="connsiteX166" fmla="*/ 4098926 w 5226051"/>
              <a:gd name="connsiteY166" fmla="*/ 4168775 h 6451600"/>
              <a:gd name="connsiteX167" fmla="*/ 4098926 w 5226051"/>
              <a:gd name="connsiteY167" fmla="*/ 4133850 h 6451600"/>
              <a:gd name="connsiteX168" fmla="*/ 4095751 w 5226051"/>
              <a:gd name="connsiteY168" fmla="*/ 4102100 h 6451600"/>
              <a:gd name="connsiteX169" fmla="*/ 4832351 w 5226051"/>
              <a:gd name="connsiteY169" fmla="*/ 4102100 h 6451600"/>
              <a:gd name="connsiteX170" fmla="*/ 4841876 w 5226051"/>
              <a:gd name="connsiteY170" fmla="*/ 4079875 h 6451600"/>
              <a:gd name="connsiteX171" fmla="*/ 4848226 w 5226051"/>
              <a:gd name="connsiteY171" fmla="*/ 4051300 h 6451600"/>
              <a:gd name="connsiteX172" fmla="*/ 4848226 w 5226051"/>
              <a:gd name="connsiteY172" fmla="*/ 4022725 h 6451600"/>
              <a:gd name="connsiteX173" fmla="*/ 4848226 w 5226051"/>
              <a:gd name="connsiteY173" fmla="*/ 3990975 h 6451600"/>
              <a:gd name="connsiteX174" fmla="*/ 4845051 w 5226051"/>
              <a:gd name="connsiteY174" fmla="*/ 3924300 h 6451600"/>
              <a:gd name="connsiteX175" fmla="*/ 4845051 w 5226051"/>
              <a:gd name="connsiteY175" fmla="*/ 3892550 h 6451600"/>
              <a:gd name="connsiteX176" fmla="*/ 4845051 w 5226051"/>
              <a:gd name="connsiteY176" fmla="*/ 3860800 h 6451600"/>
              <a:gd name="connsiteX177" fmla="*/ 4759326 w 5226051"/>
              <a:gd name="connsiteY177" fmla="*/ 3854450 h 6451600"/>
              <a:gd name="connsiteX178" fmla="*/ 4670426 w 5226051"/>
              <a:gd name="connsiteY178" fmla="*/ 3848100 h 6451600"/>
              <a:gd name="connsiteX179" fmla="*/ 4575176 w 5226051"/>
              <a:gd name="connsiteY179" fmla="*/ 3848100 h 6451600"/>
              <a:gd name="connsiteX180" fmla="*/ 4479926 w 5226051"/>
              <a:gd name="connsiteY180" fmla="*/ 3848100 h 6451600"/>
              <a:gd name="connsiteX181" fmla="*/ 4286251 w 5226051"/>
              <a:gd name="connsiteY181" fmla="*/ 3851275 h 6451600"/>
              <a:gd name="connsiteX182" fmla="*/ 4191001 w 5226051"/>
              <a:gd name="connsiteY182" fmla="*/ 3851275 h 6451600"/>
              <a:gd name="connsiteX183" fmla="*/ 4095751 w 5226051"/>
              <a:gd name="connsiteY183" fmla="*/ 3848100 h 6451600"/>
              <a:gd name="connsiteX184" fmla="*/ 4095751 w 5226051"/>
              <a:gd name="connsiteY184" fmla="*/ 2095500 h 6451600"/>
              <a:gd name="connsiteX185" fmla="*/ 4098926 w 5226051"/>
              <a:gd name="connsiteY185" fmla="*/ 2012950 h 6451600"/>
              <a:gd name="connsiteX186" fmla="*/ 4102101 w 5226051"/>
              <a:gd name="connsiteY186" fmla="*/ 1924050 h 6451600"/>
              <a:gd name="connsiteX187" fmla="*/ 4105276 w 5226051"/>
              <a:gd name="connsiteY187" fmla="*/ 1746250 h 6451600"/>
              <a:gd name="connsiteX188" fmla="*/ 4105276 w 5226051"/>
              <a:gd name="connsiteY188" fmla="*/ 1660525 h 6451600"/>
              <a:gd name="connsiteX189" fmla="*/ 4102101 w 5226051"/>
              <a:gd name="connsiteY189" fmla="*/ 1581150 h 6451600"/>
              <a:gd name="connsiteX190" fmla="*/ 4095751 w 5226051"/>
              <a:gd name="connsiteY190" fmla="*/ 1546225 h 6451600"/>
              <a:gd name="connsiteX191" fmla="*/ 4089401 w 5226051"/>
              <a:gd name="connsiteY191" fmla="*/ 1511300 h 6451600"/>
              <a:gd name="connsiteX192" fmla="*/ 4083051 w 5226051"/>
              <a:gd name="connsiteY192" fmla="*/ 1476375 h 6451600"/>
              <a:gd name="connsiteX193" fmla="*/ 4070351 w 5226051"/>
              <a:gd name="connsiteY193" fmla="*/ 1447800 h 6451600"/>
              <a:gd name="connsiteX194" fmla="*/ 4057651 w 5226051"/>
              <a:gd name="connsiteY194" fmla="*/ 1419225 h 6451600"/>
              <a:gd name="connsiteX195" fmla="*/ 4044951 w 5226051"/>
              <a:gd name="connsiteY195" fmla="*/ 1390650 h 6451600"/>
              <a:gd name="connsiteX196" fmla="*/ 4025901 w 5226051"/>
              <a:gd name="connsiteY196" fmla="*/ 1362075 h 6451600"/>
              <a:gd name="connsiteX197" fmla="*/ 4010026 w 5226051"/>
              <a:gd name="connsiteY197" fmla="*/ 1333500 h 6451600"/>
              <a:gd name="connsiteX198" fmla="*/ 3987801 w 5226051"/>
              <a:gd name="connsiteY198" fmla="*/ 1308100 h 6451600"/>
              <a:gd name="connsiteX199" fmla="*/ 3968751 w 5226051"/>
              <a:gd name="connsiteY199" fmla="*/ 1285875 h 6451600"/>
              <a:gd name="connsiteX200" fmla="*/ 3946526 w 5226051"/>
              <a:gd name="connsiteY200" fmla="*/ 1260475 h 6451600"/>
              <a:gd name="connsiteX201" fmla="*/ 3921126 w 5226051"/>
              <a:gd name="connsiteY201" fmla="*/ 1238250 h 6451600"/>
              <a:gd name="connsiteX202" fmla="*/ 3895726 w 5226051"/>
              <a:gd name="connsiteY202" fmla="*/ 1219200 h 6451600"/>
              <a:gd name="connsiteX203" fmla="*/ 3867151 w 5226051"/>
              <a:gd name="connsiteY203" fmla="*/ 1200150 h 6451600"/>
              <a:gd name="connsiteX204" fmla="*/ 3838576 w 5226051"/>
              <a:gd name="connsiteY204" fmla="*/ 1184275 h 6451600"/>
              <a:gd name="connsiteX205" fmla="*/ 3810001 w 5226051"/>
              <a:gd name="connsiteY205" fmla="*/ 1168400 h 6451600"/>
              <a:gd name="connsiteX206" fmla="*/ 3778251 w 5226051"/>
              <a:gd name="connsiteY206" fmla="*/ 1155700 h 6451600"/>
              <a:gd name="connsiteX207" fmla="*/ 3746501 w 5226051"/>
              <a:gd name="connsiteY207" fmla="*/ 1146175 h 6451600"/>
              <a:gd name="connsiteX208" fmla="*/ 3711576 w 5226051"/>
              <a:gd name="connsiteY208" fmla="*/ 1136650 h 6451600"/>
              <a:gd name="connsiteX209" fmla="*/ 3676651 w 5226051"/>
              <a:gd name="connsiteY209" fmla="*/ 1130300 h 6451600"/>
              <a:gd name="connsiteX210" fmla="*/ 3629026 w 5226051"/>
              <a:gd name="connsiteY210" fmla="*/ 1123950 h 6451600"/>
              <a:gd name="connsiteX211" fmla="*/ 3578226 w 5226051"/>
              <a:gd name="connsiteY211" fmla="*/ 1120775 h 6451600"/>
              <a:gd name="connsiteX212" fmla="*/ 3470276 w 5226051"/>
              <a:gd name="connsiteY212" fmla="*/ 1117600 h 6451600"/>
              <a:gd name="connsiteX213" fmla="*/ 3359151 w 5226051"/>
              <a:gd name="connsiteY213" fmla="*/ 1120775 h 6451600"/>
              <a:gd name="connsiteX214" fmla="*/ 3238501 w 5226051"/>
              <a:gd name="connsiteY214" fmla="*/ 1127125 h 6451600"/>
              <a:gd name="connsiteX215" fmla="*/ 3117851 w 5226051"/>
              <a:gd name="connsiteY215" fmla="*/ 1133475 h 6451600"/>
              <a:gd name="connsiteX216" fmla="*/ 2994026 w 5226051"/>
              <a:gd name="connsiteY216" fmla="*/ 1136650 h 6451600"/>
              <a:gd name="connsiteX217" fmla="*/ 2867026 w 5226051"/>
              <a:gd name="connsiteY217" fmla="*/ 1136650 h 6451600"/>
              <a:gd name="connsiteX218" fmla="*/ 2800351 w 5226051"/>
              <a:gd name="connsiteY218" fmla="*/ 1133475 h 6451600"/>
              <a:gd name="connsiteX219" fmla="*/ 2736851 w 5226051"/>
              <a:gd name="connsiteY219" fmla="*/ 1130300 h 6451600"/>
              <a:gd name="connsiteX220" fmla="*/ 2736851 w 5226051"/>
              <a:gd name="connsiteY220" fmla="*/ 190500 h 6451600"/>
              <a:gd name="connsiteX221" fmla="*/ 2743201 w 5226051"/>
              <a:gd name="connsiteY221" fmla="*/ 168275 h 6451600"/>
              <a:gd name="connsiteX222" fmla="*/ 2752726 w 5226051"/>
              <a:gd name="connsiteY222" fmla="*/ 149225 h 6451600"/>
              <a:gd name="connsiteX223" fmla="*/ 2762251 w 5226051"/>
              <a:gd name="connsiteY223" fmla="*/ 130175 h 6451600"/>
              <a:gd name="connsiteX224" fmla="*/ 2774951 w 5226051"/>
              <a:gd name="connsiteY224" fmla="*/ 114300 h 6451600"/>
              <a:gd name="connsiteX225" fmla="*/ 2787651 w 5226051"/>
              <a:gd name="connsiteY225" fmla="*/ 98425 h 6451600"/>
              <a:gd name="connsiteX226" fmla="*/ 2803526 w 5226051"/>
              <a:gd name="connsiteY226" fmla="*/ 85725 h 6451600"/>
              <a:gd name="connsiteX227" fmla="*/ 2838451 w 5226051"/>
              <a:gd name="connsiteY227" fmla="*/ 60325 h 6451600"/>
              <a:gd name="connsiteX228" fmla="*/ 2876551 w 5226051"/>
              <a:gd name="connsiteY228" fmla="*/ 41275 h 6451600"/>
              <a:gd name="connsiteX229" fmla="*/ 2921001 w 5226051"/>
              <a:gd name="connsiteY229" fmla="*/ 28575 h 6451600"/>
              <a:gd name="connsiteX230" fmla="*/ 2968626 w 5226051"/>
              <a:gd name="connsiteY230" fmla="*/ 19050 h 6451600"/>
              <a:gd name="connsiteX231" fmla="*/ 3019426 w 5226051"/>
              <a:gd name="connsiteY231" fmla="*/ 12700 h 6451600"/>
              <a:gd name="connsiteX232" fmla="*/ 387350 w 5226051"/>
              <a:gd name="connsiteY232" fmla="*/ 0 h 6451600"/>
              <a:gd name="connsiteX233" fmla="*/ 454025 w 5226051"/>
              <a:gd name="connsiteY233" fmla="*/ 3175 h 6451600"/>
              <a:gd name="connsiteX234" fmla="*/ 596900 w 5226051"/>
              <a:gd name="connsiteY234" fmla="*/ 9525 h 6451600"/>
              <a:gd name="connsiteX235" fmla="*/ 742950 w 5226051"/>
              <a:gd name="connsiteY235" fmla="*/ 12700 h 6451600"/>
              <a:gd name="connsiteX236" fmla="*/ 1809750 w 5226051"/>
              <a:gd name="connsiteY236" fmla="*/ 12700 h 6451600"/>
              <a:gd name="connsiteX237" fmla="*/ 2016125 w 5226051"/>
              <a:gd name="connsiteY237" fmla="*/ 9525 h 6451600"/>
              <a:gd name="connsiteX238" fmla="*/ 2117725 w 5226051"/>
              <a:gd name="connsiteY238" fmla="*/ 9525 h 6451600"/>
              <a:gd name="connsiteX239" fmla="*/ 2165350 w 5226051"/>
              <a:gd name="connsiteY239" fmla="*/ 12700 h 6451600"/>
              <a:gd name="connsiteX240" fmla="*/ 2212975 w 5226051"/>
              <a:gd name="connsiteY240" fmla="*/ 15875 h 6451600"/>
              <a:gd name="connsiteX241" fmla="*/ 2257425 w 5226051"/>
              <a:gd name="connsiteY241" fmla="*/ 22225 h 6451600"/>
              <a:gd name="connsiteX242" fmla="*/ 2301875 w 5226051"/>
              <a:gd name="connsiteY242" fmla="*/ 28575 h 6451600"/>
              <a:gd name="connsiteX243" fmla="*/ 2339975 w 5226051"/>
              <a:gd name="connsiteY243" fmla="*/ 41275 h 6451600"/>
              <a:gd name="connsiteX244" fmla="*/ 2374900 w 5226051"/>
              <a:gd name="connsiteY244" fmla="*/ 53975 h 6451600"/>
              <a:gd name="connsiteX245" fmla="*/ 2406650 w 5226051"/>
              <a:gd name="connsiteY245" fmla="*/ 73025 h 6451600"/>
              <a:gd name="connsiteX246" fmla="*/ 2432050 w 5226051"/>
              <a:gd name="connsiteY246" fmla="*/ 95250 h 6451600"/>
              <a:gd name="connsiteX247" fmla="*/ 2454275 w 5226051"/>
              <a:gd name="connsiteY247" fmla="*/ 120650 h 6451600"/>
              <a:gd name="connsiteX248" fmla="*/ 2470150 w 5226051"/>
              <a:gd name="connsiteY248" fmla="*/ 152400 h 6451600"/>
              <a:gd name="connsiteX249" fmla="*/ 2479675 w 5226051"/>
              <a:gd name="connsiteY249" fmla="*/ 177800 h 6451600"/>
              <a:gd name="connsiteX250" fmla="*/ 2486025 w 5226051"/>
              <a:gd name="connsiteY250" fmla="*/ 203200 h 6451600"/>
              <a:gd name="connsiteX251" fmla="*/ 2495550 w 5226051"/>
              <a:gd name="connsiteY251" fmla="*/ 263525 h 6451600"/>
              <a:gd name="connsiteX252" fmla="*/ 2498725 w 5226051"/>
              <a:gd name="connsiteY252" fmla="*/ 323850 h 6451600"/>
              <a:gd name="connsiteX253" fmla="*/ 2495550 w 5226051"/>
              <a:gd name="connsiteY253" fmla="*/ 390525 h 6451600"/>
              <a:gd name="connsiteX254" fmla="*/ 2489200 w 5226051"/>
              <a:gd name="connsiteY254" fmla="*/ 517525 h 6451600"/>
              <a:gd name="connsiteX255" fmla="*/ 2486025 w 5226051"/>
              <a:gd name="connsiteY255" fmla="*/ 581025 h 6451600"/>
              <a:gd name="connsiteX256" fmla="*/ 2482850 w 5226051"/>
              <a:gd name="connsiteY256" fmla="*/ 635000 h 6451600"/>
              <a:gd name="connsiteX257" fmla="*/ 2482850 w 5226051"/>
              <a:gd name="connsiteY257" fmla="*/ 1130300 h 6451600"/>
              <a:gd name="connsiteX258" fmla="*/ 2413000 w 5226051"/>
              <a:gd name="connsiteY258" fmla="*/ 1136650 h 6451600"/>
              <a:gd name="connsiteX259" fmla="*/ 2343150 w 5226051"/>
              <a:gd name="connsiteY259" fmla="*/ 1139825 h 6451600"/>
              <a:gd name="connsiteX260" fmla="*/ 2270125 w 5226051"/>
              <a:gd name="connsiteY260" fmla="*/ 1139825 h 6451600"/>
              <a:gd name="connsiteX261" fmla="*/ 2197100 w 5226051"/>
              <a:gd name="connsiteY261" fmla="*/ 1136650 h 6451600"/>
              <a:gd name="connsiteX262" fmla="*/ 2051050 w 5226051"/>
              <a:gd name="connsiteY262" fmla="*/ 1130300 h 6451600"/>
              <a:gd name="connsiteX263" fmla="*/ 1908175 w 5226051"/>
              <a:gd name="connsiteY263" fmla="*/ 1123950 h 6451600"/>
              <a:gd name="connsiteX264" fmla="*/ 1771650 w 5226051"/>
              <a:gd name="connsiteY264" fmla="*/ 1120775 h 6451600"/>
              <a:gd name="connsiteX265" fmla="*/ 1704975 w 5226051"/>
              <a:gd name="connsiteY265" fmla="*/ 1120775 h 6451600"/>
              <a:gd name="connsiteX266" fmla="*/ 1641475 w 5226051"/>
              <a:gd name="connsiteY266" fmla="*/ 1123950 h 6451600"/>
              <a:gd name="connsiteX267" fmla="*/ 1577975 w 5226051"/>
              <a:gd name="connsiteY267" fmla="*/ 1130300 h 6451600"/>
              <a:gd name="connsiteX268" fmla="*/ 1520825 w 5226051"/>
              <a:gd name="connsiteY268" fmla="*/ 1136650 h 6451600"/>
              <a:gd name="connsiteX269" fmla="*/ 1466850 w 5226051"/>
              <a:gd name="connsiteY269" fmla="*/ 1152525 h 6451600"/>
              <a:gd name="connsiteX270" fmla="*/ 1416050 w 5226051"/>
              <a:gd name="connsiteY270" fmla="*/ 1168400 h 6451600"/>
              <a:gd name="connsiteX271" fmla="*/ 1390650 w 5226051"/>
              <a:gd name="connsiteY271" fmla="*/ 1181100 h 6451600"/>
              <a:gd name="connsiteX272" fmla="*/ 1368425 w 5226051"/>
              <a:gd name="connsiteY272" fmla="*/ 1193800 h 6451600"/>
              <a:gd name="connsiteX273" fmla="*/ 1320800 w 5226051"/>
              <a:gd name="connsiteY273" fmla="*/ 1225550 h 6451600"/>
              <a:gd name="connsiteX274" fmla="*/ 1273175 w 5226051"/>
              <a:gd name="connsiteY274" fmla="*/ 1263650 h 6451600"/>
              <a:gd name="connsiteX275" fmla="*/ 1231900 w 5226051"/>
              <a:gd name="connsiteY275" fmla="*/ 1308100 h 6451600"/>
              <a:gd name="connsiteX276" fmla="*/ 1193800 w 5226051"/>
              <a:gd name="connsiteY276" fmla="*/ 1358900 h 6451600"/>
              <a:gd name="connsiteX277" fmla="*/ 1162050 w 5226051"/>
              <a:gd name="connsiteY277" fmla="*/ 1412875 h 6451600"/>
              <a:gd name="connsiteX278" fmla="*/ 1149350 w 5226051"/>
              <a:gd name="connsiteY278" fmla="*/ 1438275 h 6451600"/>
              <a:gd name="connsiteX279" fmla="*/ 1139825 w 5226051"/>
              <a:gd name="connsiteY279" fmla="*/ 1466850 h 6451600"/>
              <a:gd name="connsiteX280" fmla="*/ 1130300 w 5226051"/>
              <a:gd name="connsiteY280" fmla="*/ 1495425 h 6451600"/>
              <a:gd name="connsiteX281" fmla="*/ 1123950 w 5226051"/>
              <a:gd name="connsiteY281" fmla="*/ 1524000 h 6451600"/>
              <a:gd name="connsiteX282" fmla="*/ 1117600 w 5226051"/>
              <a:gd name="connsiteY282" fmla="*/ 1587500 h 6451600"/>
              <a:gd name="connsiteX283" fmla="*/ 1111250 w 5226051"/>
              <a:gd name="connsiteY283" fmla="*/ 1657350 h 6451600"/>
              <a:gd name="connsiteX284" fmla="*/ 1111250 w 5226051"/>
              <a:gd name="connsiteY284" fmla="*/ 1727200 h 6451600"/>
              <a:gd name="connsiteX285" fmla="*/ 1114425 w 5226051"/>
              <a:gd name="connsiteY285" fmla="*/ 1800225 h 6451600"/>
              <a:gd name="connsiteX286" fmla="*/ 1120775 w 5226051"/>
              <a:gd name="connsiteY286" fmla="*/ 1952625 h 6451600"/>
              <a:gd name="connsiteX287" fmla="*/ 1123950 w 5226051"/>
              <a:gd name="connsiteY287" fmla="*/ 2032000 h 6451600"/>
              <a:gd name="connsiteX288" fmla="*/ 1123950 w 5226051"/>
              <a:gd name="connsiteY288" fmla="*/ 2108200 h 6451600"/>
              <a:gd name="connsiteX289" fmla="*/ 1123950 w 5226051"/>
              <a:gd name="connsiteY289" fmla="*/ 3848100 h 6451600"/>
              <a:gd name="connsiteX290" fmla="*/ 387350 w 5226051"/>
              <a:gd name="connsiteY290" fmla="*/ 3848100 h 6451600"/>
              <a:gd name="connsiteX291" fmla="*/ 381000 w 5226051"/>
              <a:gd name="connsiteY291" fmla="*/ 3873500 h 6451600"/>
              <a:gd name="connsiteX292" fmla="*/ 374650 w 5226051"/>
              <a:gd name="connsiteY292" fmla="*/ 3898900 h 6451600"/>
              <a:gd name="connsiteX293" fmla="*/ 374650 w 5226051"/>
              <a:gd name="connsiteY293" fmla="*/ 3930650 h 6451600"/>
              <a:gd name="connsiteX294" fmla="*/ 374650 w 5226051"/>
              <a:gd name="connsiteY294" fmla="*/ 3962400 h 6451600"/>
              <a:gd name="connsiteX295" fmla="*/ 374650 w 5226051"/>
              <a:gd name="connsiteY295" fmla="*/ 4029075 h 6451600"/>
              <a:gd name="connsiteX296" fmla="*/ 374650 w 5226051"/>
              <a:gd name="connsiteY296" fmla="*/ 4060825 h 6451600"/>
              <a:gd name="connsiteX297" fmla="*/ 374650 w 5226051"/>
              <a:gd name="connsiteY297" fmla="*/ 4089400 h 6451600"/>
              <a:gd name="connsiteX298" fmla="*/ 460375 w 5226051"/>
              <a:gd name="connsiteY298" fmla="*/ 4098925 h 6451600"/>
              <a:gd name="connsiteX299" fmla="*/ 552450 w 5226051"/>
              <a:gd name="connsiteY299" fmla="*/ 4102100 h 6451600"/>
              <a:gd name="connsiteX300" fmla="*/ 644525 w 5226051"/>
              <a:gd name="connsiteY300" fmla="*/ 4105275 h 6451600"/>
              <a:gd name="connsiteX301" fmla="*/ 742950 w 5226051"/>
              <a:gd name="connsiteY301" fmla="*/ 4105275 h 6451600"/>
              <a:gd name="connsiteX302" fmla="*/ 936625 w 5226051"/>
              <a:gd name="connsiteY302" fmla="*/ 4102100 h 6451600"/>
              <a:gd name="connsiteX303" fmla="*/ 1031875 w 5226051"/>
              <a:gd name="connsiteY303" fmla="*/ 4102100 h 6451600"/>
              <a:gd name="connsiteX304" fmla="*/ 1123950 w 5226051"/>
              <a:gd name="connsiteY304" fmla="*/ 4102100 h 6451600"/>
              <a:gd name="connsiteX305" fmla="*/ 1123950 w 5226051"/>
              <a:gd name="connsiteY305" fmla="*/ 4133850 h 6451600"/>
              <a:gd name="connsiteX306" fmla="*/ 1123950 w 5226051"/>
              <a:gd name="connsiteY306" fmla="*/ 4168775 h 6451600"/>
              <a:gd name="connsiteX307" fmla="*/ 1127125 w 5226051"/>
              <a:gd name="connsiteY307" fmla="*/ 4238625 h 6451600"/>
              <a:gd name="connsiteX308" fmla="*/ 1127125 w 5226051"/>
              <a:gd name="connsiteY308" fmla="*/ 4270375 h 6451600"/>
              <a:gd name="connsiteX309" fmla="*/ 1123950 w 5226051"/>
              <a:gd name="connsiteY309" fmla="*/ 4302125 h 6451600"/>
              <a:gd name="connsiteX310" fmla="*/ 1120775 w 5226051"/>
              <a:gd name="connsiteY310" fmla="*/ 4330700 h 6451600"/>
              <a:gd name="connsiteX311" fmla="*/ 1111250 w 5226051"/>
              <a:gd name="connsiteY311" fmla="*/ 4356100 h 6451600"/>
              <a:gd name="connsiteX312" fmla="*/ 387350 w 5226051"/>
              <a:gd name="connsiteY312" fmla="*/ 4356100 h 6451600"/>
              <a:gd name="connsiteX313" fmla="*/ 377825 w 5226051"/>
              <a:gd name="connsiteY313" fmla="*/ 4381500 h 6451600"/>
              <a:gd name="connsiteX314" fmla="*/ 374650 w 5226051"/>
              <a:gd name="connsiteY314" fmla="*/ 4406900 h 6451600"/>
              <a:gd name="connsiteX315" fmla="*/ 371475 w 5226051"/>
              <a:gd name="connsiteY315" fmla="*/ 4438650 h 6451600"/>
              <a:gd name="connsiteX316" fmla="*/ 374650 w 5226051"/>
              <a:gd name="connsiteY316" fmla="*/ 4470400 h 6451600"/>
              <a:gd name="connsiteX317" fmla="*/ 374650 w 5226051"/>
              <a:gd name="connsiteY317" fmla="*/ 4537075 h 6451600"/>
              <a:gd name="connsiteX318" fmla="*/ 377825 w 5226051"/>
              <a:gd name="connsiteY318" fmla="*/ 4568825 h 6451600"/>
              <a:gd name="connsiteX319" fmla="*/ 374650 w 5226051"/>
              <a:gd name="connsiteY319" fmla="*/ 4597400 h 6451600"/>
              <a:gd name="connsiteX320" fmla="*/ 1123950 w 5226051"/>
              <a:gd name="connsiteY320" fmla="*/ 4597400 h 6451600"/>
              <a:gd name="connsiteX321" fmla="*/ 1123950 w 5226051"/>
              <a:gd name="connsiteY321" fmla="*/ 5080000 h 6451600"/>
              <a:gd name="connsiteX322" fmla="*/ 990600 w 5226051"/>
              <a:gd name="connsiteY322" fmla="*/ 5089525 h 6451600"/>
              <a:gd name="connsiteX323" fmla="*/ 854075 w 5226051"/>
              <a:gd name="connsiteY323" fmla="*/ 5095875 h 6451600"/>
              <a:gd name="connsiteX324" fmla="*/ 714375 w 5226051"/>
              <a:gd name="connsiteY324" fmla="*/ 5095875 h 6451600"/>
              <a:gd name="connsiteX325" fmla="*/ 574675 w 5226051"/>
              <a:gd name="connsiteY325" fmla="*/ 5095875 h 6451600"/>
              <a:gd name="connsiteX326" fmla="*/ 288925 w 5226051"/>
              <a:gd name="connsiteY326" fmla="*/ 5092700 h 6451600"/>
              <a:gd name="connsiteX327" fmla="*/ 146050 w 5226051"/>
              <a:gd name="connsiteY327" fmla="*/ 5092700 h 6451600"/>
              <a:gd name="connsiteX328" fmla="*/ 6350 w 5226051"/>
              <a:gd name="connsiteY328" fmla="*/ 5092700 h 6451600"/>
              <a:gd name="connsiteX329" fmla="*/ 6350 w 5226051"/>
              <a:gd name="connsiteY329" fmla="*/ 762000 h 6451600"/>
              <a:gd name="connsiteX330" fmla="*/ 3175 w 5226051"/>
              <a:gd name="connsiteY330" fmla="*/ 631825 h 6451600"/>
              <a:gd name="connsiteX331" fmla="*/ 0 w 5226051"/>
              <a:gd name="connsiteY331" fmla="*/ 508000 h 6451600"/>
              <a:gd name="connsiteX332" fmla="*/ 0 w 5226051"/>
              <a:gd name="connsiteY332" fmla="*/ 387350 h 6451600"/>
              <a:gd name="connsiteX333" fmla="*/ 3175 w 5226051"/>
              <a:gd name="connsiteY333" fmla="*/ 330200 h 6451600"/>
              <a:gd name="connsiteX334" fmla="*/ 9525 w 5226051"/>
              <a:gd name="connsiteY334" fmla="*/ 279400 h 6451600"/>
              <a:gd name="connsiteX335" fmla="*/ 15875 w 5226051"/>
              <a:gd name="connsiteY335" fmla="*/ 228600 h 6451600"/>
              <a:gd name="connsiteX336" fmla="*/ 28575 w 5226051"/>
              <a:gd name="connsiteY336" fmla="*/ 180975 h 6451600"/>
              <a:gd name="connsiteX337" fmla="*/ 44450 w 5226051"/>
              <a:gd name="connsiteY337" fmla="*/ 139700 h 6451600"/>
              <a:gd name="connsiteX338" fmla="*/ 66675 w 5226051"/>
              <a:gd name="connsiteY338" fmla="*/ 104775 h 6451600"/>
              <a:gd name="connsiteX339" fmla="*/ 79375 w 5226051"/>
              <a:gd name="connsiteY339" fmla="*/ 85725 h 6451600"/>
              <a:gd name="connsiteX340" fmla="*/ 92075 w 5226051"/>
              <a:gd name="connsiteY340" fmla="*/ 73025 h 6451600"/>
              <a:gd name="connsiteX341" fmla="*/ 107950 w 5226051"/>
              <a:gd name="connsiteY341" fmla="*/ 57150 h 6451600"/>
              <a:gd name="connsiteX342" fmla="*/ 123825 w 5226051"/>
              <a:gd name="connsiteY342" fmla="*/ 47625 h 6451600"/>
              <a:gd name="connsiteX343" fmla="*/ 142875 w 5226051"/>
              <a:gd name="connsiteY343" fmla="*/ 34925 h 6451600"/>
              <a:gd name="connsiteX344" fmla="*/ 161925 w 5226051"/>
              <a:gd name="connsiteY344" fmla="*/ 25400 h 6451600"/>
              <a:gd name="connsiteX345" fmla="*/ 184150 w 5226051"/>
              <a:gd name="connsiteY345" fmla="*/ 19050 h 6451600"/>
              <a:gd name="connsiteX346" fmla="*/ 209550 w 5226051"/>
              <a:gd name="connsiteY346" fmla="*/ 12700 h 6451600"/>
              <a:gd name="connsiteX347" fmla="*/ 263525 w 5226051"/>
              <a:gd name="connsiteY347" fmla="*/ 6350 h 6451600"/>
              <a:gd name="connsiteX348" fmla="*/ 320675 w 5226051"/>
              <a:gd name="connsiteY348" fmla="*/ 3175 h 645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Lst>
            <a:rect l="l" t="t" r="r" b="b"/>
            <a:pathLst>
              <a:path w="5226051" h="6451600">
                <a:moveTo>
                  <a:pt x="1771650" y="5702301"/>
                </a:moveTo>
                <a:lnTo>
                  <a:pt x="1762125" y="5711826"/>
                </a:lnTo>
                <a:lnTo>
                  <a:pt x="1755775" y="5721351"/>
                </a:lnTo>
                <a:lnTo>
                  <a:pt x="1749425" y="5734051"/>
                </a:lnTo>
                <a:lnTo>
                  <a:pt x="1746250" y="5749926"/>
                </a:lnTo>
                <a:lnTo>
                  <a:pt x="1743075" y="5784851"/>
                </a:lnTo>
                <a:lnTo>
                  <a:pt x="1746250" y="5822951"/>
                </a:lnTo>
                <a:lnTo>
                  <a:pt x="1749425" y="5861051"/>
                </a:lnTo>
                <a:lnTo>
                  <a:pt x="1749425" y="5899151"/>
                </a:lnTo>
                <a:lnTo>
                  <a:pt x="1746250" y="5930901"/>
                </a:lnTo>
                <a:lnTo>
                  <a:pt x="1739900" y="5946776"/>
                </a:lnTo>
                <a:lnTo>
                  <a:pt x="1733550" y="5956301"/>
                </a:lnTo>
                <a:lnTo>
                  <a:pt x="3486150" y="5956301"/>
                </a:lnTo>
                <a:lnTo>
                  <a:pt x="3486150" y="5715001"/>
                </a:lnTo>
                <a:lnTo>
                  <a:pt x="3279775" y="5708651"/>
                </a:lnTo>
                <a:lnTo>
                  <a:pt x="3067050" y="5702301"/>
                </a:lnTo>
                <a:lnTo>
                  <a:pt x="2854325" y="5702301"/>
                </a:lnTo>
                <a:lnTo>
                  <a:pt x="2638425" y="5702301"/>
                </a:lnTo>
                <a:lnTo>
                  <a:pt x="2203450" y="5705476"/>
                </a:lnTo>
                <a:lnTo>
                  <a:pt x="1987550" y="5705476"/>
                </a:lnTo>
                <a:close/>
                <a:moveTo>
                  <a:pt x="1746250" y="5219701"/>
                </a:moveTo>
                <a:lnTo>
                  <a:pt x="1746250" y="5264151"/>
                </a:lnTo>
                <a:lnTo>
                  <a:pt x="1746250" y="5327651"/>
                </a:lnTo>
                <a:lnTo>
                  <a:pt x="1746250" y="5397501"/>
                </a:lnTo>
                <a:lnTo>
                  <a:pt x="1746250" y="5461001"/>
                </a:lnTo>
                <a:lnTo>
                  <a:pt x="3473450" y="5461001"/>
                </a:lnTo>
                <a:lnTo>
                  <a:pt x="3482975" y="5438776"/>
                </a:lnTo>
                <a:lnTo>
                  <a:pt x="3486150" y="5410201"/>
                </a:lnTo>
                <a:lnTo>
                  <a:pt x="3489325" y="5381626"/>
                </a:lnTo>
                <a:lnTo>
                  <a:pt x="3489325" y="5349876"/>
                </a:lnTo>
                <a:lnTo>
                  <a:pt x="3486150" y="5283201"/>
                </a:lnTo>
                <a:lnTo>
                  <a:pt x="3486150" y="5251451"/>
                </a:lnTo>
                <a:lnTo>
                  <a:pt x="3486150" y="5219701"/>
                </a:lnTo>
                <a:close/>
                <a:moveTo>
                  <a:pt x="1758950" y="2120901"/>
                </a:moveTo>
                <a:lnTo>
                  <a:pt x="1749425" y="2143126"/>
                </a:lnTo>
                <a:lnTo>
                  <a:pt x="1746250" y="2171701"/>
                </a:lnTo>
                <a:lnTo>
                  <a:pt x="1746250" y="2203451"/>
                </a:lnTo>
                <a:lnTo>
                  <a:pt x="1746250" y="2235201"/>
                </a:lnTo>
                <a:lnTo>
                  <a:pt x="1749425" y="2301876"/>
                </a:lnTo>
                <a:lnTo>
                  <a:pt x="1749425" y="2333626"/>
                </a:lnTo>
                <a:lnTo>
                  <a:pt x="1746250" y="2362201"/>
                </a:lnTo>
                <a:lnTo>
                  <a:pt x="3486150" y="2362201"/>
                </a:lnTo>
                <a:lnTo>
                  <a:pt x="3486150" y="2120901"/>
                </a:lnTo>
                <a:close/>
                <a:moveTo>
                  <a:pt x="3321050" y="1352550"/>
                </a:moveTo>
                <a:lnTo>
                  <a:pt x="3397250" y="1355725"/>
                </a:lnTo>
                <a:lnTo>
                  <a:pt x="3473450" y="1358900"/>
                </a:lnTo>
                <a:lnTo>
                  <a:pt x="3543300" y="1365250"/>
                </a:lnTo>
                <a:lnTo>
                  <a:pt x="3606800" y="1371600"/>
                </a:lnTo>
                <a:lnTo>
                  <a:pt x="3667125" y="1384300"/>
                </a:lnTo>
                <a:lnTo>
                  <a:pt x="3717925" y="1403350"/>
                </a:lnTo>
                <a:lnTo>
                  <a:pt x="3740150" y="1412875"/>
                </a:lnTo>
                <a:lnTo>
                  <a:pt x="3759200" y="1422400"/>
                </a:lnTo>
                <a:lnTo>
                  <a:pt x="3778250" y="1435100"/>
                </a:lnTo>
                <a:lnTo>
                  <a:pt x="3790950" y="1447800"/>
                </a:lnTo>
                <a:lnTo>
                  <a:pt x="3806825" y="1466850"/>
                </a:lnTo>
                <a:lnTo>
                  <a:pt x="3816350" y="1485900"/>
                </a:lnTo>
                <a:lnTo>
                  <a:pt x="3829050" y="1511300"/>
                </a:lnTo>
                <a:lnTo>
                  <a:pt x="3835400" y="1539875"/>
                </a:lnTo>
                <a:lnTo>
                  <a:pt x="3841750" y="1571625"/>
                </a:lnTo>
                <a:lnTo>
                  <a:pt x="3848100" y="1606550"/>
                </a:lnTo>
                <a:lnTo>
                  <a:pt x="3854450" y="1682750"/>
                </a:lnTo>
                <a:lnTo>
                  <a:pt x="3857625" y="1762125"/>
                </a:lnTo>
                <a:lnTo>
                  <a:pt x="3857625" y="1847850"/>
                </a:lnTo>
                <a:lnTo>
                  <a:pt x="3854450" y="2019300"/>
                </a:lnTo>
                <a:lnTo>
                  <a:pt x="3854450" y="6451600"/>
                </a:lnTo>
                <a:lnTo>
                  <a:pt x="1365250" y="6451600"/>
                </a:lnTo>
                <a:lnTo>
                  <a:pt x="1365250" y="2133600"/>
                </a:lnTo>
                <a:lnTo>
                  <a:pt x="1362075" y="1997075"/>
                </a:lnTo>
                <a:lnTo>
                  <a:pt x="1358900" y="1866900"/>
                </a:lnTo>
                <a:lnTo>
                  <a:pt x="1358900" y="1746250"/>
                </a:lnTo>
                <a:lnTo>
                  <a:pt x="1362075" y="1689100"/>
                </a:lnTo>
                <a:lnTo>
                  <a:pt x="1368425" y="1635125"/>
                </a:lnTo>
                <a:lnTo>
                  <a:pt x="1377950" y="1584325"/>
                </a:lnTo>
                <a:lnTo>
                  <a:pt x="1390650" y="1536700"/>
                </a:lnTo>
                <a:lnTo>
                  <a:pt x="1409700" y="1495425"/>
                </a:lnTo>
                <a:lnTo>
                  <a:pt x="1419225" y="1479550"/>
                </a:lnTo>
                <a:lnTo>
                  <a:pt x="1431925" y="1460500"/>
                </a:lnTo>
                <a:lnTo>
                  <a:pt x="1447800" y="1444625"/>
                </a:lnTo>
                <a:lnTo>
                  <a:pt x="1463675" y="1428750"/>
                </a:lnTo>
                <a:lnTo>
                  <a:pt x="1479550" y="1416050"/>
                </a:lnTo>
                <a:lnTo>
                  <a:pt x="1498600" y="1403350"/>
                </a:lnTo>
                <a:lnTo>
                  <a:pt x="1520825" y="1393825"/>
                </a:lnTo>
                <a:lnTo>
                  <a:pt x="1543050" y="1384300"/>
                </a:lnTo>
                <a:lnTo>
                  <a:pt x="1568450" y="1377950"/>
                </a:lnTo>
                <a:lnTo>
                  <a:pt x="1593850" y="1371600"/>
                </a:lnTo>
                <a:lnTo>
                  <a:pt x="1660525" y="1362075"/>
                </a:lnTo>
                <a:lnTo>
                  <a:pt x="1730375" y="1358900"/>
                </a:lnTo>
                <a:lnTo>
                  <a:pt x="1800225" y="1358900"/>
                </a:lnTo>
                <a:lnTo>
                  <a:pt x="1873250" y="1362075"/>
                </a:lnTo>
                <a:lnTo>
                  <a:pt x="2022475" y="1368425"/>
                </a:lnTo>
                <a:lnTo>
                  <a:pt x="2095500" y="1371600"/>
                </a:lnTo>
                <a:lnTo>
                  <a:pt x="2165350" y="1371600"/>
                </a:lnTo>
                <a:lnTo>
                  <a:pt x="2736850" y="1371600"/>
                </a:lnTo>
                <a:lnTo>
                  <a:pt x="2860675" y="1368425"/>
                </a:lnTo>
                <a:lnTo>
                  <a:pt x="3006725" y="1362075"/>
                </a:lnTo>
                <a:lnTo>
                  <a:pt x="3162300" y="1355725"/>
                </a:lnTo>
                <a:close/>
                <a:moveTo>
                  <a:pt x="3117851" y="762001"/>
                </a:moveTo>
                <a:lnTo>
                  <a:pt x="3111501" y="784226"/>
                </a:lnTo>
                <a:lnTo>
                  <a:pt x="3105151" y="812801"/>
                </a:lnTo>
                <a:lnTo>
                  <a:pt x="3105151" y="841376"/>
                </a:lnTo>
                <a:lnTo>
                  <a:pt x="3105151" y="876301"/>
                </a:lnTo>
                <a:lnTo>
                  <a:pt x="3108326" y="939801"/>
                </a:lnTo>
                <a:lnTo>
                  <a:pt x="3108326" y="974726"/>
                </a:lnTo>
                <a:lnTo>
                  <a:pt x="3105151" y="1003301"/>
                </a:lnTo>
                <a:lnTo>
                  <a:pt x="4845051" y="1003301"/>
                </a:lnTo>
                <a:lnTo>
                  <a:pt x="4845051" y="762001"/>
                </a:lnTo>
                <a:close/>
                <a:moveTo>
                  <a:pt x="387350" y="762001"/>
                </a:moveTo>
                <a:lnTo>
                  <a:pt x="381000" y="784226"/>
                </a:lnTo>
                <a:lnTo>
                  <a:pt x="374650" y="815976"/>
                </a:lnTo>
                <a:lnTo>
                  <a:pt x="371475" y="847726"/>
                </a:lnTo>
                <a:lnTo>
                  <a:pt x="371475" y="882651"/>
                </a:lnTo>
                <a:lnTo>
                  <a:pt x="374650" y="917576"/>
                </a:lnTo>
                <a:lnTo>
                  <a:pt x="377825" y="949326"/>
                </a:lnTo>
                <a:lnTo>
                  <a:pt x="381000" y="981076"/>
                </a:lnTo>
                <a:lnTo>
                  <a:pt x="387350" y="1003301"/>
                </a:lnTo>
                <a:lnTo>
                  <a:pt x="2114550" y="1003301"/>
                </a:lnTo>
                <a:lnTo>
                  <a:pt x="2114550" y="762001"/>
                </a:lnTo>
                <a:close/>
                <a:moveTo>
                  <a:pt x="3073401" y="6350"/>
                </a:moveTo>
                <a:lnTo>
                  <a:pt x="3127376" y="6350"/>
                </a:lnTo>
                <a:lnTo>
                  <a:pt x="3248026" y="6350"/>
                </a:lnTo>
                <a:lnTo>
                  <a:pt x="3368676" y="9525"/>
                </a:lnTo>
                <a:lnTo>
                  <a:pt x="3486151" y="12700"/>
                </a:lnTo>
                <a:lnTo>
                  <a:pt x="4578351" y="12700"/>
                </a:lnTo>
                <a:lnTo>
                  <a:pt x="4679951" y="12700"/>
                </a:lnTo>
                <a:lnTo>
                  <a:pt x="4778376" y="9525"/>
                </a:lnTo>
                <a:lnTo>
                  <a:pt x="4873626" y="9525"/>
                </a:lnTo>
                <a:lnTo>
                  <a:pt x="4921251" y="12700"/>
                </a:lnTo>
                <a:lnTo>
                  <a:pt x="4965701" y="15875"/>
                </a:lnTo>
                <a:lnTo>
                  <a:pt x="5006976" y="22225"/>
                </a:lnTo>
                <a:lnTo>
                  <a:pt x="5045076" y="31750"/>
                </a:lnTo>
                <a:lnTo>
                  <a:pt x="5080001" y="41275"/>
                </a:lnTo>
                <a:lnTo>
                  <a:pt x="5111751" y="57150"/>
                </a:lnTo>
                <a:lnTo>
                  <a:pt x="5140326" y="79375"/>
                </a:lnTo>
                <a:lnTo>
                  <a:pt x="5165726" y="101600"/>
                </a:lnTo>
                <a:lnTo>
                  <a:pt x="5187951" y="130175"/>
                </a:lnTo>
                <a:lnTo>
                  <a:pt x="5200651" y="165100"/>
                </a:lnTo>
                <a:lnTo>
                  <a:pt x="5210176" y="190500"/>
                </a:lnTo>
                <a:lnTo>
                  <a:pt x="5216526" y="219075"/>
                </a:lnTo>
                <a:lnTo>
                  <a:pt x="5222876" y="285750"/>
                </a:lnTo>
                <a:lnTo>
                  <a:pt x="5226051" y="361950"/>
                </a:lnTo>
                <a:lnTo>
                  <a:pt x="5226051" y="444500"/>
                </a:lnTo>
                <a:lnTo>
                  <a:pt x="5219701" y="612775"/>
                </a:lnTo>
                <a:lnTo>
                  <a:pt x="5216526" y="695325"/>
                </a:lnTo>
                <a:lnTo>
                  <a:pt x="5213351" y="774700"/>
                </a:lnTo>
                <a:lnTo>
                  <a:pt x="5213351" y="5092700"/>
                </a:lnTo>
                <a:lnTo>
                  <a:pt x="5073651" y="5092700"/>
                </a:lnTo>
                <a:lnTo>
                  <a:pt x="4933951" y="5092700"/>
                </a:lnTo>
                <a:lnTo>
                  <a:pt x="4648201" y="5095875"/>
                </a:lnTo>
                <a:lnTo>
                  <a:pt x="4505326" y="5095875"/>
                </a:lnTo>
                <a:lnTo>
                  <a:pt x="4365626" y="5095875"/>
                </a:lnTo>
                <a:lnTo>
                  <a:pt x="4229101" y="5089525"/>
                </a:lnTo>
                <a:lnTo>
                  <a:pt x="4095751" y="5080000"/>
                </a:lnTo>
                <a:lnTo>
                  <a:pt x="4095751" y="4597400"/>
                </a:lnTo>
                <a:lnTo>
                  <a:pt x="4832351" y="4597400"/>
                </a:lnTo>
                <a:lnTo>
                  <a:pt x="4841876" y="4575175"/>
                </a:lnTo>
                <a:lnTo>
                  <a:pt x="4848226" y="4546600"/>
                </a:lnTo>
                <a:lnTo>
                  <a:pt x="4848226" y="4518025"/>
                </a:lnTo>
                <a:lnTo>
                  <a:pt x="4848226" y="4486275"/>
                </a:lnTo>
                <a:lnTo>
                  <a:pt x="4845051" y="4419600"/>
                </a:lnTo>
                <a:lnTo>
                  <a:pt x="4845051" y="4387850"/>
                </a:lnTo>
                <a:lnTo>
                  <a:pt x="4845051" y="4356100"/>
                </a:lnTo>
                <a:lnTo>
                  <a:pt x="4108451" y="4356100"/>
                </a:lnTo>
                <a:lnTo>
                  <a:pt x="4102101" y="4330700"/>
                </a:lnTo>
                <a:lnTo>
                  <a:pt x="4095751" y="4302125"/>
                </a:lnTo>
                <a:lnTo>
                  <a:pt x="4095751" y="4270375"/>
                </a:lnTo>
                <a:lnTo>
                  <a:pt x="4095751" y="4238625"/>
                </a:lnTo>
                <a:lnTo>
                  <a:pt x="4098926" y="4168775"/>
                </a:lnTo>
                <a:lnTo>
                  <a:pt x="4098926" y="4133850"/>
                </a:lnTo>
                <a:lnTo>
                  <a:pt x="4095751" y="4102100"/>
                </a:lnTo>
                <a:lnTo>
                  <a:pt x="4832351" y="4102100"/>
                </a:lnTo>
                <a:lnTo>
                  <a:pt x="4841876" y="4079875"/>
                </a:lnTo>
                <a:lnTo>
                  <a:pt x="4848226" y="4051300"/>
                </a:lnTo>
                <a:lnTo>
                  <a:pt x="4848226" y="4022725"/>
                </a:lnTo>
                <a:lnTo>
                  <a:pt x="4848226" y="3990975"/>
                </a:lnTo>
                <a:lnTo>
                  <a:pt x="4845051" y="3924300"/>
                </a:lnTo>
                <a:lnTo>
                  <a:pt x="4845051" y="3892550"/>
                </a:lnTo>
                <a:lnTo>
                  <a:pt x="4845051" y="3860800"/>
                </a:lnTo>
                <a:lnTo>
                  <a:pt x="4759326" y="3854450"/>
                </a:lnTo>
                <a:lnTo>
                  <a:pt x="4670426" y="3848100"/>
                </a:lnTo>
                <a:lnTo>
                  <a:pt x="4575176" y="3848100"/>
                </a:lnTo>
                <a:lnTo>
                  <a:pt x="4479926" y="3848100"/>
                </a:lnTo>
                <a:lnTo>
                  <a:pt x="4286251" y="3851275"/>
                </a:lnTo>
                <a:lnTo>
                  <a:pt x="4191001" y="3851275"/>
                </a:lnTo>
                <a:lnTo>
                  <a:pt x="4095751" y="3848100"/>
                </a:lnTo>
                <a:lnTo>
                  <a:pt x="4095751" y="2095500"/>
                </a:lnTo>
                <a:lnTo>
                  <a:pt x="4098926" y="2012950"/>
                </a:lnTo>
                <a:lnTo>
                  <a:pt x="4102101" y="1924050"/>
                </a:lnTo>
                <a:lnTo>
                  <a:pt x="4105276" y="1746250"/>
                </a:lnTo>
                <a:lnTo>
                  <a:pt x="4105276" y="1660525"/>
                </a:lnTo>
                <a:lnTo>
                  <a:pt x="4102101" y="1581150"/>
                </a:lnTo>
                <a:lnTo>
                  <a:pt x="4095751" y="1546225"/>
                </a:lnTo>
                <a:lnTo>
                  <a:pt x="4089401" y="1511300"/>
                </a:lnTo>
                <a:lnTo>
                  <a:pt x="4083051" y="1476375"/>
                </a:lnTo>
                <a:lnTo>
                  <a:pt x="4070351" y="1447800"/>
                </a:lnTo>
                <a:lnTo>
                  <a:pt x="4057651" y="1419225"/>
                </a:lnTo>
                <a:lnTo>
                  <a:pt x="4044951" y="1390650"/>
                </a:lnTo>
                <a:lnTo>
                  <a:pt x="4025901" y="1362075"/>
                </a:lnTo>
                <a:lnTo>
                  <a:pt x="4010026" y="1333500"/>
                </a:lnTo>
                <a:lnTo>
                  <a:pt x="3987801" y="1308100"/>
                </a:lnTo>
                <a:lnTo>
                  <a:pt x="3968751" y="1285875"/>
                </a:lnTo>
                <a:lnTo>
                  <a:pt x="3946526" y="1260475"/>
                </a:lnTo>
                <a:lnTo>
                  <a:pt x="3921126" y="1238250"/>
                </a:lnTo>
                <a:lnTo>
                  <a:pt x="3895726" y="1219200"/>
                </a:lnTo>
                <a:lnTo>
                  <a:pt x="3867151" y="1200150"/>
                </a:lnTo>
                <a:lnTo>
                  <a:pt x="3838576" y="1184275"/>
                </a:lnTo>
                <a:lnTo>
                  <a:pt x="3810001" y="1168400"/>
                </a:lnTo>
                <a:lnTo>
                  <a:pt x="3778251" y="1155700"/>
                </a:lnTo>
                <a:lnTo>
                  <a:pt x="3746501" y="1146175"/>
                </a:lnTo>
                <a:lnTo>
                  <a:pt x="3711576" y="1136650"/>
                </a:lnTo>
                <a:lnTo>
                  <a:pt x="3676651" y="1130300"/>
                </a:lnTo>
                <a:lnTo>
                  <a:pt x="3629026" y="1123950"/>
                </a:lnTo>
                <a:lnTo>
                  <a:pt x="3578226" y="1120775"/>
                </a:lnTo>
                <a:lnTo>
                  <a:pt x="3470276" y="1117600"/>
                </a:lnTo>
                <a:lnTo>
                  <a:pt x="3359151" y="1120775"/>
                </a:lnTo>
                <a:lnTo>
                  <a:pt x="3238501" y="1127125"/>
                </a:lnTo>
                <a:lnTo>
                  <a:pt x="3117851" y="1133475"/>
                </a:lnTo>
                <a:lnTo>
                  <a:pt x="2994026" y="1136650"/>
                </a:lnTo>
                <a:lnTo>
                  <a:pt x="2867026" y="1136650"/>
                </a:lnTo>
                <a:lnTo>
                  <a:pt x="2800351" y="1133475"/>
                </a:lnTo>
                <a:lnTo>
                  <a:pt x="2736851" y="1130300"/>
                </a:lnTo>
                <a:lnTo>
                  <a:pt x="2736851" y="190500"/>
                </a:lnTo>
                <a:lnTo>
                  <a:pt x="2743201" y="168275"/>
                </a:lnTo>
                <a:lnTo>
                  <a:pt x="2752726" y="149225"/>
                </a:lnTo>
                <a:lnTo>
                  <a:pt x="2762251" y="130175"/>
                </a:lnTo>
                <a:lnTo>
                  <a:pt x="2774951" y="114300"/>
                </a:lnTo>
                <a:lnTo>
                  <a:pt x="2787651" y="98425"/>
                </a:lnTo>
                <a:lnTo>
                  <a:pt x="2803526" y="85725"/>
                </a:lnTo>
                <a:lnTo>
                  <a:pt x="2838451" y="60325"/>
                </a:lnTo>
                <a:lnTo>
                  <a:pt x="2876551" y="41275"/>
                </a:lnTo>
                <a:lnTo>
                  <a:pt x="2921001" y="28575"/>
                </a:lnTo>
                <a:lnTo>
                  <a:pt x="2968626" y="19050"/>
                </a:lnTo>
                <a:lnTo>
                  <a:pt x="3019426" y="12700"/>
                </a:lnTo>
                <a:close/>
                <a:moveTo>
                  <a:pt x="387350" y="0"/>
                </a:moveTo>
                <a:lnTo>
                  <a:pt x="454025" y="3175"/>
                </a:lnTo>
                <a:lnTo>
                  <a:pt x="596900" y="9525"/>
                </a:lnTo>
                <a:lnTo>
                  <a:pt x="742950" y="12700"/>
                </a:lnTo>
                <a:lnTo>
                  <a:pt x="1809750" y="12700"/>
                </a:lnTo>
                <a:lnTo>
                  <a:pt x="2016125" y="9525"/>
                </a:lnTo>
                <a:lnTo>
                  <a:pt x="2117725" y="9525"/>
                </a:lnTo>
                <a:lnTo>
                  <a:pt x="2165350" y="12700"/>
                </a:lnTo>
                <a:lnTo>
                  <a:pt x="2212975" y="15875"/>
                </a:lnTo>
                <a:lnTo>
                  <a:pt x="2257425" y="22225"/>
                </a:lnTo>
                <a:lnTo>
                  <a:pt x="2301875" y="28575"/>
                </a:lnTo>
                <a:lnTo>
                  <a:pt x="2339975" y="41275"/>
                </a:lnTo>
                <a:lnTo>
                  <a:pt x="2374900" y="53975"/>
                </a:lnTo>
                <a:lnTo>
                  <a:pt x="2406650" y="73025"/>
                </a:lnTo>
                <a:lnTo>
                  <a:pt x="2432050" y="95250"/>
                </a:lnTo>
                <a:lnTo>
                  <a:pt x="2454275" y="120650"/>
                </a:lnTo>
                <a:lnTo>
                  <a:pt x="2470150" y="152400"/>
                </a:lnTo>
                <a:lnTo>
                  <a:pt x="2479675" y="177800"/>
                </a:lnTo>
                <a:lnTo>
                  <a:pt x="2486025" y="203200"/>
                </a:lnTo>
                <a:lnTo>
                  <a:pt x="2495550" y="263525"/>
                </a:lnTo>
                <a:lnTo>
                  <a:pt x="2498725" y="323850"/>
                </a:lnTo>
                <a:lnTo>
                  <a:pt x="2495550" y="390525"/>
                </a:lnTo>
                <a:lnTo>
                  <a:pt x="2489200" y="517525"/>
                </a:lnTo>
                <a:lnTo>
                  <a:pt x="2486025" y="581025"/>
                </a:lnTo>
                <a:lnTo>
                  <a:pt x="2482850" y="635000"/>
                </a:lnTo>
                <a:lnTo>
                  <a:pt x="2482850" y="1130300"/>
                </a:lnTo>
                <a:lnTo>
                  <a:pt x="2413000" y="1136650"/>
                </a:lnTo>
                <a:lnTo>
                  <a:pt x="2343150" y="1139825"/>
                </a:lnTo>
                <a:lnTo>
                  <a:pt x="2270125" y="1139825"/>
                </a:lnTo>
                <a:lnTo>
                  <a:pt x="2197100" y="1136650"/>
                </a:lnTo>
                <a:lnTo>
                  <a:pt x="2051050" y="1130300"/>
                </a:lnTo>
                <a:lnTo>
                  <a:pt x="1908175" y="1123950"/>
                </a:lnTo>
                <a:lnTo>
                  <a:pt x="1771650" y="1120775"/>
                </a:lnTo>
                <a:lnTo>
                  <a:pt x="1704975" y="1120775"/>
                </a:lnTo>
                <a:lnTo>
                  <a:pt x="1641475" y="1123950"/>
                </a:lnTo>
                <a:lnTo>
                  <a:pt x="1577975" y="1130300"/>
                </a:lnTo>
                <a:lnTo>
                  <a:pt x="1520825" y="1136650"/>
                </a:lnTo>
                <a:lnTo>
                  <a:pt x="1466850" y="1152525"/>
                </a:lnTo>
                <a:lnTo>
                  <a:pt x="1416050" y="1168400"/>
                </a:lnTo>
                <a:lnTo>
                  <a:pt x="1390650" y="1181100"/>
                </a:lnTo>
                <a:lnTo>
                  <a:pt x="1368425" y="1193800"/>
                </a:lnTo>
                <a:lnTo>
                  <a:pt x="1320800" y="1225550"/>
                </a:lnTo>
                <a:lnTo>
                  <a:pt x="1273175" y="1263650"/>
                </a:lnTo>
                <a:lnTo>
                  <a:pt x="1231900" y="1308100"/>
                </a:lnTo>
                <a:lnTo>
                  <a:pt x="1193800" y="1358900"/>
                </a:lnTo>
                <a:lnTo>
                  <a:pt x="1162050" y="1412875"/>
                </a:lnTo>
                <a:lnTo>
                  <a:pt x="1149350" y="1438275"/>
                </a:lnTo>
                <a:lnTo>
                  <a:pt x="1139825" y="1466850"/>
                </a:lnTo>
                <a:lnTo>
                  <a:pt x="1130300" y="1495425"/>
                </a:lnTo>
                <a:lnTo>
                  <a:pt x="1123950" y="1524000"/>
                </a:lnTo>
                <a:lnTo>
                  <a:pt x="1117600" y="1587500"/>
                </a:lnTo>
                <a:lnTo>
                  <a:pt x="1111250" y="1657350"/>
                </a:lnTo>
                <a:lnTo>
                  <a:pt x="1111250" y="1727200"/>
                </a:lnTo>
                <a:lnTo>
                  <a:pt x="1114425" y="1800225"/>
                </a:lnTo>
                <a:lnTo>
                  <a:pt x="1120775" y="1952625"/>
                </a:lnTo>
                <a:lnTo>
                  <a:pt x="1123950" y="2032000"/>
                </a:lnTo>
                <a:lnTo>
                  <a:pt x="1123950" y="2108200"/>
                </a:lnTo>
                <a:lnTo>
                  <a:pt x="1123950" y="3848100"/>
                </a:lnTo>
                <a:lnTo>
                  <a:pt x="387350" y="3848100"/>
                </a:lnTo>
                <a:lnTo>
                  <a:pt x="381000" y="3873500"/>
                </a:lnTo>
                <a:lnTo>
                  <a:pt x="374650" y="3898900"/>
                </a:lnTo>
                <a:lnTo>
                  <a:pt x="374650" y="3930650"/>
                </a:lnTo>
                <a:lnTo>
                  <a:pt x="374650" y="3962400"/>
                </a:lnTo>
                <a:lnTo>
                  <a:pt x="374650" y="4029075"/>
                </a:lnTo>
                <a:lnTo>
                  <a:pt x="374650" y="4060825"/>
                </a:lnTo>
                <a:lnTo>
                  <a:pt x="374650" y="4089400"/>
                </a:lnTo>
                <a:lnTo>
                  <a:pt x="460375" y="4098925"/>
                </a:lnTo>
                <a:lnTo>
                  <a:pt x="552450" y="4102100"/>
                </a:lnTo>
                <a:lnTo>
                  <a:pt x="644525" y="4105275"/>
                </a:lnTo>
                <a:lnTo>
                  <a:pt x="742950" y="4105275"/>
                </a:lnTo>
                <a:lnTo>
                  <a:pt x="936625" y="4102100"/>
                </a:lnTo>
                <a:lnTo>
                  <a:pt x="1031875" y="4102100"/>
                </a:lnTo>
                <a:lnTo>
                  <a:pt x="1123950" y="4102100"/>
                </a:lnTo>
                <a:lnTo>
                  <a:pt x="1123950" y="4133850"/>
                </a:lnTo>
                <a:lnTo>
                  <a:pt x="1123950" y="4168775"/>
                </a:lnTo>
                <a:lnTo>
                  <a:pt x="1127125" y="4238625"/>
                </a:lnTo>
                <a:lnTo>
                  <a:pt x="1127125" y="4270375"/>
                </a:lnTo>
                <a:lnTo>
                  <a:pt x="1123950" y="4302125"/>
                </a:lnTo>
                <a:lnTo>
                  <a:pt x="1120775" y="4330700"/>
                </a:lnTo>
                <a:lnTo>
                  <a:pt x="1111250" y="4356100"/>
                </a:lnTo>
                <a:lnTo>
                  <a:pt x="387350" y="4356100"/>
                </a:lnTo>
                <a:lnTo>
                  <a:pt x="377825" y="4381500"/>
                </a:lnTo>
                <a:lnTo>
                  <a:pt x="374650" y="4406900"/>
                </a:lnTo>
                <a:lnTo>
                  <a:pt x="371475" y="4438650"/>
                </a:lnTo>
                <a:lnTo>
                  <a:pt x="374650" y="4470400"/>
                </a:lnTo>
                <a:lnTo>
                  <a:pt x="374650" y="4537075"/>
                </a:lnTo>
                <a:lnTo>
                  <a:pt x="377825" y="4568825"/>
                </a:lnTo>
                <a:lnTo>
                  <a:pt x="374650" y="4597400"/>
                </a:lnTo>
                <a:lnTo>
                  <a:pt x="1123950" y="4597400"/>
                </a:lnTo>
                <a:lnTo>
                  <a:pt x="1123950" y="5080000"/>
                </a:lnTo>
                <a:lnTo>
                  <a:pt x="990600" y="5089525"/>
                </a:lnTo>
                <a:lnTo>
                  <a:pt x="854075" y="5095875"/>
                </a:lnTo>
                <a:lnTo>
                  <a:pt x="714375" y="5095875"/>
                </a:lnTo>
                <a:lnTo>
                  <a:pt x="574675" y="5095875"/>
                </a:lnTo>
                <a:lnTo>
                  <a:pt x="288925" y="5092700"/>
                </a:lnTo>
                <a:lnTo>
                  <a:pt x="146050" y="5092700"/>
                </a:lnTo>
                <a:lnTo>
                  <a:pt x="6350" y="5092700"/>
                </a:lnTo>
                <a:lnTo>
                  <a:pt x="6350" y="762000"/>
                </a:lnTo>
                <a:lnTo>
                  <a:pt x="3175" y="631825"/>
                </a:lnTo>
                <a:lnTo>
                  <a:pt x="0" y="508000"/>
                </a:lnTo>
                <a:lnTo>
                  <a:pt x="0" y="387350"/>
                </a:lnTo>
                <a:lnTo>
                  <a:pt x="3175" y="330200"/>
                </a:lnTo>
                <a:lnTo>
                  <a:pt x="9525" y="279400"/>
                </a:lnTo>
                <a:lnTo>
                  <a:pt x="15875" y="228600"/>
                </a:lnTo>
                <a:lnTo>
                  <a:pt x="28575" y="180975"/>
                </a:lnTo>
                <a:lnTo>
                  <a:pt x="44450" y="139700"/>
                </a:lnTo>
                <a:lnTo>
                  <a:pt x="66675" y="104775"/>
                </a:lnTo>
                <a:lnTo>
                  <a:pt x="79375" y="85725"/>
                </a:lnTo>
                <a:lnTo>
                  <a:pt x="92075" y="73025"/>
                </a:lnTo>
                <a:lnTo>
                  <a:pt x="107950" y="57150"/>
                </a:lnTo>
                <a:lnTo>
                  <a:pt x="123825" y="47625"/>
                </a:lnTo>
                <a:lnTo>
                  <a:pt x="142875" y="34925"/>
                </a:lnTo>
                <a:lnTo>
                  <a:pt x="161925" y="25400"/>
                </a:lnTo>
                <a:lnTo>
                  <a:pt x="184150" y="19050"/>
                </a:lnTo>
                <a:lnTo>
                  <a:pt x="209550" y="12700"/>
                </a:lnTo>
                <a:lnTo>
                  <a:pt x="263525" y="6350"/>
                </a:lnTo>
                <a:lnTo>
                  <a:pt x="320675" y="3175"/>
                </a:lnTo>
                <a:close/>
              </a:path>
            </a:pathLst>
          </a:custGeom>
          <a:solidFill>
            <a:schemeClr val="accent1"/>
          </a:solidFill>
          <a:ln>
            <a:noFill/>
          </a:ln>
        </p:spPr>
        <p:txBody>
          <a:bodyPr vert="horz" wrap="square" lIns="89642" tIns="44821" rIns="89642" bIns="44821" numCol="1" anchor="t" anchorCtr="0" compatLnSpc="1">
            <a:prstTxWarp prst="textNoShape">
              <a:avLst/>
            </a:prstTxWarp>
            <a:noAutofit/>
          </a:bodyPr>
          <a:lstStyle/>
          <a:p>
            <a:pPr defTabSz="914367"/>
            <a:endParaRPr lang="en-IN" sz="1765">
              <a:solidFill>
                <a:srgbClr val="000000"/>
              </a:solidFill>
            </a:endParaRPr>
          </a:p>
        </p:txBody>
      </p:sp>
      <p:sp>
        <p:nvSpPr>
          <p:cNvPr id="249" name="Freeform 248"/>
          <p:cNvSpPr/>
          <p:nvPr/>
        </p:nvSpPr>
        <p:spPr bwMode="auto">
          <a:xfrm>
            <a:off x="8606971" y="1915699"/>
            <a:ext cx="1620449" cy="1532213"/>
          </a:xfrm>
          <a:custGeom>
            <a:avLst/>
            <a:gdLst>
              <a:gd name="connsiteX0" fmla="*/ 3688080 w 3688080"/>
              <a:gd name="connsiteY0" fmla="*/ 0 h 1760220"/>
              <a:gd name="connsiteX1" fmla="*/ 1082040 w 3688080"/>
              <a:gd name="connsiteY1" fmla="*/ 0 h 1760220"/>
              <a:gd name="connsiteX2" fmla="*/ 1082040 w 3688080"/>
              <a:gd name="connsiteY2" fmla="*/ 1760220 h 1760220"/>
              <a:gd name="connsiteX3" fmla="*/ 0 w 3688080"/>
              <a:gd name="connsiteY3" fmla="*/ 1760220 h 1760220"/>
            </a:gdLst>
            <a:ahLst/>
            <a:cxnLst>
              <a:cxn ang="0">
                <a:pos x="connsiteX0" y="connsiteY0"/>
              </a:cxn>
              <a:cxn ang="0">
                <a:pos x="connsiteX1" y="connsiteY1"/>
              </a:cxn>
              <a:cxn ang="0">
                <a:pos x="connsiteX2" y="connsiteY2"/>
              </a:cxn>
              <a:cxn ang="0">
                <a:pos x="connsiteX3" y="connsiteY3"/>
              </a:cxn>
            </a:cxnLst>
            <a:rect l="l" t="t" r="r" b="b"/>
            <a:pathLst>
              <a:path w="3688080" h="1760220">
                <a:moveTo>
                  <a:pt x="3688080" y="0"/>
                </a:moveTo>
                <a:lnTo>
                  <a:pt x="1082040" y="0"/>
                </a:lnTo>
                <a:lnTo>
                  <a:pt x="1082040" y="1760220"/>
                </a:lnTo>
                <a:lnTo>
                  <a:pt x="0" y="1760220"/>
                </a:lnTo>
              </a:path>
            </a:pathLst>
          </a:custGeom>
          <a:ln w="25400">
            <a:solidFill>
              <a:schemeClr val="bg1">
                <a:lumMod val="50000"/>
              </a:schemeClr>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IN" sz="1765">
              <a:solidFill>
                <a:srgbClr val="000000"/>
              </a:solidFill>
            </a:endParaRPr>
          </a:p>
        </p:txBody>
      </p:sp>
      <p:sp>
        <p:nvSpPr>
          <p:cNvPr id="250" name="Freeform 249"/>
          <p:cNvSpPr/>
          <p:nvPr/>
        </p:nvSpPr>
        <p:spPr bwMode="auto">
          <a:xfrm flipV="1">
            <a:off x="8606971" y="3983162"/>
            <a:ext cx="1620449" cy="1532213"/>
          </a:xfrm>
          <a:custGeom>
            <a:avLst/>
            <a:gdLst>
              <a:gd name="connsiteX0" fmla="*/ 3688080 w 3688080"/>
              <a:gd name="connsiteY0" fmla="*/ 0 h 1760220"/>
              <a:gd name="connsiteX1" fmla="*/ 1082040 w 3688080"/>
              <a:gd name="connsiteY1" fmla="*/ 0 h 1760220"/>
              <a:gd name="connsiteX2" fmla="*/ 1082040 w 3688080"/>
              <a:gd name="connsiteY2" fmla="*/ 1760220 h 1760220"/>
              <a:gd name="connsiteX3" fmla="*/ 0 w 3688080"/>
              <a:gd name="connsiteY3" fmla="*/ 1760220 h 1760220"/>
            </a:gdLst>
            <a:ahLst/>
            <a:cxnLst>
              <a:cxn ang="0">
                <a:pos x="connsiteX0" y="connsiteY0"/>
              </a:cxn>
              <a:cxn ang="0">
                <a:pos x="connsiteX1" y="connsiteY1"/>
              </a:cxn>
              <a:cxn ang="0">
                <a:pos x="connsiteX2" y="connsiteY2"/>
              </a:cxn>
              <a:cxn ang="0">
                <a:pos x="connsiteX3" y="connsiteY3"/>
              </a:cxn>
            </a:cxnLst>
            <a:rect l="l" t="t" r="r" b="b"/>
            <a:pathLst>
              <a:path w="3688080" h="1760220">
                <a:moveTo>
                  <a:pt x="3688080" y="0"/>
                </a:moveTo>
                <a:lnTo>
                  <a:pt x="1082040" y="0"/>
                </a:lnTo>
                <a:lnTo>
                  <a:pt x="1082040" y="1760220"/>
                </a:lnTo>
                <a:lnTo>
                  <a:pt x="0" y="1760220"/>
                </a:lnTo>
              </a:path>
            </a:pathLst>
          </a:custGeom>
          <a:ln w="25400">
            <a:solidFill>
              <a:schemeClr val="bg1">
                <a:lumMod val="50000"/>
              </a:schemeClr>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IN" sz="1765">
              <a:solidFill>
                <a:srgbClr val="000000"/>
              </a:solidFill>
            </a:endParaRPr>
          </a:p>
        </p:txBody>
      </p:sp>
      <p:sp>
        <p:nvSpPr>
          <p:cNvPr id="251" name="Freeform 250"/>
          <p:cNvSpPr/>
          <p:nvPr/>
        </p:nvSpPr>
        <p:spPr bwMode="auto">
          <a:xfrm>
            <a:off x="8603033" y="3216200"/>
            <a:ext cx="1597013" cy="402372"/>
          </a:xfrm>
          <a:custGeom>
            <a:avLst/>
            <a:gdLst>
              <a:gd name="connsiteX0" fmla="*/ 3688080 w 3688080"/>
              <a:gd name="connsiteY0" fmla="*/ 0 h 1760220"/>
              <a:gd name="connsiteX1" fmla="*/ 1082040 w 3688080"/>
              <a:gd name="connsiteY1" fmla="*/ 0 h 1760220"/>
              <a:gd name="connsiteX2" fmla="*/ 1082040 w 3688080"/>
              <a:gd name="connsiteY2" fmla="*/ 1760220 h 1760220"/>
              <a:gd name="connsiteX3" fmla="*/ 0 w 3688080"/>
              <a:gd name="connsiteY3" fmla="*/ 1760220 h 1760220"/>
              <a:gd name="connsiteX0" fmla="*/ 3141454 w 3141454"/>
              <a:gd name="connsiteY0" fmla="*/ 1249051 h 1760220"/>
              <a:gd name="connsiteX1" fmla="*/ 1082040 w 3141454"/>
              <a:gd name="connsiteY1" fmla="*/ 0 h 1760220"/>
              <a:gd name="connsiteX2" fmla="*/ 1082040 w 3141454"/>
              <a:gd name="connsiteY2" fmla="*/ 1760220 h 1760220"/>
              <a:gd name="connsiteX3" fmla="*/ 0 w 3141454"/>
              <a:gd name="connsiteY3" fmla="*/ 1760220 h 1760220"/>
              <a:gd name="connsiteX0" fmla="*/ 3141454 w 3141454"/>
              <a:gd name="connsiteY0" fmla="*/ 1249051 h 1760220"/>
              <a:gd name="connsiteX1" fmla="*/ 1082040 w 3141454"/>
              <a:gd name="connsiteY1" fmla="*/ 0 h 1760220"/>
              <a:gd name="connsiteX2" fmla="*/ 1080081 w 3141454"/>
              <a:gd name="connsiteY2" fmla="*/ 905775 h 1760220"/>
              <a:gd name="connsiteX3" fmla="*/ 1082040 w 3141454"/>
              <a:gd name="connsiteY3" fmla="*/ 1760220 h 1760220"/>
              <a:gd name="connsiteX4" fmla="*/ 0 w 3141454"/>
              <a:gd name="connsiteY4" fmla="*/ 1760220 h 1760220"/>
              <a:gd name="connsiteX0" fmla="*/ 3141454 w 3141454"/>
              <a:gd name="connsiteY0" fmla="*/ 343276 h 854445"/>
              <a:gd name="connsiteX1" fmla="*/ 1080081 w 3141454"/>
              <a:gd name="connsiteY1" fmla="*/ 0 h 854445"/>
              <a:gd name="connsiteX2" fmla="*/ 1082040 w 3141454"/>
              <a:gd name="connsiteY2" fmla="*/ 854445 h 854445"/>
              <a:gd name="connsiteX3" fmla="*/ 0 w 3141454"/>
              <a:gd name="connsiteY3" fmla="*/ 854445 h 854445"/>
              <a:gd name="connsiteX0" fmla="*/ 3141454 w 3141454"/>
              <a:gd name="connsiteY0" fmla="*/ 343276 h 854445"/>
              <a:gd name="connsiteX1" fmla="*/ 1080081 w 3141454"/>
              <a:gd name="connsiteY1" fmla="*/ 0 h 854445"/>
              <a:gd name="connsiteX2" fmla="*/ 1073495 w 3141454"/>
              <a:gd name="connsiteY2" fmla="*/ 222434 h 854445"/>
              <a:gd name="connsiteX3" fmla="*/ 1082040 w 3141454"/>
              <a:gd name="connsiteY3" fmla="*/ 854445 h 854445"/>
              <a:gd name="connsiteX4" fmla="*/ 0 w 3141454"/>
              <a:gd name="connsiteY4" fmla="*/ 854445 h 854445"/>
              <a:gd name="connsiteX0" fmla="*/ 3141454 w 3141454"/>
              <a:gd name="connsiteY0" fmla="*/ 120842 h 632011"/>
              <a:gd name="connsiteX1" fmla="*/ 1073495 w 3141454"/>
              <a:gd name="connsiteY1" fmla="*/ 0 h 632011"/>
              <a:gd name="connsiteX2" fmla="*/ 1082040 w 3141454"/>
              <a:gd name="connsiteY2" fmla="*/ 632011 h 632011"/>
              <a:gd name="connsiteX3" fmla="*/ 0 w 3141454"/>
              <a:gd name="connsiteY3" fmla="*/ 632011 h 632011"/>
              <a:gd name="connsiteX0" fmla="*/ 3141454 w 3141454"/>
              <a:gd name="connsiteY0" fmla="*/ 1070 h 512239"/>
              <a:gd name="connsiteX1" fmla="*/ 1080081 w 3141454"/>
              <a:gd name="connsiteY1" fmla="*/ 0 h 512239"/>
              <a:gd name="connsiteX2" fmla="*/ 1082040 w 3141454"/>
              <a:gd name="connsiteY2" fmla="*/ 512239 h 512239"/>
              <a:gd name="connsiteX3" fmla="*/ 0 w 3141454"/>
              <a:gd name="connsiteY3" fmla="*/ 512239 h 512239"/>
            </a:gdLst>
            <a:ahLst/>
            <a:cxnLst>
              <a:cxn ang="0">
                <a:pos x="connsiteX0" y="connsiteY0"/>
              </a:cxn>
              <a:cxn ang="0">
                <a:pos x="connsiteX1" y="connsiteY1"/>
              </a:cxn>
              <a:cxn ang="0">
                <a:pos x="connsiteX2" y="connsiteY2"/>
              </a:cxn>
              <a:cxn ang="0">
                <a:pos x="connsiteX3" y="connsiteY3"/>
              </a:cxn>
            </a:cxnLst>
            <a:rect l="l" t="t" r="r" b="b"/>
            <a:pathLst>
              <a:path w="3141454" h="512239">
                <a:moveTo>
                  <a:pt x="3141454" y="1070"/>
                </a:moveTo>
                <a:lnTo>
                  <a:pt x="1080081" y="0"/>
                </a:lnTo>
                <a:lnTo>
                  <a:pt x="1082040" y="512239"/>
                </a:lnTo>
                <a:lnTo>
                  <a:pt x="0" y="512239"/>
                </a:lnTo>
              </a:path>
            </a:pathLst>
          </a:custGeom>
          <a:ln w="25400">
            <a:solidFill>
              <a:schemeClr val="bg1">
                <a:lumMod val="50000"/>
              </a:schemeClr>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IN" sz="1765" dirty="0">
              <a:solidFill>
                <a:srgbClr val="000000"/>
              </a:solidFill>
            </a:endParaRPr>
          </a:p>
        </p:txBody>
      </p:sp>
      <p:sp>
        <p:nvSpPr>
          <p:cNvPr id="252" name="Freeform 251"/>
          <p:cNvSpPr/>
          <p:nvPr/>
        </p:nvSpPr>
        <p:spPr bwMode="auto">
          <a:xfrm flipV="1">
            <a:off x="8603033" y="3805055"/>
            <a:ext cx="1597013" cy="445887"/>
          </a:xfrm>
          <a:custGeom>
            <a:avLst/>
            <a:gdLst>
              <a:gd name="connsiteX0" fmla="*/ 3688080 w 3688080"/>
              <a:gd name="connsiteY0" fmla="*/ 0 h 1760220"/>
              <a:gd name="connsiteX1" fmla="*/ 1082040 w 3688080"/>
              <a:gd name="connsiteY1" fmla="*/ 0 h 1760220"/>
              <a:gd name="connsiteX2" fmla="*/ 1082040 w 3688080"/>
              <a:gd name="connsiteY2" fmla="*/ 1760220 h 1760220"/>
              <a:gd name="connsiteX3" fmla="*/ 0 w 3688080"/>
              <a:gd name="connsiteY3" fmla="*/ 1760220 h 1760220"/>
              <a:gd name="connsiteX0" fmla="*/ 3141454 w 3141454"/>
              <a:gd name="connsiteY0" fmla="*/ 1249051 h 1760220"/>
              <a:gd name="connsiteX1" fmla="*/ 1082040 w 3141454"/>
              <a:gd name="connsiteY1" fmla="*/ 0 h 1760220"/>
              <a:gd name="connsiteX2" fmla="*/ 1082040 w 3141454"/>
              <a:gd name="connsiteY2" fmla="*/ 1760220 h 1760220"/>
              <a:gd name="connsiteX3" fmla="*/ 0 w 3141454"/>
              <a:gd name="connsiteY3" fmla="*/ 1760220 h 1760220"/>
              <a:gd name="connsiteX0" fmla="*/ 3141454 w 3141454"/>
              <a:gd name="connsiteY0" fmla="*/ 1249051 h 1760220"/>
              <a:gd name="connsiteX1" fmla="*/ 1082040 w 3141454"/>
              <a:gd name="connsiteY1" fmla="*/ 0 h 1760220"/>
              <a:gd name="connsiteX2" fmla="*/ 1080081 w 3141454"/>
              <a:gd name="connsiteY2" fmla="*/ 905775 h 1760220"/>
              <a:gd name="connsiteX3" fmla="*/ 1082040 w 3141454"/>
              <a:gd name="connsiteY3" fmla="*/ 1760220 h 1760220"/>
              <a:gd name="connsiteX4" fmla="*/ 0 w 3141454"/>
              <a:gd name="connsiteY4" fmla="*/ 1760220 h 1760220"/>
              <a:gd name="connsiteX0" fmla="*/ 3141454 w 3141454"/>
              <a:gd name="connsiteY0" fmla="*/ 343276 h 854445"/>
              <a:gd name="connsiteX1" fmla="*/ 1080081 w 3141454"/>
              <a:gd name="connsiteY1" fmla="*/ 0 h 854445"/>
              <a:gd name="connsiteX2" fmla="*/ 1082040 w 3141454"/>
              <a:gd name="connsiteY2" fmla="*/ 854445 h 854445"/>
              <a:gd name="connsiteX3" fmla="*/ 0 w 3141454"/>
              <a:gd name="connsiteY3" fmla="*/ 854445 h 854445"/>
              <a:gd name="connsiteX0" fmla="*/ 3141454 w 3141454"/>
              <a:gd name="connsiteY0" fmla="*/ 343276 h 854445"/>
              <a:gd name="connsiteX1" fmla="*/ 1080081 w 3141454"/>
              <a:gd name="connsiteY1" fmla="*/ 0 h 854445"/>
              <a:gd name="connsiteX2" fmla="*/ 1073495 w 3141454"/>
              <a:gd name="connsiteY2" fmla="*/ 222434 h 854445"/>
              <a:gd name="connsiteX3" fmla="*/ 1082040 w 3141454"/>
              <a:gd name="connsiteY3" fmla="*/ 854445 h 854445"/>
              <a:gd name="connsiteX4" fmla="*/ 0 w 3141454"/>
              <a:gd name="connsiteY4" fmla="*/ 854445 h 854445"/>
              <a:gd name="connsiteX0" fmla="*/ 3141454 w 3141454"/>
              <a:gd name="connsiteY0" fmla="*/ 120842 h 632011"/>
              <a:gd name="connsiteX1" fmla="*/ 1073495 w 3141454"/>
              <a:gd name="connsiteY1" fmla="*/ 0 h 632011"/>
              <a:gd name="connsiteX2" fmla="*/ 1082040 w 3141454"/>
              <a:gd name="connsiteY2" fmla="*/ 632011 h 632011"/>
              <a:gd name="connsiteX3" fmla="*/ 0 w 3141454"/>
              <a:gd name="connsiteY3" fmla="*/ 632011 h 632011"/>
              <a:gd name="connsiteX0" fmla="*/ 3141454 w 3141454"/>
              <a:gd name="connsiteY0" fmla="*/ 1070 h 512239"/>
              <a:gd name="connsiteX1" fmla="*/ 1080081 w 3141454"/>
              <a:gd name="connsiteY1" fmla="*/ 0 h 512239"/>
              <a:gd name="connsiteX2" fmla="*/ 1082040 w 3141454"/>
              <a:gd name="connsiteY2" fmla="*/ 512239 h 512239"/>
              <a:gd name="connsiteX3" fmla="*/ 0 w 3141454"/>
              <a:gd name="connsiteY3" fmla="*/ 512239 h 512239"/>
            </a:gdLst>
            <a:ahLst/>
            <a:cxnLst>
              <a:cxn ang="0">
                <a:pos x="connsiteX0" y="connsiteY0"/>
              </a:cxn>
              <a:cxn ang="0">
                <a:pos x="connsiteX1" y="connsiteY1"/>
              </a:cxn>
              <a:cxn ang="0">
                <a:pos x="connsiteX2" y="connsiteY2"/>
              </a:cxn>
              <a:cxn ang="0">
                <a:pos x="connsiteX3" y="connsiteY3"/>
              </a:cxn>
            </a:cxnLst>
            <a:rect l="l" t="t" r="r" b="b"/>
            <a:pathLst>
              <a:path w="3141454" h="512239">
                <a:moveTo>
                  <a:pt x="3141454" y="1070"/>
                </a:moveTo>
                <a:lnTo>
                  <a:pt x="1080081" y="0"/>
                </a:lnTo>
                <a:lnTo>
                  <a:pt x="1082040" y="512239"/>
                </a:lnTo>
                <a:lnTo>
                  <a:pt x="0" y="512239"/>
                </a:lnTo>
              </a:path>
            </a:pathLst>
          </a:custGeom>
          <a:ln w="25400">
            <a:solidFill>
              <a:schemeClr val="bg1">
                <a:lumMod val="50000"/>
              </a:schemeClr>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IN" sz="1765" dirty="0">
              <a:solidFill>
                <a:srgbClr val="000000"/>
              </a:solidFill>
            </a:endParaRPr>
          </a:p>
        </p:txBody>
      </p:sp>
      <p:sp>
        <p:nvSpPr>
          <p:cNvPr id="19" name="Rectangle 18"/>
          <p:cNvSpPr/>
          <p:nvPr/>
        </p:nvSpPr>
        <p:spPr bwMode="auto">
          <a:xfrm>
            <a:off x="7184555" y="2835664"/>
            <a:ext cx="1406934" cy="61128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44821" rIns="44821" bIns="44821" numCol="1" spcCol="0" rtlCol="0" fromWordArt="0" anchor="ctr" anchorCtr="0" forceAA="0" compatLnSpc="1">
            <a:prstTxWarp prst="textNoShape">
              <a:avLst/>
            </a:prstTxWarp>
            <a:noAutofit/>
          </a:bodyPr>
          <a:lstStyle/>
          <a:p>
            <a:pPr algn="ctr" defTabSz="913770" fontAlgn="base">
              <a:spcBef>
                <a:spcPct val="0"/>
              </a:spcBef>
              <a:spcAft>
                <a:spcPct val="0"/>
              </a:spcAft>
            </a:pPr>
            <a:r>
              <a:rPr lang="en-IN" dirty="0" err="1">
                <a:solidFill>
                  <a:srgbClr val="FFFFFF"/>
                </a:solidFill>
                <a:latin typeface="Segoe UI Semibold" panose="020B0702040204020203" pitchFamily="34" charset="0"/>
                <a:ea typeface="Segoe UI" pitchFamily="34" charset="0"/>
                <a:cs typeface="Segoe UI Semibold" panose="020B0702040204020203" pitchFamily="34" charset="0"/>
              </a:rPr>
              <a:t>ZooKeeper</a:t>
            </a:r>
            <a:endParaRPr lang="en-IN"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20" name="Rectangle 19"/>
          <p:cNvSpPr/>
          <p:nvPr/>
        </p:nvSpPr>
        <p:spPr bwMode="auto">
          <a:xfrm>
            <a:off x="7184556" y="3465252"/>
            <a:ext cx="1406934" cy="61128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44821" rIns="44821" bIns="44821" numCol="1" spcCol="0" rtlCol="0" fromWordArt="0" anchor="ctr" anchorCtr="0" forceAA="0" compatLnSpc="1">
            <a:prstTxWarp prst="textNoShape">
              <a:avLst/>
            </a:prstTxWarp>
            <a:noAutofit/>
          </a:bodyPr>
          <a:lstStyle/>
          <a:p>
            <a:pPr algn="ctr" defTabSz="913770" fontAlgn="base">
              <a:spcBef>
                <a:spcPct val="0"/>
              </a:spcBef>
              <a:spcAft>
                <a:spcPct val="0"/>
              </a:spcAft>
            </a:pPr>
            <a:r>
              <a:rPr lang="en-IN" dirty="0" err="1">
                <a:solidFill>
                  <a:srgbClr val="FFFFFF"/>
                </a:solidFill>
                <a:latin typeface="Segoe UI Semibold" panose="020B0702040204020203" pitchFamily="34" charset="0"/>
                <a:ea typeface="Segoe UI" pitchFamily="34" charset="0"/>
                <a:cs typeface="Segoe UI Semibold" panose="020B0702040204020203" pitchFamily="34" charset="0"/>
              </a:rPr>
              <a:t>ZooKeeper</a:t>
            </a:r>
            <a:endParaRPr lang="en-IN"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21" name="Rectangle 20"/>
          <p:cNvSpPr/>
          <p:nvPr/>
        </p:nvSpPr>
        <p:spPr bwMode="auto">
          <a:xfrm>
            <a:off x="7184556" y="4112423"/>
            <a:ext cx="1406934" cy="61128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44821" rIns="44821" bIns="44821" numCol="1" spcCol="0" rtlCol="0" fromWordArt="0" anchor="ctr" anchorCtr="0" forceAA="0" compatLnSpc="1">
            <a:prstTxWarp prst="textNoShape">
              <a:avLst/>
            </a:prstTxWarp>
            <a:noAutofit/>
          </a:bodyPr>
          <a:lstStyle/>
          <a:p>
            <a:pPr algn="ctr" defTabSz="913770" fontAlgn="base">
              <a:spcBef>
                <a:spcPct val="0"/>
              </a:spcBef>
              <a:spcAft>
                <a:spcPct val="0"/>
              </a:spcAft>
            </a:pPr>
            <a:r>
              <a:rPr lang="en-IN" dirty="0" err="1">
                <a:solidFill>
                  <a:srgbClr val="FFFFFF"/>
                </a:solidFill>
                <a:latin typeface="Segoe UI Semibold" panose="020B0702040204020203" pitchFamily="34" charset="0"/>
                <a:ea typeface="Segoe UI" pitchFamily="34" charset="0"/>
                <a:cs typeface="Segoe UI Semibold" panose="020B0702040204020203" pitchFamily="34" charset="0"/>
              </a:rPr>
              <a:t>ZooKeeper</a:t>
            </a:r>
            <a:endParaRPr lang="en-IN"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3" name="Rectangle 2"/>
          <p:cNvSpPr/>
          <p:nvPr/>
        </p:nvSpPr>
        <p:spPr bwMode="auto">
          <a:xfrm>
            <a:off x="5532364" y="3507667"/>
            <a:ext cx="1208774" cy="52645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13770" fontAlgn="base">
              <a:lnSpc>
                <a:spcPct val="90000"/>
              </a:lnSpc>
              <a:spcBef>
                <a:spcPct val="0"/>
              </a:spcBef>
              <a:spcAft>
                <a:spcPct val="0"/>
              </a:spcAft>
            </a:pPr>
            <a:r>
              <a:rPr lang="en-US" dirty="0">
                <a:solidFill>
                  <a:srgbClr val="FFFFFF"/>
                </a:solidFill>
                <a:latin typeface="Segoe UI Semibold" panose="020B0702040204020203" pitchFamily="34" charset="0"/>
                <a:ea typeface="Segoe UI" pitchFamily="34" charset="0"/>
                <a:cs typeface="Segoe UI Semibold" panose="020B0702040204020203" pitchFamily="34" charset="0"/>
              </a:rPr>
              <a:t>Nimbus</a:t>
            </a:r>
          </a:p>
        </p:txBody>
      </p:sp>
      <p:sp>
        <p:nvSpPr>
          <p:cNvPr id="9" name="TextBox 8"/>
          <p:cNvSpPr txBox="1"/>
          <p:nvPr/>
        </p:nvSpPr>
        <p:spPr>
          <a:xfrm rot="5400000">
            <a:off x="10600808" y="3499822"/>
            <a:ext cx="1582616" cy="610469"/>
          </a:xfrm>
          <a:prstGeom prst="rect">
            <a:avLst/>
          </a:prstGeom>
          <a:noFill/>
        </p:spPr>
        <p:txBody>
          <a:bodyPr wrap="square" lIns="182880" tIns="146304" rIns="182880" bIns="146304" rtlCol="0">
            <a:noAutofit/>
          </a:bodyPr>
          <a:lstStyle/>
          <a:p>
            <a:pPr>
              <a:lnSpc>
                <a:spcPct val="90000"/>
              </a:lnSpc>
              <a:spcAft>
                <a:spcPts val="600"/>
              </a:spcAft>
            </a:pPr>
            <a:r>
              <a:rPr lang="en-US" dirty="0">
                <a:solidFill>
                  <a:schemeClr val="tx1">
                    <a:lumMod val="85000"/>
                    <a:lumOff val="15000"/>
                  </a:schemeClr>
                </a:solidFill>
                <a:latin typeface="Segoe UI Semibold" panose="020B0702040204020203" pitchFamily="34" charset="0"/>
                <a:cs typeface="Segoe UI Semibold" panose="020B0702040204020203" pitchFamily="34" charset="0"/>
              </a:rPr>
              <a:t>Supervisors</a:t>
            </a:r>
          </a:p>
        </p:txBody>
      </p:sp>
      <p:sp>
        <p:nvSpPr>
          <p:cNvPr id="11" name="TextBox 10"/>
          <p:cNvSpPr txBox="1"/>
          <p:nvPr/>
        </p:nvSpPr>
        <p:spPr>
          <a:xfrm>
            <a:off x="439526" y="4521144"/>
            <a:ext cx="6493119" cy="1916598"/>
          </a:xfrm>
          <a:prstGeom prst="rect">
            <a:avLst/>
          </a:prstGeom>
          <a:noFill/>
        </p:spPr>
        <p:txBody>
          <a:bodyPr wrap="square" lIns="0" tIns="0" rIns="0" bIns="0" rtlCol="0">
            <a:noAutofit/>
          </a:bodyPr>
          <a:lstStyle/>
          <a:p>
            <a:pPr>
              <a:lnSpc>
                <a:spcPct val="90000"/>
              </a:lnSpc>
              <a:spcAft>
                <a:spcPts val="600"/>
              </a:spcAft>
            </a:pPr>
            <a:r>
              <a:rPr lang="en-US" dirty="0">
                <a:ln>
                  <a:solidFill>
                    <a:srgbClr val="FFFFFF">
                      <a:alpha val="0"/>
                    </a:srgbClr>
                  </a:solidFill>
                </a:ln>
                <a:gradFill>
                  <a:gsLst>
                    <a:gs pos="85321">
                      <a:srgbClr val="505050"/>
                    </a:gs>
                    <a:gs pos="57000">
                      <a:srgbClr val="505050"/>
                    </a:gs>
                  </a:gsLst>
                </a:gradFill>
                <a:latin typeface="Segoe UI Semibold" panose="020B0702040204020203" pitchFamily="34" charset="0"/>
                <a:ea typeface="Segoe UI" pitchFamily="34" charset="0"/>
                <a:cs typeface="Segoe UI Semibold" panose="020B0702040204020203" pitchFamily="34" charset="0"/>
              </a:rPr>
              <a:t>Supervisor</a:t>
            </a:r>
          </a:p>
          <a:p>
            <a:pPr marL="285750" indent="-285750" defTabSz="914367">
              <a:lnSpc>
                <a:spcPct val="90000"/>
              </a:lnSpc>
              <a:spcAft>
                <a:spcPts val="600"/>
              </a:spcAft>
              <a:buClr>
                <a:schemeClr val="accent3"/>
              </a:buClr>
              <a:buSzPct val="75000"/>
              <a:buFont typeface="Arial" panose="020B0604020202020204" pitchFamily="34" charset="0"/>
              <a:buChar char="•"/>
              <a:defRPr/>
            </a:pPr>
            <a:r>
              <a:rPr lang="en-US" dirty="0">
                <a:ln>
                  <a:solidFill>
                    <a:srgbClr val="FFFFFF">
                      <a:alpha val="0"/>
                    </a:srgbClr>
                  </a:solidFill>
                </a:ln>
                <a:gradFill>
                  <a:gsLst>
                    <a:gs pos="85321">
                      <a:srgbClr val="505050"/>
                    </a:gs>
                    <a:gs pos="57000">
                      <a:srgbClr val="505050"/>
                    </a:gs>
                  </a:gsLst>
                </a:gradFill>
                <a:ea typeface="Segoe UI" pitchFamily="34" charset="0"/>
                <a:cs typeface="Segoe UI" pitchFamily="34" charset="0"/>
              </a:rPr>
              <a:t>Listens for work assigned to its machine and starts and stops worker processes based on directives from Nimbus. Each worker process executes a subset of a topology</a:t>
            </a:r>
          </a:p>
          <a:p>
            <a:pPr marL="285750" indent="-285750" defTabSz="914367">
              <a:lnSpc>
                <a:spcPct val="90000"/>
              </a:lnSpc>
              <a:spcAft>
                <a:spcPts val="600"/>
              </a:spcAft>
              <a:buClr>
                <a:schemeClr val="accent3"/>
              </a:buClr>
              <a:buSzPct val="75000"/>
              <a:buFont typeface="Arial" panose="020B0604020202020204" pitchFamily="34" charset="0"/>
              <a:buChar char="•"/>
              <a:defRPr/>
            </a:pPr>
            <a:r>
              <a:rPr lang="en-US" dirty="0">
                <a:ln>
                  <a:solidFill>
                    <a:srgbClr val="FFFFFF">
                      <a:alpha val="0"/>
                    </a:srgbClr>
                  </a:solidFill>
                </a:ln>
                <a:gradFill>
                  <a:gsLst>
                    <a:gs pos="85321">
                      <a:srgbClr val="505050"/>
                    </a:gs>
                    <a:gs pos="57000">
                      <a:srgbClr val="505050"/>
                    </a:gs>
                  </a:gsLst>
                </a:gradFill>
                <a:ea typeface="Segoe UI" pitchFamily="34" charset="0"/>
                <a:cs typeface="Segoe UI" pitchFamily="34" charset="0"/>
              </a:rPr>
              <a:t>User’s application logic (Spouts and Bolt) run here.</a:t>
            </a:r>
          </a:p>
          <a:p>
            <a:pPr marL="285750" indent="-285750" defTabSz="914367">
              <a:lnSpc>
                <a:spcPct val="90000"/>
              </a:lnSpc>
              <a:spcAft>
                <a:spcPts val="600"/>
              </a:spcAft>
              <a:buClr>
                <a:schemeClr val="accent3"/>
              </a:buClr>
              <a:buSzPct val="75000"/>
              <a:buFont typeface="Arial" panose="020B0604020202020204" pitchFamily="34" charset="0"/>
              <a:buChar char="•"/>
              <a:defRPr/>
            </a:pPr>
            <a:r>
              <a:rPr lang="en-US" dirty="0">
                <a:ln>
                  <a:solidFill>
                    <a:srgbClr val="FFFFFF">
                      <a:alpha val="0"/>
                    </a:srgbClr>
                  </a:solidFill>
                </a:ln>
                <a:gradFill>
                  <a:gsLst>
                    <a:gs pos="85321">
                      <a:srgbClr val="505050"/>
                    </a:gs>
                    <a:gs pos="57000">
                      <a:srgbClr val="505050"/>
                    </a:gs>
                  </a:gsLst>
                </a:gradFill>
                <a:ea typeface="Segoe UI" pitchFamily="34" charset="0"/>
                <a:cs typeface="Segoe UI" pitchFamily="34" charset="0"/>
              </a:rPr>
              <a:t>Stateless—can be restarted quickly.  Fails over quickly.</a:t>
            </a:r>
          </a:p>
        </p:txBody>
      </p:sp>
      <p:cxnSp>
        <p:nvCxnSpPr>
          <p:cNvPr id="13" name="Straight Arrow Connector 12"/>
          <p:cNvCxnSpPr/>
          <p:nvPr/>
        </p:nvCxnSpPr>
        <p:spPr>
          <a:xfrm>
            <a:off x="6780945" y="3770896"/>
            <a:ext cx="365760" cy="0"/>
          </a:xfrm>
          <a:prstGeom prst="straightConnector1">
            <a:avLst/>
          </a:prstGeom>
          <a:ln w="38100">
            <a:headEnd type="triangle"/>
            <a:tailEnd type="triangle"/>
          </a:ln>
        </p:spPr>
        <p:style>
          <a:lnRef idx="3">
            <a:schemeClr val="dk1"/>
          </a:lnRef>
          <a:fillRef idx="0">
            <a:schemeClr val="dk1"/>
          </a:fillRef>
          <a:effectRef idx="2">
            <a:schemeClr val="dk1"/>
          </a:effectRef>
          <a:fontRef idx="minor">
            <a:schemeClr val="tx1"/>
          </a:fontRef>
        </p:style>
      </p:cxnSp>
      <p:sp>
        <p:nvSpPr>
          <p:cNvPr id="16" name="TextBox 15"/>
          <p:cNvSpPr txBox="1"/>
          <p:nvPr/>
        </p:nvSpPr>
        <p:spPr>
          <a:xfrm>
            <a:off x="465603" y="2949073"/>
            <a:ext cx="4958214" cy="1459823"/>
          </a:xfrm>
          <a:prstGeom prst="rect">
            <a:avLst/>
          </a:prstGeom>
          <a:noFill/>
        </p:spPr>
        <p:txBody>
          <a:bodyPr wrap="square" lIns="0" tIns="0" rIns="0" bIns="0" rtlCol="0">
            <a:noAutofit/>
          </a:bodyPr>
          <a:lstStyle/>
          <a:p>
            <a:pPr>
              <a:lnSpc>
                <a:spcPct val="90000"/>
              </a:lnSpc>
              <a:spcAft>
                <a:spcPts val="600"/>
              </a:spcAft>
            </a:pPr>
            <a:r>
              <a:rPr lang="en-US" dirty="0">
                <a:ln>
                  <a:solidFill>
                    <a:srgbClr val="FFFFFF">
                      <a:alpha val="0"/>
                    </a:srgbClr>
                  </a:solidFill>
                </a:ln>
                <a:gradFill>
                  <a:gsLst>
                    <a:gs pos="85321">
                      <a:srgbClr val="505050"/>
                    </a:gs>
                    <a:gs pos="57000">
                      <a:srgbClr val="505050"/>
                    </a:gs>
                  </a:gsLst>
                </a:gradFill>
                <a:latin typeface="Segoe UI Semibold" panose="020B0702040204020203" pitchFamily="34" charset="0"/>
                <a:ea typeface="Segoe UI" pitchFamily="34" charset="0"/>
                <a:cs typeface="Segoe UI Semibold" panose="020B0702040204020203" pitchFamily="34" charset="0"/>
              </a:rPr>
              <a:t>Zookeeper</a:t>
            </a:r>
          </a:p>
          <a:p>
            <a:pPr marL="285750" indent="-285750" defTabSz="914367">
              <a:lnSpc>
                <a:spcPct val="90000"/>
              </a:lnSpc>
              <a:spcAft>
                <a:spcPts val="600"/>
              </a:spcAft>
              <a:buClr>
                <a:schemeClr val="accent3"/>
              </a:buClr>
              <a:buSzPct val="75000"/>
              <a:buFont typeface="Arial" panose="020B0604020202020204" pitchFamily="34" charset="0"/>
              <a:buChar char="•"/>
              <a:defRPr/>
            </a:pPr>
            <a:r>
              <a:rPr lang="en-US" dirty="0">
                <a:ln>
                  <a:solidFill>
                    <a:srgbClr val="FFFFFF">
                      <a:alpha val="0"/>
                    </a:srgbClr>
                  </a:solidFill>
                </a:ln>
                <a:gradFill>
                  <a:gsLst>
                    <a:gs pos="85321">
                      <a:srgbClr val="505050"/>
                    </a:gs>
                    <a:gs pos="57000">
                      <a:srgbClr val="505050"/>
                    </a:gs>
                  </a:gsLst>
                </a:gradFill>
                <a:ea typeface="Segoe UI" pitchFamily="34" charset="0"/>
                <a:cs typeface="Segoe UI" pitchFamily="34" charset="0"/>
              </a:rPr>
              <a:t>Used for cluster coordination</a:t>
            </a:r>
          </a:p>
          <a:p>
            <a:pPr marL="285750" indent="-285750" defTabSz="914367">
              <a:lnSpc>
                <a:spcPct val="90000"/>
              </a:lnSpc>
              <a:spcAft>
                <a:spcPts val="600"/>
              </a:spcAft>
              <a:buClr>
                <a:schemeClr val="accent3"/>
              </a:buClr>
              <a:buSzPct val="75000"/>
              <a:buFont typeface="Arial" panose="020B0604020202020204" pitchFamily="34" charset="0"/>
              <a:buChar char="•"/>
              <a:defRPr/>
            </a:pPr>
            <a:r>
              <a:rPr lang="en-US" dirty="0">
                <a:ln>
                  <a:solidFill>
                    <a:srgbClr val="FFFFFF">
                      <a:alpha val="0"/>
                    </a:srgbClr>
                  </a:solidFill>
                </a:ln>
                <a:gradFill>
                  <a:gsLst>
                    <a:gs pos="85321">
                      <a:srgbClr val="505050"/>
                    </a:gs>
                    <a:gs pos="57000">
                      <a:srgbClr val="505050"/>
                    </a:gs>
                  </a:gsLst>
                </a:gradFill>
                <a:ea typeface="Segoe UI" pitchFamily="34" charset="0"/>
                <a:cs typeface="Segoe UI" pitchFamily="34" charset="0"/>
              </a:rPr>
              <a:t>Use multiple nodes for failover and scale</a:t>
            </a:r>
          </a:p>
          <a:p>
            <a:pPr marL="285750" indent="-285750" defTabSz="914367">
              <a:lnSpc>
                <a:spcPct val="90000"/>
              </a:lnSpc>
              <a:spcAft>
                <a:spcPts val="600"/>
              </a:spcAft>
              <a:buClr>
                <a:schemeClr val="accent3"/>
              </a:buClr>
              <a:buSzPct val="75000"/>
              <a:buFont typeface="Arial" panose="020B0604020202020204" pitchFamily="34" charset="0"/>
              <a:buChar char="•"/>
              <a:defRPr/>
            </a:pPr>
            <a:r>
              <a:rPr lang="en-US" dirty="0">
                <a:ln>
                  <a:solidFill>
                    <a:srgbClr val="FFFFFF">
                      <a:alpha val="0"/>
                    </a:srgbClr>
                  </a:solidFill>
                </a:ln>
                <a:gradFill>
                  <a:gsLst>
                    <a:gs pos="85321">
                      <a:srgbClr val="505050"/>
                    </a:gs>
                    <a:gs pos="57000">
                      <a:srgbClr val="505050"/>
                    </a:gs>
                  </a:gsLst>
                </a:gradFill>
                <a:ea typeface="Segoe UI" pitchFamily="34" charset="0"/>
                <a:cs typeface="Segoe UI" pitchFamily="34" charset="0"/>
              </a:rPr>
              <a:t>Stateless—can be restarted quickly. Fails over quickly</a:t>
            </a:r>
          </a:p>
        </p:txBody>
      </p:sp>
    </p:spTree>
    <p:extLst>
      <p:ext uri="{BB962C8B-B14F-4D97-AF65-F5344CB8AC3E}">
        <p14:creationId xmlns:p14="http://schemas.microsoft.com/office/powerpoint/2010/main" val="364723559"/>
      </p:ext>
    </p:extLst>
  </p:cSld>
  <p:clrMapOvr>
    <a:masterClrMapping/>
  </p:clrMapOvr>
  <p:transition spd="med">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cept: Storm Spouts</a:t>
            </a:r>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74</a:t>
            </a:fld>
            <a:endParaRPr lang="en-US" dirty="0"/>
          </a:p>
        </p:txBody>
      </p:sp>
      <p:sp>
        <p:nvSpPr>
          <p:cNvPr id="4" name="TextBox 3"/>
          <p:cNvSpPr txBox="1"/>
          <p:nvPr/>
        </p:nvSpPr>
        <p:spPr>
          <a:xfrm>
            <a:off x="307115" y="1214321"/>
            <a:ext cx="6316803" cy="5333629"/>
          </a:xfrm>
          <a:prstGeom prst="rect">
            <a:avLst/>
          </a:prstGeom>
          <a:noFill/>
        </p:spPr>
        <p:txBody>
          <a:bodyPr wrap="square" lIns="182880" tIns="146304" rIns="182880" bIns="146304" rtlCol="0">
            <a:noAutofit/>
          </a:bodyPr>
          <a:lstStyle/>
          <a:p>
            <a:pPr marL="285750" indent="-285750">
              <a:lnSpc>
                <a:spcPts val="2300"/>
              </a:lnSpc>
              <a:spcBef>
                <a:spcPts val="600"/>
              </a:spcBef>
              <a:spcAft>
                <a:spcPts val="600"/>
              </a:spcAft>
              <a:buClr>
                <a:schemeClr val="accent3"/>
              </a:buClr>
              <a:buSzPct val="75000"/>
              <a:buFont typeface="Wingdings" panose="05000000000000000000" pitchFamily="2" charset="2"/>
              <a:buChar char="v"/>
            </a:pPr>
            <a:r>
              <a:rPr lang="en-US" sz="1950" dirty="0">
                <a:solidFill>
                  <a:schemeClr val="tx1">
                    <a:lumMod val="65000"/>
                    <a:lumOff val="35000"/>
                  </a:schemeClr>
                </a:solidFill>
              </a:rPr>
              <a:t>Spouts are a source of streams in a topology. A topology starts with one or more spouts.</a:t>
            </a:r>
          </a:p>
          <a:p>
            <a:pPr marL="285750" indent="-285750">
              <a:lnSpc>
                <a:spcPts val="2300"/>
              </a:lnSpc>
              <a:spcBef>
                <a:spcPts val="600"/>
              </a:spcBef>
              <a:spcAft>
                <a:spcPts val="200"/>
              </a:spcAft>
              <a:buClr>
                <a:schemeClr val="accent3"/>
              </a:buClr>
              <a:buSzPct val="75000"/>
              <a:buFont typeface="Wingdings" panose="05000000000000000000" pitchFamily="2" charset="2"/>
              <a:buChar char="v"/>
            </a:pPr>
            <a:r>
              <a:rPr lang="en-US" sz="1950" dirty="0">
                <a:solidFill>
                  <a:schemeClr val="tx1">
                    <a:lumMod val="65000"/>
                    <a:lumOff val="35000"/>
                  </a:schemeClr>
                </a:solidFill>
              </a:rPr>
              <a:t>The main method on spouts is </a:t>
            </a:r>
            <a:r>
              <a:rPr lang="en-US" sz="1950" i="1" dirty="0" err="1">
                <a:solidFill>
                  <a:schemeClr val="tx1">
                    <a:lumMod val="65000"/>
                    <a:lumOff val="35000"/>
                  </a:schemeClr>
                </a:solidFill>
              </a:rPr>
              <a:t>nextTuple</a:t>
            </a:r>
            <a:r>
              <a:rPr lang="en-US" sz="1950" i="1" dirty="0">
                <a:solidFill>
                  <a:schemeClr val="tx1">
                    <a:lumMod val="65000"/>
                    <a:lumOff val="35000"/>
                  </a:schemeClr>
                </a:solidFill>
              </a:rPr>
              <a:t>()</a:t>
            </a:r>
            <a:r>
              <a:rPr lang="en-US" sz="1950" dirty="0">
                <a:solidFill>
                  <a:schemeClr val="tx1">
                    <a:lumMod val="65000"/>
                    <a:lumOff val="35000"/>
                  </a:schemeClr>
                </a:solidFill>
              </a:rPr>
              <a:t>. </a:t>
            </a:r>
            <a:r>
              <a:rPr lang="en-US" sz="1950" dirty="0" err="1">
                <a:solidFill>
                  <a:schemeClr val="tx1">
                    <a:lumMod val="65000"/>
                    <a:lumOff val="35000"/>
                  </a:schemeClr>
                </a:solidFill>
              </a:rPr>
              <a:t>nextTuple</a:t>
            </a:r>
            <a:r>
              <a:rPr lang="en-US" sz="1950" dirty="0">
                <a:solidFill>
                  <a:schemeClr val="tx1">
                    <a:lumMod val="65000"/>
                    <a:lumOff val="35000"/>
                  </a:schemeClr>
                </a:solidFill>
              </a:rPr>
              <a:t>() either emits a new tuple into the topology or simply returns if there are no new tuples to emit.</a:t>
            </a:r>
          </a:p>
          <a:p>
            <a:pPr marL="285750" indent="-285750">
              <a:lnSpc>
                <a:spcPts val="2300"/>
              </a:lnSpc>
              <a:spcBef>
                <a:spcPts val="600"/>
              </a:spcBef>
              <a:spcAft>
                <a:spcPts val="600"/>
              </a:spcAft>
              <a:buClr>
                <a:schemeClr val="accent3"/>
              </a:buClr>
              <a:buSzPct val="75000"/>
              <a:buFont typeface="Wingdings" panose="05000000000000000000" pitchFamily="2" charset="2"/>
              <a:buChar char="v"/>
            </a:pPr>
            <a:r>
              <a:rPr lang="en-US" sz="1950" dirty="0">
                <a:solidFill>
                  <a:schemeClr val="tx1">
                    <a:lumMod val="65000"/>
                    <a:lumOff val="35000"/>
                  </a:schemeClr>
                </a:solidFill>
              </a:rPr>
              <a:t>Spouts must implement the </a:t>
            </a:r>
            <a:r>
              <a:rPr lang="en-US" sz="1950" i="1" dirty="0" err="1">
                <a:solidFill>
                  <a:schemeClr val="tx1">
                    <a:lumMod val="65000"/>
                    <a:lumOff val="35000"/>
                  </a:schemeClr>
                </a:solidFill>
              </a:rPr>
              <a:t>IRichSpout</a:t>
            </a:r>
            <a:r>
              <a:rPr lang="en-US" sz="1950" dirty="0">
                <a:solidFill>
                  <a:schemeClr val="tx1">
                    <a:lumMod val="65000"/>
                    <a:lumOff val="35000"/>
                  </a:schemeClr>
                </a:solidFill>
              </a:rPr>
              <a:t>()interface</a:t>
            </a:r>
          </a:p>
          <a:p>
            <a:pPr marL="285750" indent="-285750">
              <a:lnSpc>
                <a:spcPts val="2300"/>
              </a:lnSpc>
              <a:spcBef>
                <a:spcPts val="600"/>
              </a:spcBef>
              <a:spcAft>
                <a:spcPts val="600"/>
              </a:spcAft>
              <a:buClr>
                <a:schemeClr val="accent3"/>
              </a:buClr>
              <a:buSzPct val="75000"/>
              <a:buFont typeface="Wingdings" panose="05000000000000000000" pitchFamily="2" charset="2"/>
              <a:buChar char="v"/>
            </a:pPr>
            <a:r>
              <a:rPr lang="en-US" sz="1950" dirty="0">
                <a:solidFill>
                  <a:schemeClr val="tx1">
                    <a:lumMod val="65000"/>
                    <a:lumOff val="35000"/>
                  </a:schemeClr>
                </a:solidFill>
              </a:rPr>
              <a:t>A reliable spout is one which can reemit a tuple if necessary (e.g. failure during processing)</a:t>
            </a:r>
          </a:p>
          <a:p>
            <a:pPr marL="285750" indent="-285750">
              <a:lnSpc>
                <a:spcPts val="2300"/>
              </a:lnSpc>
              <a:spcBef>
                <a:spcPts val="600"/>
              </a:spcBef>
              <a:buClr>
                <a:schemeClr val="accent3"/>
              </a:buClr>
              <a:buSzPct val="75000"/>
              <a:buFont typeface="Wingdings" panose="05000000000000000000" pitchFamily="2" charset="2"/>
              <a:buChar char="v"/>
            </a:pPr>
            <a:r>
              <a:rPr lang="en-US" sz="1950" dirty="0">
                <a:solidFill>
                  <a:schemeClr val="tx1">
                    <a:lumMod val="65000"/>
                    <a:lumOff val="35000"/>
                  </a:schemeClr>
                </a:solidFill>
              </a:rPr>
              <a:t>Each spout or bolt execute as many </a:t>
            </a:r>
            <a:r>
              <a:rPr lang="en-US" sz="1950" i="1" dirty="0">
                <a:solidFill>
                  <a:schemeClr val="tx1">
                    <a:lumMod val="65000"/>
                    <a:lumOff val="35000"/>
                  </a:schemeClr>
                </a:solidFill>
              </a:rPr>
              <a:t>tasks</a:t>
            </a:r>
            <a:r>
              <a:rPr lang="en-US" sz="1950" dirty="0">
                <a:solidFill>
                  <a:schemeClr val="tx1">
                    <a:lumMod val="65000"/>
                    <a:lumOff val="35000"/>
                  </a:schemeClr>
                </a:solidFill>
              </a:rPr>
              <a:t> across the cluster.</a:t>
            </a:r>
          </a:p>
          <a:p>
            <a:pPr marL="548640" lvl="1" indent="-285750">
              <a:lnSpc>
                <a:spcPts val="2300"/>
              </a:lnSpc>
              <a:buClr>
                <a:schemeClr val="accent3"/>
              </a:buClr>
              <a:buSzPct val="75000"/>
              <a:buFont typeface="Wingdings" panose="05000000000000000000" pitchFamily="2" charset="2"/>
              <a:buChar char="§"/>
            </a:pPr>
            <a:r>
              <a:rPr lang="en-US" dirty="0">
                <a:solidFill>
                  <a:schemeClr val="tx1">
                    <a:lumMod val="65000"/>
                    <a:lumOff val="35000"/>
                  </a:schemeClr>
                </a:solidFill>
              </a:rPr>
              <a:t>Each task corresponds to one thread of execution</a:t>
            </a:r>
          </a:p>
          <a:p>
            <a:pPr marL="548640" lvl="1" indent="-285750">
              <a:lnSpc>
                <a:spcPts val="2300"/>
              </a:lnSpc>
              <a:buClr>
                <a:schemeClr val="accent3"/>
              </a:buClr>
              <a:buSzPct val="75000"/>
              <a:buFont typeface="Wingdings" panose="05000000000000000000" pitchFamily="2" charset="2"/>
              <a:buChar char="§"/>
            </a:pPr>
            <a:r>
              <a:rPr lang="en-US" dirty="0">
                <a:solidFill>
                  <a:schemeClr val="tx1">
                    <a:lumMod val="65000"/>
                    <a:lumOff val="35000"/>
                  </a:schemeClr>
                </a:solidFill>
              </a:rPr>
              <a:t>Stream groupings define how to send tuples from one set of tasks to another set of tasks. </a:t>
            </a:r>
          </a:p>
          <a:p>
            <a:pPr marL="548640" lvl="1" indent="-285750">
              <a:lnSpc>
                <a:spcPts val="2300"/>
              </a:lnSpc>
              <a:spcAft>
                <a:spcPts val="600"/>
              </a:spcAft>
              <a:buClr>
                <a:schemeClr val="accent3"/>
              </a:buClr>
              <a:buSzPct val="75000"/>
              <a:buFont typeface="Wingdings" panose="05000000000000000000" pitchFamily="2" charset="2"/>
              <a:buChar char="§"/>
            </a:pPr>
            <a:r>
              <a:rPr lang="en-US" dirty="0">
                <a:solidFill>
                  <a:schemeClr val="tx1">
                    <a:lumMod val="65000"/>
                    <a:lumOff val="35000"/>
                  </a:schemeClr>
                </a:solidFill>
              </a:rPr>
              <a:t>You can set the parallelism for each spout or bolt</a:t>
            </a:r>
          </a:p>
          <a:p>
            <a:pPr>
              <a:lnSpc>
                <a:spcPct val="90000"/>
              </a:lnSpc>
              <a:spcAft>
                <a:spcPts val="600"/>
              </a:spcAft>
            </a:pPr>
            <a:endParaRPr lang="en-US" dirty="0">
              <a:solidFill>
                <a:schemeClr val="tx1">
                  <a:lumMod val="65000"/>
                  <a:lumOff val="35000"/>
                </a:schemeClr>
              </a:solidFill>
            </a:endParaRPr>
          </a:p>
        </p:txBody>
      </p:sp>
      <p:grpSp>
        <p:nvGrpSpPr>
          <p:cNvPr id="48" name="Group 47"/>
          <p:cNvGrpSpPr/>
          <p:nvPr/>
        </p:nvGrpSpPr>
        <p:grpSpPr>
          <a:xfrm>
            <a:off x="8798171" y="2794185"/>
            <a:ext cx="3197314" cy="1591080"/>
            <a:chOff x="8849542" y="2794185"/>
            <a:chExt cx="3197314" cy="1591080"/>
          </a:xfrm>
        </p:grpSpPr>
        <p:grpSp>
          <p:nvGrpSpPr>
            <p:cNvPr id="6" name="Group 5"/>
            <p:cNvGrpSpPr/>
            <p:nvPr/>
          </p:nvGrpSpPr>
          <p:grpSpPr>
            <a:xfrm>
              <a:off x="8849542" y="3104717"/>
              <a:ext cx="1201067" cy="970016"/>
              <a:chOff x="915076" y="3339844"/>
              <a:chExt cx="1463587" cy="1155418"/>
            </a:xfrm>
          </p:grpSpPr>
          <p:grpSp>
            <p:nvGrpSpPr>
              <p:cNvPr id="7" name="Group 6"/>
              <p:cNvGrpSpPr/>
              <p:nvPr/>
            </p:nvGrpSpPr>
            <p:grpSpPr>
              <a:xfrm>
                <a:off x="915076" y="3339844"/>
                <a:ext cx="1384747" cy="827695"/>
                <a:chOff x="915076" y="3339844"/>
                <a:chExt cx="1384747" cy="827695"/>
              </a:xfrm>
            </p:grpSpPr>
            <p:sp>
              <p:nvSpPr>
                <p:cNvPr id="17" name="Freeform 16"/>
                <p:cNvSpPr>
                  <a:spLocks/>
                </p:cNvSpPr>
                <p:nvPr/>
              </p:nvSpPr>
              <p:spPr bwMode="auto">
                <a:xfrm flipH="1">
                  <a:off x="1286154" y="3342929"/>
                  <a:ext cx="1013669" cy="824610"/>
                </a:xfrm>
                <a:custGeom>
                  <a:avLst/>
                  <a:gdLst>
                    <a:gd name="connsiteX0" fmla="*/ 836347 w 1658436"/>
                    <a:gd name="connsiteY0" fmla="*/ 0 h 1256029"/>
                    <a:gd name="connsiteX1" fmla="*/ 1015917 w 1658436"/>
                    <a:gd name="connsiteY1" fmla="*/ 0 h 1256029"/>
                    <a:gd name="connsiteX2" fmla="*/ 1015917 w 1658436"/>
                    <a:gd name="connsiteY2" fmla="*/ 203058 h 1256029"/>
                    <a:gd name="connsiteX3" fmla="*/ 1083029 w 1658436"/>
                    <a:gd name="connsiteY3" fmla="*/ 249781 h 1256029"/>
                    <a:gd name="connsiteX4" fmla="*/ 1154099 w 1658436"/>
                    <a:gd name="connsiteY4" fmla="*/ 249781 h 1256029"/>
                    <a:gd name="connsiteX5" fmla="*/ 1194333 w 1658436"/>
                    <a:gd name="connsiteY5" fmla="*/ 275145 h 1256029"/>
                    <a:gd name="connsiteX6" fmla="*/ 1160200 w 1658436"/>
                    <a:gd name="connsiteY6" fmla="*/ 330767 h 1256029"/>
                    <a:gd name="connsiteX7" fmla="*/ 1178174 w 1658436"/>
                    <a:gd name="connsiteY7" fmla="*/ 514247 h 1256029"/>
                    <a:gd name="connsiteX8" fmla="*/ 1313387 w 1658436"/>
                    <a:gd name="connsiteY8" fmla="*/ 609325 h 1256029"/>
                    <a:gd name="connsiteX9" fmla="*/ 1627182 w 1658436"/>
                    <a:gd name="connsiteY9" fmla="*/ 610511 h 1256029"/>
                    <a:gd name="connsiteX10" fmla="*/ 1648783 w 1658436"/>
                    <a:gd name="connsiteY10" fmla="*/ 959821 h 1256029"/>
                    <a:gd name="connsiteX11" fmla="*/ 1641033 w 1658436"/>
                    <a:gd name="connsiteY11" fmla="*/ 954778 h 1256029"/>
                    <a:gd name="connsiteX12" fmla="*/ 1260126 w 1658436"/>
                    <a:gd name="connsiteY12" fmla="*/ 961156 h 1256029"/>
                    <a:gd name="connsiteX13" fmla="*/ 1099684 w 1658436"/>
                    <a:gd name="connsiteY13" fmla="*/ 1004170 h 1256029"/>
                    <a:gd name="connsiteX14" fmla="*/ 731474 w 1658436"/>
                    <a:gd name="connsiteY14" fmla="*/ 985185 h 1256029"/>
                    <a:gd name="connsiteX15" fmla="*/ 646718 w 1658436"/>
                    <a:gd name="connsiteY15" fmla="*/ 944691 h 1256029"/>
                    <a:gd name="connsiteX16" fmla="*/ 554377 w 1658436"/>
                    <a:gd name="connsiteY16" fmla="*/ 923332 h 1256029"/>
                    <a:gd name="connsiteX17" fmla="*/ 431365 w 1658436"/>
                    <a:gd name="connsiteY17" fmla="*/ 971242 h 1256029"/>
                    <a:gd name="connsiteX18" fmla="*/ 315114 w 1658436"/>
                    <a:gd name="connsiteY18" fmla="*/ 1197737 h 1256029"/>
                    <a:gd name="connsiteX19" fmla="*/ 302417 w 1658436"/>
                    <a:gd name="connsiteY19" fmla="*/ 1256029 h 1256029"/>
                    <a:gd name="connsiteX20" fmla="*/ 0 w 1658436"/>
                    <a:gd name="connsiteY20" fmla="*/ 1200258 h 1256029"/>
                    <a:gd name="connsiteX21" fmla="*/ 78655 w 1658436"/>
                    <a:gd name="connsiteY21" fmla="*/ 952256 h 1256029"/>
                    <a:gd name="connsiteX22" fmla="*/ 429057 w 1658436"/>
                    <a:gd name="connsiteY22" fmla="*/ 623268 h 1256029"/>
                    <a:gd name="connsiteX23" fmla="*/ 557839 w 1658436"/>
                    <a:gd name="connsiteY23" fmla="*/ 595530 h 1256029"/>
                    <a:gd name="connsiteX24" fmla="*/ 689920 w 1658436"/>
                    <a:gd name="connsiteY24" fmla="*/ 448539 h 1256029"/>
                    <a:gd name="connsiteX25" fmla="*/ 689920 w 1658436"/>
                    <a:gd name="connsiteY25" fmla="*/ 332102 h 1256029"/>
                    <a:gd name="connsiteX26" fmla="*/ 657930 w 1658436"/>
                    <a:gd name="connsiteY26" fmla="*/ 266393 h 1256029"/>
                    <a:gd name="connsiteX27" fmla="*/ 683324 w 1658436"/>
                    <a:gd name="connsiteY27" fmla="*/ 251116 h 1256029"/>
                    <a:gd name="connsiteX28" fmla="*/ 726362 w 1658436"/>
                    <a:gd name="connsiteY28" fmla="*/ 249781 h 1256029"/>
                    <a:gd name="connsiteX29" fmla="*/ 766761 w 1658436"/>
                    <a:gd name="connsiteY29" fmla="*/ 249781 h 1256029"/>
                    <a:gd name="connsiteX30" fmla="*/ 836347 w 1658436"/>
                    <a:gd name="connsiteY30" fmla="*/ 204245 h 1256029"/>
                    <a:gd name="connsiteX0" fmla="*/ 836347 w 1658436"/>
                    <a:gd name="connsiteY0" fmla="*/ 0 h 1256029"/>
                    <a:gd name="connsiteX1" fmla="*/ 1015917 w 1658436"/>
                    <a:gd name="connsiteY1" fmla="*/ 0 h 1256029"/>
                    <a:gd name="connsiteX2" fmla="*/ 1015917 w 1658436"/>
                    <a:gd name="connsiteY2" fmla="*/ 203058 h 1256029"/>
                    <a:gd name="connsiteX3" fmla="*/ 1083029 w 1658436"/>
                    <a:gd name="connsiteY3" fmla="*/ 249781 h 1256029"/>
                    <a:gd name="connsiteX4" fmla="*/ 1154099 w 1658436"/>
                    <a:gd name="connsiteY4" fmla="*/ 249781 h 1256029"/>
                    <a:gd name="connsiteX5" fmla="*/ 1194333 w 1658436"/>
                    <a:gd name="connsiteY5" fmla="*/ 275145 h 1256029"/>
                    <a:gd name="connsiteX6" fmla="*/ 1160200 w 1658436"/>
                    <a:gd name="connsiteY6" fmla="*/ 330767 h 1256029"/>
                    <a:gd name="connsiteX7" fmla="*/ 1178174 w 1658436"/>
                    <a:gd name="connsiteY7" fmla="*/ 514247 h 1256029"/>
                    <a:gd name="connsiteX8" fmla="*/ 1313387 w 1658436"/>
                    <a:gd name="connsiteY8" fmla="*/ 609325 h 1256029"/>
                    <a:gd name="connsiteX9" fmla="*/ 1627182 w 1658436"/>
                    <a:gd name="connsiteY9" fmla="*/ 610511 h 1256029"/>
                    <a:gd name="connsiteX10" fmla="*/ 1648783 w 1658436"/>
                    <a:gd name="connsiteY10" fmla="*/ 959821 h 1256029"/>
                    <a:gd name="connsiteX11" fmla="*/ 1641033 w 1658436"/>
                    <a:gd name="connsiteY11" fmla="*/ 954778 h 1256029"/>
                    <a:gd name="connsiteX12" fmla="*/ 1260126 w 1658436"/>
                    <a:gd name="connsiteY12" fmla="*/ 961156 h 1256029"/>
                    <a:gd name="connsiteX13" fmla="*/ 1099684 w 1658436"/>
                    <a:gd name="connsiteY13" fmla="*/ 1004170 h 1256029"/>
                    <a:gd name="connsiteX14" fmla="*/ 731474 w 1658436"/>
                    <a:gd name="connsiteY14" fmla="*/ 985185 h 1256029"/>
                    <a:gd name="connsiteX15" fmla="*/ 646718 w 1658436"/>
                    <a:gd name="connsiteY15" fmla="*/ 944691 h 1256029"/>
                    <a:gd name="connsiteX16" fmla="*/ 554377 w 1658436"/>
                    <a:gd name="connsiteY16" fmla="*/ 923332 h 1256029"/>
                    <a:gd name="connsiteX17" fmla="*/ 431365 w 1658436"/>
                    <a:gd name="connsiteY17" fmla="*/ 971242 h 1256029"/>
                    <a:gd name="connsiteX18" fmla="*/ 315114 w 1658436"/>
                    <a:gd name="connsiteY18" fmla="*/ 1197737 h 1256029"/>
                    <a:gd name="connsiteX19" fmla="*/ 302417 w 1658436"/>
                    <a:gd name="connsiteY19" fmla="*/ 1256029 h 1256029"/>
                    <a:gd name="connsiteX20" fmla="*/ 0 w 1658436"/>
                    <a:gd name="connsiteY20" fmla="*/ 1200258 h 1256029"/>
                    <a:gd name="connsiteX21" fmla="*/ 78655 w 1658436"/>
                    <a:gd name="connsiteY21" fmla="*/ 952256 h 1256029"/>
                    <a:gd name="connsiteX22" fmla="*/ 429057 w 1658436"/>
                    <a:gd name="connsiteY22" fmla="*/ 623268 h 1256029"/>
                    <a:gd name="connsiteX23" fmla="*/ 557839 w 1658436"/>
                    <a:gd name="connsiteY23" fmla="*/ 595530 h 1256029"/>
                    <a:gd name="connsiteX24" fmla="*/ 689920 w 1658436"/>
                    <a:gd name="connsiteY24" fmla="*/ 448539 h 1256029"/>
                    <a:gd name="connsiteX25" fmla="*/ 689920 w 1658436"/>
                    <a:gd name="connsiteY25" fmla="*/ 332102 h 1256029"/>
                    <a:gd name="connsiteX26" fmla="*/ 657930 w 1658436"/>
                    <a:gd name="connsiteY26" fmla="*/ 266393 h 1256029"/>
                    <a:gd name="connsiteX27" fmla="*/ 683324 w 1658436"/>
                    <a:gd name="connsiteY27" fmla="*/ 251116 h 1256029"/>
                    <a:gd name="connsiteX28" fmla="*/ 726362 w 1658436"/>
                    <a:gd name="connsiteY28" fmla="*/ 249781 h 1256029"/>
                    <a:gd name="connsiteX29" fmla="*/ 766761 w 1658436"/>
                    <a:gd name="connsiteY29" fmla="*/ 249781 h 1256029"/>
                    <a:gd name="connsiteX30" fmla="*/ 836347 w 1658436"/>
                    <a:gd name="connsiteY30" fmla="*/ 0 h 1256029"/>
                    <a:gd name="connsiteX0" fmla="*/ 836347 w 1658436"/>
                    <a:gd name="connsiteY0" fmla="*/ 0 h 1256029"/>
                    <a:gd name="connsiteX1" fmla="*/ 1015917 w 1658436"/>
                    <a:gd name="connsiteY1" fmla="*/ 0 h 1256029"/>
                    <a:gd name="connsiteX2" fmla="*/ 1083029 w 1658436"/>
                    <a:gd name="connsiteY2" fmla="*/ 249781 h 1256029"/>
                    <a:gd name="connsiteX3" fmla="*/ 1154099 w 1658436"/>
                    <a:gd name="connsiteY3" fmla="*/ 249781 h 1256029"/>
                    <a:gd name="connsiteX4" fmla="*/ 1194333 w 1658436"/>
                    <a:gd name="connsiteY4" fmla="*/ 275145 h 1256029"/>
                    <a:gd name="connsiteX5" fmla="*/ 1160200 w 1658436"/>
                    <a:gd name="connsiteY5" fmla="*/ 330767 h 1256029"/>
                    <a:gd name="connsiteX6" fmla="*/ 1178174 w 1658436"/>
                    <a:gd name="connsiteY6" fmla="*/ 514247 h 1256029"/>
                    <a:gd name="connsiteX7" fmla="*/ 1313387 w 1658436"/>
                    <a:gd name="connsiteY7" fmla="*/ 609325 h 1256029"/>
                    <a:gd name="connsiteX8" fmla="*/ 1627182 w 1658436"/>
                    <a:gd name="connsiteY8" fmla="*/ 610511 h 1256029"/>
                    <a:gd name="connsiteX9" fmla="*/ 1648783 w 1658436"/>
                    <a:gd name="connsiteY9" fmla="*/ 959821 h 1256029"/>
                    <a:gd name="connsiteX10" fmla="*/ 1641033 w 1658436"/>
                    <a:gd name="connsiteY10" fmla="*/ 954778 h 1256029"/>
                    <a:gd name="connsiteX11" fmla="*/ 1260126 w 1658436"/>
                    <a:gd name="connsiteY11" fmla="*/ 961156 h 1256029"/>
                    <a:gd name="connsiteX12" fmla="*/ 1099684 w 1658436"/>
                    <a:gd name="connsiteY12" fmla="*/ 1004170 h 1256029"/>
                    <a:gd name="connsiteX13" fmla="*/ 731474 w 1658436"/>
                    <a:gd name="connsiteY13" fmla="*/ 985185 h 1256029"/>
                    <a:gd name="connsiteX14" fmla="*/ 646718 w 1658436"/>
                    <a:gd name="connsiteY14" fmla="*/ 944691 h 1256029"/>
                    <a:gd name="connsiteX15" fmla="*/ 554377 w 1658436"/>
                    <a:gd name="connsiteY15" fmla="*/ 923332 h 1256029"/>
                    <a:gd name="connsiteX16" fmla="*/ 431365 w 1658436"/>
                    <a:gd name="connsiteY16" fmla="*/ 971242 h 1256029"/>
                    <a:gd name="connsiteX17" fmla="*/ 315114 w 1658436"/>
                    <a:gd name="connsiteY17" fmla="*/ 1197737 h 1256029"/>
                    <a:gd name="connsiteX18" fmla="*/ 302417 w 1658436"/>
                    <a:gd name="connsiteY18" fmla="*/ 1256029 h 1256029"/>
                    <a:gd name="connsiteX19" fmla="*/ 0 w 1658436"/>
                    <a:gd name="connsiteY19" fmla="*/ 1200258 h 1256029"/>
                    <a:gd name="connsiteX20" fmla="*/ 78655 w 1658436"/>
                    <a:gd name="connsiteY20" fmla="*/ 952256 h 1256029"/>
                    <a:gd name="connsiteX21" fmla="*/ 429057 w 1658436"/>
                    <a:gd name="connsiteY21" fmla="*/ 623268 h 1256029"/>
                    <a:gd name="connsiteX22" fmla="*/ 557839 w 1658436"/>
                    <a:gd name="connsiteY22" fmla="*/ 595530 h 1256029"/>
                    <a:gd name="connsiteX23" fmla="*/ 689920 w 1658436"/>
                    <a:gd name="connsiteY23" fmla="*/ 448539 h 1256029"/>
                    <a:gd name="connsiteX24" fmla="*/ 689920 w 1658436"/>
                    <a:gd name="connsiteY24" fmla="*/ 332102 h 1256029"/>
                    <a:gd name="connsiteX25" fmla="*/ 657930 w 1658436"/>
                    <a:gd name="connsiteY25" fmla="*/ 266393 h 1256029"/>
                    <a:gd name="connsiteX26" fmla="*/ 683324 w 1658436"/>
                    <a:gd name="connsiteY26" fmla="*/ 251116 h 1256029"/>
                    <a:gd name="connsiteX27" fmla="*/ 726362 w 1658436"/>
                    <a:gd name="connsiteY27" fmla="*/ 249781 h 1256029"/>
                    <a:gd name="connsiteX28" fmla="*/ 766761 w 1658436"/>
                    <a:gd name="connsiteY28" fmla="*/ 249781 h 1256029"/>
                    <a:gd name="connsiteX29" fmla="*/ 836347 w 1658436"/>
                    <a:gd name="connsiteY29" fmla="*/ 0 h 1256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658436" h="1256029">
                      <a:moveTo>
                        <a:pt x="836347" y="0"/>
                      </a:moveTo>
                      <a:lnTo>
                        <a:pt x="1015917" y="0"/>
                      </a:lnTo>
                      <a:lnTo>
                        <a:pt x="1083029" y="249781"/>
                      </a:lnTo>
                      <a:lnTo>
                        <a:pt x="1154099" y="249781"/>
                      </a:lnTo>
                      <a:cubicBezTo>
                        <a:pt x="1171743" y="249781"/>
                        <a:pt x="1191860" y="246073"/>
                        <a:pt x="1194333" y="275145"/>
                      </a:cubicBezTo>
                      <a:cubicBezTo>
                        <a:pt x="1198126" y="315638"/>
                        <a:pt x="1194333" y="323203"/>
                        <a:pt x="1160200" y="330767"/>
                      </a:cubicBezTo>
                      <a:cubicBezTo>
                        <a:pt x="1160200" y="392768"/>
                        <a:pt x="1155418" y="454768"/>
                        <a:pt x="1178174" y="514247"/>
                      </a:cubicBezTo>
                      <a:cubicBezTo>
                        <a:pt x="1200599" y="576396"/>
                        <a:pt x="1246440" y="609325"/>
                        <a:pt x="1313387" y="609325"/>
                      </a:cubicBezTo>
                      <a:lnTo>
                        <a:pt x="1627182" y="610511"/>
                      </a:lnTo>
                      <a:cubicBezTo>
                        <a:pt x="1683081" y="668952"/>
                        <a:pt x="1646475" y="902418"/>
                        <a:pt x="1648783" y="959821"/>
                      </a:cubicBezTo>
                      <a:cubicBezTo>
                        <a:pt x="1643507" y="957299"/>
                        <a:pt x="1642352" y="954778"/>
                        <a:pt x="1641033" y="954778"/>
                      </a:cubicBezTo>
                      <a:cubicBezTo>
                        <a:pt x="1513570" y="955964"/>
                        <a:pt x="1386930" y="953443"/>
                        <a:pt x="1260126" y="961156"/>
                      </a:cubicBezTo>
                      <a:cubicBezTo>
                        <a:pt x="1205711" y="963826"/>
                        <a:pt x="1151625" y="985185"/>
                        <a:pt x="1099684" y="1004170"/>
                      </a:cubicBezTo>
                      <a:cubicBezTo>
                        <a:pt x="973209" y="1052228"/>
                        <a:pt x="850363" y="1048372"/>
                        <a:pt x="731474" y="985185"/>
                      </a:cubicBezTo>
                      <a:cubicBezTo>
                        <a:pt x="703771" y="970055"/>
                        <a:pt x="675904" y="954778"/>
                        <a:pt x="646718" y="944691"/>
                      </a:cubicBezTo>
                      <a:cubicBezTo>
                        <a:pt x="616377" y="934605"/>
                        <a:pt x="584882" y="927041"/>
                        <a:pt x="554377" y="923332"/>
                      </a:cubicBezTo>
                      <a:cubicBezTo>
                        <a:pt x="504908" y="916658"/>
                        <a:pt x="464344" y="936978"/>
                        <a:pt x="431365" y="971242"/>
                      </a:cubicBezTo>
                      <a:cubicBezTo>
                        <a:pt x="366891" y="1033391"/>
                        <a:pt x="336551" y="1114377"/>
                        <a:pt x="315114" y="1197737"/>
                      </a:cubicBezTo>
                      <a:cubicBezTo>
                        <a:pt x="311157" y="1215536"/>
                        <a:pt x="307199" y="1233187"/>
                        <a:pt x="302417" y="1256029"/>
                      </a:cubicBezTo>
                      <a:lnTo>
                        <a:pt x="0" y="1200258"/>
                      </a:lnTo>
                      <a:cubicBezTo>
                        <a:pt x="18798" y="1112894"/>
                        <a:pt x="41719" y="1030869"/>
                        <a:pt x="78655" y="952256"/>
                      </a:cubicBezTo>
                      <a:cubicBezTo>
                        <a:pt x="150714" y="796661"/>
                        <a:pt x="262183" y="679038"/>
                        <a:pt x="429057" y="623268"/>
                      </a:cubicBezTo>
                      <a:cubicBezTo>
                        <a:pt x="470775" y="610511"/>
                        <a:pt x="513812" y="601760"/>
                        <a:pt x="557839" y="595530"/>
                      </a:cubicBezTo>
                      <a:cubicBezTo>
                        <a:pt x="642760" y="583961"/>
                        <a:pt x="688436" y="534716"/>
                        <a:pt x="689920" y="448539"/>
                      </a:cubicBezTo>
                      <a:lnTo>
                        <a:pt x="689920" y="332102"/>
                      </a:lnTo>
                      <a:cubicBezTo>
                        <a:pt x="657930" y="321868"/>
                        <a:pt x="645398" y="295317"/>
                        <a:pt x="657930" y="266393"/>
                      </a:cubicBezTo>
                      <a:cubicBezTo>
                        <a:pt x="661723" y="258532"/>
                        <a:pt x="674420" y="252302"/>
                        <a:pt x="683324" y="251116"/>
                      </a:cubicBezTo>
                      <a:cubicBezTo>
                        <a:pt x="696846" y="248594"/>
                        <a:pt x="712511" y="249781"/>
                        <a:pt x="726362" y="249781"/>
                      </a:cubicBezTo>
                      <a:lnTo>
                        <a:pt x="766761" y="249781"/>
                      </a:lnTo>
                      <a:cubicBezTo>
                        <a:pt x="785092" y="208151"/>
                        <a:pt x="794821" y="41630"/>
                        <a:pt x="836347" y="0"/>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noAutofit/>
                </a:bodyPr>
                <a:lstStyle/>
                <a:p>
                  <a:pPr defTabSz="914367"/>
                  <a:endParaRPr lang="en-US" sz="1765">
                    <a:solidFill>
                      <a:srgbClr val="000000"/>
                    </a:solidFill>
                  </a:endParaRPr>
                </a:p>
              </p:txBody>
            </p:sp>
            <p:sp>
              <p:nvSpPr>
                <p:cNvPr id="18" name="Rectangle 17"/>
                <p:cNvSpPr/>
                <p:nvPr/>
              </p:nvSpPr>
              <p:spPr>
                <a:xfrm>
                  <a:off x="915076" y="3741646"/>
                  <a:ext cx="625583" cy="23134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endParaRPr>
                </a:p>
              </p:txBody>
            </p:sp>
            <p:sp>
              <p:nvSpPr>
                <p:cNvPr id="19" name="Rounded Rectangle 18"/>
                <p:cNvSpPr/>
                <p:nvPr/>
              </p:nvSpPr>
              <p:spPr>
                <a:xfrm>
                  <a:off x="1514914" y="3339844"/>
                  <a:ext cx="461959" cy="79307"/>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endParaRPr>
                </a:p>
              </p:txBody>
            </p:sp>
          </p:grpSp>
          <p:sp>
            <p:nvSpPr>
              <p:cNvPr id="8" name="Freeform 6"/>
              <p:cNvSpPr>
                <a:spLocks/>
              </p:cNvSpPr>
              <p:nvPr/>
            </p:nvSpPr>
            <p:spPr bwMode="auto">
              <a:xfrm flipH="1">
                <a:off x="2126453" y="4165336"/>
                <a:ext cx="69280" cy="104424"/>
              </a:xfrm>
              <a:custGeom>
                <a:avLst/>
                <a:gdLst>
                  <a:gd name="T0" fmla="*/ 121 w 258"/>
                  <a:gd name="T1" fmla="*/ 0 h 362"/>
                  <a:gd name="T2" fmla="*/ 124 w 258"/>
                  <a:gd name="T3" fmla="*/ 2 h 362"/>
                  <a:gd name="T4" fmla="*/ 210 w 258"/>
                  <a:gd name="T5" fmla="*/ 162 h 362"/>
                  <a:gd name="T6" fmla="*/ 171 w 258"/>
                  <a:gd name="T7" fmla="*/ 343 h 362"/>
                  <a:gd name="T8" fmla="*/ 51 w 258"/>
                  <a:gd name="T9" fmla="*/ 326 h 362"/>
                  <a:gd name="T10" fmla="*/ 17 w 258"/>
                  <a:gd name="T11" fmla="*/ 195 h 362"/>
                  <a:gd name="T12" fmla="*/ 39 w 258"/>
                  <a:gd name="T13" fmla="*/ 157 h 362"/>
                  <a:gd name="T14" fmla="*/ 121 w 258"/>
                  <a:gd name="T15" fmla="*/ 0 h 3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8" h="362">
                    <a:moveTo>
                      <a:pt x="121" y="0"/>
                    </a:moveTo>
                    <a:cubicBezTo>
                      <a:pt x="123" y="1"/>
                      <a:pt x="124" y="2"/>
                      <a:pt x="124" y="2"/>
                    </a:cubicBezTo>
                    <a:cubicBezTo>
                      <a:pt x="138" y="64"/>
                      <a:pt x="173" y="113"/>
                      <a:pt x="210" y="162"/>
                    </a:cubicBezTo>
                    <a:cubicBezTo>
                      <a:pt x="258" y="225"/>
                      <a:pt x="238" y="308"/>
                      <a:pt x="171" y="343"/>
                    </a:cubicBezTo>
                    <a:cubicBezTo>
                      <a:pt x="132" y="362"/>
                      <a:pt x="84" y="355"/>
                      <a:pt x="51" y="326"/>
                    </a:cubicBezTo>
                    <a:cubicBezTo>
                      <a:pt x="14" y="292"/>
                      <a:pt x="0" y="240"/>
                      <a:pt x="17" y="195"/>
                    </a:cubicBezTo>
                    <a:cubicBezTo>
                      <a:pt x="23" y="182"/>
                      <a:pt x="29" y="168"/>
                      <a:pt x="39" y="157"/>
                    </a:cubicBezTo>
                    <a:cubicBezTo>
                      <a:pt x="78" y="111"/>
                      <a:pt x="111" y="62"/>
                      <a:pt x="121" y="0"/>
                    </a:cubicBezTo>
                    <a:close/>
                  </a:path>
                </a:pathLst>
              </a:custGeom>
              <a:solidFill>
                <a:schemeClr val="accent2">
                  <a:lumMod val="20000"/>
                  <a:lumOff val="80000"/>
                </a:schemeClr>
              </a:solidFill>
              <a:ln>
                <a:noFill/>
              </a:ln>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9" name="Freeform 8"/>
              <p:cNvSpPr>
                <a:spLocks/>
              </p:cNvSpPr>
              <p:nvPr/>
            </p:nvSpPr>
            <p:spPr bwMode="auto">
              <a:xfrm flipH="1">
                <a:off x="2195733" y="4165336"/>
                <a:ext cx="69280" cy="104424"/>
              </a:xfrm>
              <a:custGeom>
                <a:avLst/>
                <a:gdLst>
                  <a:gd name="T0" fmla="*/ 121 w 258"/>
                  <a:gd name="T1" fmla="*/ 0 h 362"/>
                  <a:gd name="T2" fmla="*/ 124 w 258"/>
                  <a:gd name="T3" fmla="*/ 2 h 362"/>
                  <a:gd name="T4" fmla="*/ 210 w 258"/>
                  <a:gd name="T5" fmla="*/ 162 h 362"/>
                  <a:gd name="T6" fmla="*/ 171 w 258"/>
                  <a:gd name="T7" fmla="*/ 343 h 362"/>
                  <a:gd name="T8" fmla="*/ 51 w 258"/>
                  <a:gd name="T9" fmla="*/ 326 h 362"/>
                  <a:gd name="T10" fmla="*/ 17 w 258"/>
                  <a:gd name="T11" fmla="*/ 195 h 362"/>
                  <a:gd name="T12" fmla="*/ 39 w 258"/>
                  <a:gd name="T13" fmla="*/ 157 h 362"/>
                  <a:gd name="T14" fmla="*/ 121 w 258"/>
                  <a:gd name="T15" fmla="*/ 0 h 3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8" h="362">
                    <a:moveTo>
                      <a:pt x="121" y="0"/>
                    </a:moveTo>
                    <a:cubicBezTo>
                      <a:pt x="123" y="1"/>
                      <a:pt x="124" y="2"/>
                      <a:pt x="124" y="2"/>
                    </a:cubicBezTo>
                    <a:cubicBezTo>
                      <a:pt x="138" y="64"/>
                      <a:pt x="173" y="113"/>
                      <a:pt x="210" y="162"/>
                    </a:cubicBezTo>
                    <a:cubicBezTo>
                      <a:pt x="258" y="225"/>
                      <a:pt x="238" y="308"/>
                      <a:pt x="171" y="343"/>
                    </a:cubicBezTo>
                    <a:cubicBezTo>
                      <a:pt x="132" y="362"/>
                      <a:pt x="84" y="355"/>
                      <a:pt x="51" y="326"/>
                    </a:cubicBezTo>
                    <a:cubicBezTo>
                      <a:pt x="14" y="292"/>
                      <a:pt x="0" y="240"/>
                      <a:pt x="17" y="195"/>
                    </a:cubicBezTo>
                    <a:cubicBezTo>
                      <a:pt x="23" y="182"/>
                      <a:pt x="29" y="168"/>
                      <a:pt x="39" y="157"/>
                    </a:cubicBezTo>
                    <a:cubicBezTo>
                      <a:pt x="78" y="111"/>
                      <a:pt x="111" y="62"/>
                      <a:pt x="121" y="0"/>
                    </a:cubicBezTo>
                    <a:close/>
                  </a:path>
                </a:pathLst>
              </a:custGeom>
              <a:solidFill>
                <a:schemeClr val="accent2">
                  <a:lumMod val="20000"/>
                  <a:lumOff val="80000"/>
                </a:schemeClr>
              </a:solidFill>
              <a:ln>
                <a:noFill/>
              </a:ln>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0" name="Freeform 6"/>
              <p:cNvSpPr>
                <a:spLocks/>
              </p:cNvSpPr>
              <p:nvPr/>
            </p:nvSpPr>
            <p:spPr bwMode="auto">
              <a:xfrm flipH="1">
                <a:off x="2252473" y="4286417"/>
                <a:ext cx="69280" cy="104424"/>
              </a:xfrm>
              <a:custGeom>
                <a:avLst/>
                <a:gdLst>
                  <a:gd name="T0" fmla="*/ 121 w 258"/>
                  <a:gd name="T1" fmla="*/ 0 h 362"/>
                  <a:gd name="T2" fmla="*/ 124 w 258"/>
                  <a:gd name="T3" fmla="*/ 2 h 362"/>
                  <a:gd name="T4" fmla="*/ 210 w 258"/>
                  <a:gd name="T5" fmla="*/ 162 h 362"/>
                  <a:gd name="T6" fmla="*/ 171 w 258"/>
                  <a:gd name="T7" fmla="*/ 343 h 362"/>
                  <a:gd name="T8" fmla="*/ 51 w 258"/>
                  <a:gd name="T9" fmla="*/ 326 h 362"/>
                  <a:gd name="T10" fmla="*/ 17 w 258"/>
                  <a:gd name="T11" fmla="*/ 195 h 362"/>
                  <a:gd name="T12" fmla="*/ 39 w 258"/>
                  <a:gd name="T13" fmla="*/ 157 h 362"/>
                  <a:gd name="T14" fmla="*/ 121 w 258"/>
                  <a:gd name="T15" fmla="*/ 0 h 3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8" h="362">
                    <a:moveTo>
                      <a:pt x="121" y="0"/>
                    </a:moveTo>
                    <a:cubicBezTo>
                      <a:pt x="123" y="1"/>
                      <a:pt x="124" y="2"/>
                      <a:pt x="124" y="2"/>
                    </a:cubicBezTo>
                    <a:cubicBezTo>
                      <a:pt x="138" y="64"/>
                      <a:pt x="173" y="113"/>
                      <a:pt x="210" y="162"/>
                    </a:cubicBezTo>
                    <a:cubicBezTo>
                      <a:pt x="258" y="225"/>
                      <a:pt x="238" y="308"/>
                      <a:pt x="171" y="343"/>
                    </a:cubicBezTo>
                    <a:cubicBezTo>
                      <a:pt x="132" y="362"/>
                      <a:pt x="84" y="355"/>
                      <a:pt x="51" y="326"/>
                    </a:cubicBezTo>
                    <a:cubicBezTo>
                      <a:pt x="14" y="292"/>
                      <a:pt x="0" y="240"/>
                      <a:pt x="17" y="195"/>
                    </a:cubicBezTo>
                    <a:cubicBezTo>
                      <a:pt x="23" y="182"/>
                      <a:pt x="29" y="168"/>
                      <a:pt x="39" y="157"/>
                    </a:cubicBezTo>
                    <a:cubicBezTo>
                      <a:pt x="78" y="111"/>
                      <a:pt x="111" y="62"/>
                      <a:pt x="121" y="0"/>
                    </a:cubicBezTo>
                    <a:close/>
                  </a:path>
                </a:pathLst>
              </a:custGeom>
              <a:solidFill>
                <a:schemeClr val="accent2">
                  <a:lumMod val="20000"/>
                  <a:lumOff val="80000"/>
                </a:schemeClr>
              </a:solidFill>
              <a:ln>
                <a:noFill/>
              </a:ln>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1" name="Freeform 6"/>
              <p:cNvSpPr>
                <a:spLocks/>
              </p:cNvSpPr>
              <p:nvPr/>
            </p:nvSpPr>
            <p:spPr bwMode="auto">
              <a:xfrm flipH="1">
                <a:off x="2183193" y="4272130"/>
                <a:ext cx="69280" cy="104424"/>
              </a:xfrm>
              <a:custGeom>
                <a:avLst/>
                <a:gdLst>
                  <a:gd name="T0" fmla="*/ 121 w 258"/>
                  <a:gd name="T1" fmla="*/ 0 h 362"/>
                  <a:gd name="T2" fmla="*/ 124 w 258"/>
                  <a:gd name="T3" fmla="*/ 2 h 362"/>
                  <a:gd name="T4" fmla="*/ 210 w 258"/>
                  <a:gd name="T5" fmla="*/ 162 h 362"/>
                  <a:gd name="T6" fmla="*/ 171 w 258"/>
                  <a:gd name="T7" fmla="*/ 343 h 362"/>
                  <a:gd name="T8" fmla="*/ 51 w 258"/>
                  <a:gd name="T9" fmla="*/ 326 h 362"/>
                  <a:gd name="T10" fmla="*/ 17 w 258"/>
                  <a:gd name="T11" fmla="*/ 195 h 362"/>
                  <a:gd name="T12" fmla="*/ 39 w 258"/>
                  <a:gd name="T13" fmla="*/ 157 h 362"/>
                  <a:gd name="T14" fmla="*/ 121 w 258"/>
                  <a:gd name="T15" fmla="*/ 0 h 3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8" h="362">
                    <a:moveTo>
                      <a:pt x="121" y="0"/>
                    </a:moveTo>
                    <a:cubicBezTo>
                      <a:pt x="123" y="1"/>
                      <a:pt x="124" y="2"/>
                      <a:pt x="124" y="2"/>
                    </a:cubicBezTo>
                    <a:cubicBezTo>
                      <a:pt x="138" y="64"/>
                      <a:pt x="173" y="113"/>
                      <a:pt x="210" y="162"/>
                    </a:cubicBezTo>
                    <a:cubicBezTo>
                      <a:pt x="258" y="225"/>
                      <a:pt x="238" y="308"/>
                      <a:pt x="171" y="343"/>
                    </a:cubicBezTo>
                    <a:cubicBezTo>
                      <a:pt x="132" y="362"/>
                      <a:pt x="84" y="355"/>
                      <a:pt x="51" y="326"/>
                    </a:cubicBezTo>
                    <a:cubicBezTo>
                      <a:pt x="14" y="292"/>
                      <a:pt x="0" y="240"/>
                      <a:pt x="17" y="195"/>
                    </a:cubicBezTo>
                    <a:cubicBezTo>
                      <a:pt x="23" y="182"/>
                      <a:pt x="29" y="168"/>
                      <a:pt x="39" y="157"/>
                    </a:cubicBezTo>
                    <a:cubicBezTo>
                      <a:pt x="78" y="111"/>
                      <a:pt x="111" y="62"/>
                      <a:pt x="121" y="0"/>
                    </a:cubicBezTo>
                    <a:close/>
                  </a:path>
                </a:pathLst>
              </a:custGeom>
              <a:solidFill>
                <a:schemeClr val="accent2">
                  <a:lumMod val="20000"/>
                  <a:lumOff val="80000"/>
                </a:schemeClr>
              </a:solidFill>
              <a:ln>
                <a:noFill/>
              </a:ln>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2" name="Freeform 6"/>
              <p:cNvSpPr>
                <a:spLocks/>
              </p:cNvSpPr>
              <p:nvPr/>
            </p:nvSpPr>
            <p:spPr bwMode="auto">
              <a:xfrm flipH="1">
                <a:off x="2105130" y="4281558"/>
                <a:ext cx="69280" cy="104424"/>
              </a:xfrm>
              <a:custGeom>
                <a:avLst/>
                <a:gdLst>
                  <a:gd name="T0" fmla="*/ 121 w 258"/>
                  <a:gd name="T1" fmla="*/ 0 h 362"/>
                  <a:gd name="T2" fmla="*/ 124 w 258"/>
                  <a:gd name="T3" fmla="*/ 2 h 362"/>
                  <a:gd name="T4" fmla="*/ 210 w 258"/>
                  <a:gd name="T5" fmla="*/ 162 h 362"/>
                  <a:gd name="T6" fmla="*/ 171 w 258"/>
                  <a:gd name="T7" fmla="*/ 343 h 362"/>
                  <a:gd name="T8" fmla="*/ 51 w 258"/>
                  <a:gd name="T9" fmla="*/ 326 h 362"/>
                  <a:gd name="T10" fmla="*/ 17 w 258"/>
                  <a:gd name="T11" fmla="*/ 195 h 362"/>
                  <a:gd name="T12" fmla="*/ 39 w 258"/>
                  <a:gd name="T13" fmla="*/ 157 h 362"/>
                  <a:gd name="T14" fmla="*/ 121 w 258"/>
                  <a:gd name="T15" fmla="*/ 0 h 3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8" h="362">
                    <a:moveTo>
                      <a:pt x="121" y="0"/>
                    </a:moveTo>
                    <a:cubicBezTo>
                      <a:pt x="123" y="1"/>
                      <a:pt x="124" y="2"/>
                      <a:pt x="124" y="2"/>
                    </a:cubicBezTo>
                    <a:cubicBezTo>
                      <a:pt x="138" y="64"/>
                      <a:pt x="173" y="113"/>
                      <a:pt x="210" y="162"/>
                    </a:cubicBezTo>
                    <a:cubicBezTo>
                      <a:pt x="258" y="225"/>
                      <a:pt x="238" y="308"/>
                      <a:pt x="171" y="343"/>
                    </a:cubicBezTo>
                    <a:cubicBezTo>
                      <a:pt x="132" y="362"/>
                      <a:pt x="84" y="355"/>
                      <a:pt x="51" y="326"/>
                    </a:cubicBezTo>
                    <a:cubicBezTo>
                      <a:pt x="14" y="292"/>
                      <a:pt x="0" y="240"/>
                      <a:pt x="17" y="195"/>
                    </a:cubicBezTo>
                    <a:cubicBezTo>
                      <a:pt x="23" y="182"/>
                      <a:pt x="29" y="168"/>
                      <a:pt x="39" y="157"/>
                    </a:cubicBezTo>
                    <a:cubicBezTo>
                      <a:pt x="78" y="111"/>
                      <a:pt x="111" y="62"/>
                      <a:pt x="121" y="0"/>
                    </a:cubicBezTo>
                    <a:close/>
                  </a:path>
                </a:pathLst>
              </a:custGeom>
              <a:solidFill>
                <a:schemeClr val="accent2">
                  <a:lumMod val="20000"/>
                  <a:lumOff val="80000"/>
                </a:schemeClr>
              </a:solidFill>
              <a:ln>
                <a:noFill/>
              </a:ln>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3" name="Freeform 6"/>
              <p:cNvSpPr>
                <a:spLocks/>
              </p:cNvSpPr>
              <p:nvPr/>
            </p:nvSpPr>
            <p:spPr bwMode="auto">
              <a:xfrm flipH="1">
                <a:off x="2265013" y="4153436"/>
                <a:ext cx="69280" cy="104424"/>
              </a:xfrm>
              <a:custGeom>
                <a:avLst/>
                <a:gdLst>
                  <a:gd name="T0" fmla="*/ 121 w 258"/>
                  <a:gd name="T1" fmla="*/ 0 h 362"/>
                  <a:gd name="T2" fmla="*/ 124 w 258"/>
                  <a:gd name="T3" fmla="*/ 2 h 362"/>
                  <a:gd name="T4" fmla="*/ 210 w 258"/>
                  <a:gd name="T5" fmla="*/ 162 h 362"/>
                  <a:gd name="T6" fmla="*/ 171 w 258"/>
                  <a:gd name="T7" fmla="*/ 343 h 362"/>
                  <a:gd name="T8" fmla="*/ 51 w 258"/>
                  <a:gd name="T9" fmla="*/ 326 h 362"/>
                  <a:gd name="T10" fmla="*/ 17 w 258"/>
                  <a:gd name="T11" fmla="*/ 195 h 362"/>
                  <a:gd name="T12" fmla="*/ 39 w 258"/>
                  <a:gd name="T13" fmla="*/ 157 h 362"/>
                  <a:gd name="T14" fmla="*/ 121 w 258"/>
                  <a:gd name="T15" fmla="*/ 0 h 3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8" h="362">
                    <a:moveTo>
                      <a:pt x="121" y="0"/>
                    </a:moveTo>
                    <a:cubicBezTo>
                      <a:pt x="123" y="1"/>
                      <a:pt x="124" y="2"/>
                      <a:pt x="124" y="2"/>
                    </a:cubicBezTo>
                    <a:cubicBezTo>
                      <a:pt x="138" y="64"/>
                      <a:pt x="173" y="113"/>
                      <a:pt x="210" y="162"/>
                    </a:cubicBezTo>
                    <a:cubicBezTo>
                      <a:pt x="258" y="225"/>
                      <a:pt x="238" y="308"/>
                      <a:pt x="171" y="343"/>
                    </a:cubicBezTo>
                    <a:cubicBezTo>
                      <a:pt x="132" y="362"/>
                      <a:pt x="84" y="355"/>
                      <a:pt x="51" y="326"/>
                    </a:cubicBezTo>
                    <a:cubicBezTo>
                      <a:pt x="14" y="292"/>
                      <a:pt x="0" y="240"/>
                      <a:pt x="17" y="195"/>
                    </a:cubicBezTo>
                    <a:cubicBezTo>
                      <a:pt x="23" y="182"/>
                      <a:pt x="29" y="168"/>
                      <a:pt x="39" y="157"/>
                    </a:cubicBezTo>
                    <a:cubicBezTo>
                      <a:pt x="78" y="111"/>
                      <a:pt x="111" y="62"/>
                      <a:pt x="121" y="0"/>
                    </a:cubicBezTo>
                    <a:close/>
                  </a:path>
                </a:pathLst>
              </a:custGeom>
              <a:solidFill>
                <a:schemeClr val="accent2">
                  <a:lumMod val="20000"/>
                  <a:lumOff val="80000"/>
                </a:schemeClr>
              </a:solidFill>
              <a:ln>
                <a:noFill/>
              </a:ln>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4" name="Freeform 6"/>
              <p:cNvSpPr>
                <a:spLocks/>
              </p:cNvSpPr>
              <p:nvPr/>
            </p:nvSpPr>
            <p:spPr bwMode="auto">
              <a:xfrm flipH="1">
                <a:off x="2309383" y="4338626"/>
                <a:ext cx="69280" cy="104424"/>
              </a:xfrm>
              <a:custGeom>
                <a:avLst/>
                <a:gdLst>
                  <a:gd name="T0" fmla="*/ 121 w 258"/>
                  <a:gd name="T1" fmla="*/ 0 h 362"/>
                  <a:gd name="T2" fmla="*/ 124 w 258"/>
                  <a:gd name="T3" fmla="*/ 2 h 362"/>
                  <a:gd name="T4" fmla="*/ 210 w 258"/>
                  <a:gd name="T5" fmla="*/ 162 h 362"/>
                  <a:gd name="T6" fmla="*/ 171 w 258"/>
                  <a:gd name="T7" fmla="*/ 343 h 362"/>
                  <a:gd name="T8" fmla="*/ 51 w 258"/>
                  <a:gd name="T9" fmla="*/ 326 h 362"/>
                  <a:gd name="T10" fmla="*/ 17 w 258"/>
                  <a:gd name="T11" fmla="*/ 195 h 362"/>
                  <a:gd name="T12" fmla="*/ 39 w 258"/>
                  <a:gd name="T13" fmla="*/ 157 h 362"/>
                  <a:gd name="T14" fmla="*/ 121 w 258"/>
                  <a:gd name="T15" fmla="*/ 0 h 3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8" h="362">
                    <a:moveTo>
                      <a:pt x="121" y="0"/>
                    </a:moveTo>
                    <a:cubicBezTo>
                      <a:pt x="123" y="1"/>
                      <a:pt x="124" y="2"/>
                      <a:pt x="124" y="2"/>
                    </a:cubicBezTo>
                    <a:cubicBezTo>
                      <a:pt x="138" y="64"/>
                      <a:pt x="173" y="113"/>
                      <a:pt x="210" y="162"/>
                    </a:cubicBezTo>
                    <a:cubicBezTo>
                      <a:pt x="258" y="225"/>
                      <a:pt x="238" y="308"/>
                      <a:pt x="171" y="343"/>
                    </a:cubicBezTo>
                    <a:cubicBezTo>
                      <a:pt x="132" y="362"/>
                      <a:pt x="84" y="355"/>
                      <a:pt x="51" y="326"/>
                    </a:cubicBezTo>
                    <a:cubicBezTo>
                      <a:pt x="14" y="292"/>
                      <a:pt x="0" y="240"/>
                      <a:pt x="17" y="195"/>
                    </a:cubicBezTo>
                    <a:cubicBezTo>
                      <a:pt x="23" y="182"/>
                      <a:pt x="29" y="168"/>
                      <a:pt x="39" y="157"/>
                    </a:cubicBezTo>
                    <a:cubicBezTo>
                      <a:pt x="78" y="111"/>
                      <a:pt x="111" y="62"/>
                      <a:pt x="121" y="0"/>
                    </a:cubicBezTo>
                    <a:close/>
                  </a:path>
                </a:pathLst>
              </a:custGeom>
              <a:solidFill>
                <a:schemeClr val="accent2">
                  <a:lumMod val="20000"/>
                  <a:lumOff val="80000"/>
                </a:schemeClr>
              </a:solidFill>
              <a:ln>
                <a:noFill/>
              </a:ln>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5" name="Freeform 6"/>
              <p:cNvSpPr>
                <a:spLocks/>
              </p:cNvSpPr>
              <p:nvPr/>
            </p:nvSpPr>
            <p:spPr bwMode="auto">
              <a:xfrm flipH="1">
                <a:off x="2126453" y="4386257"/>
                <a:ext cx="69280" cy="104424"/>
              </a:xfrm>
              <a:custGeom>
                <a:avLst/>
                <a:gdLst>
                  <a:gd name="T0" fmla="*/ 121 w 258"/>
                  <a:gd name="T1" fmla="*/ 0 h 362"/>
                  <a:gd name="T2" fmla="*/ 124 w 258"/>
                  <a:gd name="T3" fmla="*/ 2 h 362"/>
                  <a:gd name="T4" fmla="*/ 210 w 258"/>
                  <a:gd name="T5" fmla="*/ 162 h 362"/>
                  <a:gd name="T6" fmla="*/ 171 w 258"/>
                  <a:gd name="T7" fmla="*/ 343 h 362"/>
                  <a:gd name="T8" fmla="*/ 51 w 258"/>
                  <a:gd name="T9" fmla="*/ 326 h 362"/>
                  <a:gd name="T10" fmla="*/ 17 w 258"/>
                  <a:gd name="T11" fmla="*/ 195 h 362"/>
                  <a:gd name="T12" fmla="*/ 39 w 258"/>
                  <a:gd name="T13" fmla="*/ 157 h 362"/>
                  <a:gd name="T14" fmla="*/ 121 w 258"/>
                  <a:gd name="T15" fmla="*/ 0 h 3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8" h="362">
                    <a:moveTo>
                      <a:pt x="121" y="0"/>
                    </a:moveTo>
                    <a:cubicBezTo>
                      <a:pt x="123" y="1"/>
                      <a:pt x="124" y="2"/>
                      <a:pt x="124" y="2"/>
                    </a:cubicBezTo>
                    <a:cubicBezTo>
                      <a:pt x="138" y="64"/>
                      <a:pt x="173" y="113"/>
                      <a:pt x="210" y="162"/>
                    </a:cubicBezTo>
                    <a:cubicBezTo>
                      <a:pt x="258" y="225"/>
                      <a:pt x="238" y="308"/>
                      <a:pt x="171" y="343"/>
                    </a:cubicBezTo>
                    <a:cubicBezTo>
                      <a:pt x="132" y="362"/>
                      <a:pt x="84" y="355"/>
                      <a:pt x="51" y="326"/>
                    </a:cubicBezTo>
                    <a:cubicBezTo>
                      <a:pt x="14" y="292"/>
                      <a:pt x="0" y="240"/>
                      <a:pt x="17" y="195"/>
                    </a:cubicBezTo>
                    <a:cubicBezTo>
                      <a:pt x="23" y="182"/>
                      <a:pt x="29" y="168"/>
                      <a:pt x="39" y="157"/>
                    </a:cubicBezTo>
                    <a:cubicBezTo>
                      <a:pt x="78" y="111"/>
                      <a:pt x="111" y="62"/>
                      <a:pt x="121" y="0"/>
                    </a:cubicBezTo>
                    <a:close/>
                  </a:path>
                </a:pathLst>
              </a:custGeom>
              <a:solidFill>
                <a:schemeClr val="accent2">
                  <a:lumMod val="20000"/>
                  <a:lumOff val="80000"/>
                </a:schemeClr>
              </a:solidFill>
              <a:ln>
                <a:noFill/>
              </a:ln>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6" name="Freeform 6"/>
              <p:cNvSpPr>
                <a:spLocks/>
              </p:cNvSpPr>
              <p:nvPr/>
            </p:nvSpPr>
            <p:spPr bwMode="auto">
              <a:xfrm flipH="1">
                <a:off x="2213470" y="4390838"/>
                <a:ext cx="69280" cy="104424"/>
              </a:xfrm>
              <a:custGeom>
                <a:avLst/>
                <a:gdLst>
                  <a:gd name="T0" fmla="*/ 121 w 258"/>
                  <a:gd name="T1" fmla="*/ 0 h 362"/>
                  <a:gd name="T2" fmla="*/ 124 w 258"/>
                  <a:gd name="T3" fmla="*/ 2 h 362"/>
                  <a:gd name="T4" fmla="*/ 210 w 258"/>
                  <a:gd name="T5" fmla="*/ 162 h 362"/>
                  <a:gd name="T6" fmla="*/ 171 w 258"/>
                  <a:gd name="T7" fmla="*/ 343 h 362"/>
                  <a:gd name="T8" fmla="*/ 51 w 258"/>
                  <a:gd name="T9" fmla="*/ 326 h 362"/>
                  <a:gd name="T10" fmla="*/ 17 w 258"/>
                  <a:gd name="T11" fmla="*/ 195 h 362"/>
                  <a:gd name="T12" fmla="*/ 39 w 258"/>
                  <a:gd name="T13" fmla="*/ 157 h 362"/>
                  <a:gd name="T14" fmla="*/ 121 w 258"/>
                  <a:gd name="T15" fmla="*/ 0 h 3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8" h="362">
                    <a:moveTo>
                      <a:pt x="121" y="0"/>
                    </a:moveTo>
                    <a:cubicBezTo>
                      <a:pt x="123" y="1"/>
                      <a:pt x="124" y="2"/>
                      <a:pt x="124" y="2"/>
                    </a:cubicBezTo>
                    <a:cubicBezTo>
                      <a:pt x="138" y="64"/>
                      <a:pt x="173" y="113"/>
                      <a:pt x="210" y="162"/>
                    </a:cubicBezTo>
                    <a:cubicBezTo>
                      <a:pt x="258" y="225"/>
                      <a:pt x="238" y="308"/>
                      <a:pt x="171" y="343"/>
                    </a:cubicBezTo>
                    <a:cubicBezTo>
                      <a:pt x="132" y="362"/>
                      <a:pt x="84" y="355"/>
                      <a:pt x="51" y="326"/>
                    </a:cubicBezTo>
                    <a:cubicBezTo>
                      <a:pt x="14" y="292"/>
                      <a:pt x="0" y="240"/>
                      <a:pt x="17" y="195"/>
                    </a:cubicBezTo>
                    <a:cubicBezTo>
                      <a:pt x="23" y="182"/>
                      <a:pt x="29" y="168"/>
                      <a:pt x="39" y="157"/>
                    </a:cubicBezTo>
                    <a:cubicBezTo>
                      <a:pt x="78" y="111"/>
                      <a:pt x="111" y="62"/>
                      <a:pt x="121" y="0"/>
                    </a:cubicBezTo>
                    <a:close/>
                  </a:path>
                </a:pathLst>
              </a:custGeom>
              <a:solidFill>
                <a:schemeClr val="accent2">
                  <a:lumMod val="20000"/>
                  <a:lumOff val="80000"/>
                </a:schemeClr>
              </a:solidFill>
              <a:ln>
                <a:noFill/>
              </a:ln>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grpSp>
        <p:grpSp>
          <p:nvGrpSpPr>
            <p:cNvPr id="42" name="Group 41"/>
            <p:cNvGrpSpPr/>
            <p:nvPr/>
          </p:nvGrpSpPr>
          <p:grpSpPr>
            <a:xfrm>
              <a:off x="10066564" y="2794185"/>
              <a:ext cx="1980292" cy="1591080"/>
              <a:chOff x="9367921" y="3188945"/>
              <a:chExt cx="1980292" cy="1591080"/>
            </a:xfrm>
          </p:grpSpPr>
          <p:grpSp>
            <p:nvGrpSpPr>
              <p:cNvPr id="22" name="Group 21"/>
              <p:cNvGrpSpPr/>
              <p:nvPr/>
            </p:nvGrpSpPr>
            <p:grpSpPr>
              <a:xfrm rot="20429199" flipH="1">
                <a:off x="9702293" y="3188945"/>
                <a:ext cx="1645920" cy="396494"/>
                <a:chOff x="7060464" y="2029464"/>
                <a:chExt cx="1645920" cy="396494"/>
              </a:xfrm>
            </p:grpSpPr>
            <p:cxnSp>
              <p:nvCxnSpPr>
                <p:cNvPr id="38" name="Straight Connector 37"/>
                <p:cNvCxnSpPr/>
                <p:nvPr/>
              </p:nvCxnSpPr>
              <p:spPr>
                <a:xfrm>
                  <a:off x="7060464" y="2227711"/>
                  <a:ext cx="1645920" cy="0"/>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9" name="Oval 38"/>
                <p:cNvSpPr/>
                <p:nvPr/>
              </p:nvSpPr>
              <p:spPr bwMode="auto">
                <a:xfrm>
                  <a:off x="7071763" y="2029464"/>
                  <a:ext cx="396494" cy="396494"/>
                </a:xfrm>
                <a:prstGeom prst="ellipse">
                  <a:avLst/>
                </a:prstGeom>
                <a:solidFill>
                  <a:schemeClr val="accent5">
                    <a:lumMod val="60000"/>
                    <a:lumOff val="4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IN" sz="1078" dirty="0">
                      <a:solidFill>
                        <a:srgbClr val="505050"/>
                      </a:solidFill>
                      <a:latin typeface="Segoe UI Semibold" panose="020B0702040204020203" pitchFamily="34" charset="0"/>
                      <a:ea typeface="Segoe UI" pitchFamily="34" charset="0"/>
                      <a:cs typeface="Segoe UI" pitchFamily="34" charset="0"/>
                    </a:rPr>
                    <a:t>{…}</a:t>
                  </a:r>
                </a:p>
              </p:txBody>
            </p:sp>
            <p:sp>
              <p:nvSpPr>
                <p:cNvPr id="40" name="Oval 39"/>
                <p:cNvSpPr/>
                <p:nvPr/>
              </p:nvSpPr>
              <p:spPr bwMode="auto">
                <a:xfrm>
                  <a:off x="7674761" y="2029464"/>
                  <a:ext cx="396494" cy="396494"/>
                </a:xfrm>
                <a:prstGeom prst="ellipse">
                  <a:avLst/>
                </a:prstGeom>
                <a:solidFill>
                  <a:schemeClr val="accent1">
                    <a:lumMod val="20000"/>
                    <a:lumOff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IN" sz="1078" dirty="0">
                      <a:solidFill>
                        <a:srgbClr val="505050"/>
                      </a:solidFill>
                      <a:latin typeface="Segoe UI Semibold" panose="020B0702040204020203" pitchFamily="34" charset="0"/>
                      <a:ea typeface="Segoe UI" pitchFamily="34" charset="0"/>
                      <a:cs typeface="Segoe UI" pitchFamily="34" charset="0"/>
                    </a:rPr>
                    <a:t>{…}</a:t>
                  </a:r>
                </a:p>
              </p:txBody>
            </p:sp>
            <p:sp>
              <p:nvSpPr>
                <p:cNvPr id="41" name="Oval 40"/>
                <p:cNvSpPr/>
                <p:nvPr/>
              </p:nvSpPr>
              <p:spPr bwMode="auto">
                <a:xfrm>
                  <a:off x="8277760" y="2029464"/>
                  <a:ext cx="396494" cy="396494"/>
                </a:xfrm>
                <a:prstGeom prst="ellipse">
                  <a:avLst/>
                </a:prstGeom>
                <a:solidFill>
                  <a:schemeClr val="accent4">
                    <a:lumMod val="20000"/>
                    <a:lumOff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IN" sz="1078" dirty="0">
                      <a:solidFill>
                        <a:srgbClr val="505050"/>
                      </a:solidFill>
                      <a:latin typeface="Segoe UI Semibold" panose="020B0702040204020203" pitchFamily="34" charset="0"/>
                      <a:ea typeface="Segoe UI" pitchFamily="34" charset="0"/>
                      <a:cs typeface="Segoe UI" pitchFamily="34" charset="0"/>
                    </a:rPr>
                    <a:t>{…}</a:t>
                  </a:r>
                </a:p>
              </p:txBody>
            </p:sp>
          </p:grpSp>
          <p:grpSp>
            <p:nvGrpSpPr>
              <p:cNvPr id="23" name="Group 22"/>
              <p:cNvGrpSpPr/>
              <p:nvPr/>
            </p:nvGrpSpPr>
            <p:grpSpPr>
              <a:xfrm rot="1118075" flipH="1">
                <a:off x="9674124" y="4383531"/>
                <a:ext cx="1645920" cy="396494"/>
                <a:chOff x="7060464" y="2029464"/>
                <a:chExt cx="1645920" cy="396494"/>
              </a:xfrm>
            </p:grpSpPr>
            <p:cxnSp>
              <p:nvCxnSpPr>
                <p:cNvPr id="34" name="Straight Connector 33"/>
                <p:cNvCxnSpPr/>
                <p:nvPr/>
              </p:nvCxnSpPr>
              <p:spPr>
                <a:xfrm>
                  <a:off x="7060464" y="2227711"/>
                  <a:ext cx="1645920" cy="0"/>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5" name="Oval 34"/>
                <p:cNvSpPr/>
                <p:nvPr/>
              </p:nvSpPr>
              <p:spPr bwMode="auto">
                <a:xfrm>
                  <a:off x="7071763" y="2029464"/>
                  <a:ext cx="396494" cy="396494"/>
                </a:xfrm>
                <a:prstGeom prst="ellipse">
                  <a:avLst/>
                </a:prstGeom>
                <a:solidFill>
                  <a:srgbClr val="FFC000"/>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IN" sz="1078" dirty="0">
                      <a:solidFill>
                        <a:srgbClr val="505050"/>
                      </a:solidFill>
                      <a:latin typeface="Segoe UI Semibold" panose="020B0702040204020203" pitchFamily="34" charset="0"/>
                      <a:ea typeface="Segoe UI" pitchFamily="34" charset="0"/>
                      <a:cs typeface="Segoe UI" pitchFamily="34" charset="0"/>
                    </a:rPr>
                    <a:t>{…}</a:t>
                  </a:r>
                </a:p>
              </p:txBody>
            </p:sp>
            <p:sp>
              <p:nvSpPr>
                <p:cNvPr id="36" name="Oval 35"/>
                <p:cNvSpPr/>
                <p:nvPr/>
              </p:nvSpPr>
              <p:spPr bwMode="auto">
                <a:xfrm>
                  <a:off x="7674761" y="2029464"/>
                  <a:ext cx="396494" cy="396494"/>
                </a:xfrm>
                <a:prstGeom prst="ellipse">
                  <a:avLst/>
                </a:prstGeom>
                <a:solidFill>
                  <a:schemeClr val="accent5">
                    <a:lumMod val="60000"/>
                    <a:lumOff val="4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IN" sz="1078" dirty="0">
                      <a:solidFill>
                        <a:srgbClr val="505050"/>
                      </a:solidFill>
                      <a:latin typeface="Segoe UI Semibold" panose="020B0702040204020203" pitchFamily="34" charset="0"/>
                      <a:ea typeface="Segoe UI" pitchFamily="34" charset="0"/>
                      <a:cs typeface="Segoe UI" pitchFamily="34" charset="0"/>
                    </a:rPr>
                    <a:t>{…}</a:t>
                  </a:r>
                </a:p>
              </p:txBody>
            </p:sp>
            <p:sp>
              <p:nvSpPr>
                <p:cNvPr id="37" name="Oval 36"/>
                <p:cNvSpPr/>
                <p:nvPr/>
              </p:nvSpPr>
              <p:spPr bwMode="auto">
                <a:xfrm>
                  <a:off x="8277760" y="2029464"/>
                  <a:ext cx="396494" cy="396494"/>
                </a:xfrm>
                <a:prstGeom prst="ellipse">
                  <a:avLst/>
                </a:prstGeom>
                <a:solidFill>
                  <a:schemeClr val="accent4">
                    <a:lumMod val="20000"/>
                    <a:lumOff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IN" sz="1078" dirty="0">
                      <a:solidFill>
                        <a:srgbClr val="505050"/>
                      </a:solidFill>
                      <a:latin typeface="Segoe UI Semibold" panose="020B0702040204020203" pitchFamily="34" charset="0"/>
                      <a:ea typeface="Segoe UI" pitchFamily="34" charset="0"/>
                      <a:cs typeface="Segoe UI" pitchFamily="34" charset="0"/>
                    </a:rPr>
                    <a:t>{…}</a:t>
                  </a:r>
                </a:p>
              </p:txBody>
            </p:sp>
          </p:grpSp>
          <p:cxnSp>
            <p:nvCxnSpPr>
              <p:cNvPr id="26" name="Straight Arrow Connector 25"/>
              <p:cNvCxnSpPr/>
              <p:nvPr/>
            </p:nvCxnSpPr>
            <p:spPr>
              <a:xfrm rot="20280000" flipH="1">
                <a:off x="9406075" y="3750146"/>
                <a:ext cx="408597" cy="1"/>
              </a:xfrm>
              <a:prstGeom prst="straightConnector1">
                <a:avLst/>
              </a:prstGeom>
              <a:ln>
                <a:solidFill>
                  <a:schemeClr val="tx1"/>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rot="1620000" flipH="1">
                <a:off x="9367921" y="4241154"/>
                <a:ext cx="408597" cy="1"/>
              </a:xfrm>
              <a:prstGeom prst="straightConnector1">
                <a:avLst/>
              </a:prstGeom>
              <a:ln>
                <a:solidFill>
                  <a:schemeClr val="tx1"/>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grpSp>
      </p:grpSp>
      <p:sp>
        <p:nvSpPr>
          <p:cNvPr id="43" name="Rounded Rectangle 42"/>
          <p:cNvSpPr/>
          <p:nvPr/>
        </p:nvSpPr>
        <p:spPr bwMode="auto">
          <a:xfrm>
            <a:off x="6762733" y="2241494"/>
            <a:ext cx="1407560" cy="678846"/>
          </a:xfrm>
          <a:prstGeom prst="round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44" name="Rounded Rectangle 43"/>
          <p:cNvSpPr/>
          <p:nvPr/>
        </p:nvSpPr>
        <p:spPr bwMode="auto">
          <a:xfrm>
            <a:off x="6762733" y="1214321"/>
            <a:ext cx="1407560" cy="678846"/>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45" name="Rounded Rectangle 44"/>
          <p:cNvSpPr/>
          <p:nvPr/>
        </p:nvSpPr>
        <p:spPr bwMode="auto">
          <a:xfrm>
            <a:off x="6762733" y="3268667"/>
            <a:ext cx="1407560" cy="678846"/>
          </a:xfrm>
          <a:prstGeom prst="round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46" name="Rounded Rectangle 45"/>
          <p:cNvSpPr/>
          <p:nvPr/>
        </p:nvSpPr>
        <p:spPr bwMode="auto">
          <a:xfrm>
            <a:off x="6762733" y="4290665"/>
            <a:ext cx="1407560" cy="678846"/>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47" name="Rounded Rectangle 46"/>
          <p:cNvSpPr/>
          <p:nvPr/>
        </p:nvSpPr>
        <p:spPr bwMode="auto">
          <a:xfrm>
            <a:off x="6762733" y="5309018"/>
            <a:ext cx="1407560" cy="678846"/>
          </a:xfrm>
          <a:prstGeom prst="round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49" name="TextBox 48"/>
          <p:cNvSpPr txBox="1"/>
          <p:nvPr/>
        </p:nvSpPr>
        <p:spPr>
          <a:xfrm>
            <a:off x="6975845" y="1282048"/>
            <a:ext cx="914400" cy="455922"/>
          </a:xfrm>
          <a:prstGeom prst="rect">
            <a:avLst/>
          </a:prstGeom>
          <a:noFill/>
        </p:spPr>
        <p:txBody>
          <a:bodyPr wrap="none" lIns="182880" tIns="146304" rIns="182880" bIns="146304" rtlCol="0">
            <a:noAutofit/>
          </a:bodyPr>
          <a:lstStyle/>
          <a:p>
            <a:pPr>
              <a:lnSpc>
                <a:spcPct val="90000"/>
              </a:lnSpc>
              <a:spcAft>
                <a:spcPts val="600"/>
              </a:spcAft>
            </a:pPr>
            <a:r>
              <a:rPr lang="en-US" dirty="0">
                <a:solidFill>
                  <a:schemeClr val="bg1"/>
                </a:solidFill>
              </a:rPr>
              <a:t>Kafka</a:t>
            </a:r>
          </a:p>
        </p:txBody>
      </p:sp>
      <p:sp>
        <p:nvSpPr>
          <p:cNvPr id="50" name="TextBox 49"/>
          <p:cNvSpPr txBox="1"/>
          <p:nvPr/>
        </p:nvSpPr>
        <p:spPr>
          <a:xfrm>
            <a:off x="6762733" y="2357863"/>
            <a:ext cx="1407560" cy="455922"/>
          </a:xfrm>
          <a:prstGeom prst="rect">
            <a:avLst/>
          </a:prstGeom>
          <a:noFill/>
        </p:spPr>
        <p:txBody>
          <a:bodyPr wrap="square" lIns="0" tIns="0" rIns="0" bIns="0" rtlCol="0" anchor="ctr">
            <a:noAutofit/>
          </a:bodyPr>
          <a:lstStyle/>
          <a:p>
            <a:pPr algn="ctr">
              <a:lnSpc>
                <a:spcPct val="90000"/>
              </a:lnSpc>
              <a:spcAft>
                <a:spcPts val="600"/>
              </a:spcAft>
            </a:pPr>
            <a:r>
              <a:rPr lang="en-US" dirty="0">
                <a:solidFill>
                  <a:schemeClr val="bg1"/>
                </a:solidFill>
              </a:rPr>
              <a:t>Azure Event Hubs</a:t>
            </a:r>
          </a:p>
        </p:txBody>
      </p:sp>
      <p:sp>
        <p:nvSpPr>
          <p:cNvPr id="51" name="TextBox 50"/>
          <p:cNvSpPr txBox="1"/>
          <p:nvPr/>
        </p:nvSpPr>
        <p:spPr>
          <a:xfrm>
            <a:off x="6761023" y="3393839"/>
            <a:ext cx="1407560" cy="455922"/>
          </a:xfrm>
          <a:prstGeom prst="rect">
            <a:avLst/>
          </a:prstGeom>
          <a:noFill/>
        </p:spPr>
        <p:txBody>
          <a:bodyPr wrap="square" lIns="0" tIns="0" rIns="0" bIns="0" rtlCol="0" anchor="ctr">
            <a:noAutofit/>
          </a:bodyPr>
          <a:lstStyle/>
          <a:p>
            <a:pPr algn="ctr">
              <a:lnSpc>
                <a:spcPct val="90000"/>
              </a:lnSpc>
              <a:spcAft>
                <a:spcPts val="600"/>
              </a:spcAft>
            </a:pPr>
            <a:r>
              <a:rPr lang="en-US" dirty="0">
                <a:solidFill>
                  <a:schemeClr val="bg1"/>
                </a:solidFill>
              </a:rPr>
              <a:t>Amazon Kinesis</a:t>
            </a:r>
          </a:p>
        </p:txBody>
      </p:sp>
      <p:sp>
        <p:nvSpPr>
          <p:cNvPr id="52" name="TextBox 51"/>
          <p:cNvSpPr txBox="1"/>
          <p:nvPr/>
        </p:nvSpPr>
        <p:spPr>
          <a:xfrm>
            <a:off x="6779861" y="4409266"/>
            <a:ext cx="1407560" cy="455922"/>
          </a:xfrm>
          <a:prstGeom prst="rect">
            <a:avLst/>
          </a:prstGeom>
          <a:noFill/>
        </p:spPr>
        <p:txBody>
          <a:bodyPr wrap="square" lIns="0" tIns="0" rIns="0" bIns="0" rtlCol="0" anchor="ctr">
            <a:noAutofit/>
          </a:bodyPr>
          <a:lstStyle/>
          <a:p>
            <a:pPr algn="ctr">
              <a:lnSpc>
                <a:spcPct val="90000"/>
              </a:lnSpc>
              <a:spcAft>
                <a:spcPts val="600"/>
              </a:spcAft>
            </a:pPr>
            <a:r>
              <a:rPr lang="en-US" dirty="0">
                <a:solidFill>
                  <a:schemeClr val="bg1"/>
                </a:solidFill>
              </a:rPr>
              <a:t>IBM MQ</a:t>
            </a:r>
          </a:p>
        </p:txBody>
      </p:sp>
      <p:sp>
        <p:nvSpPr>
          <p:cNvPr id="53" name="TextBox 52"/>
          <p:cNvSpPr txBox="1"/>
          <p:nvPr/>
        </p:nvSpPr>
        <p:spPr>
          <a:xfrm>
            <a:off x="6757603" y="5434968"/>
            <a:ext cx="1407560" cy="455922"/>
          </a:xfrm>
          <a:prstGeom prst="rect">
            <a:avLst/>
          </a:prstGeom>
          <a:noFill/>
        </p:spPr>
        <p:txBody>
          <a:bodyPr wrap="square" lIns="0" tIns="0" rIns="0" bIns="0" rtlCol="0" anchor="ctr">
            <a:noAutofit/>
          </a:bodyPr>
          <a:lstStyle/>
          <a:p>
            <a:pPr algn="ctr">
              <a:lnSpc>
                <a:spcPct val="90000"/>
              </a:lnSpc>
              <a:spcAft>
                <a:spcPts val="600"/>
              </a:spcAft>
            </a:pPr>
            <a:r>
              <a:rPr lang="en-US" dirty="0">
                <a:solidFill>
                  <a:schemeClr val="bg1"/>
                </a:solidFill>
              </a:rPr>
              <a:t>File</a:t>
            </a:r>
          </a:p>
        </p:txBody>
      </p:sp>
      <p:sp>
        <p:nvSpPr>
          <p:cNvPr id="54" name="TextBox 53"/>
          <p:cNvSpPr txBox="1"/>
          <p:nvPr/>
        </p:nvSpPr>
        <p:spPr>
          <a:xfrm>
            <a:off x="6451863" y="6006412"/>
            <a:ext cx="1962364" cy="914400"/>
          </a:xfrm>
          <a:prstGeom prst="rect">
            <a:avLst/>
          </a:prstGeom>
          <a:noFill/>
        </p:spPr>
        <p:txBody>
          <a:bodyPr wrap="square" lIns="182880" tIns="146304" rIns="182880" bIns="146304" rtlCol="0">
            <a:noAutofit/>
          </a:bodyPr>
          <a:lstStyle/>
          <a:p>
            <a:pPr algn="ctr">
              <a:lnSpc>
                <a:spcPct val="90000"/>
              </a:lnSpc>
              <a:spcAft>
                <a:spcPts val="600"/>
              </a:spcAft>
            </a:pPr>
            <a:r>
              <a:rPr lang="en-US" dirty="0">
                <a:solidFill>
                  <a:schemeClr val="tx1">
                    <a:lumMod val="65000"/>
                    <a:lumOff val="35000"/>
                  </a:schemeClr>
                </a:solidFill>
                <a:latin typeface="Segoe UI Semibold" panose="020B0702040204020203" pitchFamily="34" charset="0"/>
                <a:cs typeface="Segoe UI Semibold" panose="020B0702040204020203" pitchFamily="34" charset="0"/>
              </a:rPr>
              <a:t>Popular Stream Sources</a:t>
            </a:r>
          </a:p>
        </p:txBody>
      </p:sp>
      <p:sp>
        <p:nvSpPr>
          <p:cNvPr id="55" name="Right Brace 54"/>
          <p:cNvSpPr/>
          <p:nvPr/>
        </p:nvSpPr>
        <p:spPr>
          <a:xfrm>
            <a:off x="8291245" y="1407560"/>
            <a:ext cx="421240" cy="4255369"/>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6" name="Rectangle 55"/>
          <p:cNvSpPr/>
          <p:nvPr/>
        </p:nvSpPr>
        <p:spPr>
          <a:xfrm>
            <a:off x="9149921" y="5405472"/>
            <a:ext cx="2399161" cy="682238"/>
          </a:xfrm>
          <a:prstGeom prst="rect">
            <a:avLst/>
          </a:prstGeom>
        </p:spPr>
        <p:txBody>
          <a:bodyPr wrap="square">
            <a:spAutoFit/>
          </a:bodyPr>
          <a:lstStyle/>
          <a:p>
            <a:pPr algn="ctr">
              <a:lnSpc>
                <a:spcPts val="2300"/>
              </a:lnSpc>
              <a:spcBef>
                <a:spcPts val="600"/>
              </a:spcBef>
              <a:spcAft>
                <a:spcPts val="600"/>
              </a:spcAft>
              <a:buClr>
                <a:schemeClr val="accent3"/>
              </a:buClr>
              <a:buSzPct val="75000"/>
            </a:pPr>
            <a:r>
              <a:rPr lang="en-US" dirty="0">
                <a:solidFill>
                  <a:schemeClr val="tx1">
                    <a:lumMod val="65000"/>
                    <a:lumOff val="35000"/>
                  </a:schemeClr>
                </a:solidFill>
              </a:rPr>
              <a:t>A Spout can generate multiple streams.</a:t>
            </a:r>
          </a:p>
        </p:txBody>
      </p:sp>
      <p:sp>
        <p:nvSpPr>
          <p:cNvPr id="57" name="Rectangle 56"/>
          <p:cNvSpPr/>
          <p:nvPr/>
        </p:nvSpPr>
        <p:spPr>
          <a:xfrm>
            <a:off x="8507002" y="1232566"/>
            <a:ext cx="3684998" cy="682238"/>
          </a:xfrm>
          <a:prstGeom prst="rect">
            <a:avLst/>
          </a:prstGeom>
        </p:spPr>
        <p:txBody>
          <a:bodyPr wrap="square">
            <a:spAutoFit/>
          </a:bodyPr>
          <a:lstStyle/>
          <a:p>
            <a:pPr lvl="1">
              <a:lnSpc>
                <a:spcPts val="2300"/>
              </a:lnSpc>
              <a:spcBef>
                <a:spcPts val="200"/>
              </a:spcBef>
              <a:spcAft>
                <a:spcPts val="600"/>
              </a:spcAft>
              <a:buClr>
                <a:schemeClr val="accent3"/>
              </a:buClr>
              <a:buSzPct val="75000"/>
            </a:pPr>
            <a:r>
              <a:rPr lang="en-US" dirty="0">
                <a:solidFill>
                  <a:schemeClr val="tx1">
                    <a:lumMod val="65000"/>
                    <a:lumOff val="35000"/>
                  </a:schemeClr>
                </a:solidFill>
              </a:rPr>
              <a:t>Spouts are available for most popular Stream sources</a:t>
            </a:r>
          </a:p>
        </p:txBody>
      </p:sp>
    </p:spTree>
    <p:extLst>
      <p:ext uri="{BB962C8B-B14F-4D97-AF65-F5344CB8AC3E}">
        <p14:creationId xmlns:p14="http://schemas.microsoft.com/office/powerpoint/2010/main" val="4129335387"/>
      </p:ext>
    </p:extLst>
  </p:cSld>
  <p:clrMapOvr>
    <a:masterClrMapping/>
  </p:clrMapOvr>
  <p:transition spd="med">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p:cNvGraphicFramePr>
            <a:graphicFrameLocks noChangeAspect="1"/>
          </p:cNvGraphicFramePr>
          <p:nvPr>
            <p:custDataLst>
              <p:tags r:id="rId2"/>
            </p:custDataLst>
          </p:nvPr>
        </p:nvGraphicFramePr>
        <p:xfrm>
          <a:off x="1558" y="2044"/>
          <a:ext cx="1556" cy="1556"/>
        </p:xfrm>
        <a:graphic>
          <a:graphicData uri="http://schemas.openxmlformats.org/presentationml/2006/ole">
            <mc:AlternateContent xmlns:mc="http://schemas.openxmlformats.org/markup-compatibility/2006">
              <mc:Choice xmlns:v="urn:schemas-microsoft-com:vml" Requires="v">
                <p:oleObj spid="_x0000_s32900" name="think-cell Slide" r:id="rId4" imgW="377" imgH="377" progId="TCLayout.ActiveDocument.1">
                  <p:embed/>
                </p:oleObj>
              </mc:Choice>
              <mc:Fallback>
                <p:oleObj name="think-cell Slide" r:id="rId4" imgW="377" imgH="377" progId="TCLayout.ActiveDocument.1">
                  <p:embed/>
                  <p:pic>
                    <p:nvPicPr>
                      <p:cNvPr id="29" name="Object 28" hidden="1"/>
                      <p:cNvPicPr/>
                      <p:nvPr/>
                    </p:nvPicPr>
                    <p:blipFill>
                      <a:blip r:embed="rId5"/>
                      <a:stretch>
                        <a:fillRect/>
                      </a:stretch>
                    </p:blipFill>
                    <p:spPr>
                      <a:xfrm>
                        <a:off x="1558" y="2044"/>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IN" dirty="0"/>
              <a:t>Concept: Storm Bolts</a:t>
            </a:r>
          </a:p>
        </p:txBody>
      </p:sp>
      <p:sp>
        <p:nvSpPr>
          <p:cNvPr id="81" name="Slide Number Placeholder 80"/>
          <p:cNvSpPr>
            <a:spLocks noGrp="1"/>
          </p:cNvSpPr>
          <p:nvPr>
            <p:ph type="sldNum" sz="quarter" idx="11"/>
          </p:nvPr>
        </p:nvSpPr>
        <p:spPr/>
        <p:txBody>
          <a:bodyPr/>
          <a:lstStyle/>
          <a:p>
            <a:pPr>
              <a:defRPr/>
            </a:pPr>
            <a:fld id="{F8A0AC42-AA1D-4944-8D96-660DE70C7E1B}" type="slidenum">
              <a:rPr lang="en-IN"/>
              <a:pPr>
                <a:defRPr/>
              </a:pPr>
              <a:t>75</a:t>
            </a:fld>
            <a:endParaRPr lang="en-IN" dirty="0"/>
          </a:p>
        </p:txBody>
      </p:sp>
      <p:sp>
        <p:nvSpPr>
          <p:cNvPr id="5" name="TextBox 4"/>
          <p:cNvSpPr txBox="1"/>
          <p:nvPr/>
        </p:nvSpPr>
        <p:spPr>
          <a:xfrm>
            <a:off x="186441" y="1171043"/>
            <a:ext cx="6216439" cy="5333629"/>
          </a:xfrm>
          <a:prstGeom prst="rect">
            <a:avLst/>
          </a:prstGeom>
          <a:noFill/>
        </p:spPr>
        <p:txBody>
          <a:bodyPr wrap="square" lIns="182880" tIns="146304" rIns="182880" bIns="146304" rtlCol="0">
            <a:noAutofit/>
          </a:bodyPr>
          <a:lstStyle/>
          <a:p>
            <a:pPr marL="285750" indent="-285750">
              <a:lnSpc>
                <a:spcPts val="2200"/>
              </a:lnSpc>
              <a:spcBef>
                <a:spcPts val="600"/>
              </a:spcBef>
              <a:spcAft>
                <a:spcPts val="600"/>
              </a:spcAft>
              <a:buClr>
                <a:schemeClr val="accent3"/>
              </a:buClr>
              <a:buSzPct val="75000"/>
              <a:buFont typeface="Wingdings" panose="05000000000000000000" pitchFamily="2" charset="2"/>
              <a:buChar char="v"/>
            </a:pPr>
            <a:r>
              <a:rPr lang="en-US" sz="1950" dirty="0">
                <a:solidFill>
                  <a:schemeClr val="tx1">
                    <a:lumMod val="65000"/>
                    <a:lumOff val="35000"/>
                  </a:schemeClr>
                </a:solidFill>
              </a:rPr>
              <a:t>Storm topology is a sequence of transformations on the input stream. A Bolt implements one transformation</a:t>
            </a:r>
            <a:r>
              <a:rPr lang="en-US" sz="2050" dirty="0">
                <a:solidFill>
                  <a:schemeClr val="tx1">
                    <a:lumMod val="65000"/>
                    <a:lumOff val="35000"/>
                  </a:schemeClr>
                </a:solidFill>
              </a:rPr>
              <a:t>.</a:t>
            </a:r>
          </a:p>
          <a:p>
            <a:pPr marL="285750" indent="-285750">
              <a:lnSpc>
                <a:spcPts val="2200"/>
              </a:lnSpc>
              <a:spcBef>
                <a:spcPts val="600"/>
              </a:spcBef>
              <a:spcAft>
                <a:spcPts val="600"/>
              </a:spcAft>
              <a:buClr>
                <a:schemeClr val="accent3"/>
              </a:buClr>
              <a:buSzPct val="75000"/>
              <a:buFont typeface="Wingdings" panose="05000000000000000000" pitchFamily="2" charset="2"/>
              <a:buChar char="v"/>
            </a:pPr>
            <a:r>
              <a:rPr lang="en-US" sz="1950" dirty="0">
                <a:solidFill>
                  <a:schemeClr val="tx1">
                    <a:lumMod val="65000"/>
                    <a:lumOff val="35000"/>
                  </a:schemeClr>
                </a:solidFill>
              </a:rPr>
              <a:t>A Bolt implements a callback function (‘execute’ method on </a:t>
            </a:r>
            <a:r>
              <a:rPr lang="en-US" sz="1950" dirty="0" err="1">
                <a:solidFill>
                  <a:schemeClr val="tx1">
                    <a:lumMod val="65000"/>
                    <a:lumOff val="35000"/>
                  </a:schemeClr>
                </a:solidFill>
                <a:hlinkClick r:id="rId6"/>
              </a:rPr>
              <a:t>IRichBolt</a:t>
            </a:r>
            <a:r>
              <a:rPr lang="en-US" sz="1950" dirty="0">
                <a:solidFill>
                  <a:schemeClr val="tx1">
                    <a:lumMod val="65000"/>
                    <a:lumOff val="35000"/>
                  </a:schemeClr>
                </a:solidFill>
              </a:rPr>
              <a:t> interface)—containing the application logic—which is executed by Storm. </a:t>
            </a:r>
          </a:p>
          <a:p>
            <a:pPr marL="285750" indent="-285750">
              <a:lnSpc>
                <a:spcPts val="2200"/>
              </a:lnSpc>
              <a:spcBef>
                <a:spcPts val="600"/>
              </a:spcBef>
              <a:spcAft>
                <a:spcPts val="600"/>
              </a:spcAft>
              <a:buClr>
                <a:schemeClr val="accent3"/>
              </a:buClr>
              <a:buSzPct val="75000"/>
              <a:buFont typeface="Wingdings" panose="05000000000000000000" pitchFamily="2" charset="2"/>
              <a:buChar char="v"/>
            </a:pPr>
            <a:r>
              <a:rPr lang="en-US" sz="1950" dirty="0">
                <a:solidFill>
                  <a:schemeClr val="tx1">
                    <a:lumMod val="65000"/>
                    <a:lumOff val="35000"/>
                  </a:schemeClr>
                </a:solidFill>
              </a:rPr>
              <a:t>Bolt receives a stream of events—from other Bolts or Spouts—transforms it and emits an output stream. Transformations include: filtering, aggregation or other functions.</a:t>
            </a:r>
          </a:p>
          <a:p>
            <a:pPr marL="285750" indent="-285750">
              <a:lnSpc>
                <a:spcPts val="2200"/>
              </a:lnSpc>
              <a:spcBef>
                <a:spcPts val="600"/>
              </a:spcBef>
              <a:spcAft>
                <a:spcPts val="600"/>
              </a:spcAft>
              <a:buClr>
                <a:schemeClr val="accent3"/>
              </a:buClr>
              <a:buSzPct val="75000"/>
              <a:buFont typeface="Wingdings" panose="05000000000000000000" pitchFamily="2" charset="2"/>
              <a:buChar char="v"/>
            </a:pPr>
            <a:r>
              <a:rPr lang="en-US" sz="1950" dirty="0">
                <a:solidFill>
                  <a:schemeClr val="tx1">
                    <a:lumMod val="65000"/>
                    <a:lumOff val="35000"/>
                  </a:schemeClr>
                </a:solidFill>
              </a:rPr>
              <a:t>Bolts can ‘join’ multiple input stream or ‘split’ a single stream into multiple output streams. </a:t>
            </a:r>
          </a:p>
          <a:p>
            <a:pPr marL="285750" indent="-285750">
              <a:lnSpc>
                <a:spcPts val="2200"/>
              </a:lnSpc>
              <a:spcBef>
                <a:spcPts val="600"/>
              </a:spcBef>
              <a:spcAft>
                <a:spcPts val="600"/>
              </a:spcAft>
              <a:buClr>
                <a:schemeClr val="accent3"/>
              </a:buClr>
              <a:buSzPct val="75000"/>
              <a:buFont typeface="Wingdings" panose="05000000000000000000" pitchFamily="2" charset="2"/>
              <a:buChar char="v"/>
            </a:pPr>
            <a:r>
              <a:rPr lang="en-US" sz="1950" dirty="0">
                <a:solidFill>
                  <a:schemeClr val="tx1">
                    <a:lumMod val="65000"/>
                    <a:lumOff val="35000"/>
                  </a:schemeClr>
                </a:solidFill>
              </a:rPr>
              <a:t>During execution, a Bolt can store or read state from a database or any state stored in the Zookeeper node. </a:t>
            </a:r>
          </a:p>
          <a:p>
            <a:pPr>
              <a:lnSpc>
                <a:spcPct val="90000"/>
              </a:lnSpc>
              <a:spcAft>
                <a:spcPts val="600"/>
              </a:spcAft>
            </a:pPr>
            <a:endParaRPr lang="en-US" dirty="0">
              <a:solidFill>
                <a:schemeClr val="tx1">
                  <a:lumMod val="65000"/>
                  <a:lumOff val="35000"/>
                </a:schemeClr>
              </a:solidFill>
            </a:endParaRPr>
          </a:p>
        </p:txBody>
      </p:sp>
      <p:grpSp>
        <p:nvGrpSpPr>
          <p:cNvPr id="26" name="Group 25"/>
          <p:cNvGrpSpPr/>
          <p:nvPr/>
        </p:nvGrpSpPr>
        <p:grpSpPr>
          <a:xfrm>
            <a:off x="6958675" y="1319722"/>
            <a:ext cx="4859067" cy="796867"/>
            <a:chOff x="6958675" y="1319722"/>
            <a:chExt cx="4859067" cy="796867"/>
          </a:xfrm>
        </p:grpSpPr>
        <p:grpSp>
          <p:nvGrpSpPr>
            <p:cNvPr id="48" name="Group 47"/>
            <p:cNvGrpSpPr/>
            <p:nvPr/>
          </p:nvGrpSpPr>
          <p:grpSpPr>
            <a:xfrm>
              <a:off x="8981062" y="1319722"/>
              <a:ext cx="874955" cy="796867"/>
              <a:chOff x="3630105" y="3642109"/>
              <a:chExt cx="927253" cy="927253"/>
            </a:xfrm>
          </p:grpSpPr>
          <p:sp>
            <p:nvSpPr>
              <p:cNvPr id="49" name="Oval 48"/>
              <p:cNvSpPr/>
              <p:nvPr/>
            </p:nvSpPr>
            <p:spPr bwMode="auto">
              <a:xfrm>
                <a:off x="3630105" y="3642109"/>
                <a:ext cx="927253" cy="927253"/>
              </a:xfrm>
              <a:prstGeom prst="ellipse">
                <a:avLst/>
              </a:prstGeom>
              <a:solidFill>
                <a:schemeClr val="bg1"/>
              </a:solidFill>
              <a:ln w="285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IN" sz="1961" b="1" dirty="0">
                  <a:solidFill>
                    <a:srgbClr val="FFFFFF"/>
                  </a:solidFill>
                  <a:latin typeface="Segoe UI Light"/>
                  <a:ea typeface="Segoe UI" pitchFamily="34" charset="0"/>
                  <a:cs typeface="Segoe UI" pitchFamily="34" charset="0"/>
                </a:endParaRPr>
              </a:p>
            </p:txBody>
          </p:sp>
          <p:sp>
            <p:nvSpPr>
              <p:cNvPr id="50" name="Freeform 49"/>
              <p:cNvSpPr/>
              <p:nvPr/>
            </p:nvSpPr>
            <p:spPr>
              <a:xfrm>
                <a:off x="3892570" y="3699669"/>
                <a:ext cx="402323" cy="812133"/>
              </a:xfrm>
              <a:custGeom>
                <a:avLst/>
                <a:gdLst>
                  <a:gd name="connsiteX0" fmla="*/ 0 w 511968"/>
                  <a:gd name="connsiteY0" fmla="*/ 552450 h 1033463"/>
                  <a:gd name="connsiteX1" fmla="*/ 371475 w 511968"/>
                  <a:gd name="connsiteY1" fmla="*/ 0 h 1033463"/>
                  <a:gd name="connsiteX2" fmla="*/ 280987 w 511968"/>
                  <a:gd name="connsiteY2" fmla="*/ 411956 h 1033463"/>
                  <a:gd name="connsiteX3" fmla="*/ 511968 w 511968"/>
                  <a:gd name="connsiteY3" fmla="*/ 411956 h 1033463"/>
                  <a:gd name="connsiteX4" fmla="*/ 133350 w 511968"/>
                  <a:gd name="connsiteY4" fmla="*/ 1033463 h 1033463"/>
                  <a:gd name="connsiteX5" fmla="*/ 235743 w 511968"/>
                  <a:gd name="connsiteY5" fmla="*/ 554831 h 1033463"/>
                  <a:gd name="connsiteX6" fmla="*/ 0 w 511968"/>
                  <a:gd name="connsiteY6" fmla="*/ 552450 h 1033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1968" h="1033463">
                    <a:moveTo>
                      <a:pt x="0" y="552450"/>
                    </a:moveTo>
                    <a:lnTo>
                      <a:pt x="371475" y="0"/>
                    </a:lnTo>
                    <a:lnTo>
                      <a:pt x="280987" y="411956"/>
                    </a:lnTo>
                    <a:lnTo>
                      <a:pt x="511968" y="411956"/>
                    </a:lnTo>
                    <a:lnTo>
                      <a:pt x="133350" y="1033463"/>
                    </a:lnTo>
                    <a:lnTo>
                      <a:pt x="235743" y="554831"/>
                    </a:lnTo>
                    <a:lnTo>
                      <a:pt x="0" y="552450"/>
                    </a:lnTo>
                    <a:close/>
                  </a:path>
                </a:pathLst>
              </a:custGeom>
              <a:solidFill>
                <a:schemeClr val="accent3"/>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a:endParaRPr lang="en-US" sz="1765">
                  <a:solidFill>
                    <a:srgbClr val="FFFFFF"/>
                  </a:solidFill>
                </a:endParaRPr>
              </a:p>
            </p:txBody>
          </p:sp>
        </p:grpSp>
        <p:grpSp>
          <p:nvGrpSpPr>
            <p:cNvPr id="7" name="Group 6"/>
            <p:cNvGrpSpPr/>
            <p:nvPr/>
          </p:nvGrpSpPr>
          <p:grpSpPr>
            <a:xfrm>
              <a:off x="6958675" y="1519908"/>
              <a:ext cx="1645920" cy="396494"/>
              <a:chOff x="7060464" y="2029464"/>
              <a:chExt cx="1645920" cy="396494"/>
            </a:xfrm>
          </p:grpSpPr>
          <p:cxnSp>
            <p:nvCxnSpPr>
              <p:cNvPr id="58" name="Straight Connector 57"/>
              <p:cNvCxnSpPr/>
              <p:nvPr/>
            </p:nvCxnSpPr>
            <p:spPr>
              <a:xfrm>
                <a:off x="7060464" y="2227711"/>
                <a:ext cx="1645920" cy="0"/>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61" name="Oval 60"/>
              <p:cNvSpPr/>
              <p:nvPr/>
            </p:nvSpPr>
            <p:spPr bwMode="auto">
              <a:xfrm>
                <a:off x="7071763" y="2029464"/>
                <a:ext cx="396494" cy="396494"/>
              </a:xfrm>
              <a:prstGeom prst="ellipse">
                <a:avLst/>
              </a:prstGeom>
              <a:solidFill>
                <a:schemeClr val="bg2"/>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IN" sz="1078" dirty="0">
                    <a:solidFill>
                      <a:srgbClr val="505050"/>
                    </a:solidFill>
                    <a:latin typeface="Segoe UI Semibold" panose="020B0702040204020203" pitchFamily="34" charset="0"/>
                    <a:ea typeface="Segoe UI" pitchFamily="34" charset="0"/>
                    <a:cs typeface="Segoe UI" pitchFamily="34" charset="0"/>
                  </a:rPr>
                  <a:t>{…}</a:t>
                </a:r>
              </a:p>
            </p:txBody>
          </p:sp>
          <p:sp>
            <p:nvSpPr>
              <p:cNvPr id="62" name="Oval 61"/>
              <p:cNvSpPr/>
              <p:nvPr/>
            </p:nvSpPr>
            <p:spPr bwMode="auto">
              <a:xfrm>
                <a:off x="7674761" y="2029464"/>
                <a:ext cx="396494" cy="396494"/>
              </a:xfrm>
              <a:prstGeom prst="ellipse">
                <a:avLst/>
              </a:prstGeom>
              <a:solidFill>
                <a:schemeClr val="accent1">
                  <a:lumMod val="20000"/>
                  <a:lumOff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IN" sz="1078" dirty="0">
                    <a:solidFill>
                      <a:srgbClr val="505050"/>
                    </a:solidFill>
                    <a:latin typeface="Segoe UI Semibold" panose="020B0702040204020203" pitchFamily="34" charset="0"/>
                    <a:ea typeface="Segoe UI" pitchFamily="34" charset="0"/>
                    <a:cs typeface="Segoe UI" pitchFamily="34" charset="0"/>
                  </a:rPr>
                  <a:t>{…}</a:t>
                </a:r>
              </a:p>
            </p:txBody>
          </p:sp>
          <p:sp>
            <p:nvSpPr>
              <p:cNvPr id="63" name="Oval 62"/>
              <p:cNvSpPr/>
              <p:nvPr/>
            </p:nvSpPr>
            <p:spPr bwMode="auto">
              <a:xfrm>
                <a:off x="8277760" y="2029464"/>
                <a:ext cx="396494" cy="396494"/>
              </a:xfrm>
              <a:prstGeom prst="ellipse">
                <a:avLst/>
              </a:prstGeom>
              <a:solidFill>
                <a:schemeClr val="accent4">
                  <a:lumMod val="20000"/>
                  <a:lumOff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IN" sz="1078" dirty="0">
                    <a:solidFill>
                      <a:srgbClr val="505050"/>
                    </a:solidFill>
                    <a:latin typeface="Segoe UI Semibold" panose="020B0702040204020203" pitchFamily="34" charset="0"/>
                    <a:ea typeface="Segoe UI" pitchFamily="34" charset="0"/>
                    <a:cs typeface="Segoe UI" pitchFamily="34" charset="0"/>
                  </a:rPr>
                  <a:t>{…}</a:t>
                </a:r>
              </a:p>
            </p:txBody>
          </p:sp>
        </p:grpSp>
        <p:grpSp>
          <p:nvGrpSpPr>
            <p:cNvPr id="86" name="Group 85"/>
            <p:cNvGrpSpPr/>
            <p:nvPr/>
          </p:nvGrpSpPr>
          <p:grpSpPr>
            <a:xfrm>
              <a:off x="10171822" y="1519908"/>
              <a:ext cx="1645920" cy="396494"/>
              <a:chOff x="7060464" y="2029464"/>
              <a:chExt cx="1645920" cy="396494"/>
            </a:xfrm>
          </p:grpSpPr>
          <p:cxnSp>
            <p:nvCxnSpPr>
              <p:cNvPr id="87" name="Straight Connector 86"/>
              <p:cNvCxnSpPr/>
              <p:nvPr/>
            </p:nvCxnSpPr>
            <p:spPr>
              <a:xfrm>
                <a:off x="7060464" y="2227711"/>
                <a:ext cx="1645920" cy="0"/>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88" name="Oval 87"/>
              <p:cNvSpPr/>
              <p:nvPr/>
            </p:nvSpPr>
            <p:spPr bwMode="auto">
              <a:xfrm>
                <a:off x="7071763" y="2029464"/>
                <a:ext cx="396494" cy="396494"/>
              </a:xfrm>
              <a:prstGeom prst="ellipse">
                <a:avLst/>
              </a:prstGeom>
              <a:solidFill>
                <a:schemeClr val="accent3">
                  <a:lumMod val="20000"/>
                  <a:lumOff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IN" sz="1078" dirty="0">
                    <a:solidFill>
                      <a:srgbClr val="505050"/>
                    </a:solidFill>
                    <a:latin typeface="Segoe UI Semibold" panose="020B0702040204020203" pitchFamily="34" charset="0"/>
                    <a:ea typeface="Segoe UI" pitchFamily="34" charset="0"/>
                    <a:cs typeface="Segoe UI" pitchFamily="34" charset="0"/>
                  </a:rPr>
                  <a:t>{…}</a:t>
                </a:r>
              </a:p>
            </p:txBody>
          </p:sp>
          <p:sp>
            <p:nvSpPr>
              <p:cNvPr id="89" name="Oval 88"/>
              <p:cNvSpPr/>
              <p:nvPr/>
            </p:nvSpPr>
            <p:spPr bwMode="auto">
              <a:xfrm>
                <a:off x="7674761" y="2029464"/>
                <a:ext cx="396494" cy="396494"/>
              </a:xfrm>
              <a:prstGeom prst="ellipse">
                <a:avLst/>
              </a:prstGeom>
              <a:solidFill>
                <a:schemeClr val="accent5">
                  <a:lumMod val="40000"/>
                  <a:lumOff val="6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IN" sz="1078" dirty="0">
                    <a:solidFill>
                      <a:srgbClr val="505050"/>
                    </a:solidFill>
                    <a:latin typeface="Segoe UI Semibold" panose="020B0702040204020203" pitchFamily="34" charset="0"/>
                    <a:ea typeface="Segoe UI" pitchFamily="34" charset="0"/>
                    <a:cs typeface="Segoe UI" pitchFamily="34" charset="0"/>
                  </a:rPr>
                  <a:t>{…}</a:t>
                </a:r>
              </a:p>
            </p:txBody>
          </p:sp>
          <p:sp>
            <p:nvSpPr>
              <p:cNvPr id="90" name="Oval 89"/>
              <p:cNvSpPr/>
              <p:nvPr/>
            </p:nvSpPr>
            <p:spPr bwMode="auto">
              <a:xfrm>
                <a:off x="8277760" y="2029464"/>
                <a:ext cx="396494" cy="396494"/>
              </a:xfrm>
              <a:prstGeom prst="ellipse">
                <a:avLst/>
              </a:prstGeom>
              <a:solidFill>
                <a:schemeClr val="accent2">
                  <a:lumMod val="20000"/>
                  <a:lumOff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IN" sz="1078" dirty="0">
                    <a:solidFill>
                      <a:srgbClr val="505050"/>
                    </a:solidFill>
                    <a:latin typeface="Segoe UI Semibold" panose="020B0702040204020203" pitchFamily="34" charset="0"/>
                    <a:ea typeface="Segoe UI" pitchFamily="34" charset="0"/>
                    <a:cs typeface="Segoe UI" pitchFamily="34" charset="0"/>
                  </a:rPr>
                  <a:t>{…}</a:t>
                </a:r>
              </a:p>
            </p:txBody>
          </p:sp>
        </p:grpSp>
        <p:cxnSp>
          <p:nvCxnSpPr>
            <p:cNvPr id="14" name="Straight Arrow Connector 13"/>
            <p:cNvCxnSpPr>
              <a:stCxn id="63" idx="6"/>
              <a:endCxn id="49" idx="2"/>
            </p:cNvCxnSpPr>
            <p:nvPr/>
          </p:nvCxnSpPr>
          <p:spPr>
            <a:xfrm>
              <a:off x="8572465" y="1718155"/>
              <a:ext cx="408597" cy="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a:stCxn id="49" idx="6"/>
              <a:endCxn id="88" idx="2"/>
            </p:cNvCxnSpPr>
            <p:nvPr/>
          </p:nvCxnSpPr>
          <p:spPr>
            <a:xfrm flipV="1">
              <a:off x="9856017" y="1718155"/>
              <a:ext cx="327104" cy="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25" name="Group 24"/>
          <p:cNvGrpSpPr/>
          <p:nvPr/>
        </p:nvGrpSpPr>
        <p:grpSpPr>
          <a:xfrm>
            <a:off x="6958675" y="2655695"/>
            <a:ext cx="4724820" cy="1591080"/>
            <a:chOff x="7092922" y="2832261"/>
            <a:chExt cx="4724820" cy="1591080"/>
          </a:xfrm>
        </p:grpSpPr>
        <p:grpSp>
          <p:nvGrpSpPr>
            <p:cNvPr id="91" name="Group 90"/>
            <p:cNvGrpSpPr/>
            <p:nvPr/>
          </p:nvGrpSpPr>
          <p:grpSpPr>
            <a:xfrm rot="1170801">
              <a:off x="7092922" y="2832261"/>
              <a:ext cx="1645920" cy="396494"/>
              <a:chOff x="7060464" y="2029464"/>
              <a:chExt cx="1645920" cy="396494"/>
            </a:xfrm>
          </p:grpSpPr>
          <p:cxnSp>
            <p:nvCxnSpPr>
              <p:cNvPr id="92" name="Straight Connector 91"/>
              <p:cNvCxnSpPr/>
              <p:nvPr/>
            </p:nvCxnSpPr>
            <p:spPr>
              <a:xfrm>
                <a:off x="7060464" y="2227711"/>
                <a:ext cx="1645920" cy="0"/>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93" name="Oval 92"/>
              <p:cNvSpPr/>
              <p:nvPr/>
            </p:nvSpPr>
            <p:spPr bwMode="auto">
              <a:xfrm>
                <a:off x="7071763" y="2029464"/>
                <a:ext cx="396494" cy="396494"/>
              </a:xfrm>
              <a:prstGeom prst="ellipse">
                <a:avLst/>
              </a:prstGeom>
              <a:solidFill>
                <a:schemeClr val="accent5">
                  <a:lumMod val="60000"/>
                  <a:lumOff val="4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IN" sz="1078" dirty="0">
                    <a:solidFill>
                      <a:srgbClr val="505050"/>
                    </a:solidFill>
                    <a:latin typeface="Segoe UI Semibold" panose="020B0702040204020203" pitchFamily="34" charset="0"/>
                    <a:ea typeface="Segoe UI" pitchFamily="34" charset="0"/>
                    <a:cs typeface="Segoe UI" pitchFamily="34" charset="0"/>
                  </a:rPr>
                  <a:t>{…}</a:t>
                </a:r>
              </a:p>
            </p:txBody>
          </p:sp>
          <p:sp>
            <p:nvSpPr>
              <p:cNvPr id="94" name="Oval 93"/>
              <p:cNvSpPr/>
              <p:nvPr/>
            </p:nvSpPr>
            <p:spPr bwMode="auto">
              <a:xfrm>
                <a:off x="7674761" y="2029464"/>
                <a:ext cx="396494" cy="396494"/>
              </a:xfrm>
              <a:prstGeom prst="ellipse">
                <a:avLst/>
              </a:prstGeom>
              <a:solidFill>
                <a:schemeClr val="accent1">
                  <a:lumMod val="20000"/>
                  <a:lumOff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IN" sz="1078" dirty="0">
                    <a:solidFill>
                      <a:srgbClr val="505050"/>
                    </a:solidFill>
                    <a:latin typeface="Segoe UI Semibold" panose="020B0702040204020203" pitchFamily="34" charset="0"/>
                    <a:ea typeface="Segoe UI" pitchFamily="34" charset="0"/>
                    <a:cs typeface="Segoe UI" pitchFamily="34" charset="0"/>
                  </a:rPr>
                  <a:t>{…}</a:t>
                </a:r>
              </a:p>
            </p:txBody>
          </p:sp>
          <p:sp>
            <p:nvSpPr>
              <p:cNvPr id="95" name="Oval 94"/>
              <p:cNvSpPr/>
              <p:nvPr/>
            </p:nvSpPr>
            <p:spPr bwMode="auto">
              <a:xfrm>
                <a:off x="8277760" y="2029464"/>
                <a:ext cx="396494" cy="396494"/>
              </a:xfrm>
              <a:prstGeom prst="ellipse">
                <a:avLst/>
              </a:prstGeom>
              <a:solidFill>
                <a:schemeClr val="accent4">
                  <a:lumMod val="20000"/>
                  <a:lumOff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IN" sz="1078" dirty="0">
                    <a:solidFill>
                      <a:srgbClr val="505050"/>
                    </a:solidFill>
                    <a:latin typeface="Segoe UI Semibold" panose="020B0702040204020203" pitchFamily="34" charset="0"/>
                    <a:ea typeface="Segoe UI" pitchFamily="34" charset="0"/>
                    <a:cs typeface="Segoe UI" pitchFamily="34" charset="0"/>
                  </a:rPr>
                  <a:t>{…}</a:t>
                </a:r>
              </a:p>
            </p:txBody>
          </p:sp>
        </p:grpSp>
        <p:grpSp>
          <p:nvGrpSpPr>
            <p:cNvPr id="96" name="Group 95"/>
            <p:cNvGrpSpPr/>
            <p:nvPr/>
          </p:nvGrpSpPr>
          <p:grpSpPr>
            <a:xfrm rot="20481925">
              <a:off x="7121091" y="4026847"/>
              <a:ext cx="1645920" cy="396494"/>
              <a:chOff x="7060464" y="2029464"/>
              <a:chExt cx="1645920" cy="396494"/>
            </a:xfrm>
          </p:grpSpPr>
          <p:cxnSp>
            <p:nvCxnSpPr>
              <p:cNvPr id="97" name="Straight Connector 96"/>
              <p:cNvCxnSpPr/>
              <p:nvPr/>
            </p:nvCxnSpPr>
            <p:spPr>
              <a:xfrm>
                <a:off x="7060464" y="2227711"/>
                <a:ext cx="1645920" cy="0"/>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98" name="Oval 97"/>
              <p:cNvSpPr/>
              <p:nvPr/>
            </p:nvSpPr>
            <p:spPr bwMode="auto">
              <a:xfrm>
                <a:off x="7071763" y="2029464"/>
                <a:ext cx="396494" cy="396494"/>
              </a:xfrm>
              <a:prstGeom prst="ellipse">
                <a:avLst/>
              </a:prstGeom>
              <a:solidFill>
                <a:srgbClr val="FFC000"/>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IN" sz="1078" dirty="0">
                    <a:solidFill>
                      <a:srgbClr val="505050"/>
                    </a:solidFill>
                    <a:latin typeface="Segoe UI Semibold" panose="020B0702040204020203" pitchFamily="34" charset="0"/>
                    <a:ea typeface="Segoe UI" pitchFamily="34" charset="0"/>
                    <a:cs typeface="Segoe UI" pitchFamily="34" charset="0"/>
                  </a:rPr>
                  <a:t>{…}</a:t>
                </a:r>
              </a:p>
            </p:txBody>
          </p:sp>
          <p:sp>
            <p:nvSpPr>
              <p:cNvPr id="99" name="Oval 98"/>
              <p:cNvSpPr/>
              <p:nvPr/>
            </p:nvSpPr>
            <p:spPr bwMode="auto">
              <a:xfrm>
                <a:off x="7674761" y="2029464"/>
                <a:ext cx="396494" cy="396494"/>
              </a:xfrm>
              <a:prstGeom prst="ellipse">
                <a:avLst/>
              </a:prstGeom>
              <a:solidFill>
                <a:schemeClr val="accent5">
                  <a:lumMod val="60000"/>
                  <a:lumOff val="4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IN" sz="1078" dirty="0">
                    <a:solidFill>
                      <a:srgbClr val="505050"/>
                    </a:solidFill>
                    <a:latin typeface="Segoe UI Semibold" panose="020B0702040204020203" pitchFamily="34" charset="0"/>
                    <a:ea typeface="Segoe UI" pitchFamily="34" charset="0"/>
                    <a:cs typeface="Segoe UI" pitchFamily="34" charset="0"/>
                  </a:rPr>
                  <a:t>{…}</a:t>
                </a:r>
              </a:p>
            </p:txBody>
          </p:sp>
          <p:sp>
            <p:nvSpPr>
              <p:cNvPr id="100" name="Oval 99"/>
              <p:cNvSpPr/>
              <p:nvPr/>
            </p:nvSpPr>
            <p:spPr bwMode="auto">
              <a:xfrm>
                <a:off x="8277760" y="2029464"/>
                <a:ext cx="396494" cy="396494"/>
              </a:xfrm>
              <a:prstGeom prst="ellipse">
                <a:avLst/>
              </a:prstGeom>
              <a:solidFill>
                <a:schemeClr val="accent4">
                  <a:lumMod val="20000"/>
                  <a:lumOff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IN" sz="1078" dirty="0">
                    <a:solidFill>
                      <a:srgbClr val="505050"/>
                    </a:solidFill>
                    <a:latin typeface="Segoe UI Semibold" panose="020B0702040204020203" pitchFamily="34" charset="0"/>
                    <a:ea typeface="Segoe UI" pitchFamily="34" charset="0"/>
                    <a:cs typeface="Segoe UI" pitchFamily="34" charset="0"/>
                  </a:rPr>
                  <a:t>{…}</a:t>
                </a:r>
              </a:p>
            </p:txBody>
          </p:sp>
        </p:grpSp>
        <p:grpSp>
          <p:nvGrpSpPr>
            <p:cNvPr id="106" name="Group 105"/>
            <p:cNvGrpSpPr/>
            <p:nvPr/>
          </p:nvGrpSpPr>
          <p:grpSpPr>
            <a:xfrm>
              <a:off x="10171822" y="3388050"/>
              <a:ext cx="1645920" cy="396494"/>
              <a:chOff x="7060464" y="2029464"/>
              <a:chExt cx="1645920" cy="396494"/>
            </a:xfrm>
          </p:grpSpPr>
          <p:cxnSp>
            <p:nvCxnSpPr>
              <p:cNvPr id="107" name="Straight Connector 106"/>
              <p:cNvCxnSpPr/>
              <p:nvPr/>
            </p:nvCxnSpPr>
            <p:spPr>
              <a:xfrm>
                <a:off x="7060464" y="2227711"/>
                <a:ext cx="1645920" cy="0"/>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08" name="Oval 107"/>
              <p:cNvSpPr/>
              <p:nvPr/>
            </p:nvSpPr>
            <p:spPr bwMode="auto">
              <a:xfrm>
                <a:off x="7071763" y="2029464"/>
                <a:ext cx="396494" cy="396494"/>
              </a:xfrm>
              <a:prstGeom prst="ellipse">
                <a:avLst/>
              </a:prstGeom>
              <a:solidFill>
                <a:srgbClr val="FFC000"/>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IN" sz="1078" dirty="0">
                    <a:solidFill>
                      <a:srgbClr val="505050"/>
                    </a:solidFill>
                    <a:latin typeface="Segoe UI Semibold" panose="020B0702040204020203" pitchFamily="34" charset="0"/>
                    <a:ea typeface="Segoe UI" pitchFamily="34" charset="0"/>
                    <a:cs typeface="Segoe UI" pitchFamily="34" charset="0"/>
                  </a:rPr>
                  <a:t>{…}</a:t>
                </a:r>
              </a:p>
            </p:txBody>
          </p:sp>
          <p:sp>
            <p:nvSpPr>
              <p:cNvPr id="109" name="Oval 108"/>
              <p:cNvSpPr/>
              <p:nvPr/>
            </p:nvSpPr>
            <p:spPr bwMode="auto">
              <a:xfrm>
                <a:off x="7674761" y="2029464"/>
                <a:ext cx="396494" cy="396494"/>
              </a:xfrm>
              <a:prstGeom prst="ellipse">
                <a:avLst/>
              </a:prstGeom>
              <a:solidFill>
                <a:srgbClr val="00B0F0"/>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IN" sz="1078" dirty="0">
                    <a:solidFill>
                      <a:srgbClr val="505050"/>
                    </a:solidFill>
                    <a:latin typeface="Segoe UI Semibold" panose="020B0702040204020203" pitchFamily="34" charset="0"/>
                    <a:ea typeface="Segoe UI" pitchFamily="34" charset="0"/>
                    <a:cs typeface="Segoe UI" pitchFamily="34" charset="0"/>
                  </a:rPr>
                  <a:t>{…}</a:t>
                </a:r>
              </a:p>
            </p:txBody>
          </p:sp>
          <p:sp>
            <p:nvSpPr>
              <p:cNvPr id="110" name="Oval 109"/>
              <p:cNvSpPr/>
              <p:nvPr/>
            </p:nvSpPr>
            <p:spPr bwMode="auto">
              <a:xfrm>
                <a:off x="8277760" y="2029464"/>
                <a:ext cx="396494" cy="396494"/>
              </a:xfrm>
              <a:prstGeom prst="ellipse">
                <a:avLst/>
              </a:prstGeom>
              <a:solidFill>
                <a:schemeClr val="accent5">
                  <a:lumMod val="60000"/>
                  <a:lumOff val="4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IN" sz="1078" dirty="0">
                    <a:solidFill>
                      <a:srgbClr val="505050"/>
                    </a:solidFill>
                    <a:latin typeface="Segoe UI Semibold" panose="020B0702040204020203" pitchFamily="34" charset="0"/>
                    <a:ea typeface="Segoe UI" pitchFamily="34" charset="0"/>
                    <a:cs typeface="Segoe UI" pitchFamily="34" charset="0"/>
                  </a:rPr>
                  <a:t>{…}</a:t>
                </a:r>
              </a:p>
            </p:txBody>
          </p:sp>
        </p:grpSp>
        <p:cxnSp>
          <p:nvCxnSpPr>
            <p:cNvPr id="111" name="Straight Arrow Connector 110"/>
            <p:cNvCxnSpPr/>
            <p:nvPr/>
          </p:nvCxnSpPr>
          <p:spPr>
            <a:xfrm flipV="1">
              <a:off x="9795762" y="3606886"/>
              <a:ext cx="385649" cy="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51" name="Group 50"/>
            <p:cNvGrpSpPr/>
            <p:nvPr/>
          </p:nvGrpSpPr>
          <p:grpSpPr>
            <a:xfrm>
              <a:off x="8981062" y="3198014"/>
              <a:ext cx="874955" cy="796867"/>
              <a:chOff x="3630105" y="3642109"/>
              <a:chExt cx="927253" cy="927253"/>
            </a:xfrm>
          </p:grpSpPr>
          <p:sp>
            <p:nvSpPr>
              <p:cNvPr id="52" name="Oval 51"/>
              <p:cNvSpPr/>
              <p:nvPr/>
            </p:nvSpPr>
            <p:spPr bwMode="auto">
              <a:xfrm>
                <a:off x="3630105" y="3642109"/>
                <a:ext cx="927253" cy="927253"/>
              </a:xfrm>
              <a:prstGeom prst="ellipse">
                <a:avLst/>
              </a:prstGeom>
              <a:solidFill>
                <a:schemeClr val="bg1"/>
              </a:solidFill>
              <a:ln w="285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IN" sz="1961" b="1" dirty="0">
                  <a:solidFill>
                    <a:srgbClr val="FFFFFF"/>
                  </a:solidFill>
                  <a:latin typeface="Segoe UI Light"/>
                  <a:ea typeface="Segoe UI" pitchFamily="34" charset="0"/>
                  <a:cs typeface="Segoe UI" pitchFamily="34" charset="0"/>
                </a:endParaRPr>
              </a:p>
            </p:txBody>
          </p:sp>
          <p:sp>
            <p:nvSpPr>
              <p:cNvPr id="53" name="Freeform 52"/>
              <p:cNvSpPr/>
              <p:nvPr/>
            </p:nvSpPr>
            <p:spPr>
              <a:xfrm>
                <a:off x="3892570" y="3699669"/>
                <a:ext cx="402323" cy="812133"/>
              </a:xfrm>
              <a:custGeom>
                <a:avLst/>
                <a:gdLst>
                  <a:gd name="connsiteX0" fmla="*/ 0 w 511968"/>
                  <a:gd name="connsiteY0" fmla="*/ 552450 h 1033463"/>
                  <a:gd name="connsiteX1" fmla="*/ 371475 w 511968"/>
                  <a:gd name="connsiteY1" fmla="*/ 0 h 1033463"/>
                  <a:gd name="connsiteX2" fmla="*/ 280987 w 511968"/>
                  <a:gd name="connsiteY2" fmla="*/ 411956 h 1033463"/>
                  <a:gd name="connsiteX3" fmla="*/ 511968 w 511968"/>
                  <a:gd name="connsiteY3" fmla="*/ 411956 h 1033463"/>
                  <a:gd name="connsiteX4" fmla="*/ 133350 w 511968"/>
                  <a:gd name="connsiteY4" fmla="*/ 1033463 h 1033463"/>
                  <a:gd name="connsiteX5" fmla="*/ 235743 w 511968"/>
                  <a:gd name="connsiteY5" fmla="*/ 554831 h 1033463"/>
                  <a:gd name="connsiteX6" fmla="*/ 0 w 511968"/>
                  <a:gd name="connsiteY6" fmla="*/ 552450 h 1033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1968" h="1033463">
                    <a:moveTo>
                      <a:pt x="0" y="552450"/>
                    </a:moveTo>
                    <a:lnTo>
                      <a:pt x="371475" y="0"/>
                    </a:lnTo>
                    <a:lnTo>
                      <a:pt x="280987" y="411956"/>
                    </a:lnTo>
                    <a:lnTo>
                      <a:pt x="511968" y="411956"/>
                    </a:lnTo>
                    <a:lnTo>
                      <a:pt x="133350" y="1033463"/>
                    </a:lnTo>
                    <a:lnTo>
                      <a:pt x="235743" y="554831"/>
                    </a:lnTo>
                    <a:lnTo>
                      <a:pt x="0" y="552450"/>
                    </a:lnTo>
                    <a:close/>
                  </a:path>
                </a:pathLst>
              </a:custGeom>
              <a:solidFill>
                <a:schemeClr val="accent3"/>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a:endParaRPr lang="en-US" sz="1765">
                  <a:solidFill>
                    <a:srgbClr val="FFFFFF"/>
                  </a:solidFill>
                </a:endParaRPr>
              </a:p>
            </p:txBody>
          </p:sp>
        </p:grpSp>
        <p:cxnSp>
          <p:nvCxnSpPr>
            <p:cNvPr id="112" name="Straight Arrow Connector 111"/>
            <p:cNvCxnSpPr/>
            <p:nvPr/>
          </p:nvCxnSpPr>
          <p:spPr>
            <a:xfrm rot="1320000">
              <a:off x="8626463" y="3393462"/>
              <a:ext cx="408597" cy="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3" name="Straight Arrow Connector 112"/>
            <p:cNvCxnSpPr/>
            <p:nvPr/>
          </p:nvCxnSpPr>
          <p:spPr>
            <a:xfrm rot="-1620000">
              <a:off x="8664617" y="3884470"/>
              <a:ext cx="408597" cy="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14" name="Group 113"/>
          <p:cNvGrpSpPr/>
          <p:nvPr/>
        </p:nvGrpSpPr>
        <p:grpSpPr>
          <a:xfrm flipH="1">
            <a:off x="6958675" y="4628525"/>
            <a:ext cx="4724820" cy="1591080"/>
            <a:chOff x="7092922" y="2832261"/>
            <a:chExt cx="4724820" cy="1591080"/>
          </a:xfrm>
        </p:grpSpPr>
        <p:cxnSp>
          <p:nvCxnSpPr>
            <p:cNvPr id="118" name="Straight Arrow Connector 117"/>
            <p:cNvCxnSpPr/>
            <p:nvPr/>
          </p:nvCxnSpPr>
          <p:spPr>
            <a:xfrm flipV="1">
              <a:off x="9867680" y="3606886"/>
              <a:ext cx="385649" cy="1"/>
            </a:xfrm>
            <a:prstGeom prst="straightConnector1">
              <a:avLst/>
            </a:prstGeom>
            <a:ln>
              <a:solidFill>
                <a:schemeClr val="tx1"/>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15" name="Group 114"/>
            <p:cNvGrpSpPr/>
            <p:nvPr/>
          </p:nvGrpSpPr>
          <p:grpSpPr>
            <a:xfrm rot="1170801">
              <a:off x="7092922" y="2832261"/>
              <a:ext cx="1645920" cy="396494"/>
              <a:chOff x="7060464" y="2029464"/>
              <a:chExt cx="1645920" cy="396494"/>
            </a:xfrm>
          </p:grpSpPr>
          <p:cxnSp>
            <p:nvCxnSpPr>
              <p:cNvPr id="132" name="Straight Connector 131"/>
              <p:cNvCxnSpPr/>
              <p:nvPr/>
            </p:nvCxnSpPr>
            <p:spPr>
              <a:xfrm>
                <a:off x="7060464" y="2227711"/>
                <a:ext cx="1645920" cy="0"/>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33" name="Oval 132"/>
              <p:cNvSpPr/>
              <p:nvPr/>
            </p:nvSpPr>
            <p:spPr bwMode="auto">
              <a:xfrm>
                <a:off x="7071763" y="2029464"/>
                <a:ext cx="396494" cy="396494"/>
              </a:xfrm>
              <a:prstGeom prst="ellipse">
                <a:avLst/>
              </a:prstGeom>
              <a:solidFill>
                <a:schemeClr val="accent5">
                  <a:lumMod val="60000"/>
                  <a:lumOff val="4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IN" sz="1078" dirty="0">
                    <a:solidFill>
                      <a:srgbClr val="505050"/>
                    </a:solidFill>
                    <a:latin typeface="Segoe UI Semibold" panose="020B0702040204020203" pitchFamily="34" charset="0"/>
                    <a:ea typeface="Segoe UI" pitchFamily="34" charset="0"/>
                    <a:cs typeface="Segoe UI" pitchFamily="34" charset="0"/>
                  </a:rPr>
                  <a:t>{…}</a:t>
                </a:r>
              </a:p>
            </p:txBody>
          </p:sp>
          <p:sp>
            <p:nvSpPr>
              <p:cNvPr id="134" name="Oval 133"/>
              <p:cNvSpPr/>
              <p:nvPr/>
            </p:nvSpPr>
            <p:spPr bwMode="auto">
              <a:xfrm>
                <a:off x="7674761" y="2029464"/>
                <a:ext cx="396494" cy="396494"/>
              </a:xfrm>
              <a:prstGeom prst="ellipse">
                <a:avLst/>
              </a:prstGeom>
              <a:solidFill>
                <a:schemeClr val="accent1">
                  <a:lumMod val="20000"/>
                  <a:lumOff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IN" sz="1078" dirty="0">
                    <a:solidFill>
                      <a:srgbClr val="505050"/>
                    </a:solidFill>
                    <a:latin typeface="Segoe UI Semibold" panose="020B0702040204020203" pitchFamily="34" charset="0"/>
                    <a:ea typeface="Segoe UI" pitchFamily="34" charset="0"/>
                    <a:cs typeface="Segoe UI" pitchFamily="34" charset="0"/>
                  </a:rPr>
                  <a:t>{…}</a:t>
                </a:r>
              </a:p>
            </p:txBody>
          </p:sp>
          <p:sp>
            <p:nvSpPr>
              <p:cNvPr id="135" name="Oval 134"/>
              <p:cNvSpPr/>
              <p:nvPr/>
            </p:nvSpPr>
            <p:spPr bwMode="auto">
              <a:xfrm>
                <a:off x="8277760" y="2029464"/>
                <a:ext cx="396494" cy="396494"/>
              </a:xfrm>
              <a:prstGeom prst="ellipse">
                <a:avLst/>
              </a:prstGeom>
              <a:solidFill>
                <a:schemeClr val="accent4">
                  <a:lumMod val="20000"/>
                  <a:lumOff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IN" sz="1078" dirty="0">
                    <a:solidFill>
                      <a:srgbClr val="505050"/>
                    </a:solidFill>
                    <a:latin typeface="Segoe UI Semibold" panose="020B0702040204020203" pitchFamily="34" charset="0"/>
                    <a:ea typeface="Segoe UI" pitchFamily="34" charset="0"/>
                    <a:cs typeface="Segoe UI" pitchFamily="34" charset="0"/>
                  </a:rPr>
                  <a:t>{…}</a:t>
                </a:r>
              </a:p>
            </p:txBody>
          </p:sp>
        </p:grpSp>
        <p:grpSp>
          <p:nvGrpSpPr>
            <p:cNvPr id="116" name="Group 115"/>
            <p:cNvGrpSpPr/>
            <p:nvPr/>
          </p:nvGrpSpPr>
          <p:grpSpPr>
            <a:xfrm rot="20481925">
              <a:off x="7121091" y="4026847"/>
              <a:ext cx="1645920" cy="396494"/>
              <a:chOff x="7060464" y="2029464"/>
              <a:chExt cx="1645920" cy="396494"/>
            </a:xfrm>
          </p:grpSpPr>
          <p:cxnSp>
            <p:nvCxnSpPr>
              <p:cNvPr id="128" name="Straight Connector 127"/>
              <p:cNvCxnSpPr/>
              <p:nvPr/>
            </p:nvCxnSpPr>
            <p:spPr>
              <a:xfrm>
                <a:off x="7060464" y="2227711"/>
                <a:ext cx="1645920" cy="0"/>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9" name="Oval 128"/>
              <p:cNvSpPr/>
              <p:nvPr/>
            </p:nvSpPr>
            <p:spPr bwMode="auto">
              <a:xfrm>
                <a:off x="7071763" y="2029464"/>
                <a:ext cx="396494" cy="396494"/>
              </a:xfrm>
              <a:prstGeom prst="ellipse">
                <a:avLst/>
              </a:prstGeom>
              <a:solidFill>
                <a:srgbClr val="FFC000"/>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IN" sz="1078" dirty="0">
                    <a:solidFill>
                      <a:srgbClr val="505050"/>
                    </a:solidFill>
                    <a:latin typeface="Segoe UI Semibold" panose="020B0702040204020203" pitchFamily="34" charset="0"/>
                    <a:ea typeface="Segoe UI" pitchFamily="34" charset="0"/>
                    <a:cs typeface="Segoe UI" pitchFamily="34" charset="0"/>
                  </a:rPr>
                  <a:t>{…}</a:t>
                </a:r>
              </a:p>
            </p:txBody>
          </p:sp>
          <p:sp>
            <p:nvSpPr>
              <p:cNvPr id="130" name="Oval 129"/>
              <p:cNvSpPr/>
              <p:nvPr/>
            </p:nvSpPr>
            <p:spPr bwMode="auto">
              <a:xfrm>
                <a:off x="7674761" y="2029464"/>
                <a:ext cx="396494" cy="396494"/>
              </a:xfrm>
              <a:prstGeom prst="ellipse">
                <a:avLst/>
              </a:prstGeom>
              <a:solidFill>
                <a:schemeClr val="accent5">
                  <a:lumMod val="60000"/>
                  <a:lumOff val="4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IN" sz="1078" dirty="0">
                    <a:solidFill>
                      <a:srgbClr val="505050"/>
                    </a:solidFill>
                    <a:latin typeface="Segoe UI Semibold" panose="020B0702040204020203" pitchFamily="34" charset="0"/>
                    <a:ea typeface="Segoe UI" pitchFamily="34" charset="0"/>
                    <a:cs typeface="Segoe UI" pitchFamily="34" charset="0"/>
                  </a:rPr>
                  <a:t>{…}</a:t>
                </a:r>
              </a:p>
            </p:txBody>
          </p:sp>
          <p:sp>
            <p:nvSpPr>
              <p:cNvPr id="131" name="Oval 130"/>
              <p:cNvSpPr/>
              <p:nvPr/>
            </p:nvSpPr>
            <p:spPr bwMode="auto">
              <a:xfrm>
                <a:off x="8277760" y="2029464"/>
                <a:ext cx="396494" cy="396494"/>
              </a:xfrm>
              <a:prstGeom prst="ellipse">
                <a:avLst/>
              </a:prstGeom>
              <a:solidFill>
                <a:schemeClr val="accent4">
                  <a:lumMod val="20000"/>
                  <a:lumOff val="8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IN" sz="1078" dirty="0">
                    <a:solidFill>
                      <a:srgbClr val="505050"/>
                    </a:solidFill>
                    <a:latin typeface="Segoe UI Semibold" panose="020B0702040204020203" pitchFamily="34" charset="0"/>
                    <a:ea typeface="Segoe UI" pitchFamily="34" charset="0"/>
                    <a:cs typeface="Segoe UI" pitchFamily="34" charset="0"/>
                  </a:rPr>
                  <a:t>{…}</a:t>
                </a:r>
              </a:p>
            </p:txBody>
          </p:sp>
        </p:grpSp>
        <p:grpSp>
          <p:nvGrpSpPr>
            <p:cNvPr id="117" name="Group 116"/>
            <p:cNvGrpSpPr/>
            <p:nvPr/>
          </p:nvGrpSpPr>
          <p:grpSpPr>
            <a:xfrm>
              <a:off x="10171822" y="3388050"/>
              <a:ext cx="1645920" cy="396494"/>
              <a:chOff x="7060464" y="2029464"/>
              <a:chExt cx="1645920" cy="396494"/>
            </a:xfrm>
          </p:grpSpPr>
          <p:cxnSp>
            <p:nvCxnSpPr>
              <p:cNvPr id="124" name="Straight Connector 123"/>
              <p:cNvCxnSpPr/>
              <p:nvPr/>
            </p:nvCxnSpPr>
            <p:spPr>
              <a:xfrm>
                <a:off x="7060464" y="2227711"/>
                <a:ext cx="1645920" cy="0"/>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6" name="Oval 125"/>
              <p:cNvSpPr/>
              <p:nvPr/>
            </p:nvSpPr>
            <p:spPr bwMode="auto">
              <a:xfrm>
                <a:off x="7674761" y="2029464"/>
                <a:ext cx="396494" cy="396494"/>
              </a:xfrm>
              <a:prstGeom prst="ellipse">
                <a:avLst/>
              </a:prstGeom>
              <a:solidFill>
                <a:srgbClr val="00B0F0"/>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IN" sz="1078" dirty="0">
                    <a:solidFill>
                      <a:srgbClr val="505050"/>
                    </a:solidFill>
                    <a:latin typeface="Segoe UI Semibold" panose="020B0702040204020203" pitchFamily="34" charset="0"/>
                    <a:ea typeface="Segoe UI" pitchFamily="34" charset="0"/>
                    <a:cs typeface="Segoe UI" pitchFamily="34" charset="0"/>
                  </a:rPr>
                  <a:t>{…}</a:t>
                </a:r>
              </a:p>
            </p:txBody>
          </p:sp>
          <p:sp>
            <p:nvSpPr>
              <p:cNvPr id="127" name="Oval 126"/>
              <p:cNvSpPr/>
              <p:nvPr/>
            </p:nvSpPr>
            <p:spPr bwMode="auto">
              <a:xfrm>
                <a:off x="8277760" y="2029464"/>
                <a:ext cx="396494" cy="396494"/>
              </a:xfrm>
              <a:prstGeom prst="ellipse">
                <a:avLst/>
              </a:prstGeom>
              <a:solidFill>
                <a:schemeClr val="accent5">
                  <a:lumMod val="60000"/>
                  <a:lumOff val="4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IN" sz="1078" dirty="0">
                    <a:solidFill>
                      <a:srgbClr val="505050"/>
                    </a:solidFill>
                    <a:latin typeface="Segoe UI Semibold" panose="020B0702040204020203" pitchFamily="34" charset="0"/>
                    <a:ea typeface="Segoe UI" pitchFamily="34" charset="0"/>
                    <a:cs typeface="Segoe UI" pitchFamily="34" charset="0"/>
                  </a:rPr>
                  <a:t>{…}</a:t>
                </a:r>
              </a:p>
            </p:txBody>
          </p:sp>
          <p:sp>
            <p:nvSpPr>
              <p:cNvPr id="125" name="Oval 124"/>
              <p:cNvSpPr/>
              <p:nvPr/>
            </p:nvSpPr>
            <p:spPr bwMode="auto">
              <a:xfrm>
                <a:off x="7071763" y="2029464"/>
                <a:ext cx="396494" cy="396494"/>
              </a:xfrm>
              <a:prstGeom prst="ellipse">
                <a:avLst/>
              </a:prstGeom>
              <a:solidFill>
                <a:srgbClr val="FFC000"/>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IN" sz="1078" dirty="0">
                    <a:solidFill>
                      <a:srgbClr val="505050"/>
                    </a:solidFill>
                    <a:latin typeface="Segoe UI Semibold" panose="020B0702040204020203" pitchFamily="34" charset="0"/>
                    <a:ea typeface="Segoe UI" pitchFamily="34" charset="0"/>
                    <a:cs typeface="Segoe UI" pitchFamily="34" charset="0"/>
                  </a:rPr>
                  <a:t>{…}</a:t>
                </a:r>
              </a:p>
            </p:txBody>
          </p:sp>
        </p:grpSp>
        <p:grpSp>
          <p:nvGrpSpPr>
            <p:cNvPr id="119" name="Group 118"/>
            <p:cNvGrpSpPr/>
            <p:nvPr/>
          </p:nvGrpSpPr>
          <p:grpSpPr>
            <a:xfrm>
              <a:off x="8981062" y="3198014"/>
              <a:ext cx="874955" cy="796867"/>
              <a:chOff x="3630105" y="3642109"/>
              <a:chExt cx="927253" cy="927253"/>
            </a:xfrm>
          </p:grpSpPr>
          <p:sp>
            <p:nvSpPr>
              <p:cNvPr id="122" name="Oval 121"/>
              <p:cNvSpPr/>
              <p:nvPr/>
            </p:nvSpPr>
            <p:spPr bwMode="auto">
              <a:xfrm>
                <a:off x="3630105" y="3642109"/>
                <a:ext cx="927253" cy="927253"/>
              </a:xfrm>
              <a:prstGeom prst="ellipse">
                <a:avLst/>
              </a:prstGeom>
              <a:solidFill>
                <a:schemeClr val="bg1"/>
              </a:solidFill>
              <a:ln w="285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IN" sz="1961" b="1" dirty="0">
                  <a:solidFill>
                    <a:srgbClr val="FFFFFF"/>
                  </a:solidFill>
                  <a:latin typeface="Segoe UI Light"/>
                  <a:ea typeface="Segoe UI" pitchFamily="34" charset="0"/>
                  <a:cs typeface="Segoe UI" pitchFamily="34" charset="0"/>
                </a:endParaRPr>
              </a:p>
            </p:txBody>
          </p:sp>
          <p:sp>
            <p:nvSpPr>
              <p:cNvPr id="123" name="Freeform 122"/>
              <p:cNvSpPr/>
              <p:nvPr/>
            </p:nvSpPr>
            <p:spPr>
              <a:xfrm>
                <a:off x="3892570" y="3699669"/>
                <a:ext cx="402323" cy="812133"/>
              </a:xfrm>
              <a:custGeom>
                <a:avLst/>
                <a:gdLst>
                  <a:gd name="connsiteX0" fmla="*/ 0 w 511968"/>
                  <a:gd name="connsiteY0" fmla="*/ 552450 h 1033463"/>
                  <a:gd name="connsiteX1" fmla="*/ 371475 w 511968"/>
                  <a:gd name="connsiteY1" fmla="*/ 0 h 1033463"/>
                  <a:gd name="connsiteX2" fmla="*/ 280987 w 511968"/>
                  <a:gd name="connsiteY2" fmla="*/ 411956 h 1033463"/>
                  <a:gd name="connsiteX3" fmla="*/ 511968 w 511968"/>
                  <a:gd name="connsiteY3" fmla="*/ 411956 h 1033463"/>
                  <a:gd name="connsiteX4" fmla="*/ 133350 w 511968"/>
                  <a:gd name="connsiteY4" fmla="*/ 1033463 h 1033463"/>
                  <a:gd name="connsiteX5" fmla="*/ 235743 w 511968"/>
                  <a:gd name="connsiteY5" fmla="*/ 554831 h 1033463"/>
                  <a:gd name="connsiteX6" fmla="*/ 0 w 511968"/>
                  <a:gd name="connsiteY6" fmla="*/ 552450 h 1033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1968" h="1033463">
                    <a:moveTo>
                      <a:pt x="0" y="552450"/>
                    </a:moveTo>
                    <a:lnTo>
                      <a:pt x="371475" y="0"/>
                    </a:lnTo>
                    <a:lnTo>
                      <a:pt x="280987" y="411956"/>
                    </a:lnTo>
                    <a:lnTo>
                      <a:pt x="511968" y="411956"/>
                    </a:lnTo>
                    <a:lnTo>
                      <a:pt x="133350" y="1033463"/>
                    </a:lnTo>
                    <a:lnTo>
                      <a:pt x="235743" y="554831"/>
                    </a:lnTo>
                    <a:lnTo>
                      <a:pt x="0" y="552450"/>
                    </a:lnTo>
                    <a:close/>
                  </a:path>
                </a:pathLst>
              </a:custGeom>
              <a:solidFill>
                <a:schemeClr val="accent3"/>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a:endParaRPr lang="en-US" sz="1765">
                  <a:solidFill>
                    <a:srgbClr val="FFFFFF"/>
                  </a:solidFill>
                </a:endParaRPr>
              </a:p>
            </p:txBody>
          </p:sp>
        </p:grpSp>
        <p:cxnSp>
          <p:nvCxnSpPr>
            <p:cNvPr id="120" name="Straight Arrow Connector 119"/>
            <p:cNvCxnSpPr/>
            <p:nvPr/>
          </p:nvCxnSpPr>
          <p:spPr>
            <a:xfrm rot="1320000">
              <a:off x="8626463" y="3393462"/>
              <a:ext cx="408597" cy="1"/>
            </a:xfrm>
            <a:prstGeom prst="straightConnector1">
              <a:avLst/>
            </a:prstGeom>
            <a:ln>
              <a:solidFill>
                <a:schemeClr val="tx1"/>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1" name="Straight Arrow Connector 120"/>
            <p:cNvCxnSpPr/>
            <p:nvPr/>
          </p:nvCxnSpPr>
          <p:spPr>
            <a:xfrm rot="-1620000">
              <a:off x="8664617" y="3884470"/>
              <a:ext cx="408597" cy="1"/>
            </a:xfrm>
            <a:prstGeom prst="straightConnector1">
              <a:avLst/>
            </a:prstGeom>
            <a:ln>
              <a:solidFill>
                <a:schemeClr val="tx1"/>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7" name="TextBox 26"/>
          <p:cNvSpPr txBox="1"/>
          <p:nvPr/>
        </p:nvSpPr>
        <p:spPr>
          <a:xfrm>
            <a:off x="8604595" y="1965868"/>
            <a:ext cx="1825889" cy="490706"/>
          </a:xfrm>
          <a:prstGeom prst="rect">
            <a:avLst/>
          </a:prstGeom>
          <a:noFill/>
        </p:spPr>
        <p:txBody>
          <a:bodyPr wrap="none" lIns="182880" tIns="146304" rIns="182880" bIns="146304" rtlCol="0">
            <a:noAutofit/>
          </a:bodyPr>
          <a:lstStyle/>
          <a:p>
            <a:pPr algn="ctr">
              <a:lnSpc>
                <a:spcPct val="90000"/>
              </a:lnSpc>
              <a:spcAft>
                <a:spcPts val="600"/>
              </a:spcAft>
            </a:pPr>
            <a:r>
              <a:rPr lang="en-US" dirty="0">
                <a:solidFill>
                  <a:schemeClr val="tx1">
                    <a:lumMod val="65000"/>
                    <a:lumOff val="35000"/>
                  </a:schemeClr>
                </a:solidFill>
              </a:rPr>
              <a:t>One-to-one</a:t>
            </a:r>
            <a:br>
              <a:rPr lang="en-US" dirty="0">
                <a:solidFill>
                  <a:schemeClr val="tx1">
                    <a:lumMod val="65000"/>
                    <a:lumOff val="35000"/>
                  </a:schemeClr>
                </a:solidFill>
              </a:rPr>
            </a:br>
            <a:r>
              <a:rPr lang="en-US" dirty="0">
                <a:solidFill>
                  <a:schemeClr val="tx1">
                    <a:lumMod val="65000"/>
                    <a:lumOff val="35000"/>
                  </a:schemeClr>
                </a:solidFill>
              </a:rPr>
              <a:t>Transformation</a:t>
            </a:r>
          </a:p>
        </p:txBody>
      </p:sp>
      <p:sp>
        <p:nvSpPr>
          <p:cNvPr id="136" name="TextBox 135"/>
          <p:cNvSpPr txBox="1"/>
          <p:nvPr/>
        </p:nvSpPr>
        <p:spPr>
          <a:xfrm>
            <a:off x="8175971" y="3791632"/>
            <a:ext cx="2234485" cy="655477"/>
          </a:xfrm>
          <a:prstGeom prst="rect">
            <a:avLst/>
          </a:prstGeom>
          <a:noFill/>
        </p:spPr>
        <p:txBody>
          <a:bodyPr wrap="none" lIns="182880" tIns="146304" rIns="182880" bIns="146304" rtlCol="0">
            <a:noAutofit/>
          </a:bodyPr>
          <a:lstStyle/>
          <a:p>
            <a:pPr algn="ctr">
              <a:lnSpc>
                <a:spcPct val="90000"/>
              </a:lnSpc>
              <a:spcAft>
                <a:spcPts val="600"/>
              </a:spcAft>
            </a:pPr>
            <a:r>
              <a:rPr lang="en-US" dirty="0">
                <a:solidFill>
                  <a:schemeClr val="tx1">
                    <a:lumMod val="65000"/>
                    <a:lumOff val="35000"/>
                  </a:schemeClr>
                </a:solidFill>
              </a:rPr>
              <a:t>Join</a:t>
            </a:r>
            <a:br>
              <a:rPr lang="en-US" dirty="0">
                <a:solidFill>
                  <a:schemeClr val="tx1">
                    <a:lumMod val="65000"/>
                    <a:lumOff val="35000"/>
                  </a:schemeClr>
                </a:solidFill>
              </a:rPr>
            </a:br>
            <a:r>
              <a:rPr lang="en-US" dirty="0">
                <a:solidFill>
                  <a:schemeClr val="tx1">
                    <a:lumMod val="65000"/>
                    <a:lumOff val="35000"/>
                  </a:schemeClr>
                </a:solidFill>
              </a:rPr>
              <a:t>Transformation</a:t>
            </a:r>
          </a:p>
        </p:txBody>
      </p:sp>
      <p:sp>
        <p:nvSpPr>
          <p:cNvPr id="137" name="TextBox 136"/>
          <p:cNvSpPr txBox="1"/>
          <p:nvPr/>
        </p:nvSpPr>
        <p:spPr>
          <a:xfrm>
            <a:off x="8240634" y="5741679"/>
            <a:ext cx="2234485" cy="490706"/>
          </a:xfrm>
          <a:prstGeom prst="rect">
            <a:avLst/>
          </a:prstGeom>
          <a:noFill/>
        </p:spPr>
        <p:txBody>
          <a:bodyPr wrap="none" lIns="182880" tIns="146304" rIns="182880" bIns="146304" rtlCol="0">
            <a:noAutofit/>
          </a:bodyPr>
          <a:lstStyle/>
          <a:p>
            <a:pPr algn="ctr">
              <a:lnSpc>
                <a:spcPct val="90000"/>
              </a:lnSpc>
              <a:spcAft>
                <a:spcPts val="600"/>
              </a:spcAft>
            </a:pPr>
            <a:r>
              <a:rPr lang="en-US" dirty="0">
                <a:solidFill>
                  <a:schemeClr val="tx1">
                    <a:lumMod val="65000"/>
                    <a:lumOff val="35000"/>
                  </a:schemeClr>
                </a:solidFill>
              </a:rPr>
              <a:t>Split </a:t>
            </a:r>
          </a:p>
          <a:p>
            <a:pPr algn="ctr">
              <a:lnSpc>
                <a:spcPct val="90000"/>
              </a:lnSpc>
              <a:spcAft>
                <a:spcPts val="600"/>
              </a:spcAft>
            </a:pPr>
            <a:r>
              <a:rPr lang="en-US" dirty="0">
                <a:solidFill>
                  <a:schemeClr val="tx1">
                    <a:lumMod val="65000"/>
                    <a:lumOff val="35000"/>
                  </a:schemeClr>
                </a:solidFill>
              </a:rPr>
              <a:t>Transformation</a:t>
            </a:r>
          </a:p>
        </p:txBody>
      </p:sp>
    </p:spTree>
    <p:extLst>
      <p:ext uri="{BB962C8B-B14F-4D97-AF65-F5344CB8AC3E}">
        <p14:creationId xmlns:p14="http://schemas.microsoft.com/office/powerpoint/2010/main" val="2092499980"/>
      </p:ext>
    </p:extLst>
  </p:cSld>
  <p:clrMapOvr>
    <a:masterClrMapping/>
  </p:clrMapOvr>
  <p:transition spd="med">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3163675161"/>
              </p:ext>
            </p:extLst>
          </p:nvPr>
        </p:nvGraphicFramePr>
        <p:xfrm>
          <a:off x="286658" y="1948575"/>
          <a:ext cx="9181061" cy="4345490"/>
        </p:xfrm>
        <a:graphic>
          <a:graphicData uri="http://schemas.openxmlformats.org/drawingml/2006/table">
            <a:tbl>
              <a:tblPr>
                <a:tableStyleId>{1FECB4D8-DB02-4DC6-A0A2-4F2EBAE1DC90}</a:tableStyleId>
              </a:tblPr>
              <a:tblGrid>
                <a:gridCol w="1704080">
                  <a:extLst>
                    <a:ext uri="{9D8B030D-6E8A-4147-A177-3AD203B41FA5}">
                      <a16:colId xmlns:a16="http://schemas.microsoft.com/office/drawing/2014/main" val="20000"/>
                    </a:ext>
                  </a:extLst>
                </a:gridCol>
                <a:gridCol w="7476981">
                  <a:extLst>
                    <a:ext uri="{9D8B030D-6E8A-4147-A177-3AD203B41FA5}">
                      <a16:colId xmlns:a16="http://schemas.microsoft.com/office/drawing/2014/main" val="20001"/>
                    </a:ext>
                  </a:extLst>
                </a:gridCol>
              </a:tblGrid>
              <a:tr h="690930">
                <a:tc>
                  <a:txBody>
                    <a:bodyPr/>
                    <a:lstStyle/>
                    <a:p>
                      <a:pPr algn="ctr"/>
                      <a:r>
                        <a:rPr lang="en-US" sz="1800" dirty="0">
                          <a:solidFill>
                            <a:schemeClr val="bg1"/>
                          </a:solidFill>
                          <a:effectLst/>
                        </a:rPr>
                        <a:t>Stream Grouping</a:t>
                      </a:r>
                      <a:endParaRPr lang="en-US" sz="1800" b="0" dirty="0">
                        <a:solidFill>
                          <a:schemeClr val="bg1"/>
                        </a:solidFill>
                        <a:effectLst/>
                        <a:latin typeface="Segoe UI Semibold" panose="020B0702040204020203" pitchFamily="34" charset="0"/>
                      </a:endParaRPr>
                    </a:p>
                  </a:txBody>
                  <a:tcPr marL="89642" marR="89642" marT="53785" marB="53785" anchor="ctr">
                    <a:solidFill>
                      <a:schemeClr val="accent3"/>
                    </a:solidFill>
                  </a:tcPr>
                </a:tc>
                <a:tc>
                  <a:txBody>
                    <a:bodyPr/>
                    <a:lstStyle/>
                    <a:p>
                      <a:pPr algn="ctr"/>
                      <a:r>
                        <a:rPr lang="en-US" sz="1800" dirty="0">
                          <a:solidFill>
                            <a:schemeClr val="bg1"/>
                          </a:solidFill>
                          <a:effectLst/>
                        </a:rPr>
                        <a:t>Description</a:t>
                      </a:r>
                      <a:endParaRPr lang="en-US" sz="1800" b="0" dirty="0">
                        <a:solidFill>
                          <a:schemeClr val="bg1"/>
                        </a:solidFill>
                        <a:effectLst/>
                        <a:latin typeface="Segoe UI Semibold" panose="020B0702040204020203" pitchFamily="34" charset="0"/>
                      </a:endParaRPr>
                    </a:p>
                  </a:txBody>
                  <a:tcPr marL="89642" marR="89642" marT="53785" marB="53785" anchor="ctr">
                    <a:solidFill>
                      <a:schemeClr val="accent3"/>
                    </a:solidFill>
                  </a:tcPr>
                </a:tc>
                <a:extLst>
                  <a:ext uri="{0D108BD9-81ED-4DB2-BD59-A6C34878D82A}">
                    <a16:rowId xmlns:a16="http://schemas.microsoft.com/office/drawing/2014/main" val="10000"/>
                  </a:ext>
                </a:extLst>
              </a:tr>
              <a:tr h="340464">
                <a:tc>
                  <a:txBody>
                    <a:bodyPr/>
                    <a:lstStyle/>
                    <a:p>
                      <a:pPr marL="0" indent="0" algn="l" defTabSz="914400" rtl="0" eaLnBrk="1" latinLnBrk="0" hangingPunct="1">
                        <a:lnSpc>
                          <a:spcPts val="2000"/>
                        </a:lnSpc>
                        <a:spcBef>
                          <a:spcPts val="0"/>
                        </a:spcBef>
                        <a:spcAft>
                          <a:spcPts val="600"/>
                        </a:spcAft>
                        <a:buClr>
                          <a:schemeClr val="accent3"/>
                        </a:buClr>
                        <a:buSzPct val="75000"/>
                        <a:buFontTx/>
                        <a:buNone/>
                      </a:pPr>
                      <a:r>
                        <a:rPr lang="en-US" sz="1500" kern="1200" dirty="0">
                          <a:solidFill>
                            <a:schemeClr val="tx1">
                              <a:lumMod val="65000"/>
                              <a:lumOff val="35000"/>
                            </a:schemeClr>
                          </a:solidFill>
                          <a:latin typeface="+mn-lt"/>
                          <a:ea typeface="+mn-ea"/>
                          <a:cs typeface="+mn-cs"/>
                        </a:rPr>
                        <a:t>Shuffle</a:t>
                      </a:r>
                    </a:p>
                  </a:txBody>
                  <a:tcPr marL="89642" marR="89642" marT="53785" marB="53785" anchor="ctr"/>
                </a:tc>
                <a:tc>
                  <a:txBody>
                    <a:bodyPr/>
                    <a:lstStyle/>
                    <a:p>
                      <a:pPr marL="0" indent="0" algn="l" defTabSz="914400" rtl="0" eaLnBrk="1" latinLnBrk="0" hangingPunct="1">
                        <a:lnSpc>
                          <a:spcPts val="2000"/>
                        </a:lnSpc>
                        <a:spcBef>
                          <a:spcPts val="0"/>
                        </a:spcBef>
                        <a:spcAft>
                          <a:spcPts val="600"/>
                        </a:spcAft>
                        <a:buClr>
                          <a:schemeClr val="accent3"/>
                        </a:buClr>
                        <a:buSzPct val="75000"/>
                        <a:buFontTx/>
                        <a:buNone/>
                      </a:pPr>
                      <a:r>
                        <a:rPr lang="en-US" sz="1500" kern="1200" dirty="0">
                          <a:solidFill>
                            <a:schemeClr val="tx1">
                              <a:lumMod val="65000"/>
                              <a:lumOff val="35000"/>
                            </a:schemeClr>
                          </a:solidFill>
                          <a:latin typeface="+mn-lt"/>
                          <a:ea typeface="+mn-ea"/>
                          <a:cs typeface="+mn-cs"/>
                        </a:rPr>
                        <a:t>Sends tuples to bolts in random, round robin sequence</a:t>
                      </a:r>
                    </a:p>
                  </a:txBody>
                  <a:tcPr marL="89642" marR="89642" marT="53785" marB="53785" anchor="ctr"/>
                </a:tc>
                <a:extLst>
                  <a:ext uri="{0D108BD9-81ED-4DB2-BD59-A6C34878D82A}">
                    <a16:rowId xmlns:a16="http://schemas.microsoft.com/office/drawing/2014/main" val="10001"/>
                  </a:ext>
                </a:extLst>
              </a:tr>
              <a:tr h="340464">
                <a:tc>
                  <a:txBody>
                    <a:bodyPr/>
                    <a:lstStyle/>
                    <a:p>
                      <a:pPr marL="0" indent="0" algn="l" defTabSz="914400" rtl="0" eaLnBrk="1" latinLnBrk="0" hangingPunct="1">
                        <a:lnSpc>
                          <a:spcPts val="2000"/>
                        </a:lnSpc>
                        <a:spcBef>
                          <a:spcPts val="0"/>
                        </a:spcBef>
                        <a:spcAft>
                          <a:spcPts val="600"/>
                        </a:spcAft>
                        <a:buClr>
                          <a:schemeClr val="accent3"/>
                        </a:buClr>
                        <a:buSzPct val="75000"/>
                        <a:buFontTx/>
                        <a:buNone/>
                      </a:pPr>
                      <a:r>
                        <a:rPr lang="en-US" sz="1500" kern="1200" dirty="0">
                          <a:solidFill>
                            <a:schemeClr val="tx1">
                              <a:lumMod val="65000"/>
                              <a:lumOff val="35000"/>
                            </a:schemeClr>
                          </a:solidFill>
                          <a:latin typeface="+mn-lt"/>
                          <a:ea typeface="+mn-ea"/>
                          <a:cs typeface="+mn-cs"/>
                        </a:rPr>
                        <a:t>Fields</a:t>
                      </a:r>
                    </a:p>
                  </a:txBody>
                  <a:tcPr marL="89642" marR="89642" marT="53785" marB="53785" anchor="ctr"/>
                </a:tc>
                <a:tc>
                  <a:txBody>
                    <a:bodyPr/>
                    <a:lstStyle/>
                    <a:p>
                      <a:pPr marL="0" indent="0" algn="l" defTabSz="914400" rtl="0" eaLnBrk="1" latinLnBrk="0" hangingPunct="1">
                        <a:lnSpc>
                          <a:spcPts val="2000"/>
                        </a:lnSpc>
                        <a:spcBef>
                          <a:spcPts val="0"/>
                        </a:spcBef>
                        <a:spcAft>
                          <a:spcPts val="600"/>
                        </a:spcAft>
                        <a:buClr>
                          <a:schemeClr val="accent3"/>
                        </a:buClr>
                        <a:buSzPct val="75000"/>
                        <a:buFontTx/>
                        <a:buNone/>
                      </a:pPr>
                      <a:r>
                        <a:rPr lang="en-US" sz="1500" kern="1200" dirty="0">
                          <a:solidFill>
                            <a:schemeClr val="tx1">
                              <a:lumMod val="65000"/>
                              <a:lumOff val="35000"/>
                            </a:schemeClr>
                          </a:solidFill>
                          <a:latin typeface="+mn-lt"/>
                          <a:ea typeface="+mn-ea"/>
                          <a:cs typeface="+mn-cs"/>
                        </a:rPr>
                        <a:t>Sends tuples to a bolt based on one or more fields in the tuple</a:t>
                      </a:r>
                    </a:p>
                  </a:txBody>
                  <a:tcPr marL="89642" marR="89642" marT="53785" marB="53785" anchor="ctr"/>
                </a:tc>
                <a:extLst>
                  <a:ext uri="{0D108BD9-81ED-4DB2-BD59-A6C34878D82A}">
                    <a16:rowId xmlns:a16="http://schemas.microsoft.com/office/drawing/2014/main" val="10002"/>
                  </a:ext>
                </a:extLst>
              </a:tr>
              <a:tr h="340464">
                <a:tc>
                  <a:txBody>
                    <a:bodyPr/>
                    <a:lstStyle/>
                    <a:p>
                      <a:pPr marL="0" indent="0" algn="l" defTabSz="914400" rtl="0" eaLnBrk="1" latinLnBrk="0" hangingPunct="1">
                        <a:lnSpc>
                          <a:spcPts val="2000"/>
                        </a:lnSpc>
                        <a:spcBef>
                          <a:spcPts val="0"/>
                        </a:spcBef>
                        <a:spcAft>
                          <a:spcPts val="600"/>
                        </a:spcAft>
                        <a:buClr>
                          <a:schemeClr val="accent3"/>
                        </a:buClr>
                        <a:buSzPct val="75000"/>
                        <a:buFontTx/>
                        <a:buNone/>
                      </a:pPr>
                      <a:r>
                        <a:rPr lang="en-US" sz="1500" kern="1200">
                          <a:solidFill>
                            <a:schemeClr val="tx1">
                              <a:lumMod val="65000"/>
                              <a:lumOff val="35000"/>
                            </a:schemeClr>
                          </a:solidFill>
                          <a:latin typeface="+mn-lt"/>
                          <a:ea typeface="+mn-ea"/>
                          <a:cs typeface="+mn-cs"/>
                        </a:rPr>
                        <a:t>All</a:t>
                      </a:r>
                    </a:p>
                  </a:txBody>
                  <a:tcPr marL="89642" marR="89642" marT="53785" marB="53785" anchor="ctr"/>
                </a:tc>
                <a:tc>
                  <a:txBody>
                    <a:bodyPr/>
                    <a:lstStyle/>
                    <a:p>
                      <a:pPr marL="0" indent="0" algn="l" defTabSz="914400" rtl="0" eaLnBrk="1" latinLnBrk="0" hangingPunct="1">
                        <a:lnSpc>
                          <a:spcPts val="2000"/>
                        </a:lnSpc>
                        <a:spcBef>
                          <a:spcPts val="0"/>
                        </a:spcBef>
                        <a:spcAft>
                          <a:spcPts val="600"/>
                        </a:spcAft>
                        <a:buClr>
                          <a:schemeClr val="accent3"/>
                        </a:buClr>
                        <a:buSzPct val="75000"/>
                        <a:buFontTx/>
                        <a:buNone/>
                      </a:pPr>
                      <a:r>
                        <a:rPr lang="en-US" sz="1500" kern="1200" dirty="0">
                          <a:solidFill>
                            <a:schemeClr val="tx1">
                              <a:lumMod val="65000"/>
                              <a:lumOff val="35000"/>
                            </a:schemeClr>
                          </a:solidFill>
                          <a:latin typeface="+mn-lt"/>
                          <a:ea typeface="+mn-ea"/>
                          <a:cs typeface="+mn-cs"/>
                        </a:rPr>
                        <a:t>Sends a single copy of each tuple to all instances of a receiving bolt</a:t>
                      </a:r>
                    </a:p>
                  </a:txBody>
                  <a:tcPr marL="89642" marR="89642" marT="53785" marB="53785" anchor="ctr"/>
                </a:tc>
                <a:extLst>
                  <a:ext uri="{0D108BD9-81ED-4DB2-BD59-A6C34878D82A}">
                    <a16:rowId xmlns:a16="http://schemas.microsoft.com/office/drawing/2014/main" val="10003"/>
                  </a:ext>
                </a:extLst>
              </a:tr>
              <a:tr h="340464">
                <a:tc>
                  <a:txBody>
                    <a:bodyPr/>
                    <a:lstStyle/>
                    <a:p>
                      <a:pPr marL="0" indent="0" algn="l" defTabSz="914400" rtl="0" eaLnBrk="1" latinLnBrk="0" hangingPunct="1">
                        <a:lnSpc>
                          <a:spcPts val="2000"/>
                        </a:lnSpc>
                        <a:spcBef>
                          <a:spcPts val="0"/>
                        </a:spcBef>
                        <a:spcAft>
                          <a:spcPts val="600"/>
                        </a:spcAft>
                        <a:buClr>
                          <a:schemeClr val="accent3"/>
                        </a:buClr>
                        <a:buSzPct val="75000"/>
                        <a:buFontTx/>
                        <a:buNone/>
                      </a:pPr>
                      <a:r>
                        <a:rPr lang="en-US" sz="1500" kern="1200" dirty="0">
                          <a:solidFill>
                            <a:schemeClr val="tx1">
                              <a:lumMod val="65000"/>
                              <a:lumOff val="35000"/>
                            </a:schemeClr>
                          </a:solidFill>
                          <a:latin typeface="+mn-lt"/>
                          <a:ea typeface="+mn-ea"/>
                          <a:cs typeface="+mn-cs"/>
                        </a:rPr>
                        <a:t>Custom</a:t>
                      </a:r>
                    </a:p>
                  </a:txBody>
                  <a:tcPr marL="89642" marR="89642" marT="53785" marB="53785" anchor="ctr"/>
                </a:tc>
                <a:tc>
                  <a:txBody>
                    <a:bodyPr/>
                    <a:lstStyle/>
                    <a:p>
                      <a:pPr marL="0" indent="0" algn="l" defTabSz="914400" rtl="0" eaLnBrk="1" latinLnBrk="0" hangingPunct="1">
                        <a:lnSpc>
                          <a:spcPts val="2000"/>
                        </a:lnSpc>
                        <a:spcBef>
                          <a:spcPts val="0"/>
                        </a:spcBef>
                        <a:spcAft>
                          <a:spcPts val="600"/>
                        </a:spcAft>
                        <a:buClr>
                          <a:schemeClr val="accent3"/>
                        </a:buClr>
                        <a:buSzPct val="75000"/>
                        <a:buFontTx/>
                        <a:buNone/>
                      </a:pPr>
                      <a:r>
                        <a:rPr lang="en-US" sz="1500" kern="1200" dirty="0">
                          <a:solidFill>
                            <a:schemeClr val="tx1">
                              <a:lumMod val="65000"/>
                              <a:lumOff val="35000"/>
                            </a:schemeClr>
                          </a:solidFill>
                          <a:latin typeface="+mn-lt"/>
                          <a:ea typeface="+mn-ea"/>
                          <a:cs typeface="+mn-cs"/>
                        </a:rPr>
                        <a:t>Route tuples based on factors such as data types, load, and seasonality.</a:t>
                      </a:r>
                    </a:p>
                  </a:txBody>
                  <a:tcPr marL="89642" marR="89642" marT="53785" marB="53785" anchor="ctr"/>
                </a:tc>
                <a:extLst>
                  <a:ext uri="{0D108BD9-81ED-4DB2-BD59-A6C34878D82A}">
                    <a16:rowId xmlns:a16="http://schemas.microsoft.com/office/drawing/2014/main" val="10004"/>
                  </a:ext>
                </a:extLst>
              </a:tr>
              <a:tr h="340464">
                <a:tc>
                  <a:txBody>
                    <a:bodyPr/>
                    <a:lstStyle/>
                    <a:p>
                      <a:pPr marL="0" indent="0" algn="l" defTabSz="914400" rtl="0" eaLnBrk="1" latinLnBrk="0" hangingPunct="1">
                        <a:lnSpc>
                          <a:spcPts val="2000"/>
                        </a:lnSpc>
                        <a:spcBef>
                          <a:spcPts val="0"/>
                        </a:spcBef>
                        <a:spcAft>
                          <a:spcPts val="600"/>
                        </a:spcAft>
                        <a:buClr>
                          <a:schemeClr val="accent3"/>
                        </a:buClr>
                        <a:buSzPct val="75000"/>
                        <a:buFontTx/>
                        <a:buNone/>
                      </a:pPr>
                      <a:r>
                        <a:rPr lang="en-US" sz="1500" kern="1200" dirty="0">
                          <a:solidFill>
                            <a:schemeClr val="tx1">
                              <a:lumMod val="65000"/>
                              <a:lumOff val="35000"/>
                            </a:schemeClr>
                          </a:solidFill>
                          <a:latin typeface="+mn-lt"/>
                          <a:ea typeface="+mn-ea"/>
                          <a:cs typeface="+mn-cs"/>
                        </a:rPr>
                        <a:t>Global</a:t>
                      </a:r>
                    </a:p>
                  </a:txBody>
                  <a:tcPr marL="89642" marR="89642" marT="53785" marB="53785" anchor="ctr"/>
                </a:tc>
                <a:tc>
                  <a:txBody>
                    <a:bodyPr/>
                    <a:lstStyle/>
                    <a:p>
                      <a:pPr marL="0" indent="0" algn="l" defTabSz="914400" rtl="0" eaLnBrk="1" latinLnBrk="0" hangingPunct="1">
                        <a:lnSpc>
                          <a:spcPts val="2000"/>
                        </a:lnSpc>
                        <a:spcBef>
                          <a:spcPts val="0"/>
                        </a:spcBef>
                        <a:spcAft>
                          <a:spcPts val="600"/>
                        </a:spcAft>
                        <a:buClr>
                          <a:schemeClr val="accent3"/>
                        </a:buClr>
                        <a:buSzPct val="75000"/>
                        <a:buFontTx/>
                        <a:buNone/>
                      </a:pPr>
                      <a:r>
                        <a:rPr lang="en-US" sz="1500" kern="1200" dirty="0">
                          <a:solidFill>
                            <a:schemeClr val="tx1">
                              <a:lumMod val="65000"/>
                              <a:lumOff val="35000"/>
                            </a:schemeClr>
                          </a:solidFill>
                          <a:latin typeface="+mn-lt"/>
                          <a:ea typeface="+mn-ea"/>
                          <a:cs typeface="+mn-cs"/>
                        </a:rPr>
                        <a:t>Sends tuples generated by all instances of a source to a single target instance</a:t>
                      </a:r>
                    </a:p>
                  </a:txBody>
                  <a:tcPr marL="89642" marR="89642" marT="53785" marB="53785" anchor="ctr"/>
                </a:tc>
                <a:extLst>
                  <a:ext uri="{0D108BD9-81ED-4DB2-BD59-A6C34878D82A}">
                    <a16:rowId xmlns:a16="http://schemas.microsoft.com/office/drawing/2014/main" val="10005"/>
                  </a:ext>
                </a:extLst>
              </a:tr>
              <a:tr h="584878">
                <a:tc>
                  <a:txBody>
                    <a:bodyPr/>
                    <a:lstStyle/>
                    <a:p>
                      <a:pPr marL="0" indent="0" algn="l" defTabSz="914400" rtl="0" eaLnBrk="1" latinLnBrk="0" hangingPunct="1">
                        <a:lnSpc>
                          <a:spcPts val="2000"/>
                        </a:lnSpc>
                        <a:spcBef>
                          <a:spcPts val="0"/>
                        </a:spcBef>
                        <a:spcAft>
                          <a:spcPts val="600"/>
                        </a:spcAft>
                        <a:buClr>
                          <a:schemeClr val="accent3"/>
                        </a:buClr>
                        <a:buSzPct val="75000"/>
                        <a:buFontTx/>
                        <a:buNone/>
                      </a:pPr>
                      <a:r>
                        <a:rPr lang="en-US" sz="1500" kern="1200" dirty="0">
                          <a:solidFill>
                            <a:schemeClr val="tx1">
                              <a:lumMod val="65000"/>
                              <a:lumOff val="35000"/>
                            </a:schemeClr>
                          </a:solidFill>
                          <a:latin typeface="+mn-lt"/>
                          <a:ea typeface="+mn-ea"/>
                          <a:cs typeface="+mn-cs"/>
                        </a:rPr>
                        <a:t>Local or shuffle grouping</a:t>
                      </a:r>
                    </a:p>
                  </a:txBody>
                  <a:tcPr marL="89642" marR="89642" marT="53785" marB="53785" anchor="ctr"/>
                </a:tc>
                <a:tc>
                  <a:txBody>
                    <a:bodyPr/>
                    <a:lstStyle/>
                    <a:p>
                      <a:pPr marL="0" indent="0" algn="l" defTabSz="914400" rtl="0" eaLnBrk="1" latinLnBrk="0" hangingPunct="1">
                        <a:lnSpc>
                          <a:spcPts val="2000"/>
                        </a:lnSpc>
                        <a:spcBef>
                          <a:spcPts val="0"/>
                        </a:spcBef>
                        <a:spcAft>
                          <a:spcPts val="600"/>
                        </a:spcAft>
                        <a:buClr>
                          <a:schemeClr val="accent3"/>
                        </a:buClr>
                        <a:buSzPct val="75000"/>
                        <a:buFontTx/>
                        <a:buNone/>
                      </a:pPr>
                      <a:r>
                        <a:rPr lang="en-US" sz="1500" kern="1200" dirty="0">
                          <a:solidFill>
                            <a:schemeClr val="tx1">
                              <a:lumMod val="65000"/>
                              <a:lumOff val="35000"/>
                            </a:schemeClr>
                          </a:solidFill>
                          <a:latin typeface="+mn-lt"/>
                          <a:ea typeface="+mn-ea"/>
                          <a:cs typeface="+mn-cs"/>
                        </a:rPr>
                        <a:t>If the target bolt has one or more tasks in the same worker process, tuples will be shuffled to just those in-process tasks. Otherwise,</a:t>
                      </a:r>
                      <a:r>
                        <a:rPr lang="en-US" sz="1500" kern="1200" baseline="0" dirty="0">
                          <a:solidFill>
                            <a:schemeClr val="tx1">
                              <a:lumMod val="65000"/>
                              <a:lumOff val="35000"/>
                            </a:schemeClr>
                          </a:solidFill>
                          <a:latin typeface="+mn-lt"/>
                          <a:ea typeface="+mn-ea"/>
                          <a:cs typeface="+mn-cs"/>
                        </a:rPr>
                        <a:t> </a:t>
                      </a:r>
                      <a:r>
                        <a:rPr lang="en-US" sz="1500" kern="1200" dirty="0">
                          <a:solidFill>
                            <a:schemeClr val="tx1">
                              <a:lumMod val="65000"/>
                              <a:lumOff val="35000"/>
                            </a:schemeClr>
                          </a:solidFill>
                          <a:latin typeface="+mn-lt"/>
                          <a:ea typeface="+mn-ea"/>
                          <a:cs typeface="+mn-cs"/>
                        </a:rPr>
                        <a:t>acts like a normal shuffle grouping.</a:t>
                      </a:r>
                    </a:p>
                  </a:txBody>
                  <a:tcPr marL="89642" marR="89642" marT="53785" marB="53785" anchor="ctr"/>
                </a:tc>
                <a:extLst>
                  <a:ext uri="{0D108BD9-81ED-4DB2-BD59-A6C34878D82A}">
                    <a16:rowId xmlns:a16="http://schemas.microsoft.com/office/drawing/2014/main" val="4198930682"/>
                  </a:ext>
                </a:extLst>
              </a:tr>
              <a:tr h="579638">
                <a:tc>
                  <a:txBody>
                    <a:bodyPr/>
                    <a:lstStyle/>
                    <a:p>
                      <a:pPr marL="0" indent="0" algn="l" defTabSz="914400" rtl="0" eaLnBrk="1" latinLnBrk="0" hangingPunct="1">
                        <a:lnSpc>
                          <a:spcPts val="2000"/>
                        </a:lnSpc>
                        <a:spcBef>
                          <a:spcPts val="0"/>
                        </a:spcBef>
                        <a:spcAft>
                          <a:spcPts val="600"/>
                        </a:spcAft>
                        <a:buClr>
                          <a:schemeClr val="accent3"/>
                        </a:buClr>
                        <a:buSzPct val="75000"/>
                        <a:buFontTx/>
                        <a:buNone/>
                      </a:pPr>
                      <a:r>
                        <a:rPr lang="en-US" sz="1500" kern="1200" dirty="0">
                          <a:solidFill>
                            <a:schemeClr val="tx1">
                              <a:lumMod val="65000"/>
                              <a:lumOff val="35000"/>
                            </a:schemeClr>
                          </a:solidFill>
                          <a:latin typeface="+mn-lt"/>
                          <a:ea typeface="+mn-ea"/>
                          <a:cs typeface="+mn-cs"/>
                        </a:rPr>
                        <a:t>Direct Grouping</a:t>
                      </a:r>
                    </a:p>
                  </a:txBody>
                  <a:tcPr marL="89642" marR="89642" marT="53785" marB="53785" anchor="ctr"/>
                </a:tc>
                <a:tc>
                  <a:txBody>
                    <a:bodyPr/>
                    <a:lstStyle/>
                    <a:p>
                      <a:pPr marL="0" indent="0" algn="l" defTabSz="914400" rtl="0" eaLnBrk="1" latinLnBrk="0" hangingPunct="1">
                        <a:lnSpc>
                          <a:spcPts val="2000"/>
                        </a:lnSpc>
                        <a:spcBef>
                          <a:spcPts val="0"/>
                        </a:spcBef>
                        <a:spcAft>
                          <a:spcPts val="600"/>
                        </a:spcAft>
                        <a:buClr>
                          <a:schemeClr val="accent3"/>
                        </a:buClr>
                        <a:buSzPct val="75000"/>
                        <a:buFontTx/>
                        <a:buNone/>
                      </a:pPr>
                      <a:r>
                        <a:rPr lang="en-US" sz="1500" kern="1200" dirty="0">
                          <a:solidFill>
                            <a:schemeClr val="tx1">
                              <a:lumMod val="65000"/>
                              <a:lumOff val="35000"/>
                            </a:schemeClr>
                          </a:solidFill>
                          <a:latin typeface="+mn-lt"/>
                          <a:ea typeface="+mn-ea"/>
                          <a:cs typeface="+mn-cs"/>
                        </a:rPr>
                        <a:t>The producer of the tuple decides which task of the consumer will receive this tuple. Can only be declared on streams that have been declared as direct streams. </a:t>
                      </a:r>
                    </a:p>
                  </a:txBody>
                  <a:tcPr marL="89642" marR="89642" marT="53785" marB="53785" anchor="ctr"/>
                </a:tc>
                <a:extLst>
                  <a:ext uri="{0D108BD9-81ED-4DB2-BD59-A6C34878D82A}">
                    <a16:rowId xmlns:a16="http://schemas.microsoft.com/office/drawing/2014/main" val="1265966058"/>
                  </a:ext>
                </a:extLst>
              </a:tr>
              <a:tr h="579638">
                <a:tc>
                  <a:txBody>
                    <a:bodyPr/>
                    <a:lstStyle/>
                    <a:p>
                      <a:pPr marL="0" indent="0" algn="l" defTabSz="914400" rtl="0" eaLnBrk="1" latinLnBrk="0" hangingPunct="1">
                        <a:lnSpc>
                          <a:spcPts val="2000"/>
                        </a:lnSpc>
                        <a:spcBef>
                          <a:spcPts val="0"/>
                        </a:spcBef>
                        <a:spcAft>
                          <a:spcPts val="600"/>
                        </a:spcAft>
                        <a:buClr>
                          <a:schemeClr val="accent3"/>
                        </a:buClr>
                        <a:buSzPct val="75000"/>
                        <a:buFontTx/>
                        <a:buNone/>
                      </a:pPr>
                      <a:r>
                        <a:rPr lang="en-US" sz="1500" kern="1200" dirty="0">
                          <a:solidFill>
                            <a:schemeClr val="tx1">
                              <a:lumMod val="65000"/>
                              <a:lumOff val="35000"/>
                            </a:schemeClr>
                          </a:solidFill>
                          <a:latin typeface="+mn-lt"/>
                          <a:ea typeface="+mn-ea"/>
                          <a:cs typeface="+mn-cs"/>
                        </a:rPr>
                        <a:t>Partial Key Grouping</a:t>
                      </a:r>
                    </a:p>
                  </a:txBody>
                  <a:tcPr marL="89642" marR="89642" marT="53785" marB="53785" anchor="ctr"/>
                </a:tc>
                <a:tc>
                  <a:txBody>
                    <a:bodyPr/>
                    <a:lstStyle/>
                    <a:p>
                      <a:pPr marL="0" indent="0" algn="l" defTabSz="914400" rtl="0" eaLnBrk="1" latinLnBrk="0" hangingPunct="1">
                        <a:lnSpc>
                          <a:spcPts val="2000"/>
                        </a:lnSpc>
                        <a:spcBef>
                          <a:spcPts val="0"/>
                        </a:spcBef>
                        <a:spcAft>
                          <a:spcPts val="600"/>
                        </a:spcAft>
                        <a:buClr>
                          <a:schemeClr val="accent3"/>
                        </a:buClr>
                        <a:buSzPct val="75000"/>
                        <a:buFontTx/>
                        <a:buNone/>
                      </a:pPr>
                      <a:r>
                        <a:rPr lang="en-US" sz="1500" kern="1200" dirty="0">
                          <a:solidFill>
                            <a:schemeClr val="tx1">
                              <a:lumMod val="65000"/>
                              <a:lumOff val="35000"/>
                            </a:schemeClr>
                          </a:solidFill>
                          <a:latin typeface="+mn-lt"/>
                          <a:ea typeface="+mn-ea"/>
                          <a:cs typeface="+mn-cs"/>
                        </a:rPr>
                        <a:t>Same as Field grouping, but are load balanced between two downstream bolts, which provides better utilization of resources when the incoming data is skewed</a:t>
                      </a:r>
                    </a:p>
                  </a:txBody>
                  <a:tcPr marL="89642" marR="89642" marT="53785" marB="53785" anchor="ctr"/>
                </a:tc>
                <a:extLst>
                  <a:ext uri="{0D108BD9-81ED-4DB2-BD59-A6C34878D82A}">
                    <a16:rowId xmlns:a16="http://schemas.microsoft.com/office/drawing/2014/main" val="1292787976"/>
                  </a:ext>
                </a:extLst>
              </a:tr>
            </a:tbl>
          </a:graphicData>
        </a:graphic>
      </p:graphicFrame>
      <p:graphicFrame>
        <p:nvGraphicFramePr>
          <p:cNvPr id="6" name="Object 5" hidden="1"/>
          <p:cNvGraphicFramePr>
            <a:graphicFrameLocks noChangeAspect="1"/>
          </p:cNvGraphicFramePr>
          <p:nvPr>
            <p:custDataLst>
              <p:tags r:id="rId2"/>
            </p:custDataLst>
            <p:extLst/>
          </p:nvPr>
        </p:nvGraphicFramePr>
        <p:xfrm>
          <a:off x="1558" y="2044"/>
          <a:ext cx="1556" cy="1556"/>
        </p:xfrm>
        <a:graphic>
          <a:graphicData uri="http://schemas.openxmlformats.org/presentationml/2006/ole">
            <mc:AlternateContent xmlns:mc="http://schemas.openxmlformats.org/markup-compatibility/2006">
              <mc:Choice xmlns:v="urn:schemas-microsoft-com:vml" Requires="v">
                <p:oleObj spid="_x0000_s11467"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58" y="2044"/>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IN" dirty="0"/>
              <a:t>Stream groupings</a:t>
            </a:r>
          </a:p>
        </p:txBody>
      </p:sp>
      <p:sp>
        <p:nvSpPr>
          <p:cNvPr id="32" name="Slide Number Placeholder 31"/>
          <p:cNvSpPr>
            <a:spLocks noGrp="1"/>
          </p:cNvSpPr>
          <p:nvPr>
            <p:ph type="sldNum" sz="quarter" idx="11"/>
          </p:nvPr>
        </p:nvSpPr>
        <p:spPr/>
        <p:txBody>
          <a:bodyPr/>
          <a:lstStyle/>
          <a:p>
            <a:pPr>
              <a:defRPr/>
            </a:pPr>
            <a:fld id="{F8A0AC42-AA1D-4944-8D96-660DE70C7E1B}" type="slidenum">
              <a:rPr lang="en-IN"/>
              <a:pPr>
                <a:defRPr/>
              </a:pPr>
              <a:t>76</a:t>
            </a:fld>
            <a:endParaRPr lang="en-IN" dirty="0"/>
          </a:p>
        </p:txBody>
      </p:sp>
      <p:sp>
        <p:nvSpPr>
          <p:cNvPr id="3" name="TextBox 2"/>
          <p:cNvSpPr txBox="1"/>
          <p:nvPr/>
        </p:nvSpPr>
        <p:spPr>
          <a:xfrm>
            <a:off x="286658" y="1278702"/>
            <a:ext cx="11657104" cy="605490"/>
          </a:xfrm>
          <a:prstGeom prst="rect">
            <a:avLst/>
          </a:prstGeom>
          <a:solidFill>
            <a:schemeClr val="accent3"/>
          </a:solidFill>
        </p:spPr>
        <p:txBody>
          <a:bodyPr wrap="square" lIns="182880" tIns="146304" rIns="182880" bIns="146304" rtlCol="0" anchor="ctr">
            <a:noAutofit/>
          </a:bodyPr>
          <a:lstStyle/>
          <a:p>
            <a:pPr algn="ctr">
              <a:lnSpc>
                <a:spcPct val="90000"/>
              </a:lnSpc>
              <a:spcAft>
                <a:spcPts val="600"/>
              </a:spcAft>
            </a:pPr>
            <a:r>
              <a:rPr lang="en-US" dirty="0">
                <a:solidFill>
                  <a:schemeClr val="bg1"/>
                </a:solidFill>
                <a:latin typeface="Segoe UI Semibold" panose="020B0702040204020203" pitchFamily="34" charset="0"/>
                <a:cs typeface="Segoe UI Semibold" panose="020B0702040204020203" pitchFamily="34" charset="0"/>
              </a:rPr>
              <a:t>For Bolts with multiple tasks executing in parallel in a cluster, Stream Grouping determine how tuples should be partitioned between them</a:t>
            </a:r>
          </a:p>
        </p:txBody>
      </p:sp>
      <p:grpSp>
        <p:nvGrpSpPr>
          <p:cNvPr id="7" name="Group 6"/>
          <p:cNvGrpSpPr/>
          <p:nvPr/>
        </p:nvGrpSpPr>
        <p:grpSpPr>
          <a:xfrm>
            <a:off x="9531022" y="2842302"/>
            <a:ext cx="2391428" cy="2925569"/>
            <a:chOff x="9712588" y="2815355"/>
            <a:chExt cx="2391428" cy="2925569"/>
          </a:xfrm>
        </p:grpSpPr>
        <p:sp>
          <p:nvSpPr>
            <p:cNvPr id="5" name="Rectangle 4"/>
            <p:cNvSpPr/>
            <p:nvPr/>
          </p:nvSpPr>
          <p:spPr bwMode="auto">
            <a:xfrm>
              <a:off x="9712588" y="2815355"/>
              <a:ext cx="2391428" cy="2925569"/>
            </a:xfrm>
            <a:prstGeom prst="rect">
              <a:avLst/>
            </a:prstGeom>
            <a:solidFill>
              <a:schemeClr val="bg1"/>
            </a:solidFill>
            <a:ln>
              <a:solidFill>
                <a:schemeClr val="tx2">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grpSp>
          <p:nvGrpSpPr>
            <p:cNvPr id="62" name="Group 61"/>
            <p:cNvGrpSpPr/>
            <p:nvPr/>
          </p:nvGrpSpPr>
          <p:grpSpPr>
            <a:xfrm>
              <a:off x="9712588" y="3299175"/>
              <a:ext cx="2209862" cy="2060370"/>
              <a:chOff x="9639027" y="3088504"/>
              <a:chExt cx="2209862" cy="2060370"/>
            </a:xfrm>
          </p:grpSpPr>
          <p:grpSp>
            <p:nvGrpSpPr>
              <p:cNvPr id="41" name="Group 40"/>
              <p:cNvGrpSpPr/>
              <p:nvPr/>
            </p:nvGrpSpPr>
            <p:grpSpPr>
              <a:xfrm>
                <a:off x="11283543" y="3088504"/>
                <a:ext cx="565346" cy="516580"/>
                <a:chOff x="3630105" y="3642109"/>
                <a:chExt cx="927253" cy="927253"/>
              </a:xfrm>
            </p:grpSpPr>
            <p:sp>
              <p:nvSpPr>
                <p:cNvPr id="42" name="Oval 41"/>
                <p:cNvSpPr/>
                <p:nvPr/>
              </p:nvSpPr>
              <p:spPr bwMode="auto">
                <a:xfrm>
                  <a:off x="3630105" y="3642109"/>
                  <a:ext cx="927253" cy="927253"/>
                </a:xfrm>
                <a:prstGeom prst="ellipse">
                  <a:avLst/>
                </a:prstGeom>
                <a:solidFill>
                  <a:schemeClr val="bg1"/>
                </a:solidFill>
                <a:ln w="285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IN" sz="1961" b="1" dirty="0">
                    <a:solidFill>
                      <a:srgbClr val="FFFFFF"/>
                    </a:solidFill>
                    <a:latin typeface="Segoe UI Light"/>
                    <a:ea typeface="Segoe UI" pitchFamily="34" charset="0"/>
                    <a:cs typeface="Segoe UI" pitchFamily="34" charset="0"/>
                  </a:endParaRPr>
                </a:p>
              </p:txBody>
            </p:sp>
            <p:sp>
              <p:nvSpPr>
                <p:cNvPr id="45" name="Freeform 44"/>
                <p:cNvSpPr/>
                <p:nvPr/>
              </p:nvSpPr>
              <p:spPr>
                <a:xfrm>
                  <a:off x="3892570" y="3699669"/>
                  <a:ext cx="402323" cy="812133"/>
                </a:xfrm>
                <a:custGeom>
                  <a:avLst/>
                  <a:gdLst>
                    <a:gd name="connsiteX0" fmla="*/ 0 w 511968"/>
                    <a:gd name="connsiteY0" fmla="*/ 552450 h 1033463"/>
                    <a:gd name="connsiteX1" fmla="*/ 371475 w 511968"/>
                    <a:gd name="connsiteY1" fmla="*/ 0 h 1033463"/>
                    <a:gd name="connsiteX2" fmla="*/ 280987 w 511968"/>
                    <a:gd name="connsiteY2" fmla="*/ 411956 h 1033463"/>
                    <a:gd name="connsiteX3" fmla="*/ 511968 w 511968"/>
                    <a:gd name="connsiteY3" fmla="*/ 411956 h 1033463"/>
                    <a:gd name="connsiteX4" fmla="*/ 133350 w 511968"/>
                    <a:gd name="connsiteY4" fmla="*/ 1033463 h 1033463"/>
                    <a:gd name="connsiteX5" fmla="*/ 235743 w 511968"/>
                    <a:gd name="connsiteY5" fmla="*/ 554831 h 1033463"/>
                    <a:gd name="connsiteX6" fmla="*/ 0 w 511968"/>
                    <a:gd name="connsiteY6" fmla="*/ 552450 h 1033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1968" h="1033463">
                      <a:moveTo>
                        <a:pt x="0" y="552450"/>
                      </a:moveTo>
                      <a:lnTo>
                        <a:pt x="371475" y="0"/>
                      </a:lnTo>
                      <a:lnTo>
                        <a:pt x="280987" y="411956"/>
                      </a:lnTo>
                      <a:lnTo>
                        <a:pt x="511968" y="411956"/>
                      </a:lnTo>
                      <a:lnTo>
                        <a:pt x="133350" y="1033463"/>
                      </a:lnTo>
                      <a:lnTo>
                        <a:pt x="235743" y="554831"/>
                      </a:lnTo>
                      <a:lnTo>
                        <a:pt x="0" y="552450"/>
                      </a:lnTo>
                      <a:close/>
                    </a:path>
                  </a:pathLst>
                </a:custGeom>
                <a:solidFill>
                  <a:schemeClr val="accent3"/>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a:endParaRPr lang="en-US" sz="1765">
                    <a:solidFill>
                      <a:srgbClr val="FFFFFF"/>
                    </a:solidFill>
                  </a:endParaRPr>
                </a:p>
              </p:txBody>
            </p:sp>
          </p:grpSp>
          <p:grpSp>
            <p:nvGrpSpPr>
              <p:cNvPr id="46" name="Group 45"/>
              <p:cNvGrpSpPr/>
              <p:nvPr/>
            </p:nvGrpSpPr>
            <p:grpSpPr>
              <a:xfrm>
                <a:off x="11283543" y="3876040"/>
                <a:ext cx="565346" cy="516580"/>
                <a:chOff x="3630105" y="3642109"/>
                <a:chExt cx="927253" cy="927253"/>
              </a:xfrm>
            </p:grpSpPr>
            <p:sp>
              <p:nvSpPr>
                <p:cNvPr id="47" name="Oval 46"/>
                <p:cNvSpPr/>
                <p:nvPr/>
              </p:nvSpPr>
              <p:spPr bwMode="auto">
                <a:xfrm>
                  <a:off x="3630105" y="3642109"/>
                  <a:ext cx="927253" cy="927253"/>
                </a:xfrm>
                <a:prstGeom prst="ellipse">
                  <a:avLst/>
                </a:prstGeom>
                <a:solidFill>
                  <a:schemeClr val="bg1"/>
                </a:solidFill>
                <a:ln w="285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IN" sz="1961" b="1" dirty="0">
                    <a:solidFill>
                      <a:srgbClr val="FFFFFF"/>
                    </a:solidFill>
                    <a:latin typeface="Segoe UI Light"/>
                    <a:ea typeface="Segoe UI" pitchFamily="34" charset="0"/>
                    <a:cs typeface="Segoe UI" pitchFamily="34" charset="0"/>
                  </a:endParaRPr>
                </a:p>
              </p:txBody>
            </p:sp>
            <p:sp>
              <p:nvSpPr>
                <p:cNvPr id="54" name="Freeform 53"/>
                <p:cNvSpPr/>
                <p:nvPr/>
              </p:nvSpPr>
              <p:spPr>
                <a:xfrm>
                  <a:off x="3892570" y="3699669"/>
                  <a:ext cx="402323" cy="812133"/>
                </a:xfrm>
                <a:custGeom>
                  <a:avLst/>
                  <a:gdLst>
                    <a:gd name="connsiteX0" fmla="*/ 0 w 511968"/>
                    <a:gd name="connsiteY0" fmla="*/ 552450 h 1033463"/>
                    <a:gd name="connsiteX1" fmla="*/ 371475 w 511968"/>
                    <a:gd name="connsiteY1" fmla="*/ 0 h 1033463"/>
                    <a:gd name="connsiteX2" fmla="*/ 280987 w 511968"/>
                    <a:gd name="connsiteY2" fmla="*/ 411956 h 1033463"/>
                    <a:gd name="connsiteX3" fmla="*/ 511968 w 511968"/>
                    <a:gd name="connsiteY3" fmla="*/ 411956 h 1033463"/>
                    <a:gd name="connsiteX4" fmla="*/ 133350 w 511968"/>
                    <a:gd name="connsiteY4" fmla="*/ 1033463 h 1033463"/>
                    <a:gd name="connsiteX5" fmla="*/ 235743 w 511968"/>
                    <a:gd name="connsiteY5" fmla="*/ 554831 h 1033463"/>
                    <a:gd name="connsiteX6" fmla="*/ 0 w 511968"/>
                    <a:gd name="connsiteY6" fmla="*/ 552450 h 1033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1968" h="1033463">
                      <a:moveTo>
                        <a:pt x="0" y="552450"/>
                      </a:moveTo>
                      <a:lnTo>
                        <a:pt x="371475" y="0"/>
                      </a:lnTo>
                      <a:lnTo>
                        <a:pt x="280987" y="411956"/>
                      </a:lnTo>
                      <a:lnTo>
                        <a:pt x="511968" y="411956"/>
                      </a:lnTo>
                      <a:lnTo>
                        <a:pt x="133350" y="1033463"/>
                      </a:lnTo>
                      <a:lnTo>
                        <a:pt x="235743" y="554831"/>
                      </a:lnTo>
                      <a:lnTo>
                        <a:pt x="0" y="552450"/>
                      </a:lnTo>
                      <a:close/>
                    </a:path>
                  </a:pathLst>
                </a:custGeom>
                <a:solidFill>
                  <a:schemeClr val="accent3"/>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a:endParaRPr lang="en-US" sz="1765">
                    <a:solidFill>
                      <a:srgbClr val="FFFFFF"/>
                    </a:solidFill>
                  </a:endParaRPr>
                </a:p>
              </p:txBody>
            </p:sp>
          </p:grpSp>
          <p:grpSp>
            <p:nvGrpSpPr>
              <p:cNvPr id="55" name="Group 54"/>
              <p:cNvGrpSpPr/>
              <p:nvPr/>
            </p:nvGrpSpPr>
            <p:grpSpPr>
              <a:xfrm>
                <a:off x="11283543" y="4632294"/>
                <a:ext cx="565346" cy="516580"/>
                <a:chOff x="3630105" y="3642109"/>
                <a:chExt cx="927253" cy="927253"/>
              </a:xfrm>
            </p:grpSpPr>
            <p:sp>
              <p:nvSpPr>
                <p:cNvPr id="56" name="Oval 55"/>
                <p:cNvSpPr/>
                <p:nvPr/>
              </p:nvSpPr>
              <p:spPr bwMode="auto">
                <a:xfrm>
                  <a:off x="3630105" y="3642109"/>
                  <a:ext cx="927253" cy="927253"/>
                </a:xfrm>
                <a:prstGeom prst="ellipse">
                  <a:avLst/>
                </a:prstGeom>
                <a:solidFill>
                  <a:schemeClr val="bg1"/>
                </a:solidFill>
                <a:ln w="285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IN" sz="1961" b="1" dirty="0">
                    <a:solidFill>
                      <a:srgbClr val="FFFFFF"/>
                    </a:solidFill>
                    <a:latin typeface="Segoe UI Light"/>
                    <a:ea typeface="Segoe UI" pitchFamily="34" charset="0"/>
                    <a:cs typeface="Segoe UI" pitchFamily="34" charset="0"/>
                  </a:endParaRPr>
                </a:p>
              </p:txBody>
            </p:sp>
            <p:sp>
              <p:nvSpPr>
                <p:cNvPr id="57" name="Freeform 56"/>
                <p:cNvSpPr/>
                <p:nvPr/>
              </p:nvSpPr>
              <p:spPr>
                <a:xfrm>
                  <a:off x="3892570" y="3699669"/>
                  <a:ext cx="402323" cy="812133"/>
                </a:xfrm>
                <a:custGeom>
                  <a:avLst/>
                  <a:gdLst>
                    <a:gd name="connsiteX0" fmla="*/ 0 w 511968"/>
                    <a:gd name="connsiteY0" fmla="*/ 552450 h 1033463"/>
                    <a:gd name="connsiteX1" fmla="*/ 371475 w 511968"/>
                    <a:gd name="connsiteY1" fmla="*/ 0 h 1033463"/>
                    <a:gd name="connsiteX2" fmla="*/ 280987 w 511968"/>
                    <a:gd name="connsiteY2" fmla="*/ 411956 h 1033463"/>
                    <a:gd name="connsiteX3" fmla="*/ 511968 w 511968"/>
                    <a:gd name="connsiteY3" fmla="*/ 411956 h 1033463"/>
                    <a:gd name="connsiteX4" fmla="*/ 133350 w 511968"/>
                    <a:gd name="connsiteY4" fmla="*/ 1033463 h 1033463"/>
                    <a:gd name="connsiteX5" fmla="*/ 235743 w 511968"/>
                    <a:gd name="connsiteY5" fmla="*/ 554831 h 1033463"/>
                    <a:gd name="connsiteX6" fmla="*/ 0 w 511968"/>
                    <a:gd name="connsiteY6" fmla="*/ 552450 h 1033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1968" h="1033463">
                      <a:moveTo>
                        <a:pt x="0" y="552450"/>
                      </a:moveTo>
                      <a:lnTo>
                        <a:pt x="371475" y="0"/>
                      </a:lnTo>
                      <a:lnTo>
                        <a:pt x="280987" y="411956"/>
                      </a:lnTo>
                      <a:lnTo>
                        <a:pt x="511968" y="411956"/>
                      </a:lnTo>
                      <a:lnTo>
                        <a:pt x="133350" y="1033463"/>
                      </a:lnTo>
                      <a:lnTo>
                        <a:pt x="235743" y="554831"/>
                      </a:lnTo>
                      <a:lnTo>
                        <a:pt x="0" y="552450"/>
                      </a:lnTo>
                      <a:close/>
                    </a:path>
                  </a:pathLst>
                </a:custGeom>
                <a:solidFill>
                  <a:schemeClr val="accent3"/>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a:endParaRPr lang="en-US" sz="1765">
                    <a:solidFill>
                      <a:srgbClr val="FFFFFF"/>
                    </a:solidFill>
                  </a:endParaRPr>
                </a:p>
              </p:txBody>
            </p:sp>
          </p:grpSp>
          <p:sp>
            <p:nvSpPr>
              <p:cNvPr id="58" name="Oval 57"/>
              <p:cNvSpPr/>
              <p:nvPr/>
            </p:nvSpPr>
            <p:spPr bwMode="auto">
              <a:xfrm>
                <a:off x="9639027" y="3876040"/>
                <a:ext cx="563211" cy="516580"/>
              </a:xfrm>
              <a:prstGeom prst="ellipse">
                <a:avLst/>
              </a:prstGeom>
              <a:solidFill>
                <a:schemeClr val="bg1">
                  <a:lumMod val="95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IN" sz="2400" dirty="0">
                    <a:solidFill>
                      <a:srgbClr val="505050"/>
                    </a:solidFill>
                    <a:latin typeface="Segoe UI Semibold" panose="020B0702040204020203" pitchFamily="34" charset="0"/>
                    <a:ea typeface="Segoe UI" pitchFamily="34" charset="0"/>
                    <a:cs typeface="Segoe UI" pitchFamily="34" charset="0"/>
                  </a:rPr>
                  <a:t>{…}</a:t>
                </a:r>
              </a:p>
            </p:txBody>
          </p:sp>
          <p:cxnSp>
            <p:nvCxnSpPr>
              <p:cNvPr id="22" name="Straight Arrow Connector 21"/>
              <p:cNvCxnSpPr>
                <a:stCxn id="58" idx="7"/>
                <a:endCxn id="42" idx="2"/>
              </p:cNvCxnSpPr>
              <p:nvPr/>
            </p:nvCxnSpPr>
            <p:spPr>
              <a:xfrm flipV="1">
                <a:off x="10119758" y="3346794"/>
                <a:ext cx="1163785" cy="604897"/>
              </a:xfrm>
              <a:prstGeom prst="straightConnector1">
                <a:avLst/>
              </a:prstGeom>
              <a:ln w="28575">
                <a:solidFill>
                  <a:schemeClr val="tx1">
                    <a:lumMod val="75000"/>
                    <a:lumOff val="2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a:stCxn id="58" idx="6"/>
                <a:endCxn id="47" idx="2"/>
              </p:cNvCxnSpPr>
              <p:nvPr/>
            </p:nvCxnSpPr>
            <p:spPr>
              <a:xfrm>
                <a:off x="10202238" y="4134330"/>
                <a:ext cx="1081305" cy="0"/>
              </a:xfrm>
              <a:prstGeom prst="straightConnector1">
                <a:avLst/>
              </a:prstGeom>
              <a:ln w="28575">
                <a:solidFill>
                  <a:schemeClr val="tx1">
                    <a:lumMod val="75000"/>
                    <a:lumOff val="2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stCxn id="58" idx="5"/>
                <a:endCxn id="56" idx="2"/>
              </p:cNvCxnSpPr>
              <p:nvPr/>
            </p:nvCxnSpPr>
            <p:spPr>
              <a:xfrm>
                <a:off x="10119758" y="4316969"/>
                <a:ext cx="1163785" cy="573615"/>
              </a:xfrm>
              <a:prstGeom prst="straightConnector1">
                <a:avLst/>
              </a:prstGeom>
              <a:ln w="28575">
                <a:solidFill>
                  <a:schemeClr val="tx1">
                    <a:lumMod val="75000"/>
                    <a:lumOff val="25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10477491" y="3225420"/>
                <a:ext cx="503434" cy="423822"/>
              </a:xfrm>
              <a:prstGeom prst="rect">
                <a:avLst/>
              </a:prstGeom>
              <a:noFill/>
            </p:spPr>
            <p:txBody>
              <a:bodyPr wrap="none" lIns="182880" tIns="146304" rIns="182880" bIns="146304" rtlCol="0">
                <a:noAutofit/>
              </a:bodyPr>
              <a:lstStyle/>
              <a:p>
                <a:pPr>
                  <a:lnSpc>
                    <a:spcPct val="90000"/>
                  </a:lnSpc>
                  <a:spcAft>
                    <a:spcPts val="600"/>
                  </a:spcAft>
                </a:pPr>
                <a:r>
                  <a:rPr lang="en-US" dirty="0">
                    <a:solidFill>
                      <a:schemeClr val="tx1">
                        <a:lumMod val="85000"/>
                        <a:lumOff val="15000"/>
                      </a:schemeClr>
                    </a:solidFill>
                  </a:rPr>
                  <a:t>?</a:t>
                </a:r>
              </a:p>
            </p:txBody>
          </p:sp>
          <p:sp>
            <p:nvSpPr>
              <p:cNvPr id="59" name="TextBox 58"/>
              <p:cNvSpPr txBox="1"/>
              <p:nvPr/>
            </p:nvSpPr>
            <p:spPr>
              <a:xfrm>
                <a:off x="10477491" y="3665492"/>
                <a:ext cx="503434" cy="423822"/>
              </a:xfrm>
              <a:prstGeom prst="rect">
                <a:avLst/>
              </a:prstGeom>
              <a:noFill/>
            </p:spPr>
            <p:txBody>
              <a:bodyPr wrap="none" lIns="182880" tIns="146304" rIns="182880" bIns="146304" rtlCol="0">
                <a:noAutofit/>
              </a:bodyPr>
              <a:lstStyle/>
              <a:p>
                <a:pPr>
                  <a:lnSpc>
                    <a:spcPct val="90000"/>
                  </a:lnSpc>
                  <a:spcAft>
                    <a:spcPts val="600"/>
                  </a:spcAft>
                </a:pPr>
                <a:r>
                  <a:rPr lang="en-US" dirty="0">
                    <a:solidFill>
                      <a:schemeClr val="tx1">
                        <a:lumMod val="85000"/>
                        <a:lumOff val="15000"/>
                      </a:schemeClr>
                    </a:solidFill>
                  </a:rPr>
                  <a:t>?</a:t>
                </a:r>
              </a:p>
            </p:txBody>
          </p:sp>
          <p:sp>
            <p:nvSpPr>
              <p:cNvPr id="60" name="TextBox 59"/>
              <p:cNvSpPr txBox="1"/>
              <p:nvPr/>
            </p:nvSpPr>
            <p:spPr>
              <a:xfrm>
                <a:off x="10477491" y="4187760"/>
                <a:ext cx="503434" cy="423822"/>
              </a:xfrm>
              <a:prstGeom prst="rect">
                <a:avLst/>
              </a:prstGeom>
              <a:noFill/>
            </p:spPr>
            <p:txBody>
              <a:bodyPr wrap="none" lIns="182880" tIns="146304" rIns="182880" bIns="146304" rtlCol="0">
                <a:noAutofit/>
              </a:bodyPr>
              <a:lstStyle/>
              <a:p>
                <a:pPr>
                  <a:lnSpc>
                    <a:spcPct val="90000"/>
                  </a:lnSpc>
                  <a:spcAft>
                    <a:spcPts val="600"/>
                  </a:spcAft>
                </a:pPr>
                <a:r>
                  <a:rPr lang="en-US" dirty="0">
                    <a:solidFill>
                      <a:schemeClr val="tx1">
                        <a:lumMod val="85000"/>
                        <a:lumOff val="15000"/>
                      </a:schemeClr>
                    </a:solidFill>
                  </a:rPr>
                  <a:t>?</a:t>
                </a:r>
              </a:p>
            </p:txBody>
          </p:sp>
        </p:grpSp>
        <p:sp>
          <p:nvSpPr>
            <p:cNvPr id="39" name="TextBox 38"/>
            <p:cNvSpPr txBox="1"/>
            <p:nvPr/>
          </p:nvSpPr>
          <p:spPr>
            <a:xfrm>
              <a:off x="11159281" y="2815355"/>
              <a:ext cx="791111" cy="447339"/>
            </a:xfrm>
            <a:prstGeom prst="rect">
              <a:avLst/>
            </a:prstGeom>
            <a:noFill/>
          </p:spPr>
          <p:txBody>
            <a:bodyPr wrap="none" lIns="182880" tIns="146304" rIns="182880" bIns="146304" rtlCol="0">
              <a:noAutofit/>
            </a:bodyPr>
            <a:lstStyle/>
            <a:p>
              <a:pPr>
                <a:lnSpc>
                  <a:spcPct val="90000"/>
                </a:lnSpc>
                <a:spcAft>
                  <a:spcPts val="600"/>
                </a:spcAft>
              </a:pPr>
              <a:r>
                <a:rPr lang="en-US" dirty="0">
                  <a:solidFill>
                    <a:schemeClr val="tx2"/>
                  </a:solidFill>
                </a:rPr>
                <a:t>Tasks</a:t>
              </a:r>
            </a:p>
          </p:txBody>
        </p:sp>
      </p:grpSp>
    </p:spTree>
    <p:extLst>
      <p:ext uri="{BB962C8B-B14F-4D97-AF65-F5344CB8AC3E}">
        <p14:creationId xmlns:p14="http://schemas.microsoft.com/office/powerpoint/2010/main" val="1903593986"/>
      </p:ext>
    </p:extLst>
  </p:cSld>
  <p:clrMapOvr>
    <a:masterClrMapping/>
  </p:clrMapOvr>
  <p:transition spd="med">
    <p:fad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8927" y="286381"/>
            <a:ext cx="9283721" cy="927940"/>
          </a:xfrm>
        </p:spPr>
        <p:txBody>
          <a:bodyPr/>
          <a:lstStyle/>
          <a:p>
            <a:r>
              <a:rPr lang="en-US" dirty="0"/>
              <a:t>At-least-once Message Processing</a:t>
            </a:r>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77</a:t>
            </a:fld>
            <a:endParaRPr lang="en-US" dirty="0"/>
          </a:p>
        </p:txBody>
      </p:sp>
      <p:grpSp>
        <p:nvGrpSpPr>
          <p:cNvPr id="40" name="Group 39"/>
          <p:cNvGrpSpPr/>
          <p:nvPr/>
        </p:nvGrpSpPr>
        <p:grpSpPr>
          <a:xfrm>
            <a:off x="7154167" y="4042470"/>
            <a:ext cx="4901847" cy="2273768"/>
            <a:chOff x="6886648" y="2848080"/>
            <a:chExt cx="4901847" cy="2273768"/>
          </a:xfrm>
        </p:grpSpPr>
        <p:grpSp>
          <p:nvGrpSpPr>
            <p:cNvPr id="4" name="Group 3"/>
            <p:cNvGrpSpPr/>
            <p:nvPr/>
          </p:nvGrpSpPr>
          <p:grpSpPr>
            <a:xfrm>
              <a:off x="6886648" y="3989143"/>
              <a:ext cx="1434816" cy="1132705"/>
              <a:chOff x="915076" y="3339844"/>
              <a:chExt cx="1463587" cy="1155418"/>
            </a:xfrm>
          </p:grpSpPr>
          <p:grpSp>
            <p:nvGrpSpPr>
              <p:cNvPr id="5" name="Group 4"/>
              <p:cNvGrpSpPr/>
              <p:nvPr/>
            </p:nvGrpSpPr>
            <p:grpSpPr>
              <a:xfrm>
                <a:off x="915076" y="3339844"/>
                <a:ext cx="1384747" cy="827695"/>
                <a:chOff x="915076" y="3339844"/>
                <a:chExt cx="1384747" cy="827695"/>
              </a:xfrm>
            </p:grpSpPr>
            <p:sp>
              <p:nvSpPr>
                <p:cNvPr id="15" name="Freeform 14"/>
                <p:cNvSpPr>
                  <a:spLocks/>
                </p:cNvSpPr>
                <p:nvPr/>
              </p:nvSpPr>
              <p:spPr bwMode="auto">
                <a:xfrm flipH="1">
                  <a:off x="1286154" y="3342929"/>
                  <a:ext cx="1013669" cy="824610"/>
                </a:xfrm>
                <a:custGeom>
                  <a:avLst/>
                  <a:gdLst>
                    <a:gd name="connsiteX0" fmla="*/ 836347 w 1658436"/>
                    <a:gd name="connsiteY0" fmla="*/ 0 h 1256029"/>
                    <a:gd name="connsiteX1" fmla="*/ 1015917 w 1658436"/>
                    <a:gd name="connsiteY1" fmla="*/ 0 h 1256029"/>
                    <a:gd name="connsiteX2" fmla="*/ 1015917 w 1658436"/>
                    <a:gd name="connsiteY2" fmla="*/ 203058 h 1256029"/>
                    <a:gd name="connsiteX3" fmla="*/ 1083029 w 1658436"/>
                    <a:gd name="connsiteY3" fmla="*/ 249781 h 1256029"/>
                    <a:gd name="connsiteX4" fmla="*/ 1154099 w 1658436"/>
                    <a:gd name="connsiteY4" fmla="*/ 249781 h 1256029"/>
                    <a:gd name="connsiteX5" fmla="*/ 1194333 w 1658436"/>
                    <a:gd name="connsiteY5" fmla="*/ 275145 h 1256029"/>
                    <a:gd name="connsiteX6" fmla="*/ 1160200 w 1658436"/>
                    <a:gd name="connsiteY6" fmla="*/ 330767 h 1256029"/>
                    <a:gd name="connsiteX7" fmla="*/ 1178174 w 1658436"/>
                    <a:gd name="connsiteY7" fmla="*/ 514247 h 1256029"/>
                    <a:gd name="connsiteX8" fmla="*/ 1313387 w 1658436"/>
                    <a:gd name="connsiteY8" fmla="*/ 609325 h 1256029"/>
                    <a:gd name="connsiteX9" fmla="*/ 1627182 w 1658436"/>
                    <a:gd name="connsiteY9" fmla="*/ 610511 h 1256029"/>
                    <a:gd name="connsiteX10" fmla="*/ 1648783 w 1658436"/>
                    <a:gd name="connsiteY10" fmla="*/ 959821 h 1256029"/>
                    <a:gd name="connsiteX11" fmla="*/ 1641033 w 1658436"/>
                    <a:gd name="connsiteY11" fmla="*/ 954778 h 1256029"/>
                    <a:gd name="connsiteX12" fmla="*/ 1260126 w 1658436"/>
                    <a:gd name="connsiteY12" fmla="*/ 961156 h 1256029"/>
                    <a:gd name="connsiteX13" fmla="*/ 1099684 w 1658436"/>
                    <a:gd name="connsiteY13" fmla="*/ 1004170 h 1256029"/>
                    <a:gd name="connsiteX14" fmla="*/ 731474 w 1658436"/>
                    <a:gd name="connsiteY14" fmla="*/ 985185 h 1256029"/>
                    <a:gd name="connsiteX15" fmla="*/ 646718 w 1658436"/>
                    <a:gd name="connsiteY15" fmla="*/ 944691 h 1256029"/>
                    <a:gd name="connsiteX16" fmla="*/ 554377 w 1658436"/>
                    <a:gd name="connsiteY16" fmla="*/ 923332 h 1256029"/>
                    <a:gd name="connsiteX17" fmla="*/ 431365 w 1658436"/>
                    <a:gd name="connsiteY17" fmla="*/ 971242 h 1256029"/>
                    <a:gd name="connsiteX18" fmla="*/ 315114 w 1658436"/>
                    <a:gd name="connsiteY18" fmla="*/ 1197737 h 1256029"/>
                    <a:gd name="connsiteX19" fmla="*/ 302417 w 1658436"/>
                    <a:gd name="connsiteY19" fmla="*/ 1256029 h 1256029"/>
                    <a:gd name="connsiteX20" fmla="*/ 0 w 1658436"/>
                    <a:gd name="connsiteY20" fmla="*/ 1200258 h 1256029"/>
                    <a:gd name="connsiteX21" fmla="*/ 78655 w 1658436"/>
                    <a:gd name="connsiteY21" fmla="*/ 952256 h 1256029"/>
                    <a:gd name="connsiteX22" fmla="*/ 429057 w 1658436"/>
                    <a:gd name="connsiteY22" fmla="*/ 623268 h 1256029"/>
                    <a:gd name="connsiteX23" fmla="*/ 557839 w 1658436"/>
                    <a:gd name="connsiteY23" fmla="*/ 595530 h 1256029"/>
                    <a:gd name="connsiteX24" fmla="*/ 689920 w 1658436"/>
                    <a:gd name="connsiteY24" fmla="*/ 448539 h 1256029"/>
                    <a:gd name="connsiteX25" fmla="*/ 689920 w 1658436"/>
                    <a:gd name="connsiteY25" fmla="*/ 332102 h 1256029"/>
                    <a:gd name="connsiteX26" fmla="*/ 657930 w 1658436"/>
                    <a:gd name="connsiteY26" fmla="*/ 266393 h 1256029"/>
                    <a:gd name="connsiteX27" fmla="*/ 683324 w 1658436"/>
                    <a:gd name="connsiteY27" fmla="*/ 251116 h 1256029"/>
                    <a:gd name="connsiteX28" fmla="*/ 726362 w 1658436"/>
                    <a:gd name="connsiteY28" fmla="*/ 249781 h 1256029"/>
                    <a:gd name="connsiteX29" fmla="*/ 766761 w 1658436"/>
                    <a:gd name="connsiteY29" fmla="*/ 249781 h 1256029"/>
                    <a:gd name="connsiteX30" fmla="*/ 836347 w 1658436"/>
                    <a:gd name="connsiteY30" fmla="*/ 204245 h 1256029"/>
                    <a:gd name="connsiteX0" fmla="*/ 836347 w 1658436"/>
                    <a:gd name="connsiteY0" fmla="*/ 0 h 1256029"/>
                    <a:gd name="connsiteX1" fmla="*/ 1015917 w 1658436"/>
                    <a:gd name="connsiteY1" fmla="*/ 0 h 1256029"/>
                    <a:gd name="connsiteX2" fmla="*/ 1015917 w 1658436"/>
                    <a:gd name="connsiteY2" fmla="*/ 203058 h 1256029"/>
                    <a:gd name="connsiteX3" fmla="*/ 1083029 w 1658436"/>
                    <a:gd name="connsiteY3" fmla="*/ 249781 h 1256029"/>
                    <a:gd name="connsiteX4" fmla="*/ 1154099 w 1658436"/>
                    <a:gd name="connsiteY4" fmla="*/ 249781 h 1256029"/>
                    <a:gd name="connsiteX5" fmla="*/ 1194333 w 1658436"/>
                    <a:gd name="connsiteY5" fmla="*/ 275145 h 1256029"/>
                    <a:gd name="connsiteX6" fmla="*/ 1160200 w 1658436"/>
                    <a:gd name="connsiteY6" fmla="*/ 330767 h 1256029"/>
                    <a:gd name="connsiteX7" fmla="*/ 1178174 w 1658436"/>
                    <a:gd name="connsiteY7" fmla="*/ 514247 h 1256029"/>
                    <a:gd name="connsiteX8" fmla="*/ 1313387 w 1658436"/>
                    <a:gd name="connsiteY8" fmla="*/ 609325 h 1256029"/>
                    <a:gd name="connsiteX9" fmla="*/ 1627182 w 1658436"/>
                    <a:gd name="connsiteY9" fmla="*/ 610511 h 1256029"/>
                    <a:gd name="connsiteX10" fmla="*/ 1648783 w 1658436"/>
                    <a:gd name="connsiteY10" fmla="*/ 959821 h 1256029"/>
                    <a:gd name="connsiteX11" fmla="*/ 1641033 w 1658436"/>
                    <a:gd name="connsiteY11" fmla="*/ 954778 h 1256029"/>
                    <a:gd name="connsiteX12" fmla="*/ 1260126 w 1658436"/>
                    <a:gd name="connsiteY12" fmla="*/ 961156 h 1256029"/>
                    <a:gd name="connsiteX13" fmla="*/ 1099684 w 1658436"/>
                    <a:gd name="connsiteY13" fmla="*/ 1004170 h 1256029"/>
                    <a:gd name="connsiteX14" fmla="*/ 731474 w 1658436"/>
                    <a:gd name="connsiteY14" fmla="*/ 985185 h 1256029"/>
                    <a:gd name="connsiteX15" fmla="*/ 646718 w 1658436"/>
                    <a:gd name="connsiteY15" fmla="*/ 944691 h 1256029"/>
                    <a:gd name="connsiteX16" fmla="*/ 554377 w 1658436"/>
                    <a:gd name="connsiteY16" fmla="*/ 923332 h 1256029"/>
                    <a:gd name="connsiteX17" fmla="*/ 431365 w 1658436"/>
                    <a:gd name="connsiteY17" fmla="*/ 971242 h 1256029"/>
                    <a:gd name="connsiteX18" fmla="*/ 315114 w 1658436"/>
                    <a:gd name="connsiteY18" fmla="*/ 1197737 h 1256029"/>
                    <a:gd name="connsiteX19" fmla="*/ 302417 w 1658436"/>
                    <a:gd name="connsiteY19" fmla="*/ 1256029 h 1256029"/>
                    <a:gd name="connsiteX20" fmla="*/ 0 w 1658436"/>
                    <a:gd name="connsiteY20" fmla="*/ 1200258 h 1256029"/>
                    <a:gd name="connsiteX21" fmla="*/ 78655 w 1658436"/>
                    <a:gd name="connsiteY21" fmla="*/ 952256 h 1256029"/>
                    <a:gd name="connsiteX22" fmla="*/ 429057 w 1658436"/>
                    <a:gd name="connsiteY22" fmla="*/ 623268 h 1256029"/>
                    <a:gd name="connsiteX23" fmla="*/ 557839 w 1658436"/>
                    <a:gd name="connsiteY23" fmla="*/ 595530 h 1256029"/>
                    <a:gd name="connsiteX24" fmla="*/ 689920 w 1658436"/>
                    <a:gd name="connsiteY24" fmla="*/ 448539 h 1256029"/>
                    <a:gd name="connsiteX25" fmla="*/ 689920 w 1658436"/>
                    <a:gd name="connsiteY25" fmla="*/ 332102 h 1256029"/>
                    <a:gd name="connsiteX26" fmla="*/ 657930 w 1658436"/>
                    <a:gd name="connsiteY26" fmla="*/ 266393 h 1256029"/>
                    <a:gd name="connsiteX27" fmla="*/ 683324 w 1658436"/>
                    <a:gd name="connsiteY27" fmla="*/ 251116 h 1256029"/>
                    <a:gd name="connsiteX28" fmla="*/ 726362 w 1658436"/>
                    <a:gd name="connsiteY28" fmla="*/ 249781 h 1256029"/>
                    <a:gd name="connsiteX29" fmla="*/ 766761 w 1658436"/>
                    <a:gd name="connsiteY29" fmla="*/ 249781 h 1256029"/>
                    <a:gd name="connsiteX30" fmla="*/ 836347 w 1658436"/>
                    <a:gd name="connsiteY30" fmla="*/ 0 h 1256029"/>
                    <a:gd name="connsiteX0" fmla="*/ 836347 w 1658436"/>
                    <a:gd name="connsiteY0" fmla="*/ 0 h 1256029"/>
                    <a:gd name="connsiteX1" fmla="*/ 1015917 w 1658436"/>
                    <a:gd name="connsiteY1" fmla="*/ 0 h 1256029"/>
                    <a:gd name="connsiteX2" fmla="*/ 1083029 w 1658436"/>
                    <a:gd name="connsiteY2" fmla="*/ 249781 h 1256029"/>
                    <a:gd name="connsiteX3" fmla="*/ 1154099 w 1658436"/>
                    <a:gd name="connsiteY3" fmla="*/ 249781 h 1256029"/>
                    <a:gd name="connsiteX4" fmla="*/ 1194333 w 1658436"/>
                    <a:gd name="connsiteY4" fmla="*/ 275145 h 1256029"/>
                    <a:gd name="connsiteX5" fmla="*/ 1160200 w 1658436"/>
                    <a:gd name="connsiteY5" fmla="*/ 330767 h 1256029"/>
                    <a:gd name="connsiteX6" fmla="*/ 1178174 w 1658436"/>
                    <a:gd name="connsiteY6" fmla="*/ 514247 h 1256029"/>
                    <a:gd name="connsiteX7" fmla="*/ 1313387 w 1658436"/>
                    <a:gd name="connsiteY7" fmla="*/ 609325 h 1256029"/>
                    <a:gd name="connsiteX8" fmla="*/ 1627182 w 1658436"/>
                    <a:gd name="connsiteY8" fmla="*/ 610511 h 1256029"/>
                    <a:gd name="connsiteX9" fmla="*/ 1648783 w 1658436"/>
                    <a:gd name="connsiteY9" fmla="*/ 959821 h 1256029"/>
                    <a:gd name="connsiteX10" fmla="*/ 1641033 w 1658436"/>
                    <a:gd name="connsiteY10" fmla="*/ 954778 h 1256029"/>
                    <a:gd name="connsiteX11" fmla="*/ 1260126 w 1658436"/>
                    <a:gd name="connsiteY11" fmla="*/ 961156 h 1256029"/>
                    <a:gd name="connsiteX12" fmla="*/ 1099684 w 1658436"/>
                    <a:gd name="connsiteY12" fmla="*/ 1004170 h 1256029"/>
                    <a:gd name="connsiteX13" fmla="*/ 731474 w 1658436"/>
                    <a:gd name="connsiteY13" fmla="*/ 985185 h 1256029"/>
                    <a:gd name="connsiteX14" fmla="*/ 646718 w 1658436"/>
                    <a:gd name="connsiteY14" fmla="*/ 944691 h 1256029"/>
                    <a:gd name="connsiteX15" fmla="*/ 554377 w 1658436"/>
                    <a:gd name="connsiteY15" fmla="*/ 923332 h 1256029"/>
                    <a:gd name="connsiteX16" fmla="*/ 431365 w 1658436"/>
                    <a:gd name="connsiteY16" fmla="*/ 971242 h 1256029"/>
                    <a:gd name="connsiteX17" fmla="*/ 315114 w 1658436"/>
                    <a:gd name="connsiteY17" fmla="*/ 1197737 h 1256029"/>
                    <a:gd name="connsiteX18" fmla="*/ 302417 w 1658436"/>
                    <a:gd name="connsiteY18" fmla="*/ 1256029 h 1256029"/>
                    <a:gd name="connsiteX19" fmla="*/ 0 w 1658436"/>
                    <a:gd name="connsiteY19" fmla="*/ 1200258 h 1256029"/>
                    <a:gd name="connsiteX20" fmla="*/ 78655 w 1658436"/>
                    <a:gd name="connsiteY20" fmla="*/ 952256 h 1256029"/>
                    <a:gd name="connsiteX21" fmla="*/ 429057 w 1658436"/>
                    <a:gd name="connsiteY21" fmla="*/ 623268 h 1256029"/>
                    <a:gd name="connsiteX22" fmla="*/ 557839 w 1658436"/>
                    <a:gd name="connsiteY22" fmla="*/ 595530 h 1256029"/>
                    <a:gd name="connsiteX23" fmla="*/ 689920 w 1658436"/>
                    <a:gd name="connsiteY23" fmla="*/ 448539 h 1256029"/>
                    <a:gd name="connsiteX24" fmla="*/ 689920 w 1658436"/>
                    <a:gd name="connsiteY24" fmla="*/ 332102 h 1256029"/>
                    <a:gd name="connsiteX25" fmla="*/ 657930 w 1658436"/>
                    <a:gd name="connsiteY25" fmla="*/ 266393 h 1256029"/>
                    <a:gd name="connsiteX26" fmla="*/ 683324 w 1658436"/>
                    <a:gd name="connsiteY26" fmla="*/ 251116 h 1256029"/>
                    <a:gd name="connsiteX27" fmla="*/ 726362 w 1658436"/>
                    <a:gd name="connsiteY27" fmla="*/ 249781 h 1256029"/>
                    <a:gd name="connsiteX28" fmla="*/ 766761 w 1658436"/>
                    <a:gd name="connsiteY28" fmla="*/ 249781 h 1256029"/>
                    <a:gd name="connsiteX29" fmla="*/ 836347 w 1658436"/>
                    <a:gd name="connsiteY29" fmla="*/ 0 h 1256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658436" h="1256029">
                      <a:moveTo>
                        <a:pt x="836347" y="0"/>
                      </a:moveTo>
                      <a:lnTo>
                        <a:pt x="1015917" y="0"/>
                      </a:lnTo>
                      <a:lnTo>
                        <a:pt x="1083029" y="249781"/>
                      </a:lnTo>
                      <a:lnTo>
                        <a:pt x="1154099" y="249781"/>
                      </a:lnTo>
                      <a:cubicBezTo>
                        <a:pt x="1171743" y="249781"/>
                        <a:pt x="1191860" y="246073"/>
                        <a:pt x="1194333" y="275145"/>
                      </a:cubicBezTo>
                      <a:cubicBezTo>
                        <a:pt x="1198126" y="315638"/>
                        <a:pt x="1194333" y="323203"/>
                        <a:pt x="1160200" y="330767"/>
                      </a:cubicBezTo>
                      <a:cubicBezTo>
                        <a:pt x="1160200" y="392768"/>
                        <a:pt x="1155418" y="454768"/>
                        <a:pt x="1178174" y="514247"/>
                      </a:cubicBezTo>
                      <a:cubicBezTo>
                        <a:pt x="1200599" y="576396"/>
                        <a:pt x="1246440" y="609325"/>
                        <a:pt x="1313387" y="609325"/>
                      </a:cubicBezTo>
                      <a:lnTo>
                        <a:pt x="1627182" y="610511"/>
                      </a:lnTo>
                      <a:cubicBezTo>
                        <a:pt x="1683081" y="668952"/>
                        <a:pt x="1646475" y="902418"/>
                        <a:pt x="1648783" y="959821"/>
                      </a:cubicBezTo>
                      <a:cubicBezTo>
                        <a:pt x="1643507" y="957299"/>
                        <a:pt x="1642352" y="954778"/>
                        <a:pt x="1641033" y="954778"/>
                      </a:cubicBezTo>
                      <a:cubicBezTo>
                        <a:pt x="1513570" y="955964"/>
                        <a:pt x="1386930" y="953443"/>
                        <a:pt x="1260126" y="961156"/>
                      </a:cubicBezTo>
                      <a:cubicBezTo>
                        <a:pt x="1205711" y="963826"/>
                        <a:pt x="1151625" y="985185"/>
                        <a:pt x="1099684" y="1004170"/>
                      </a:cubicBezTo>
                      <a:cubicBezTo>
                        <a:pt x="973209" y="1052228"/>
                        <a:pt x="850363" y="1048372"/>
                        <a:pt x="731474" y="985185"/>
                      </a:cubicBezTo>
                      <a:cubicBezTo>
                        <a:pt x="703771" y="970055"/>
                        <a:pt x="675904" y="954778"/>
                        <a:pt x="646718" y="944691"/>
                      </a:cubicBezTo>
                      <a:cubicBezTo>
                        <a:pt x="616377" y="934605"/>
                        <a:pt x="584882" y="927041"/>
                        <a:pt x="554377" y="923332"/>
                      </a:cubicBezTo>
                      <a:cubicBezTo>
                        <a:pt x="504908" y="916658"/>
                        <a:pt x="464344" y="936978"/>
                        <a:pt x="431365" y="971242"/>
                      </a:cubicBezTo>
                      <a:cubicBezTo>
                        <a:pt x="366891" y="1033391"/>
                        <a:pt x="336551" y="1114377"/>
                        <a:pt x="315114" y="1197737"/>
                      </a:cubicBezTo>
                      <a:cubicBezTo>
                        <a:pt x="311157" y="1215536"/>
                        <a:pt x="307199" y="1233187"/>
                        <a:pt x="302417" y="1256029"/>
                      </a:cubicBezTo>
                      <a:lnTo>
                        <a:pt x="0" y="1200258"/>
                      </a:lnTo>
                      <a:cubicBezTo>
                        <a:pt x="18798" y="1112894"/>
                        <a:pt x="41719" y="1030869"/>
                        <a:pt x="78655" y="952256"/>
                      </a:cubicBezTo>
                      <a:cubicBezTo>
                        <a:pt x="150714" y="796661"/>
                        <a:pt x="262183" y="679038"/>
                        <a:pt x="429057" y="623268"/>
                      </a:cubicBezTo>
                      <a:cubicBezTo>
                        <a:pt x="470775" y="610511"/>
                        <a:pt x="513812" y="601760"/>
                        <a:pt x="557839" y="595530"/>
                      </a:cubicBezTo>
                      <a:cubicBezTo>
                        <a:pt x="642760" y="583961"/>
                        <a:pt x="688436" y="534716"/>
                        <a:pt x="689920" y="448539"/>
                      </a:cubicBezTo>
                      <a:lnTo>
                        <a:pt x="689920" y="332102"/>
                      </a:lnTo>
                      <a:cubicBezTo>
                        <a:pt x="657930" y="321868"/>
                        <a:pt x="645398" y="295317"/>
                        <a:pt x="657930" y="266393"/>
                      </a:cubicBezTo>
                      <a:cubicBezTo>
                        <a:pt x="661723" y="258532"/>
                        <a:pt x="674420" y="252302"/>
                        <a:pt x="683324" y="251116"/>
                      </a:cubicBezTo>
                      <a:cubicBezTo>
                        <a:pt x="696846" y="248594"/>
                        <a:pt x="712511" y="249781"/>
                        <a:pt x="726362" y="249781"/>
                      </a:cubicBezTo>
                      <a:lnTo>
                        <a:pt x="766761" y="249781"/>
                      </a:lnTo>
                      <a:cubicBezTo>
                        <a:pt x="785092" y="208151"/>
                        <a:pt x="794821" y="41630"/>
                        <a:pt x="836347" y="0"/>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noAutofit/>
                </a:bodyPr>
                <a:lstStyle/>
                <a:p>
                  <a:pPr defTabSz="914367"/>
                  <a:endParaRPr lang="en-US" sz="1765">
                    <a:solidFill>
                      <a:srgbClr val="000000"/>
                    </a:solidFill>
                  </a:endParaRPr>
                </a:p>
              </p:txBody>
            </p:sp>
            <p:sp>
              <p:nvSpPr>
                <p:cNvPr id="16" name="Rectangle 15"/>
                <p:cNvSpPr/>
                <p:nvPr/>
              </p:nvSpPr>
              <p:spPr>
                <a:xfrm>
                  <a:off x="915076" y="3741646"/>
                  <a:ext cx="625583" cy="23134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endParaRPr>
                </a:p>
              </p:txBody>
            </p:sp>
            <p:sp>
              <p:nvSpPr>
                <p:cNvPr id="17" name="Rounded Rectangle 16"/>
                <p:cNvSpPr/>
                <p:nvPr/>
              </p:nvSpPr>
              <p:spPr>
                <a:xfrm>
                  <a:off x="1514914" y="3339844"/>
                  <a:ext cx="461959" cy="79307"/>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endParaRPr>
                </a:p>
              </p:txBody>
            </p:sp>
          </p:grpSp>
          <p:sp>
            <p:nvSpPr>
              <p:cNvPr id="6" name="Freeform 6"/>
              <p:cNvSpPr>
                <a:spLocks/>
              </p:cNvSpPr>
              <p:nvPr/>
            </p:nvSpPr>
            <p:spPr bwMode="auto">
              <a:xfrm flipH="1">
                <a:off x="2126453" y="4165336"/>
                <a:ext cx="69280" cy="104424"/>
              </a:xfrm>
              <a:custGeom>
                <a:avLst/>
                <a:gdLst>
                  <a:gd name="T0" fmla="*/ 121 w 258"/>
                  <a:gd name="T1" fmla="*/ 0 h 362"/>
                  <a:gd name="T2" fmla="*/ 124 w 258"/>
                  <a:gd name="T3" fmla="*/ 2 h 362"/>
                  <a:gd name="T4" fmla="*/ 210 w 258"/>
                  <a:gd name="T5" fmla="*/ 162 h 362"/>
                  <a:gd name="T6" fmla="*/ 171 w 258"/>
                  <a:gd name="T7" fmla="*/ 343 h 362"/>
                  <a:gd name="T8" fmla="*/ 51 w 258"/>
                  <a:gd name="T9" fmla="*/ 326 h 362"/>
                  <a:gd name="T10" fmla="*/ 17 w 258"/>
                  <a:gd name="T11" fmla="*/ 195 h 362"/>
                  <a:gd name="T12" fmla="*/ 39 w 258"/>
                  <a:gd name="T13" fmla="*/ 157 h 362"/>
                  <a:gd name="T14" fmla="*/ 121 w 258"/>
                  <a:gd name="T15" fmla="*/ 0 h 3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8" h="362">
                    <a:moveTo>
                      <a:pt x="121" y="0"/>
                    </a:moveTo>
                    <a:cubicBezTo>
                      <a:pt x="123" y="1"/>
                      <a:pt x="124" y="2"/>
                      <a:pt x="124" y="2"/>
                    </a:cubicBezTo>
                    <a:cubicBezTo>
                      <a:pt x="138" y="64"/>
                      <a:pt x="173" y="113"/>
                      <a:pt x="210" y="162"/>
                    </a:cubicBezTo>
                    <a:cubicBezTo>
                      <a:pt x="258" y="225"/>
                      <a:pt x="238" y="308"/>
                      <a:pt x="171" y="343"/>
                    </a:cubicBezTo>
                    <a:cubicBezTo>
                      <a:pt x="132" y="362"/>
                      <a:pt x="84" y="355"/>
                      <a:pt x="51" y="326"/>
                    </a:cubicBezTo>
                    <a:cubicBezTo>
                      <a:pt x="14" y="292"/>
                      <a:pt x="0" y="240"/>
                      <a:pt x="17" y="195"/>
                    </a:cubicBezTo>
                    <a:cubicBezTo>
                      <a:pt x="23" y="182"/>
                      <a:pt x="29" y="168"/>
                      <a:pt x="39" y="157"/>
                    </a:cubicBezTo>
                    <a:cubicBezTo>
                      <a:pt x="78" y="111"/>
                      <a:pt x="111" y="62"/>
                      <a:pt x="121" y="0"/>
                    </a:cubicBezTo>
                    <a:close/>
                  </a:path>
                </a:pathLst>
              </a:custGeom>
              <a:solidFill>
                <a:schemeClr val="accent2">
                  <a:lumMod val="20000"/>
                  <a:lumOff val="80000"/>
                </a:schemeClr>
              </a:solidFill>
              <a:ln>
                <a:noFill/>
              </a:ln>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7" name="Freeform 6"/>
              <p:cNvSpPr>
                <a:spLocks/>
              </p:cNvSpPr>
              <p:nvPr/>
            </p:nvSpPr>
            <p:spPr bwMode="auto">
              <a:xfrm flipH="1">
                <a:off x="2195733" y="4165336"/>
                <a:ext cx="69280" cy="104424"/>
              </a:xfrm>
              <a:custGeom>
                <a:avLst/>
                <a:gdLst>
                  <a:gd name="T0" fmla="*/ 121 w 258"/>
                  <a:gd name="T1" fmla="*/ 0 h 362"/>
                  <a:gd name="T2" fmla="*/ 124 w 258"/>
                  <a:gd name="T3" fmla="*/ 2 h 362"/>
                  <a:gd name="T4" fmla="*/ 210 w 258"/>
                  <a:gd name="T5" fmla="*/ 162 h 362"/>
                  <a:gd name="T6" fmla="*/ 171 w 258"/>
                  <a:gd name="T7" fmla="*/ 343 h 362"/>
                  <a:gd name="T8" fmla="*/ 51 w 258"/>
                  <a:gd name="T9" fmla="*/ 326 h 362"/>
                  <a:gd name="T10" fmla="*/ 17 w 258"/>
                  <a:gd name="T11" fmla="*/ 195 h 362"/>
                  <a:gd name="T12" fmla="*/ 39 w 258"/>
                  <a:gd name="T13" fmla="*/ 157 h 362"/>
                  <a:gd name="T14" fmla="*/ 121 w 258"/>
                  <a:gd name="T15" fmla="*/ 0 h 3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8" h="362">
                    <a:moveTo>
                      <a:pt x="121" y="0"/>
                    </a:moveTo>
                    <a:cubicBezTo>
                      <a:pt x="123" y="1"/>
                      <a:pt x="124" y="2"/>
                      <a:pt x="124" y="2"/>
                    </a:cubicBezTo>
                    <a:cubicBezTo>
                      <a:pt x="138" y="64"/>
                      <a:pt x="173" y="113"/>
                      <a:pt x="210" y="162"/>
                    </a:cubicBezTo>
                    <a:cubicBezTo>
                      <a:pt x="258" y="225"/>
                      <a:pt x="238" y="308"/>
                      <a:pt x="171" y="343"/>
                    </a:cubicBezTo>
                    <a:cubicBezTo>
                      <a:pt x="132" y="362"/>
                      <a:pt x="84" y="355"/>
                      <a:pt x="51" y="326"/>
                    </a:cubicBezTo>
                    <a:cubicBezTo>
                      <a:pt x="14" y="292"/>
                      <a:pt x="0" y="240"/>
                      <a:pt x="17" y="195"/>
                    </a:cubicBezTo>
                    <a:cubicBezTo>
                      <a:pt x="23" y="182"/>
                      <a:pt x="29" y="168"/>
                      <a:pt x="39" y="157"/>
                    </a:cubicBezTo>
                    <a:cubicBezTo>
                      <a:pt x="78" y="111"/>
                      <a:pt x="111" y="62"/>
                      <a:pt x="121" y="0"/>
                    </a:cubicBezTo>
                    <a:close/>
                  </a:path>
                </a:pathLst>
              </a:custGeom>
              <a:solidFill>
                <a:schemeClr val="accent2">
                  <a:lumMod val="20000"/>
                  <a:lumOff val="80000"/>
                </a:schemeClr>
              </a:solidFill>
              <a:ln>
                <a:noFill/>
              </a:ln>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8" name="Freeform 6"/>
              <p:cNvSpPr>
                <a:spLocks/>
              </p:cNvSpPr>
              <p:nvPr/>
            </p:nvSpPr>
            <p:spPr bwMode="auto">
              <a:xfrm flipH="1">
                <a:off x="2252473" y="4286417"/>
                <a:ext cx="69280" cy="104424"/>
              </a:xfrm>
              <a:custGeom>
                <a:avLst/>
                <a:gdLst>
                  <a:gd name="T0" fmla="*/ 121 w 258"/>
                  <a:gd name="T1" fmla="*/ 0 h 362"/>
                  <a:gd name="T2" fmla="*/ 124 w 258"/>
                  <a:gd name="T3" fmla="*/ 2 h 362"/>
                  <a:gd name="T4" fmla="*/ 210 w 258"/>
                  <a:gd name="T5" fmla="*/ 162 h 362"/>
                  <a:gd name="T6" fmla="*/ 171 w 258"/>
                  <a:gd name="T7" fmla="*/ 343 h 362"/>
                  <a:gd name="T8" fmla="*/ 51 w 258"/>
                  <a:gd name="T9" fmla="*/ 326 h 362"/>
                  <a:gd name="T10" fmla="*/ 17 w 258"/>
                  <a:gd name="T11" fmla="*/ 195 h 362"/>
                  <a:gd name="T12" fmla="*/ 39 w 258"/>
                  <a:gd name="T13" fmla="*/ 157 h 362"/>
                  <a:gd name="T14" fmla="*/ 121 w 258"/>
                  <a:gd name="T15" fmla="*/ 0 h 3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8" h="362">
                    <a:moveTo>
                      <a:pt x="121" y="0"/>
                    </a:moveTo>
                    <a:cubicBezTo>
                      <a:pt x="123" y="1"/>
                      <a:pt x="124" y="2"/>
                      <a:pt x="124" y="2"/>
                    </a:cubicBezTo>
                    <a:cubicBezTo>
                      <a:pt x="138" y="64"/>
                      <a:pt x="173" y="113"/>
                      <a:pt x="210" y="162"/>
                    </a:cubicBezTo>
                    <a:cubicBezTo>
                      <a:pt x="258" y="225"/>
                      <a:pt x="238" y="308"/>
                      <a:pt x="171" y="343"/>
                    </a:cubicBezTo>
                    <a:cubicBezTo>
                      <a:pt x="132" y="362"/>
                      <a:pt x="84" y="355"/>
                      <a:pt x="51" y="326"/>
                    </a:cubicBezTo>
                    <a:cubicBezTo>
                      <a:pt x="14" y="292"/>
                      <a:pt x="0" y="240"/>
                      <a:pt x="17" y="195"/>
                    </a:cubicBezTo>
                    <a:cubicBezTo>
                      <a:pt x="23" y="182"/>
                      <a:pt x="29" y="168"/>
                      <a:pt x="39" y="157"/>
                    </a:cubicBezTo>
                    <a:cubicBezTo>
                      <a:pt x="78" y="111"/>
                      <a:pt x="111" y="62"/>
                      <a:pt x="121" y="0"/>
                    </a:cubicBezTo>
                    <a:close/>
                  </a:path>
                </a:pathLst>
              </a:custGeom>
              <a:solidFill>
                <a:schemeClr val="accent2">
                  <a:lumMod val="20000"/>
                  <a:lumOff val="80000"/>
                </a:schemeClr>
              </a:solidFill>
              <a:ln>
                <a:noFill/>
              </a:ln>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9" name="Freeform 6"/>
              <p:cNvSpPr>
                <a:spLocks/>
              </p:cNvSpPr>
              <p:nvPr/>
            </p:nvSpPr>
            <p:spPr bwMode="auto">
              <a:xfrm flipH="1">
                <a:off x="2183193" y="4272130"/>
                <a:ext cx="69280" cy="104424"/>
              </a:xfrm>
              <a:custGeom>
                <a:avLst/>
                <a:gdLst>
                  <a:gd name="T0" fmla="*/ 121 w 258"/>
                  <a:gd name="T1" fmla="*/ 0 h 362"/>
                  <a:gd name="T2" fmla="*/ 124 w 258"/>
                  <a:gd name="T3" fmla="*/ 2 h 362"/>
                  <a:gd name="T4" fmla="*/ 210 w 258"/>
                  <a:gd name="T5" fmla="*/ 162 h 362"/>
                  <a:gd name="T6" fmla="*/ 171 w 258"/>
                  <a:gd name="T7" fmla="*/ 343 h 362"/>
                  <a:gd name="T8" fmla="*/ 51 w 258"/>
                  <a:gd name="T9" fmla="*/ 326 h 362"/>
                  <a:gd name="T10" fmla="*/ 17 w 258"/>
                  <a:gd name="T11" fmla="*/ 195 h 362"/>
                  <a:gd name="T12" fmla="*/ 39 w 258"/>
                  <a:gd name="T13" fmla="*/ 157 h 362"/>
                  <a:gd name="T14" fmla="*/ 121 w 258"/>
                  <a:gd name="T15" fmla="*/ 0 h 3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8" h="362">
                    <a:moveTo>
                      <a:pt x="121" y="0"/>
                    </a:moveTo>
                    <a:cubicBezTo>
                      <a:pt x="123" y="1"/>
                      <a:pt x="124" y="2"/>
                      <a:pt x="124" y="2"/>
                    </a:cubicBezTo>
                    <a:cubicBezTo>
                      <a:pt x="138" y="64"/>
                      <a:pt x="173" y="113"/>
                      <a:pt x="210" y="162"/>
                    </a:cubicBezTo>
                    <a:cubicBezTo>
                      <a:pt x="258" y="225"/>
                      <a:pt x="238" y="308"/>
                      <a:pt x="171" y="343"/>
                    </a:cubicBezTo>
                    <a:cubicBezTo>
                      <a:pt x="132" y="362"/>
                      <a:pt x="84" y="355"/>
                      <a:pt x="51" y="326"/>
                    </a:cubicBezTo>
                    <a:cubicBezTo>
                      <a:pt x="14" y="292"/>
                      <a:pt x="0" y="240"/>
                      <a:pt x="17" y="195"/>
                    </a:cubicBezTo>
                    <a:cubicBezTo>
                      <a:pt x="23" y="182"/>
                      <a:pt x="29" y="168"/>
                      <a:pt x="39" y="157"/>
                    </a:cubicBezTo>
                    <a:cubicBezTo>
                      <a:pt x="78" y="111"/>
                      <a:pt x="111" y="62"/>
                      <a:pt x="121" y="0"/>
                    </a:cubicBezTo>
                    <a:close/>
                  </a:path>
                </a:pathLst>
              </a:custGeom>
              <a:solidFill>
                <a:schemeClr val="accent2">
                  <a:lumMod val="20000"/>
                  <a:lumOff val="80000"/>
                </a:schemeClr>
              </a:solidFill>
              <a:ln>
                <a:noFill/>
              </a:ln>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0" name="Freeform 6"/>
              <p:cNvSpPr>
                <a:spLocks/>
              </p:cNvSpPr>
              <p:nvPr/>
            </p:nvSpPr>
            <p:spPr bwMode="auto">
              <a:xfrm flipH="1">
                <a:off x="2105130" y="4281558"/>
                <a:ext cx="69280" cy="104424"/>
              </a:xfrm>
              <a:custGeom>
                <a:avLst/>
                <a:gdLst>
                  <a:gd name="T0" fmla="*/ 121 w 258"/>
                  <a:gd name="T1" fmla="*/ 0 h 362"/>
                  <a:gd name="T2" fmla="*/ 124 w 258"/>
                  <a:gd name="T3" fmla="*/ 2 h 362"/>
                  <a:gd name="T4" fmla="*/ 210 w 258"/>
                  <a:gd name="T5" fmla="*/ 162 h 362"/>
                  <a:gd name="T6" fmla="*/ 171 w 258"/>
                  <a:gd name="T7" fmla="*/ 343 h 362"/>
                  <a:gd name="T8" fmla="*/ 51 w 258"/>
                  <a:gd name="T9" fmla="*/ 326 h 362"/>
                  <a:gd name="T10" fmla="*/ 17 w 258"/>
                  <a:gd name="T11" fmla="*/ 195 h 362"/>
                  <a:gd name="T12" fmla="*/ 39 w 258"/>
                  <a:gd name="T13" fmla="*/ 157 h 362"/>
                  <a:gd name="T14" fmla="*/ 121 w 258"/>
                  <a:gd name="T15" fmla="*/ 0 h 3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8" h="362">
                    <a:moveTo>
                      <a:pt x="121" y="0"/>
                    </a:moveTo>
                    <a:cubicBezTo>
                      <a:pt x="123" y="1"/>
                      <a:pt x="124" y="2"/>
                      <a:pt x="124" y="2"/>
                    </a:cubicBezTo>
                    <a:cubicBezTo>
                      <a:pt x="138" y="64"/>
                      <a:pt x="173" y="113"/>
                      <a:pt x="210" y="162"/>
                    </a:cubicBezTo>
                    <a:cubicBezTo>
                      <a:pt x="258" y="225"/>
                      <a:pt x="238" y="308"/>
                      <a:pt x="171" y="343"/>
                    </a:cubicBezTo>
                    <a:cubicBezTo>
                      <a:pt x="132" y="362"/>
                      <a:pt x="84" y="355"/>
                      <a:pt x="51" y="326"/>
                    </a:cubicBezTo>
                    <a:cubicBezTo>
                      <a:pt x="14" y="292"/>
                      <a:pt x="0" y="240"/>
                      <a:pt x="17" y="195"/>
                    </a:cubicBezTo>
                    <a:cubicBezTo>
                      <a:pt x="23" y="182"/>
                      <a:pt x="29" y="168"/>
                      <a:pt x="39" y="157"/>
                    </a:cubicBezTo>
                    <a:cubicBezTo>
                      <a:pt x="78" y="111"/>
                      <a:pt x="111" y="62"/>
                      <a:pt x="121" y="0"/>
                    </a:cubicBezTo>
                    <a:close/>
                  </a:path>
                </a:pathLst>
              </a:custGeom>
              <a:solidFill>
                <a:schemeClr val="accent2">
                  <a:lumMod val="20000"/>
                  <a:lumOff val="80000"/>
                </a:schemeClr>
              </a:solidFill>
              <a:ln>
                <a:noFill/>
              </a:ln>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1" name="Freeform 6"/>
              <p:cNvSpPr>
                <a:spLocks/>
              </p:cNvSpPr>
              <p:nvPr/>
            </p:nvSpPr>
            <p:spPr bwMode="auto">
              <a:xfrm flipH="1">
                <a:off x="2265013" y="4153436"/>
                <a:ext cx="69280" cy="104424"/>
              </a:xfrm>
              <a:custGeom>
                <a:avLst/>
                <a:gdLst>
                  <a:gd name="T0" fmla="*/ 121 w 258"/>
                  <a:gd name="T1" fmla="*/ 0 h 362"/>
                  <a:gd name="T2" fmla="*/ 124 w 258"/>
                  <a:gd name="T3" fmla="*/ 2 h 362"/>
                  <a:gd name="T4" fmla="*/ 210 w 258"/>
                  <a:gd name="T5" fmla="*/ 162 h 362"/>
                  <a:gd name="T6" fmla="*/ 171 w 258"/>
                  <a:gd name="T7" fmla="*/ 343 h 362"/>
                  <a:gd name="T8" fmla="*/ 51 w 258"/>
                  <a:gd name="T9" fmla="*/ 326 h 362"/>
                  <a:gd name="T10" fmla="*/ 17 w 258"/>
                  <a:gd name="T11" fmla="*/ 195 h 362"/>
                  <a:gd name="T12" fmla="*/ 39 w 258"/>
                  <a:gd name="T13" fmla="*/ 157 h 362"/>
                  <a:gd name="T14" fmla="*/ 121 w 258"/>
                  <a:gd name="T15" fmla="*/ 0 h 3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8" h="362">
                    <a:moveTo>
                      <a:pt x="121" y="0"/>
                    </a:moveTo>
                    <a:cubicBezTo>
                      <a:pt x="123" y="1"/>
                      <a:pt x="124" y="2"/>
                      <a:pt x="124" y="2"/>
                    </a:cubicBezTo>
                    <a:cubicBezTo>
                      <a:pt x="138" y="64"/>
                      <a:pt x="173" y="113"/>
                      <a:pt x="210" y="162"/>
                    </a:cubicBezTo>
                    <a:cubicBezTo>
                      <a:pt x="258" y="225"/>
                      <a:pt x="238" y="308"/>
                      <a:pt x="171" y="343"/>
                    </a:cubicBezTo>
                    <a:cubicBezTo>
                      <a:pt x="132" y="362"/>
                      <a:pt x="84" y="355"/>
                      <a:pt x="51" y="326"/>
                    </a:cubicBezTo>
                    <a:cubicBezTo>
                      <a:pt x="14" y="292"/>
                      <a:pt x="0" y="240"/>
                      <a:pt x="17" y="195"/>
                    </a:cubicBezTo>
                    <a:cubicBezTo>
                      <a:pt x="23" y="182"/>
                      <a:pt x="29" y="168"/>
                      <a:pt x="39" y="157"/>
                    </a:cubicBezTo>
                    <a:cubicBezTo>
                      <a:pt x="78" y="111"/>
                      <a:pt x="111" y="62"/>
                      <a:pt x="121" y="0"/>
                    </a:cubicBezTo>
                    <a:close/>
                  </a:path>
                </a:pathLst>
              </a:custGeom>
              <a:solidFill>
                <a:schemeClr val="accent2">
                  <a:lumMod val="20000"/>
                  <a:lumOff val="80000"/>
                </a:schemeClr>
              </a:solidFill>
              <a:ln>
                <a:noFill/>
              </a:ln>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2" name="Freeform 6"/>
              <p:cNvSpPr>
                <a:spLocks/>
              </p:cNvSpPr>
              <p:nvPr/>
            </p:nvSpPr>
            <p:spPr bwMode="auto">
              <a:xfrm flipH="1">
                <a:off x="2309383" y="4338626"/>
                <a:ext cx="69280" cy="104424"/>
              </a:xfrm>
              <a:custGeom>
                <a:avLst/>
                <a:gdLst>
                  <a:gd name="T0" fmla="*/ 121 w 258"/>
                  <a:gd name="T1" fmla="*/ 0 h 362"/>
                  <a:gd name="T2" fmla="*/ 124 w 258"/>
                  <a:gd name="T3" fmla="*/ 2 h 362"/>
                  <a:gd name="T4" fmla="*/ 210 w 258"/>
                  <a:gd name="T5" fmla="*/ 162 h 362"/>
                  <a:gd name="T6" fmla="*/ 171 w 258"/>
                  <a:gd name="T7" fmla="*/ 343 h 362"/>
                  <a:gd name="T8" fmla="*/ 51 w 258"/>
                  <a:gd name="T9" fmla="*/ 326 h 362"/>
                  <a:gd name="T10" fmla="*/ 17 w 258"/>
                  <a:gd name="T11" fmla="*/ 195 h 362"/>
                  <a:gd name="T12" fmla="*/ 39 w 258"/>
                  <a:gd name="T13" fmla="*/ 157 h 362"/>
                  <a:gd name="T14" fmla="*/ 121 w 258"/>
                  <a:gd name="T15" fmla="*/ 0 h 3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8" h="362">
                    <a:moveTo>
                      <a:pt x="121" y="0"/>
                    </a:moveTo>
                    <a:cubicBezTo>
                      <a:pt x="123" y="1"/>
                      <a:pt x="124" y="2"/>
                      <a:pt x="124" y="2"/>
                    </a:cubicBezTo>
                    <a:cubicBezTo>
                      <a:pt x="138" y="64"/>
                      <a:pt x="173" y="113"/>
                      <a:pt x="210" y="162"/>
                    </a:cubicBezTo>
                    <a:cubicBezTo>
                      <a:pt x="258" y="225"/>
                      <a:pt x="238" y="308"/>
                      <a:pt x="171" y="343"/>
                    </a:cubicBezTo>
                    <a:cubicBezTo>
                      <a:pt x="132" y="362"/>
                      <a:pt x="84" y="355"/>
                      <a:pt x="51" y="326"/>
                    </a:cubicBezTo>
                    <a:cubicBezTo>
                      <a:pt x="14" y="292"/>
                      <a:pt x="0" y="240"/>
                      <a:pt x="17" y="195"/>
                    </a:cubicBezTo>
                    <a:cubicBezTo>
                      <a:pt x="23" y="182"/>
                      <a:pt x="29" y="168"/>
                      <a:pt x="39" y="157"/>
                    </a:cubicBezTo>
                    <a:cubicBezTo>
                      <a:pt x="78" y="111"/>
                      <a:pt x="111" y="62"/>
                      <a:pt x="121" y="0"/>
                    </a:cubicBezTo>
                    <a:close/>
                  </a:path>
                </a:pathLst>
              </a:custGeom>
              <a:solidFill>
                <a:schemeClr val="accent2">
                  <a:lumMod val="20000"/>
                  <a:lumOff val="80000"/>
                </a:schemeClr>
              </a:solidFill>
              <a:ln>
                <a:noFill/>
              </a:ln>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3" name="Freeform 6"/>
              <p:cNvSpPr>
                <a:spLocks/>
              </p:cNvSpPr>
              <p:nvPr/>
            </p:nvSpPr>
            <p:spPr bwMode="auto">
              <a:xfrm flipH="1">
                <a:off x="2126453" y="4386257"/>
                <a:ext cx="69280" cy="104424"/>
              </a:xfrm>
              <a:custGeom>
                <a:avLst/>
                <a:gdLst>
                  <a:gd name="T0" fmla="*/ 121 w 258"/>
                  <a:gd name="T1" fmla="*/ 0 h 362"/>
                  <a:gd name="T2" fmla="*/ 124 w 258"/>
                  <a:gd name="T3" fmla="*/ 2 h 362"/>
                  <a:gd name="T4" fmla="*/ 210 w 258"/>
                  <a:gd name="T5" fmla="*/ 162 h 362"/>
                  <a:gd name="T6" fmla="*/ 171 w 258"/>
                  <a:gd name="T7" fmla="*/ 343 h 362"/>
                  <a:gd name="T8" fmla="*/ 51 w 258"/>
                  <a:gd name="T9" fmla="*/ 326 h 362"/>
                  <a:gd name="T10" fmla="*/ 17 w 258"/>
                  <a:gd name="T11" fmla="*/ 195 h 362"/>
                  <a:gd name="T12" fmla="*/ 39 w 258"/>
                  <a:gd name="T13" fmla="*/ 157 h 362"/>
                  <a:gd name="T14" fmla="*/ 121 w 258"/>
                  <a:gd name="T15" fmla="*/ 0 h 3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8" h="362">
                    <a:moveTo>
                      <a:pt x="121" y="0"/>
                    </a:moveTo>
                    <a:cubicBezTo>
                      <a:pt x="123" y="1"/>
                      <a:pt x="124" y="2"/>
                      <a:pt x="124" y="2"/>
                    </a:cubicBezTo>
                    <a:cubicBezTo>
                      <a:pt x="138" y="64"/>
                      <a:pt x="173" y="113"/>
                      <a:pt x="210" y="162"/>
                    </a:cubicBezTo>
                    <a:cubicBezTo>
                      <a:pt x="258" y="225"/>
                      <a:pt x="238" y="308"/>
                      <a:pt x="171" y="343"/>
                    </a:cubicBezTo>
                    <a:cubicBezTo>
                      <a:pt x="132" y="362"/>
                      <a:pt x="84" y="355"/>
                      <a:pt x="51" y="326"/>
                    </a:cubicBezTo>
                    <a:cubicBezTo>
                      <a:pt x="14" y="292"/>
                      <a:pt x="0" y="240"/>
                      <a:pt x="17" y="195"/>
                    </a:cubicBezTo>
                    <a:cubicBezTo>
                      <a:pt x="23" y="182"/>
                      <a:pt x="29" y="168"/>
                      <a:pt x="39" y="157"/>
                    </a:cubicBezTo>
                    <a:cubicBezTo>
                      <a:pt x="78" y="111"/>
                      <a:pt x="111" y="62"/>
                      <a:pt x="121" y="0"/>
                    </a:cubicBezTo>
                    <a:close/>
                  </a:path>
                </a:pathLst>
              </a:custGeom>
              <a:solidFill>
                <a:schemeClr val="accent2">
                  <a:lumMod val="20000"/>
                  <a:lumOff val="80000"/>
                </a:schemeClr>
              </a:solidFill>
              <a:ln>
                <a:noFill/>
              </a:ln>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4" name="Freeform 6"/>
              <p:cNvSpPr>
                <a:spLocks/>
              </p:cNvSpPr>
              <p:nvPr/>
            </p:nvSpPr>
            <p:spPr bwMode="auto">
              <a:xfrm flipH="1">
                <a:off x="2213470" y="4390838"/>
                <a:ext cx="69280" cy="104424"/>
              </a:xfrm>
              <a:custGeom>
                <a:avLst/>
                <a:gdLst>
                  <a:gd name="T0" fmla="*/ 121 w 258"/>
                  <a:gd name="T1" fmla="*/ 0 h 362"/>
                  <a:gd name="T2" fmla="*/ 124 w 258"/>
                  <a:gd name="T3" fmla="*/ 2 h 362"/>
                  <a:gd name="T4" fmla="*/ 210 w 258"/>
                  <a:gd name="T5" fmla="*/ 162 h 362"/>
                  <a:gd name="T6" fmla="*/ 171 w 258"/>
                  <a:gd name="T7" fmla="*/ 343 h 362"/>
                  <a:gd name="T8" fmla="*/ 51 w 258"/>
                  <a:gd name="T9" fmla="*/ 326 h 362"/>
                  <a:gd name="T10" fmla="*/ 17 w 258"/>
                  <a:gd name="T11" fmla="*/ 195 h 362"/>
                  <a:gd name="T12" fmla="*/ 39 w 258"/>
                  <a:gd name="T13" fmla="*/ 157 h 362"/>
                  <a:gd name="T14" fmla="*/ 121 w 258"/>
                  <a:gd name="T15" fmla="*/ 0 h 3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8" h="362">
                    <a:moveTo>
                      <a:pt x="121" y="0"/>
                    </a:moveTo>
                    <a:cubicBezTo>
                      <a:pt x="123" y="1"/>
                      <a:pt x="124" y="2"/>
                      <a:pt x="124" y="2"/>
                    </a:cubicBezTo>
                    <a:cubicBezTo>
                      <a:pt x="138" y="64"/>
                      <a:pt x="173" y="113"/>
                      <a:pt x="210" y="162"/>
                    </a:cubicBezTo>
                    <a:cubicBezTo>
                      <a:pt x="258" y="225"/>
                      <a:pt x="238" y="308"/>
                      <a:pt x="171" y="343"/>
                    </a:cubicBezTo>
                    <a:cubicBezTo>
                      <a:pt x="132" y="362"/>
                      <a:pt x="84" y="355"/>
                      <a:pt x="51" y="326"/>
                    </a:cubicBezTo>
                    <a:cubicBezTo>
                      <a:pt x="14" y="292"/>
                      <a:pt x="0" y="240"/>
                      <a:pt x="17" y="195"/>
                    </a:cubicBezTo>
                    <a:cubicBezTo>
                      <a:pt x="23" y="182"/>
                      <a:pt x="29" y="168"/>
                      <a:pt x="39" y="157"/>
                    </a:cubicBezTo>
                    <a:cubicBezTo>
                      <a:pt x="78" y="111"/>
                      <a:pt x="111" y="62"/>
                      <a:pt x="121" y="0"/>
                    </a:cubicBezTo>
                    <a:close/>
                  </a:path>
                </a:pathLst>
              </a:custGeom>
              <a:solidFill>
                <a:schemeClr val="accent2">
                  <a:lumMod val="20000"/>
                  <a:lumOff val="80000"/>
                </a:schemeClr>
              </a:solidFill>
              <a:ln>
                <a:noFill/>
              </a:ln>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grpSp>
        <p:cxnSp>
          <p:nvCxnSpPr>
            <p:cNvPr id="18" name="Straight Arrow Connector 17"/>
            <p:cNvCxnSpPr/>
            <p:nvPr/>
          </p:nvCxnSpPr>
          <p:spPr>
            <a:xfrm>
              <a:off x="8167946" y="4555495"/>
              <a:ext cx="822960" cy="0"/>
            </a:xfrm>
            <a:prstGeom prst="straightConnector1">
              <a:avLst/>
            </a:prstGeom>
            <a:ln w="25400">
              <a:solidFill>
                <a:schemeClr val="bg1">
                  <a:lumMod val="50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flipV="1">
              <a:off x="9932298" y="4555495"/>
              <a:ext cx="822960" cy="0"/>
            </a:xfrm>
            <a:prstGeom prst="straightConnector1">
              <a:avLst/>
            </a:prstGeom>
            <a:ln w="25400">
              <a:solidFill>
                <a:schemeClr val="bg1">
                  <a:lumMod val="50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grpSp>
          <p:nvGrpSpPr>
            <p:cNvPr id="20" name="Group 19"/>
            <p:cNvGrpSpPr/>
            <p:nvPr/>
          </p:nvGrpSpPr>
          <p:grpSpPr>
            <a:xfrm>
              <a:off x="9003756" y="4058472"/>
              <a:ext cx="994052" cy="994046"/>
              <a:chOff x="3630105" y="3642109"/>
              <a:chExt cx="927253" cy="927253"/>
            </a:xfrm>
          </p:grpSpPr>
          <p:sp>
            <p:nvSpPr>
              <p:cNvPr id="21" name="Oval 20"/>
              <p:cNvSpPr/>
              <p:nvPr/>
            </p:nvSpPr>
            <p:spPr bwMode="auto">
              <a:xfrm>
                <a:off x="3630105" y="3642109"/>
                <a:ext cx="927253" cy="927253"/>
              </a:xfrm>
              <a:prstGeom prst="ellipse">
                <a:avLst/>
              </a:prstGeom>
              <a:solidFill>
                <a:schemeClr val="bg1"/>
              </a:solidFill>
              <a:ln w="285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IN" sz="1961" b="1" dirty="0">
                  <a:solidFill>
                    <a:srgbClr val="FFFFFF"/>
                  </a:solidFill>
                  <a:latin typeface="Segoe UI Light"/>
                  <a:ea typeface="Segoe UI" pitchFamily="34" charset="0"/>
                  <a:cs typeface="Segoe UI" pitchFamily="34" charset="0"/>
                </a:endParaRPr>
              </a:p>
            </p:txBody>
          </p:sp>
          <p:sp>
            <p:nvSpPr>
              <p:cNvPr id="22" name="Freeform 21"/>
              <p:cNvSpPr/>
              <p:nvPr/>
            </p:nvSpPr>
            <p:spPr>
              <a:xfrm>
                <a:off x="3892570" y="3699669"/>
                <a:ext cx="402323" cy="812133"/>
              </a:xfrm>
              <a:custGeom>
                <a:avLst/>
                <a:gdLst>
                  <a:gd name="connsiteX0" fmla="*/ 0 w 511968"/>
                  <a:gd name="connsiteY0" fmla="*/ 552450 h 1033463"/>
                  <a:gd name="connsiteX1" fmla="*/ 371475 w 511968"/>
                  <a:gd name="connsiteY1" fmla="*/ 0 h 1033463"/>
                  <a:gd name="connsiteX2" fmla="*/ 280987 w 511968"/>
                  <a:gd name="connsiteY2" fmla="*/ 411956 h 1033463"/>
                  <a:gd name="connsiteX3" fmla="*/ 511968 w 511968"/>
                  <a:gd name="connsiteY3" fmla="*/ 411956 h 1033463"/>
                  <a:gd name="connsiteX4" fmla="*/ 133350 w 511968"/>
                  <a:gd name="connsiteY4" fmla="*/ 1033463 h 1033463"/>
                  <a:gd name="connsiteX5" fmla="*/ 235743 w 511968"/>
                  <a:gd name="connsiteY5" fmla="*/ 554831 h 1033463"/>
                  <a:gd name="connsiteX6" fmla="*/ 0 w 511968"/>
                  <a:gd name="connsiteY6" fmla="*/ 552450 h 1033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1968" h="1033463">
                    <a:moveTo>
                      <a:pt x="0" y="552450"/>
                    </a:moveTo>
                    <a:lnTo>
                      <a:pt x="371475" y="0"/>
                    </a:lnTo>
                    <a:lnTo>
                      <a:pt x="280987" y="411956"/>
                    </a:lnTo>
                    <a:lnTo>
                      <a:pt x="511968" y="411956"/>
                    </a:lnTo>
                    <a:lnTo>
                      <a:pt x="133350" y="1033463"/>
                    </a:lnTo>
                    <a:lnTo>
                      <a:pt x="235743" y="554831"/>
                    </a:lnTo>
                    <a:lnTo>
                      <a:pt x="0" y="552450"/>
                    </a:lnTo>
                    <a:close/>
                  </a:path>
                </a:pathLst>
              </a:custGeom>
              <a:solidFill>
                <a:schemeClr val="accent3"/>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a:endParaRPr lang="en-US" sz="1765">
                  <a:solidFill>
                    <a:srgbClr val="FFFFFF"/>
                  </a:solidFill>
                </a:endParaRPr>
              </a:p>
            </p:txBody>
          </p:sp>
        </p:grpSp>
        <p:grpSp>
          <p:nvGrpSpPr>
            <p:cNvPr id="23" name="Group 22"/>
            <p:cNvGrpSpPr/>
            <p:nvPr/>
          </p:nvGrpSpPr>
          <p:grpSpPr>
            <a:xfrm>
              <a:off x="10794443" y="4058472"/>
              <a:ext cx="994052" cy="994046"/>
              <a:chOff x="3630105" y="3642109"/>
              <a:chExt cx="927253" cy="927253"/>
            </a:xfrm>
          </p:grpSpPr>
          <p:sp>
            <p:nvSpPr>
              <p:cNvPr id="24" name="Oval 23"/>
              <p:cNvSpPr/>
              <p:nvPr/>
            </p:nvSpPr>
            <p:spPr bwMode="auto">
              <a:xfrm>
                <a:off x="3630105" y="3642109"/>
                <a:ext cx="927253" cy="927253"/>
              </a:xfrm>
              <a:prstGeom prst="ellipse">
                <a:avLst/>
              </a:prstGeom>
              <a:solidFill>
                <a:schemeClr val="bg1"/>
              </a:solidFill>
              <a:ln w="285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IN" sz="1961" b="1" dirty="0">
                  <a:solidFill>
                    <a:srgbClr val="FFFFFF"/>
                  </a:solidFill>
                  <a:latin typeface="Segoe UI Light"/>
                  <a:ea typeface="Segoe UI" pitchFamily="34" charset="0"/>
                  <a:cs typeface="Segoe UI" pitchFamily="34" charset="0"/>
                </a:endParaRPr>
              </a:p>
            </p:txBody>
          </p:sp>
          <p:sp>
            <p:nvSpPr>
              <p:cNvPr id="25" name="Freeform 24"/>
              <p:cNvSpPr/>
              <p:nvPr/>
            </p:nvSpPr>
            <p:spPr>
              <a:xfrm>
                <a:off x="3892570" y="3699669"/>
                <a:ext cx="402323" cy="812133"/>
              </a:xfrm>
              <a:custGeom>
                <a:avLst/>
                <a:gdLst>
                  <a:gd name="connsiteX0" fmla="*/ 0 w 511968"/>
                  <a:gd name="connsiteY0" fmla="*/ 552450 h 1033463"/>
                  <a:gd name="connsiteX1" fmla="*/ 371475 w 511968"/>
                  <a:gd name="connsiteY1" fmla="*/ 0 h 1033463"/>
                  <a:gd name="connsiteX2" fmla="*/ 280987 w 511968"/>
                  <a:gd name="connsiteY2" fmla="*/ 411956 h 1033463"/>
                  <a:gd name="connsiteX3" fmla="*/ 511968 w 511968"/>
                  <a:gd name="connsiteY3" fmla="*/ 411956 h 1033463"/>
                  <a:gd name="connsiteX4" fmla="*/ 133350 w 511968"/>
                  <a:gd name="connsiteY4" fmla="*/ 1033463 h 1033463"/>
                  <a:gd name="connsiteX5" fmla="*/ 235743 w 511968"/>
                  <a:gd name="connsiteY5" fmla="*/ 554831 h 1033463"/>
                  <a:gd name="connsiteX6" fmla="*/ 0 w 511968"/>
                  <a:gd name="connsiteY6" fmla="*/ 552450 h 1033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1968" h="1033463">
                    <a:moveTo>
                      <a:pt x="0" y="552450"/>
                    </a:moveTo>
                    <a:lnTo>
                      <a:pt x="371475" y="0"/>
                    </a:lnTo>
                    <a:lnTo>
                      <a:pt x="280987" y="411956"/>
                    </a:lnTo>
                    <a:lnTo>
                      <a:pt x="511968" y="411956"/>
                    </a:lnTo>
                    <a:lnTo>
                      <a:pt x="133350" y="1033463"/>
                    </a:lnTo>
                    <a:lnTo>
                      <a:pt x="235743" y="554831"/>
                    </a:lnTo>
                    <a:lnTo>
                      <a:pt x="0" y="552450"/>
                    </a:lnTo>
                    <a:close/>
                  </a:path>
                </a:pathLst>
              </a:custGeom>
              <a:solidFill>
                <a:schemeClr val="accent3"/>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a:endParaRPr lang="en-US" sz="1765">
                  <a:solidFill>
                    <a:srgbClr val="FFFFFF"/>
                  </a:solidFill>
                </a:endParaRPr>
              </a:p>
            </p:txBody>
          </p:sp>
        </p:grpSp>
        <p:sp>
          <p:nvSpPr>
            <p:cNvPr id="26" name="Oval 25"/>
            <p:cNvSpPr/>
            <p:nvPr/>
          </p:nvSpPr>
          <p:spPr bwMode="auto">
            <a:xfrm>
              <a:off x="8966526" y="2848080"/>
              <a:ext cx="1068512" cy="576217"/>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b="1" dirty="0">
                  <a:solidFill>
                    <a:schemeClr val="bg1"/>
                  </a:solidFill>
                  <a:latin typeface="Segoe UI Semibold" panose="020B0702040204020203" pitchFamily="34" charset="0"/>
                  <a:ea typeface="Segoe UI" pitchFamily="34" charset="0"/>
                  <a:cs typeface="Segoe UI Semibold" panose="020B0702040204020203" pitchFamily="34" charset="0"/>
                </a:rPr>
                <a:t>Acker</a:t>
              </a:r>
            </a:p>
          </p:txBody>
        </p:sp>
        <p:cxnSp>
          <p:nvCxnSpPr>
            <p:cNvPr id="29" name="Straight Arrow Connector 28"/>
            <p:cNvCxnSpPr>
              <a:stCxn id="17" idx="3"/>
              <a:endCxn id="26" idx="3"/>
            </p:cNvCxnSpPr>
            <p:nvPr/>
          </p:nvCxnSpPr>
          <p:spPr>
            <a:xfrm flipV="1">
              <a:off x="7927573" y="3339912"/>
              <a:ext cx="1195433" cy="68810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a:stCxn id="21" idx="0"/>
              <a:endCxn id="26" idx="4"/>
            </p:cNvCxnSpPr>
            <p:nvPr/>
          </p:nvCxnSpPr>
          <p:spPr>
            <a:xfrm flipV="1">
              <a:off x="9500782" y="3424297"/>
              <a:ext cx="0" cy="63417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a:stCxn id="24" idx="0"/>
              <a:endCxn id="26" idx="5"/>
            </p:cNvCxnSpPr>
            <p:nvPr/>
          </p:nvCxnSpPr>
          <p:spPr>
            <a:xfrm flipH="1" flipV="1">
              <a:off x="9878558" y="3339912"/>
              <a:ext cx="1412911" cy="71856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rot="19754848">
              <a:off x="8102865" y="3338465"/>
              <a:ext cx="688369" cy="442337"/>
            </a:xfrm>
            <a:prstGeom prst="rect">
              <a:avLst/>
            </a:prstGeom>
            <a:noFill/>
          </p:spPr>
          <p:txBody>
            <a:bodyPr wrap="none" lIns="91440" tIns="91440" rIns="91440" bIns="91440" rtlCol="0" anchor="ctr">
              <a:noAutofit/>
            </a:bodyPr>
            <a:lstStyle/>
            <a:p>
              <a:pPr algn="ctr">
                <a:lnSpc>
                  <a:spcPct val="90000"/>
                </a:lnSpc>
                <a:spcAft>
                  <a:spcPts val="600"/>
                </a:spcAft>
              </a:pPr>
              <a:r>
                <a:rPr lang="en-US" dirty="0" err="1">
                  <a:solidFill>
                    <a:schemeClr val="tx1">
                      <a:lumMod val="65000"/>
                      <a:lumOff val="35000"/>
                    </a:schemeClr>
                  </a:solidFill>
                  <a:latin typeface="Segoe UI Semibold" panose="020B0702040204020203" pitchFamily="34" charset="0"/>
                  <a:cs typeface="Segoe UI Semibold" panose="020B0702040204020203" pitchFamily="34" charset="0"/>
                </a:rPr>
                <a:t>Ack</a:t>
              </a:r>
              <a:endParaRPr lang="en-US" dirty="0">
                <a:solidFill>
                  <a:schemeClr val="tx1">
                    <a:lumMod val="65000"/>
                    <a:lumOff val="35000"/>
                  </a:schemeClr>
                </a:solidFill>
                <a:latin typeface="Segoe UI Semibold" panose="020B0702040204020203" pitchFamily="34" charset="0"/>
                <a:cs typeface="Segoe UI Semibold" panose="020B0702040204020203" pitchFamily="34" charset="0"/>
              </a:endParaRPr>
            </a:p>
          </p:txBody>
        </p:sp>
        <p:sp>
          <p:nvSpPr>
            <p:cNvPr id="38" name="TextBox 37"/>
            <p:cNvSpPr txBox="1"/>
            <p:nvPr/>
          </p:nvSpPr>
          <p:spPr>
            <a:xfrm rot="16200000">
              <a:off x="9016144" y="3575249"/>
              <a:ext cx="688369" cy="442337"/>
            </a:xfrm>
            <a:prstGeom prst="rect">
              <a:avLst/>
            </a:prstGeom>
            <a:noFill/>
          </p:spPr>
          <p:txBody>
            <a:bodyPr wrap="none" lIns="91440" tIns="91440" rIns="91440" bIns="91440" rtlCol="0" anchor="ctr">
              <a:noAutofit/>
            </a:bodyPr>
            <a:lstStyle/>
            <a:p>
              <a:pPr algn="ctr">
                <a:lnSpc>
                  <a:spcPct val="90000"/>
                </a:lnSpc>
                <a:spcAft>
                  <a:spcPts val="600"/>
                </a:spcAft>
              </a:pPr>
              <a:r>
                <a:rPr lang="en-US" dirty="0" err="1">
                  <a:solidFill>
                    <a:schemeClr val="tx1">
                      <a:lumMod val="65000"/>
                      <a:lumOff val="35000"/>
                    </a:schemeClr>
                  </a:solidFill>
                  <a:latin typeface="Segoe UI Semibold" panose="020B0702040204020203" pitchFamily="34" charset="0"/>
                  <a:cs typeface="Segoe UI Semibold" panose="020B0702040204020203" pitchFamily="34" charset="0"/>
                </a:rPr>
                <a:t>Ack</a:t>
              </a:r>
              <a:endParaRPr lang="en-US" dirty="0">
                <a:solidFill>
                  <a:schemeClr val="tx1">
                    <a:lumMod val="65000"/>
                    <a:lumOff val="35000"/>
                  </a:schemeClr>
                </a:solidFill>
                <a:latin typeface="Segoe UI Semibold" panose="020B0702040204020203" pitchFamily="34" charset="0"/>
                <a:cs typeface="Segoe UI Semibold" panose="020B0702040204020203" pitchFamily="34" charset="0"/>
              </a:endParaRPr>
            </a:p>
          </p:txBody>
        </p:sp>
        <p:sp>
          <p:nvSpPr>
            <p:cNvPr id="39" name="TextBox 38"/>
            <p:cNvSpPr txBox="1"/>
            <p:nvPr/>
          </p:nvSpPr>
          <p:spPr>
            <a:xfrm rot="1595119">
              <a:off x="10360615" y="3366074"/>
              <a:ext cx="651113" cy="440238"/>
            </a:xfrm>
            <a:prstGeom prst="rect">
              <a:avLst/>
            </a:prstGeom>
            <a:noFill/>
          </p:spPr>
          <p:txBody>
            <a:bodyPr wrap="none" lIns="91440" tIns="91440" rIns="91440" bIns="91440" rtlCol="0" anchor="ctr">
              <a:noAutofit/>
            </a:bodyPr>
            <a:lstStyle/>
            <a:p>
              <a:pPr algn="ctr">
                <a:lnSpc>
                  <a:spcPct val="90000"/>
                </a:lnSpc>
                <a:spcAft>
                  <a:spcPts val="600"/>
                </a:spcAft>
              </a:pPr>
              <a:r>
                <a:rPr lang="en-US" dirty="0" err="1">
                  <a:solidFill>
                    <a:schemeClr val="tx1">
                      <a:lumMod val="65000"/>
                      <a:lumOff val="35000"/>
                    </a:schemeClr>
                  </a:solidFill>
                  <a:latin typeface="Segoe UI Semibold" panose="020B0702040204020203" pitchFamily="34" charset="0"/>
                  <a:cs typeface="Segoe UI Semibold" panose="020B0702040204020203" pitchFamily="34" charset="0"/>
                </a:rPr>
                <a:t>Ack</a:t>
              </a:r>
              <a:endParaRPr lang="en-US" dirty="0">
                <a:solidFill>
                  <a:schemeClr val="tx1">
                    <a:lumMod val="65000"/>
                    <a:lumOff val="35000"/>
                  </a:schemeClr>
                </a:solidFill>
                <a:latin typeface="Segoe UI Semibold" panose="020B0702040204020203" pitchFamily="34" charset="0"/>
                <a:cs typeface="Segoe UI Semibold" panose="020B0702040204020203" pitchFamily="34" charset="0"/>
              </a:endParaRPr>
            </a:p>
          </p:txBody>
        </p:sp>
      </p:grpSp>
      <p:sp>
        <p:nvSpPr>
          <p:cNvPr id="41" name="TextBox 40"/>
          <p:cNvSpPr txBox="1"/>
          <p:nvPr/>
        </p:nvSpPr>
        <p:spPr>
          <a:xfrm>
            <a:off x="296827" y="1052474"/>
            <a:ext cx="6511052" cy="5259273"/>
          </a:xfrm>
          <a:prstGeom prst="rect">
            <a:avLst/>
          </a:prstGeom>
          <a:noFill/>
        </p:spPr>
        <p:txBody>
          <a:bodyPr wrap="square" lIns="182880" tIns="146304" rIns="182880" bIns="146304" rtlCol="0">
            <a:noAutofit/>
          </a:bodyPr>
          <a:lstStyle/>
          <a:p>
            <a:pPr marL="292608" lvl="1" indent="-285750" defTabSz="913770" fontAlgn="base">
              <a:lnSpc>
                <a:spcPct val="90000"/>
              </a:lnSpc>
              <a:spcAft>
                <a:spcPts val="588"/>
              </a:spcAft>
              <a:buClr>
                <a:srgbClr val="68217A">
                  <a:lumMod val="50000"/>
                </a:srgbClr>
              </a:buClr>
              <a:buSzPct val="75000"/>
              <a:buFont typeface="Wingdings" panose="05000000000000000000" pitchFamily="2" charset="2"/>
              <a:buChar char="v"/>
              <a:tabLst>
                <a:tab pos="645523" algn="l"/>
              </a:tabLst>
            </a:pPr>
            <a:r>
              <a:rPr lang="en-US" sz="1600" b="1" i="1" dirty="0">
                <a:ln>
                  <a:solidFill>
                    <a:srgbClr val="FFFFFF">
                      <a:alpha val="0"/>
                    </a:srgbClr>
                  </a:solidFill>
                </a:ln>
                <a:gradFill>
                  <a:gsLst>
                    <a:gs pos="85321">
                      <a:srgbClr val="505050"/>
                    </a:gs>
                    <a:gs pos="57000">
                      <a:srgbClr val="505050"/>
                    </a:gs>
                  </a:gsLst>
                </a:gradFill>
                <a:ea typeface="Segoe UI" pitchFamily="34" charset="0"/>
                <a:cs typeface="Segoe UI" pitchFamily="34" charset="0"/>
              </a:rPr>
              <a:t>At-most-once</a:t>
            </a:r>
            <a:r>
              <a:rPr lang="en-US" sz="16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 message processing can be achieved with no additional coding </a:t>
            </a:r>
          </a:p>
          <a:p>
            <a:pPr marL="292608" lvl="1" indent="-285750" defTabSz="913770" fontAlgn="base">
              <a:lnSpc>
                <a:spcPct val="90000"/>
              </a:lnSpc>
              <a:spcAft>
                <a:spcPts val="588"/>
              </a:spcAft>
              <a:buClr>
                <a:srgbClr val="68217A">
                  <a:lumMod val="50000"/>
                </a:srgbClr>
              </a:buClr>
              <a:buSzPct val="75000"/>
              <a:buFont typeface="Wingdings" panose="05000000000000000000" pitchFamily="2" charset="2"/>
              <a:buChar char="v"/>
              <a:tabLst>
                <a:tab pos="645523" algn="l"/>
              </a:tabLst>
            </a:pPr>
            <a:r>
              <a:rPr lang="en-US" sz="16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A tuple coming off a spout can trigger thousands of tuples to be created based on it, creating a ‘tree’ of tuples.</a:t>
            </a:r>
          </a:p>
          <a:p>
            <a:pPr marL="292608" lvl="1" indent="-285750" defTabSz="913770" fontAlgn="base">
              <a:lnSpc>
                <a:spcPct val="90000"/>
              </a:lnSpc>
              <a:spcAft>
                <a:spcPts val="588"/>
              </a:spcAft>
              <a:buClr>
                <a:srgbClr val="68217A">
                  <a:lumMod val="50000"/>
                </a:srgbClr>
              </a:buClr>
              <a:buSzPct val="75000"/>
              <a:buFont typeface="Wingdings" panose="05000000000000000000" pitchFamily="2" charset="2"/>
              <a:buChar char="v"/>
              <a:tabLst>
                <a:tab pos="645523" algn="l"/>
              </a:tabLst>
            </a:pPr>
            <a:r>
              <a:rPr lang="en-US" sz="16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Storm considers a tuple coming off a spout "fully processed" when the tuple tree has been exhausted and every message in the tree has been processed within the specified time.</a:t>
            </a:r>
          </a:p>
          <a:p>
            <a:pPr marL="292608" lvl="1" indent="-285750" defTabSz="913770" fontAlgn="base">
              <a:lnSpc>
                <a:spcPct val="90000"/>
              </a:lnSpc>
              <a:spcAft>
                <a:spcPts val="588"/>
              </a:spcAft>
              <a:buClr>
                <a:srgbClr val="68217A">
                  <a:lumMod val="50000"/>
                </a:srgbClr>
              </a:buClr>
              <a:buSzPct val="75000"/>
              <a:buFont typeface="Wingdings" panose="05000000000000000000" pitchFamily="2" charset="2"/>
              <a:buChar char="v"/>
              <a:tabLst>
                <a:tab pos="645523" algn="l"/>
              </a:tabLst>
            </a:pPr>
            <a:r>
              <a:rPr lang="en-US" sz="16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Storm will remember the entire tree of tuples efficiently until the tree is processed. </a:t>
            </a:r>
          </a:p>
          <a:p>
            <a:pPr marL="292608" lvl="1" indent="-285750" defTabSz="913770" fontAlgn="base">
              <a:lnSpc>
                <a:spcPct val="90000"/>
              </a:lnSpc>
              <a:spcAft>
                <a:spcPts val="588"/>
              </a:spcAft>
              <a:buClr>
                <a:srgbClr val="68217A">
                  <a:lumMod val="50000"/>
                </a:srgbClr>
              </a:buClr>
              <a:buSzPct val="75000"/>
              <a:buFont typeface="Wingdings" panose="05000000000000000000" pitchFamily="2" charset="2"/>
              <a:buChar char="v"/>
              <a:tabLst>
                <a:tab pos="645523" algn="l"/>
              </a:tabLst>
            </a:pPr>
            <a:r>
              <a:rPr lang="en-US" sz="16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If all the ACKs are not received within the specified timeout, Storm will ask the Spout to re-emit the tuples (replay).</a:t>
            </a:r>
          </a:p>
          <a:p>
            <a:pPr marL="292608" lvl="1" indent="-285750" defTabSz="913770" fontAlgn="base">
              <a:lnSpc>
                <a:spcPct val="90000"/>
              </a:lnSpc>
              <a:buClr>
                <a:srgbClr val="68217A">
                  <a:lumMod val="50000"/>
                </a:srgbClr>
              </a:buClr>
              <a:buSzPct val="75000"/>
              <a:buFont typeface="Wingdings" panose="05000000000000000000" pitchFamily="2" charset="2"/>
              <a:buChar char="v"/>
              <a:tabLst>
                <a:tab pos="645523" algn="l"/>
              </a:tabLst>
            </a:pPr>
            <a:r>
              <a:rPr lang="en-US" sz="16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For </a:t>
            </a:r>
            <a:r>
              <a:rPr lang="en-US" sz="1600" b="1" dirty="0">
                <a:ln>
                  <a:solidFill>
                    <a:srgbClr val="FFFFFF">
                      <a:alpha val="0"/>
                    </a:srgbClr>
                  </a:solidFill>
                </a:ln>
                <a:gradFill>
                  <a:gsLst>
                    <a:gs pos="85321">
                      <a:srgbClr val="505050"/>
                    </a:gs>
                    <a:gs pos="57000">
                      <a:srgbClr val="505050"/>
                    </a:gs>
                  </a:gsLst>
                </a:gradFill>
                <a:ea typeface="Segoe UI" pitchFamily="34" charset="0"/>
                <a:cs typeface="Segoe UI" pitchFamily="34" charset="0"/>
              </a:rPr>
              <a:t>at-least-once</a:t>
            </a:r>
            <a:r>
              <a:rPr lang="en-US" sz="16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 processing the following additional 3 things must be done:</a:t>
            </a:r>
          </a:p>
          <a:p>
            <a:pPr marL="548640" lvl="2" indent="-285750" defTabSz="913770" fontAlgn="base">
              <a:lnSpc>
                <a:spcPct val="90000"/>
              </a:lnSpc>
              <a:spcAft>
                <a:spcPts val="588"/>
              </a:spcAft>
              <a:buClr>
                <a:srgbClr val="68217A">
                  <a:lumMod val="50000"/>
                </a:srgbClr>
              </a:buClr>
              <a:buSzPct val="75000"/>
              <a:buFont typeface="Wingdings" panose="05000000000000000000" pitchFamily="2" charset="2"/>
              <a:buChar char="§"/>
              <a:tabLst>
                <a:tab pos="645523" algn="l"/>
              </a:tabLst>
            </a:pPr>
            <a:r>
              <a:rPr lang="en-US" sz="14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When spouts emit tuples, they must specify a unique message ID. Spout implementation, like </a:t>
            </a:r>
            <a:r>
              <a:rPr lang="en-US" sz="1400" dirty="0">
                <a:ln>
                  <a:solidFill>
                    <a:srgbClr val="FFFFFF">
                      <a:alpha val="0"/>
                    </a:srgbClr>
                  </a:solidFill>
                </a:ln>
                <a:gradFill>
                  <a:gsLst>
                    <a:gs pos="85321">
                      <a:srgbClr val="505050"/>
                    </a:gs>
                    <a:gs pos="57000">
                      <a:srgbClr val="505050"/>
                    </a:gs>
                  </a:gsLst>
                </a:gradFill>
                <a:ea typeface="Segoe UI" pitchFamily="34" charset="0"/>
                <a:cs typeface="Segoe UI" pitchFamily="34" charset="0"/>
                <a:hlinkClick r:id="rId2"/>
              </a:rPr>
              <a:t>storm-</a:t>
            </a:r>
            <a:r>
              <a:rPr lang="en-US" sz="1400" dirty="0" err="1">
                <a:ln>
                  <a:solidFill>
                    <a:srgbClr val="FFFFFF">
                      <a:alpha val="0"/>
                    </a:srgbClr>
                  </a:solidFill>
                </a:ln>
                <a:gradFill>
                  <a:gsLst>
                    <a:gs pos="85321">
                      <a:srgbClr val="505050"/>
                    </a:gs>
                    <a:gs pos="57000">
                      <a:srgbClr val="505050"/>
                    </a:gs>
                  </a:gsLst>
                </a:gradFill>
                <a:ea typeface="Segoe UI" pitchFamily="34" charset="0"/>
                <a:cs typeface="Segoe UI" pitchFamily="34" charset="0"/>
                <a:hlinkClick r:id="rId2"/>
              </a:rPr>
              <a:t>kafka</a:t>
            </a:r>
            <a:r>
              <a:rPr lang="en-US" sz="14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 or </a:t>
            </a:r>
            <a:r>
              <a:rPr lang="en-US" sz="1400" dirty="0">
                <a:ln>
                  <a:solidFill>
                    <a:srgbClr val="FFFFFF">
                      <a:alpha val="0"/>
                    </a:srgbClr>
                  </a:solidFill>
                </a:ln>
                <a:gradFill>
                  <a:gsLst>
                    <a:gs pos="85321">
                      <a:srgbClr val="505050"/>
                    </a:gs>
                    <a:gs pos="57000">
                      <a:srgbClr val="505050"/>
                    </a:gs>
                  </a:gsLst>
                </a:gradFill>
                <a:ea typeface="Segoe UI" pitchFamily="34" charset="0"/>
                <a:cs typeface="Segoe UI" pitchFamily="34" charset="0"/>
                <a:hlinkClick r:id="rId3"/>
              </a:rPr>
              <a:t>storm-kestrel</a:t>
            </a:r>
            <a:r>
              <a:rPr lang="en-US" sz="14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 do this automatically for you.</a:t>
            </a:r>
          </a:p>
          <a:p>
            <a:pPr marL="548640" lvl="2" indent="-285750" defTabSz="913770" fontAlgn="base">
              <a:lnSpc>
                <a:spcPct val="90000"/>
              </a:lnSpc>
              <a:spcAft>
                <a:spcPts val="588"/>
              </a:spcAft>
              <a:buClr>
                <a:srgbClr val="68217A">
                  <a:lumMod val="50000"/>
                </a:srgbClr>
              </a:buClr>
              <a:buSzPct val="75000"/>
              <a:buFont typeface="Wingdings" panose="05000000000000000000" pitchFamily="2" charset="2"/>
              <a:buChar char="§"/>
              <a:tabLst>
                <a:tab pos="645523" algn="l"/>
              </a:tabLst>
            </a:pPr>
            <a:r>
              <a:rPr lang="en-US" sz="14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When bolts emit tuples, they must anchor them with input tuples.</a:t>
            </a:r>
          </a:p>
          <a:p>
            <a:pPr marL="548640" lvl="2" indent="-285750" defTabSz="913770" fontAlgn="base">
              <a:lnSpc>
                <a:spcPct val="90000"/>
              </a:lnSpc>
              <a:spcAft>
                <a:spcPts val="588"/>
              </a:spcAft>
              <a:buClr>
                <a:srgbClr val="68217A">
                  <a:lumMod val="50000"/>
                </a:srgbClr>
              </a:buClr>
              <a:buSzPct val="75000"/>
              <a:buFont typeface="Wingdings" panose="05000000000000000000" pitchFamily="2" charset="2"/>
              <a:buChar char="§"/>
              <a:tabLst>
                <a:tab pos="645523" algn="l"/>
              </a:tabLst>
            </a:pPr>
            <a:r>
              <a:rPr lang="en-US" sz="14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When bolts are done processing the input tuple, they must ‘</a:t>
            </a:r>
            <a:r>
              <a:rPr lang="en-US" sz="1400" dirty="0" err="1">
                <a:ln>
                  <a:solidFill>
                    <a:srgbClr val="FFFFFF">
                      <a:alpha val="0"/>
                    </a:srgbClr>
                  </a:solidFill>
                </a:ln>
                <a:gradFill>
                  <a:gsLst>
                    <a:gs pos="85321">
                      <a:srgbClr val="505050"/>
                    </a:gs>
                    <a:gs pos="57000">
                      <a:srgbClr val="505050"/>
                    </a:gs>
                  </a:gsLst>
                </a:gradFill>
                <a:ea typeface="Segoe UI" pitchFamily="34" charset="0"/>
                <a:cs typeface="Segoe UI" pitchFamily="34" charset="0"/>
              </a:rPr>
              <a:t>ack</a:t>
            </a:r>
            <a:r>
              <a:rPr lang="en-US" sz="14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 or ‘fail’ the input tuple</a:t>
            </a:r>
          </a:p>
          <a:p>
            <a:pPr marL="292608" lvl="1" indent="-285750" defTabSz="913770" fontAlgn="base">
              <a:lnSpc>
                <a:spcPct val="90000"/>
              </a:lnSpc>
              <a:spcAft>
                <a:spcPts val="588"/>
              </a:spcAft>
              <a:buClr>
                <a:srgbClr val="68217A">
                  <a:lumMod val="50000"/>
                </a:srgbClr>
              </a:buClr>
              <a:buSzPct val="75000"/>
              <a:buFont typeface="Wingdings" panose="05000000000000000000" pitchFamily="2" charset="2"/>
              <a:buChar char="v"/>
              <a:tabLst>
                <a:tab pos="645523" algn="l"/>
              </a:tabLst>
            </a:pPr>
            <a:r>
              <a:rPr lang="en-US" sz="16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Note, for </a:t>
            </a:r>
            <a:r>
              <a:rPr lang="en-US" sz="1600" b="1" dirty="0">
                <a:ln>
                  <a:solidFill>
                    <a:srgbClr val="FFFFFF">
                      <a:alpha val="0"/>
                    </a:srgbClr>
                  </a:solidFill>
                </a:ln>
                <a:gradFill>
                  <a:gsLst>
                    <a:gs pos="85321">
                      <a:srgbClr val="505050"/>
                    </a:gs>
                    <a:gs pos="57000">
                      <a:srgbClr val="505050"/>
                    </a:gs>
                  </a:gsLst>
                </a:gradFill>
                <a:ea typeface="Segoe UI" pitchFamily="34" charset="0"/>
                <a:cs typeface="Segoe UI" pitchFamily="34" charset="0"/>
              </a:rPr>
              <a:t>exactly-once</a:t>
            </a:r>
            <a:r>
              <a:rPr lang="en-US" sz="16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 processing, use the </a:t>
            </a:r>
            <a:r>
              <a:rPr lang="en-US" sz="1600" b="1" dirty="0">
                <a:ln>
                  <a:solidFill>
                    <a:srgbClr val="FFFFFF">
                      <a:alpha val="0"/>
                    </a:srgbClr>
                  </a:solidFill>
                </a:ln>
                <a:gradFill>
                  <a:gsLst>
                    <a:gs pos="85321">
                      <a:srgbClr val="505050"/>
                    </a:gs>
                    <a:gs pos="57000">
                      <a:srgbClr val="505050"/>
                    </a:gs>
                  </a:gsLst>
                </a:gradFill>
                <a:ea typeface="Segoe UI" pitchFamily="34" charset="0"/>
                <a:cs typeface="Segoe UI" pitchFamily="34" charset="0"/>
              </a:rPr>
              <a:t>Trident</a:t>
            </a:r>
            <a:r>
              <a:rPr lang="en-US" sz="16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 framework</a:t>
            </a:r>
          </a:p>
          <a:p>
            <a:pPr marL="285750" indent="-285750">
              <a:lnSpc>
                <a:spcPct val="90000"/>
              </a:lnSpc>
              <a:spcAft>
                <a:spcPts val="600"/>
              </a:spcAft>
              <a:buClr>
                <a:schemeClr val="accent3"/>
              </a:buClr>
              <a:buSzPct val="75000"/>
              <a:buFont typeface="Wingdings" panose="05000000000000000000" pitchFamily="2" charset="2"/>
              <a:buChar char="v"/>
            </a:pPr>
            <a:endParaRPr lang="en-US" sz="1400" dirty="0">
              <a:solidFill>
                <a:schemeClr val="tx1">
                  <a:lumMod val="85000"/>
                  <a:lumOff val="15000"/>
                </a:schemeClr>
              </a:solidFill>
            </a:endParaRPr>
          </a:p>
        </p:txBody>
      </p:sp>
      <p:grpSp>
        <p:nvGrpSpPr>
          <p:cNvPr id="102" name="Group 101"/>
          <p:cNvGrpSpPr/>
          <p:nvPr/>
        </p:nvGrpSpPr>
        <p:grpSpPr>
          <a:xfrm>
            <a:off x="7504896" y="1666930"/>
            <a:ext cx="3862269" cy="2000939"/>
            <a:chOff x="7504896" y="1471724"/>
            <a:chExt cx="3862269" cy="2000939"/>
          </a:xfrm>
        </p:grpSpPr>
        <p:cxnSp>
          <p:nvCxnSpPr>
            <p:cNvPr id="92" name="Straight Arrow Connector 91"/>
            <p:cNvCxnSpPr/>
            <p:nvPr/>
          </p:nvCxnSpPr>
          <p:spPr>
            <a:xfrm>
              <a:off x="9807714" y="1693214"/>
              <a:ext cx="731520" cy="0"/>
            </a:xfrm>
            <a:prstGeom prst="straightConnector1">
              <a:avLst/>
            </a:prstGeom>
            <a:ln w="28575">
              <a:solidFill>
                <a:schemeClr val="accent1">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3" name="Oval 42"/>
            <p:cNvSpPr/>
            <p:nvPr/>
          </p:nvSpPr>
          <p:spPr bwMode="auto">
            <a:xfrm>
              <a:off x="7504896" y="2186836"/>
              <a:ext cx="762408" cy="593864"/>
            </a:xfrm>
            <a:prstGeom prst="ellipse">
              <a:avLst/>
            </a:pr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b="1" dirty="0">
                <a:solidFill>
                  <a:schemeClr val="bg1"/>
                </a:solidFill>
                <a:latin typeface="+mj-lt"/>
                <a:ea typeface="Segoe UI" pitchFamily="34" charset="0"/>
                <a:cs typeface="Segoe UI" pitchFamily="34" charset="0"/>
              </a:endParaRPr>
            </a:p>
          </p:txBody>
        </p:sp>
        <p:grpSp>
          <p:nvGrpSpPr>
            <p:cNvPr id="61" name="Group 60"/>
            <p:cNvGrpSpPr/>
            <p:nvPr/>
          </p:nvGrpSpPr>
          <p:grpSpPr>
            <a:xfrm>
              <a:off x="9060067" y="1471724"/>
              <a:ext cx="798513" cy="432144"/>
              <a:chOff x="8872932" y="1176221"/>
              <a:chExt cx="912032" cy="463531"/>
            </a:xfrm>
          </p:grpSpPr>
          <p:sp>
            <p:nvSpPr>
              <p:cNvPr id="44" name="Oval 43"/>
              <p:cNvSpPr/>
              <p:nvPr/>
            </p:nvSpPr>
            <p:spPr bwMode="auto">
              <a:xfrm>
                <a:off x="8872932" y="1176221"/>
                <a:ext cx="912032" cy="4635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b="1" dirty="0">
                  <a:solidFill>
                    <a:schemeClr val="bg1"/>
                  </a:solidFill>
                  <a:latin typeface="+mj-lt"/>
                  <a:ea typeface="Segoe UI" pitchFamily="34" charset="0"/>
                  <a:cs typeface="Segoe UI" pitchFamily="34" charset="0"/>
                </a:endParaRPr>
              </a:p>
            </p:txBody>
          </p:sp>
          <p:sp>
            <p:nvSpPr>
              <p:cNvPr id="54" name="Rectangle 53"/>
              <p:cNvSpPr/>
              <p:nvPr/>
            </p:nvSpPr>
            <p:spPr>
              <a:xfrm>
                <a:off x="9084329" y="1222568"/>
                <a:ext cx="489236" cy="313932"/>
              </a:xfrm>
              <a:prstGeom prst="rect">
                <a:avLst/>
              </a:prstGeom>
            </p:spPr>
            <p:txBody>
              <a:bodyPr wrap="none">
                <a:spAutoFit/>
              </a:bodyPr>
              <a:lstStyle/>
              <a:p>
                <a:pPr algn="ctr" defTabSz="914102" fontAlgn="base">
                  <a:lnSpc>
                    <a:spcPct val="90000"/>
                  </a:lnSpc>
                  <a:spcBef>
                    <a:spcPct val="0"/>
                  </a:spcBef>
                  <a:spcAft>
                    <a:spcPct val="0"/>
                  </a:spcAft>
                </a:pPr>
                <a:r>
                  <a:rPr lang="en-IN" sz="1600" dirty="0">
                    <a:solidFill>
                      <a:schemeClr val="bg1"/>
                    </a:solidFill>
                    <a:latin typeface="Segoe UI Semibold" panose="020B0702040204020203" pitchFamily="34" charset="0"/>
                    <a:ea typeface="Segoe UI" pitchFamily="34" charset="0"/>
                    <a:cs typeface="Segoe UI" pitchFamily="34" charset="0"/>
                  </a:rPr>
                  <a:t>{…}</a:t>
                </a:r>
              </a:p>
            </p:txBody>
          </p:sp>
        </p:grpSp>
        <p:grpSp>
          <p:nvGrpSpPr>
            <p:cNvPr id="62" name="Group 61"/>
            <p:cNvGrpSpPr/>
            <p:nvPr/>
          </p:nvGrpSpPr>
          <p:grpSpPr>
            <a:xfrm>
              <a:off x="9060067" y="1974777"/>
              <a:ext cx="798513" cy="432144"/>
              <a:chOff x="8872932" y="1176221"/>
              <a:chExt cx="912032" cy="463531"/>
            </a:xfrm>
          </p:grpSpPr>
          <p:sp>
            <p:nvSpPr>
              <p:cNvPr id="63" name="Oval 62"/>
              <p:cNvSpPr/>
              <p:nvPr/>
            </p:nvSpPr>
            <p:spPr bwMode="auto">
              <a:xfrm>
                <a:off x="8872932" y="1176221"/>
                <a:ext cx="912032" cy="4635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b="1" dirty="0">
                  <a:solidFill>
                    <a:schemeClr val="bg1"/>
                  </a:solidFill>
                  <a:latin typeface="+mj-lt"/>
                  <a:ea typeface="Segoe UI" pitchFamily="34" charset="0"/>
                  <a:cs typeface="Segoe UI" pitchFamily="34" charset="0"/>
                </a:endParaRPr>
              </a:p>
            </p:txBody>
          </p:sp>
          <p:sp>
            <p:nvSpPr>
              <p:cNvPr id="64" name="Rectangle 63"/>
              <p:cNvSpPr/>
              <p:nvPr/>
            </p:nvSpPr>
            <p:spPr>
              <a:xfrm>
                <a:off x="9084329" y="1222568"/>
                <a:ext cx="489236" cy="313932"/>
              </a:xfrm>
              <a:prstGeom prst="rect">
                <a:avLst/>
              </a:prstGeom>
            </p:spPr>
            <p:txBody>
              <a:bodyPr wrap="none">
                <a:spAutoFit/>
              </a:bodyPr>
              <a:lstStyle/>
              <a:p>
                <a:pPr algn="ctr" defTabSz="914102" fontAlgn="base">
                  <a:lnSpc>
                    <a:spcPct val="90000"/>
                  </a:lnSpc>
                  <a:spcBef>
                    <a:spcPct val="0"/>
                  </a:spcBef>
                  <a:spcAft>
                    <a:spcPct val="0"/>
                  </a:spcAft>
                </a:pPr>
                <a:r>
                  <a:rPr lang="en-IN" sz="1600" dirty="0">
                    <a:solidFill>
                      <a:schemeClr val="bg1"/>
                    </a:solidFill>
                    <a:latin typeface="Segoe UI Semibold" panose="020B0702040204020203" pitchFamily="34" charset="0"/>
                    <a:ea typeface="Segoe UI" pitchFamily="34" charset="0"/>
                    <a:cs typeface="Segoe UI" pitchFamily="34" charset="0"/>
                  </a:rPr>
                  <a:t>{…}</a:t>
                </a:r>
              </a:p>
            </p:txBody>
          </p:sp>
        </p:grpSp>
        <p:grpSp>
          <p:nvGrpSpPr>
            <p:cNvPr id="65" name="Group 64"/>
            <p:cNvGrpSpPr/>
            <p:nvPr/>
          </p:nvGrpSpPr>
          <p:grpSpPr>
            <a:xfrm>
              <a:off x="9060067" y="2490063"/>
              <a:ext cx="798513" cy="432144"/>
              <a:chOff x="8872932" y="1176221"/>
              <a:chExt cx="912032" cy="463531"/>
            </a:xfrm>
          </p:grpSpPr>
          <p:sp>
            <p:nvSpPr>
              <p:cNvPr id="66" name="Oval 65"/>
              <p:cNvSpPr/>
              <p:nvPr/>
            </p:nvSpPr>
            <p:spPr bwMode="auto">
              <a:xfrm>
                <a:off x="8872932" y="1176221"/>
                <a:ext cx="912032" cy="4635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b="1" dirty="0">
                  <a:solidFill>
                    <a:schemeClr val="bg1"/>
                  </a:solidFill>
                  <a:latin typeface="+mj-lt"/>
                  <a:ea typeface="Segoe UI" pitchFamily="34" charset="0"/>
                  <a:cs typeface="Segoe UI" pitchFamily="34" charset="0"/>
                </a:endParaRPr>
              </a:p>
            </p:txBody>
          </p:sp>
          <p:sp>
            <p:nvSpPr>
              <p:cNvPr id="67" name="Rectangle 66"/>
              <p:cNvSpPr/>
              <p:nvPr/>
            </p:nvSpPr>
            <p:spPr>
              <a:xfrm>
                <a:off x="9084329" y="1222568"/>
                <a:ext cx="489236" cy="313932"/>
              </a:xfrm>
              <a:prstGeom prst="rect">
                <a:avLst/>
              </a:prstGeom>
            </p:spPr>
            <p:txBody>
              <a:bodyPr wrap="none">
                <a:spAutoFit/>
              </a:bodyPr>
              <a:lstStyle/>
              <a:p>
                <a:pPr algn="ctr" defTabSz="914102" fontAlgn="base">
                  <a:lnSpc>
                    <a:spcPct val="90000"/>
                  </a:lnSpc>
                  <a:spcBef>
                    <a:spcPct val="0"/>
                  </a:spcBef>
                  <a:spcAft>
                    <a:spcPct val="0"/>
                  </a:spcAft>
                </a:pPr>
                <a:r>
                  <a:rPr lang="en-IN" sz="1600" dirty="0">
                    <a:solidFill>
                      <a:schemeClr val="bg1"/>
                    </a:solidFill>
                    <a:latin typeface="Segoe UI Semibold" panose="020B0702040204020203" pitchFamily="34" charset="0"/>
                    <a:ea typeface="Segoe UI" pitchFamily="34" charset="0"/>
                    <a:cs typeface="Segoe UI" pitchFamily="34" charset="0"/>
                  </a:rPr>
                  <a:t>{…}</a:t>
                </a:r>
              </a:p>
            </p:txBody>
          </p:sp>
        </p:grpSp>
        <p:grpSp>
          <p:nvGrpSpPr>
            <p:cNvPr id="68" name="Group 67"/>
            <p:cNvGrpSpPr/>
            <p:nvPr/>
          </p:nvGrpSpPr>
          <p:grpSpPr>
            <a:xfrm>
              <a:off x="9060067" y="3040519"/>
              <a:ext cx="798513" cy="432144"/>
              <a:chOff x="8872932" y="1176221"/>
              <a:chExt cx="912032" cy="463531"/>
            </a:xfrm>
          </p:grpSpPr>
          <p:sp>
            <p:nvSpPr>
              <p:cNvPr id="69" name="Oval 68"/>
              <p:cNvSpPr/>
              <p:nvPr/>
            </p:nvSpPr>
            <p:spPr bwMode="auto">
              <a:xfrm>
                <a:off x="8872932" y="1176221"/>
                <a:ext cx="912032" cy="4635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b="1" dirty="0">
                  <a:solidFill>
                    <a:schemeClr val="bg1"/>
                  </a:solidFill>
                  <a:latin typeface="+mj-lt"/>
                  <a:ea typeface="Segoe UI" pitchFamily="34" charset="0"/>
                  <a:cs typeface="Segoe UI" pitchFamily="34" charset="0"/>
                </a:endParaRPr>
              </a:p>
            </p:txBody>
          </p:sp>
          <p:sp>
            <p:nvSpPr>
              <p:cNvPr id="70" name="Rectangle 69"/>
              <p:cNvSpPr/>
              <p:nvPr/>
            </p:nvSpPr>
            <p:spPr>
              <a:xfrm>
                <a:off x="9084329" y="1222568"/>
                <a:ext cx="489236" cy="313932"/>
              </a:xfrm>
              <a:prstGeom prst="rect">
                <a:avLst/>
              </a:prstGeom>
            </p:spPr>
            <p:txBody>
              <a:bodyPr wrap="none">
                <a:spAutoFit/>
              </a:bodyPr>
              <a:lstStyle/>
              <a:p>
                <a:pPr algn="ctr" defTabSz="914102" fontAlgn="base">
                  <a:lnSpc>
                    <a:spcPct val="90000"/>
                  </a:lnSpc>
                  <a:spcBef>
                    <a:spcPct val="0"/>
                  </a:spcBef>
                  <a:spcAft>
                    <a:spcPct val="0"/>
                  </a:spcAft>
                </a:pPr>
                <a:r>
                  <a:rPr lang="en-IN" sz="1600" dirty="0">
                    <a:solidFill>
                      <a:schemeClr val="bg1"/>
                    </a:solidFill>
                    <a:latin typeface="Segoe UI Semibold" panose="020B0702040204020203" pitchFamily="34" charset="0"/>
                    <a:ea typeface="Segoe UI" pitchFamily="34" charset="0"/>
                    <a:cs typeface="Segoe UI" pitchFamily="34" charset="0"/>
                  </a:rPr>
                  <a:t>{…}</a:t>
                </a:r>
              </a:p>
            </p:txBody>
          </p:sp>
        </p:grpSp>
        <p:grpSp>
          <p:nvGrpSpPr>
            <p:cNvPr id="71" name="Group 70"/>
            <p:cNvGrpSpPr/>
            <p:nvPr/>
          </p:nvGrpSpPr>
          <p:grpSpPr>
            <a:xfrm>
              <a:off x="10568652" y="1471724"/>
              <a:ext cx="798513" cy="432144"/>
              <a:chOff x="8872932" y="1176221"/>
              <a:chExt cx="912032" cy="463531"/>
            </a:xfrm>
            <a:solidFill>
              <a:schemeClr val="accent2"/>
            </a:solidFill>
          </p:grpSpPr>
          <p:sp>
            <p:nvSpPr>
              <p:cNvPr id="72" name="Oval 71"/>
              <p:cNvSpPr/>
              <p:nvPr/>
            </p:nvSpPr>
            <p:spPr bwMode="auto">
              <a:xfrm>
                <a:off x="8872932" y="1176221"/>
                <a:ext cx="912032" cy="46353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b="1" dirty="0">
                  <a:solidFill>
                    <a:schemeClr val="bg1"/>
                  </a:solidFill>
                  <a:latin typeface="+mj-lt"/>
                  <a:ea typeface="Segoe UI" pitchFamily="34" charset="0"/>
                  <a:cs typeface="Segoe UI" pitchFamily="34" charset="0"/>
                </a:endParaRPr>
              </a:p>
            </p:txBody>
          </p:sp>
          <p:sp>
            <p:nvSpPr>
              <p:cNvPr id="73" name="Rectangle 72"/>
              <p:cNvSpPr/>
              <p:nvPr/>
            </p:nvSpPr>
            <p:spPr>
              <a:xfrm>
                <a:off x="9084329" y="1222568"/>
                <a:ext cx="489236" cy="313932"/>
              </a:xfrm>
              <a:prstGeom prst="rect">
                <a:avLst/>
              </a:prstGeom>
              <a:grpFill/>
            </p:spPr>
            <p:txBody>
              <a:bodyPr wrap="none">
                <a:spAutoFit/>
              </a:bodyPr>
              <a:lstStyle/>
              <a:p>
                <a:pPr algn="ctr" defTabSz="914102" fontAlgn="base">
                  <a:lnSpc>
                    <a:spcPct val="90000"/>
                  </a:lnSpc>
                  <a:spcBef>
                    <a:spcPct val="0"/>
                  </a:spcBef>
                  <a:spcAft>
                    <a:spcPct val="0"/>
                  </a:spcAft>
                </a:pPr>
                <a:r>
                  <a:rPr lang="en-IN" sz="1600" dirty="0">
                    <a:solidFill>
                      <a:schemeClr val="bg1"/>
                    </a:solidFill>
                    <a:latin typeface="Segoe UI Semibold" panose="020B0702040204020203" pitchFamily="34" charset="0"/>
                    <a:ea typeface="Segoe UI" pitchFamily="34" charset="0"/>
                    <a:cs typeface="Segoe UI" pitchFamily="34" charset="0"/>
                  </a:rPr>
                  <a:t>{…}</a:t>
                </a:r>
              </a:p>
            </p:txBody>
          </p:sp>
        </p:grpSp>
        <p:grpSp>
          <p:nvGrpSpPr>
            <p:cNvPr id="74" name="Group 73"/>
            <p:cNvGrpSpPr/>
            <p:nvPr/>
          </p:nvGrpSpPr>
          <p:grpSpPr>
            <a:xfrm>
              <a:off x="10568652" y="1974777"/>
              <a:ext cx="798513" cy="432144"/>
              <a:chOff x="8872932" y="1176221"/>
              <a:chExt cx="912032" cy="463531"/>
            </a:xfrm>
            <a:solidFill>
              <a:schemeClr val="accent2"/>
            </a:solidFill>
          </p:grpSpPr>
          <p:sp>
            <p:nvSpPr>
              <p:cNvPr id="75" name="Oval 74"/>
              <p:cNvSpPr/>
              <p:nvPr/>
            </p:nvSpPr>
            <p:spPr bwMode="auto">
              <a:xfrm>
                <a:off x="8872932" y="1176221"/>
                <a:ext cx="912032" cy="46353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b="1" dirty="0">
                  <a:solidFill>
                    <a:schemeClr val="bg1"/>
                  </a:solidFill>
                  <a:latin typeface="+mj-lt"/>
                  <a:ea typeface="Segoe UI" pitchFamily="34" charset="0"/>
                  <a:cs typeface="Segoe UI" pitchFamily="34" charset="0"/>
                </a:endParaRPr>
              </a:p>
            </p:txBody>
          </p:sp>
          <p:sp>
            <p:nvSpPr>
              <p:cNvPr id="76" name="Rectangle 75"/>
              <p:cNvSpPr/>
              <p:nvPr/>
            </p:nvSpPr>
            <p:spPr>
              <a:xfrm>
                <a:off x="9084329" y="1222568"/>
                <a:ext cx="489236" cy="313932"/>
              </a:xfrm>
              <a:prstGeom prst="rect">
                <a:avLst/>
              </a:prstGeom>
              <a:grpFill/>
            </p:spPr>
            <p:txBody>
              <a:bodyPr wrap="none">
                <a:spAutoFit/>
              </a:bodyPr>
              <a:lstStyle/>
              <a:p>
                <a:pPr algn="ctr" defTabSz="914102" fontAlgn="base">
                  <a:lnSpc>
                    <a:spcPct val="90000"/>
                  </a:lnSpc>
                  <a:spcBef>
                    <a:spcPct val="0"/>
                  </a:spcBef>
                  <a:spcAft>
                    <a:spcPct val="0"/>
                  </a:spcAft>
                </a:pPr>
                <a:r>
                  <a:rPr lang="en-IN" sz="1600" dirty="0">
                    <a:solidFill>
                      <a:schemeClr val="bg1"/>
                    </a:solidFill>
                    <a:latin typeface="Segoe UI Semibold" panose="020B0702040204020203" pitchFamily="34" charset="0"/>
                    <a:ea typeface="Segoe UI" pitchFamily="34" charset="0"/>
                    <a:cs typeface="Segoe UI" pitchFamily="34" charset="0"/>
                  </a:rPr>
                  <a:t>{…}</a:t>
                </a:r>
              </a:p>
            </p:txBody>
          </p:sp>
        </p:grpSp>
        <p:grpSp>
          <p:nvGrpSpPr>
            <p:cNvPr id="77" name="Group 76"/>
            <p:cNvGrpSpPr/>
            <p:nvPr/>
          </p:nvGrpSpPr>
          <p:grpSpPr>
            <a:xfrm>
              <a:off x="10568652" y="2490063"/>
              <a:ext cx="798513" cy="432144"/>
              <a:chOff x="8872932" y="1176221"/>
              <a:chExt cx="912032" cy="463531"/>
            </a:xfrm>
            <a:solidFill>
              <a:schemeClr val="accent2"/>
            </a:solidFill>
          </p:grpSpPr>
          <p:sp>
            <p:nvSpPr>
              <p:cNvPr id="78" name="Oval 77"/>
              <p:cNvSpPr/>
              <p:nvPr/>
            </p:nvSpPr>
            <p:spPr bwMode="auto">
              <a:xfrm>
                <a:off x="8872932" y="1176221"/>
                <a:ext cx="912032" cy="46353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b="1" dirty="0">
                  <a:solidFill>
                    <a:schemeClr val="bg1"/>
                  </a:solidFill>
                  <a:latin typeface="+mj-lt"/>
                  <a:ea typeface="Segoe UI" pitchFamily="34" charset="0"/>
                  <a:cs typeface="Segoe UI" pitchFamily="34" charset="0"/>
                </a:endParaRPr>
              </a:p>
            </p:txBody>
          </p:sp>
          <p:sp>
            <p:nvSpPr>
              <p:cNvPr id="79" name="Rectangle 78"/>
              <p:cNvSpPr/>
              <p:nvPr/>
            </p:nvSpPr>
            <p:spPr>
              <a:xfrm>
                <a:off x="9084329" y="1222568"/>
                <a:ext cx="489236" cy="313932"/>
              </a:xfrm>
              <a:prstGeom prst="rect">
                <a:avLst/>
              </a:prstGeom>
              <a:grpFill/>
            </p:spPr>
            <p:txBody>
              <a:bodyPr wrap="none">
                <a:spAutoFit/>
              </a:bodyPr>
              <a:lstStyle/>
              <a:p>
                <a:pPr algn="ctr" defTabSz="914102" fontAlgn="base">
                  <a:lnSpc>
                    <a:spcPct val="90000"/>
                  </a:lnSpc>
                  <a:spcBef>
                    <a:spcPct val="0"/>
                  </a:spcBef>
                  <a:spcAft>
                    <a:spcPct val="0"/>
                  </a:spcAft>
                </a:pPr>
                <a:r>
                  <a:rPr lang="en-IN" sz="1600" dirty="0">
                    <a:solidFill>
                      <a:schemeClr val="bg1"/>
                    </a:solidFill>
                    <a:latin typeface="Segoe UI Semibold" panose="020B0702040204020203" pitchFamily="34" charset="0"/>
                    <a:ea typeface="Segoe UI" pitchFamily="34" charset="0"/>
                    <a:cs typeface="Segoe UI" pitchFamily="34" charset="0"/>
                  </a:rPr>
                  <a:t>{…}</a:t>
                </a:r>
              </a:p>
            </p:txBody>
          </p:sp>
        </p:grpSp>
        <p:grpSp>
          <p:nvGrpSpPr>
            <p:cNvPr id="80" name="Group 79"/>
            <p:cNvGrpSpPr/>
            <p:nvPr/>
          </p:nvGrpSpPr>
          <p:grpSpPr>
            <a:xfrm>
              <a:off x="10568652" y="3040519"/>
              <a:ext cx="798513" cy="432144"/>
              <a:chOff x="8872932" y="1176221"/>
              <a:chExt cx="912032" cy="463531"/>
            </a:xfrm>
            <a:solidFill>
              <a:schemeClr val="accent2"/>
            </a:solidFill>
          </p:grpSpPr>
          <p:sp>
            <p:nvSpPr>
              <p:cNvPr id="81" name="Oval 80"/>
              <p:cNvSpPr/>
              <p:nvPr/>
            </p:nvSpPr>
            <p:spPr bwMode="auto">
              <a:xfrm>
                <a:off x="8872932" y="1176221"/>
                <a:ext cx="912032" cy="46353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b="1" dirty="0">
                  <a:solidFill>
                    <a:schemeClr val="bg1"/>
                  </a:solidFill>
                  <a:latin typeface="+mj-lt"/>
                  <a:ea typeface="Segoe UI" pitchFamily="34" charset="0"/>
                  <a:cs typeface="Segoe UI" pitchFamily="34" charset="0"/>
                </a:endParaRPr>
              </a:p>
            </p:txBody>
          </p:sp>
          <p:sp>
            <p:nvSpPr>
              <p:cNvPr id="82" name="Rectangle 81"/>
              <p:cNvSpPr/>
              <p:nvPr/>
            </p:nvSpPr>
            <p:spPr>
              <a:xfrm>
                <a:off x="9084329" y="1222568"/>
                <a:ext cx="489236" cy="313932"/>
              </a:xfrm>
              <a:prstGeom prst="rect">
                <a:avLst/>
              </a:prstGeom>
              <a:grpFill/>
            </p:spPr>
            <p:txBody>
              <a:bodyPr wrap="none">
                <a:spAutoFit/>
              </a:bodyPr>
              <a:lstStyle/>
              <a:p>
                <a:pPr algn="ctr" defTabSz="914102" fontAlgn="base">
                  <a:lnSpc>
                    <a:spcPct val="90000"/>
                  </a:lnSpc>
                  <a:spcBef>
                    <a:spcPct val="0"/>
                  </a:spcBef>
                  <a:spcAft>
                    <a:spcPct val="0"/>
                  </a:spcAft>
                </a:pPr>
                <a:r>
                  <a:rPr lang="en-IN" sz="1600" dirty="0">
                    <a:solidFill>
                      <a:schemeClr val="bg1"/>
                    </a:solidFill>
                    <a:latin typeface="Segoe UI Semibold" panose="020B0702040204020203" pitchFamily="34" charset="0"/>
                    <a:ea typeface="Segoe UI" pitchFamily="34" charset="0"/>
                    <a:cs typeface="Segoe UI" pitchFamily="34" charset="0"/>
                  </a:rPr>
                  <a:t>{…}</a:t>
                </a:r>
              </a:p>
            </p:txBody>
          </p:sp>
        </p:grpSp>
        <p:cxnSp>
          <p:nvCxnSpPr>
            <p:cNvPr id="84" name="Straight Arrow Connector 83"/>
            <p:cNvCxnSpPr>
              <a:stCxn id="43" idx="6"/>
              <a:endCxn id="44" idx="2"/>
            </p:cNvCxnSpPr>
            <p:nvPr/>
          </p:nvCxnSpPr>
          <p:spPr>
            <a:xfrm flipV="1">
              <a:off x="8267304" y="1687796"/>
              <a:ext cx="792763" cy="795972"/>
            </a:xfrm>
            <a:prstGeom prst="straightConnector1">
              <a:avLst/>
            </a:prstGeom>
            <a:ln w="28575">
              <a:solidFill>
                <a:schemeClr val="accent1">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p:cNvCxnSpPr>
              <a:stCxn id="43" idx="6"/>
              <a:endCxn id="63" idx="2"/>
            </p:cNvCxnSpPr>
            <p:nvPr/>
          </p:nvCxnSpPr>
          <p:spPr>
            <a:xfrm flipV="1">
              <a:off x="8267304" y="2190849"/>
              <a:ext cx="792763" cy="292919"/>
            </a:xfrm>
            <a:prstGeom prst="straightConnector1">
              <a:avLst/>
            </a:prstGeom>
            <a:ln w="28575">
              <a:solidFill>
                <a:schemeClr val="accent1">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a:stCxn id="43" idx="6"/>
              <a:endCxn id="66" idx="2"/>
            </p:cNvCxnSpPr>
            <p:nvPr/>
          </p:nvCxnSpPr>
          <p:spPr>
            <a:xfrm>
              <a:off x="8267304" y="2483768"/>
              <a:ext cx="792763" cy="222367"/>
            </a:xfrm>
            <a:prstGeom prst="straightConnector1">
              <a:avLst/>
            </a:prstGeom>
            <a:ln w="28575">
              <a:solidFill>
                <a:schemeClr val="accent1">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0" name="Straight Arrow Connector 89"/>
            <p:cNvCxnSpPr>
              <a:stCxn id="43" idx="6"/>
              <a:endCxn id="69" idx="2"/>
            </p:cNvCxnSpPr>
            <p:nvPr/>
          </p:nvCxnSpPr>
          <p:spPr>
            <a:xfrm>
              <a:off x="8267304" y="2483768"/>
              <a:ext cx="792763" cy="772823"/>
            </a:xfrm>
            <a:prstGeom prst="straightConnector1">
              <a:avLst/>
            </a:prstGeom>
            <a:ln w="28575">
              <a:solidFill>
                <a:schemeClr val="accent1">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p:cNvCxnSpPr>
              <a:stCxn id="63" idx="6"/>
              <a:endCxn id="75" idx="2"/>
            </p:cNvCxnSpPr>
            <p:nvPr/>
          </p:nvCxnSpPr>
          <p:spPr>
            <a:xfrm>
              <a:off x="9858580" y="2190849"/>
              <a:ext cx="710072" cy="0"/>
            </a:xfrm>
            <a:prstGeom prst="straightConnector1">
              <a:avLst/>
            </a:prstGeom>
            <a:ln w="28575">
              <a:solidFill>
                <a:schemeClr val="accent1">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a:stCxn id="66" idx="6"/>
              <a:endCxn id="78" idx="2"/>
            </p:cNvCxnSpPr>
            <p:nvPr/>
          </p:nvCxnSpPr>
          <p:spPr>
            <a:xfrm>
              <a:off x="9858580" y="2706135"/>
              <a:ext cx="710072" cy="0"/>
            </a:xfrm>
            <a:prstGeom prst="straightConnector1">
              <a:avLst/>
            </a:prstGeom>
            <a:ln w="28575">
              <a:solidFill>
                <a:schemeClr val="accent1">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p:cNvCxnSpPr>
              <a:stCxn id="69" idx="6"/>
              <a:endCxn id="81" idx="2"/>
            </p:cNvCxnSpPr>
            <p:nvPr/>
          </p:nvCxnSpPr>
          <p:spPr>
            <a:xfrm>
              <a:off x="9858580" y="3256591"/>
              <a:ext cx="710072" cy="0"/>
            </a:xfrm>
            <a:prstGeom prst="straightConnector1">
              <a:avLst/>
            </a:prstGeom>
            <a:ln w="28575">
              <a:solidFill>
                <a:schemeClr val="accent1">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99" name="Rectangle 98"/>
            <p:cNvSpPr/>
            <p:nvPr/>
          </p:nvSpPr>
          <p:spPr>
            <a:xfrm>
              <a:off x="7671929" y="2359119"/>
              <a:ext cx="428342" cy="249299"/>
            </a:xfrm>
            <a:prstGeom prst="rect">
              <a:avLst/>
            </a:prstGeom>
          </p:spPr>
          <p:txBody>
            <a:bodyPr wrap="square" lIns="0" tIns="0" rIns="0" bIns="0" anchor="ctr">
              <a:spAutoFit/>
            </a:bodyPr>
            <a:lstStyle/>
            <a:p>
              <a:pPr algn="ctr" defTabSz="914102" fontAlgn="base">
                <a:lnSpc>
                  <a:spcPct val="90000"/>
                </a:lnSpc>
                <a:spcBef>
                  <a:spcPct val="0"/>
                </a:spcBef>
                <a:spcAft>
                  <a:spcPct val="0"/>
                </a:spcAft>
              </a:pPr>
              <a:r>
                <a:rPr lang="en-IN" dirty="0">
                  <a:solidFill>
                    <a:schemeClr val="bg1"/>
                  </a:solidFill>
                  <a:latin typeface="Segoe UI Semibold" panose="020B0702040204020203" pitchFamily="34" charset="0"/>
                  <a:ea typeface="Segoe UI" pitchFamily="34" charset="0"/>
                  <a:cs typeface="Segoe UI" pitchFamily="34" charset="0"/>
                </a:rPr>
                <a:t>{…}</a:t>
              </a:r>
            </a:p>
          </p:txBody>
        </p:sp>
      </p:grpSp>
      <p:sp>
        <p:nvSpPr>
          <p:cNvPr id="103" name="TextBox 102"/>
          <p:cNvSpPr txBox="1"/>
          <p:nvPr/>
        </p:nvSpPr>
        <p:spPr>
          <a:xfrm>
            <a:off x="8505150" y="1303787"/>
            <a:ext cx="1861760" cy="339115"/>
          </a:xfrm>
          <a:prstGeom prst="rect">
            <a:avLst/>
          </a:prstGeom>
          <a:noFill/>
        </p:spPr>
        <p:txBody>
          <a:bodyPr wrap="none" lIns="182880" tIns="146304" rIns="182880" bIns="146304" rtlCol="0" anchor="ctr">
            <a:noAutofit/>
          </a:bodyPr>
          <a:lstStyle/>
          <a:p>
            <a:pPr algn="ctr">
              <a:lnSpc>
                <a:spcPct val="90000"/>
              </a:lnSpc>
              <a:spcAft>
                <a:spcPts val="600"/>
              </a:spcAft>
            </a:pPr>
            <a:r>
              <a:rPr lang="en-US" dirty="0">
                <a:solidFill>
                  <a:schemeClr val="tx1">
                    <a:lumMod val="65000"/>
                    <a:lumOff val="35000"/>
                  </a:schemeClr>
                </a:solidFill>
                <a:latin typeface="Segoe UI Semibold" panose="020B0702040204020203" pitchFamily="34" charset="0"/>
                <a:cs typeface="Segoe UI Semibold" panose="020B0702040204020203" pitchFamily="34" charset="0"/>
              </a:rPr>
              <a:t>Tree of Tuples </a:t>
            </a:r>
          </a:p>
        </p:txBody>
      </p:sp>
    </p:spTree>
    <p:extLst>
      <p:ext uri="{BB962C8B-B14F-4D97-AF65-F5344CB8AC3E}">
        <p14:creationId xmlns:p14="http://schemas.microsoft.com/office/powerpoint/2010/main" val="1966100523"/>
      </p:ext>
    </p:extLst>
  </p:cSld>
  <p:clrMapOvr>
    <a:masterClrMapping/>
  </p:clrMapOvr>
  <p:transition spd="med">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extLst/>
          </p:nvPr>
        </p:nvGraphicFramePr>
        <p:xfrm>
          <a:off x="1558" y="2044"/>
          <a:ext cx="1556" cy="1556"/>
        </p:xfrm>
        <a:graphic>
          <a:graphicData uri="http://schemas.openxmlformats.org/presentationml/2006/ole">
            <mc:AlternateContent xmlns:mc="http://schemas.openxmlformats.org/markup-compatibility/2006">
              <mc:Choice xmlns:v="urn:schemas-microsoft-com:vml" Requires="v">
                <p:oleObj spid="_x0000_s12497"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58" y="2044"/>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Apache Trident: What is it?</a:t>
            </a:r>
          </a:p>
        </p:txBody>
      </p:sp>
      <p:sp>
        <p:nvSpPr>
          <p:cNvPr id="4" name="Slide Number Placeholder 3"/>
          <p:cNvSpPr>
            <a:spLocks noGrp="1"/>
          </p:cNvSpPr>
          <p:nvPr>
            <p:ph type="sldNum" sz="quarter" idx="11"/>
          </p:nvPr>
        </p:nvSpPr>
        <p:spPr/>
        <p:txBody>
          <a:bodyPr/>
          <a:lstStyle/>
          <a:p>
            <a:fld id="{F8A0AC42-AA1D-4944-8D96-660DE70C7E1B}" type="slidenum">
              <a:rPr lang="en-IN"/>
              <a:pPr/>
              <a:t>78</a:t>
            </a:fld>
            <a:endParaRPr lang="en-IN" dirty="0"/>
          </a:p>
        </p:txBody>
      </p:sp>
      <p:sp>
        <p:nvSpPr>
          <p:cNvPr id="5" name="TextBox 4"/>
          <p:cNvSpPr txBox="1"/>
          <p:nvPr/>
        </p:nvSpPr>
        <p:spPr>
          <a:xfrm>
            <a:off x="197964" y="1308429"/>
            <a:ext cx="11904992" cy="435788"/>
          </a:xfrm>
          <a:prstGeom prst="rect">
            <a:avLst/>
          </a:prstGeom>
          <a:solidFill>
            <a:schemeClr val="accent3"/>
          </a:solidFill>
        </p:spPr>
        <p:txBody>
          <a:bodyPr wrap="square" lIns="182880" tIns="91440" rIns="182880" bIns="91440" rtlCol="0" anchor="ctr">
            <a:noAutofit/>
          </a:bodyPr>
          <a:lstStyle/>
          <a:p>
            <a:pPr algn="ctr">
              <a:lnSpc>
                <a:spcPct val="90000"/>
              </a:lnSpc>
              <a:spcAft>
                <a:spcPts val="600"/>
              </a:spcAft>
            </a:pPr>
            <a:r>
              <a:rPr lang="en-US" sz="2000" dirty="0">
                <a:solidFill>
                  <a:schemeClr val="bg1"/>
                </a:solidFill>
                <a:latin typeface="Segoe UI Semibold" panose="020B0702040204020203" pitchFamily="34" charset="0"/>
                <a:cs typeface="Segoe UI Semibold" panose="020B0702040204020203" pitchFamily="34" charset="0"/>
              </a:rPr>
              <a:t>A higher-level framework built on top of Apache Storm for increased developer productivity</a:t>
            </a:r>
          </a:p>
        </p:txBody>
      </p:sp>
      <p:sp>
        <p:nvSpPr>
          <p:cNvPr id="6" name="Rectangle 93"/>
          <p:cNvSpPr>
            <a:spLocks noChangeArrowheads="1"/>
          </p:cNvSpPr>
          <p:nvPr/>
        </p:nvSpPr>
        <p:spPr bwMode="auto">
          <a:xfrm>
            <a:off x="6419887" y="2269071"/>
            <a:ext cx="5683069" cy="2618645"/>
          </a:xfrm>
          <a:prstGeom prst="rect">
            <a:avLst/>
          </a:prstGeom>
          <a:solidFill>
            <a:schemeClr val="bg1">
              <a:lumMod val="95000"/>
            </a:schemeClr>
          </a:solidFill>
          <a:ln>
            <a:noFill/>
          </a:ln>
          <a:effectLst/>
        </p:spPr>
        <p:txBody>
          <a:bodyPr vert="horz" wrap="square" lIns="0" tIns="0" rIns="0" bIns="63480" numCol="1" anchor="ctr" anchorCtr="0" compatLnSpc="1">
            <a:prstTxWarp prst="textNoShape">
              <a:avLst/>
            </a:prstTxWarp>
            <a:spAutoFit/>
          </a:bodyPr>
          <a:lstStyle>
            <a:lvl1pPr eaLnBrk="0" fontAlgn="base" hangingPunct="0">
              <a:spcBef>
                <a:spcPct val="30000"/>
              </a:spcBef>
              <a:spcAft>
                <a:spcPct val="0"/>
              </a:spcAft>
              <a:defRPr sz="1200">
                <a:solidFill>
                  <a:schemeClr val="tx1"/>
                </a:solidFill>
                <a:latin typeface="Arial" panose="020B0604020202020204" pitchFamily="34" charset="0"/>
              </a:defRPr>
            </a:lvl1pPr>
            <a:lvl2pPr eaLnBrk="0" fontAlgn="base" hangingPunct="0">
              <a:spcBef>
                <a:spcPct val="30000"/>
              </a:spcBef>
              <a:spcAft>
                <a:spcPct val="0"/>
              </a:spcAft>
              <a:defRPr sz="1200">
                <a:solidFill>
                  <a:schemeClr val="tx1"/>
                </a:solidFill>
                <a:latin typeface="Arial" panose="020B0604020202020204" pitchFamily="34" charset="0"/>
              </a:defRPr>
            </a:lvl2pPr>
            <a:lvl3pPr eaLnBrk="0" fontAlgn="base" hangingPunct="0">
              <a:spcBef>
                <a:spcPct val="30000"/>
              </a:spcBef>
              <a:spcAft>
                <a:spcPct val="0"/>
              </a:spcAft>
              <a:defRPr sz="1200">
                <a:solidFill>
                  <a:schemeClr val="tx1"/>
                </a:solidFill>
                <a:latin typeface="Arial" panose="020B0604020202020204" pitchFamily="34" charset="0"/>
              </a:defRPr>
            </a:lvl3pPr>
            <a:lvl4pPr eaLnBrk="0" fontAlgn="base" hangingPunct="0">
              <a:spcBef>
                <a:spcPct val="30000"/>
              </a:spcBef>
              <a:spcAft>
                <a:spcPct val="0"/>
              </a:spcAft>
              <a:defRPr sz="1200">
                <a:solidFill>
                  <a:schemeClr val="tx1"/>
                </a:solidFill>
                <a:latin typeface="Arial" panose="020B0604020202020204" pitchFamily="34" charset="0"/>
              </a:defRPr>
            </a:lvl4pPr>
            <a:lvl5pPr eaLnBrk="0" fontAlgn="base" hangingPunct="0">
              <a:spcBef>
                <a:spcPct val="30000"/>
              </a:spcBef>
              <a:spcAft>
                <a:spcPct val="0"/>
              </a:spcAft>
              <a:defRPr sz="1200">
                <a:solidFill>
                  <a:schemeClr val="tx1"/>
                </a:solidFill>
                <a:latin typeface="Arial" panose="020B0604020202020204" pitchFamily="34" charset="0"/>
              </a:defRPr>
            </a:lvl5pPr>
            <a:lvl6pPr eaLnBrk="0" fontAlgn="base" hangingPunct="0">
              <a:spcBef>
                <a:spcPct val="30000"/>
              </a:spcBef>
              <a:spcAft>
                <a:spcPct val="0"/>
              </a:spcAft>
              <a:defRPr sz="1200">
                <a:solidFill>
                  <a:schemeClr val="tx1"/>
                </a:solidFill>
                <a:latin typeface="Arial" panose="020B0604020202020204" pitchFamily="34" charset="0"/>
              </a:defRPr>
            </a:lvl6pPr>
            <a:lvl7pPr eaLnBrk="0" fontAlgn="base" hangingPunct="0">
              <a:spcBef>
                <a:spcPct val="30000"/>
              </a:spcBef>
              <a:spcAft>
                <a:spcPct val="0"/>
              </a:spcAft>
              <a:defRPr sz="1200">
                <a:solidFill>
                  <a:schemeClr val="tx1"/>
                </a:solidFill>
                <a:latin typeface="Arial" panose="020B0604020202020204" pitchFamily="34" charset="0"/>
              </a:defRPr>
            </a:lvl7pPr>
            <a:lvl8pPr eaLnBrk="0" fontAlgn="base" hangingPunct="0">
              <a:spcBef>
                <a:spcPct val="30000"/>
              </a:spcBef>
              <a:spcAft>
                <a:spcPct val="0"/>
              </a:spcAft>
              <a:defRPr sz="1200">
                <a:solidFill>
                  <a:schemeClr val="tx1"/>
                </a:solidFill>
                <a:latin typeface="Arial" panose="020B0604020202020204" pitchFamily="34" charset="0"/>
              </a:defRPr>
            </a:lvl8pPr>
            <a:lvl9pPr eaLnBrk="0" fontAlgn="base" hangingPunct="0">
              <a:spcBef>
                <a:spcPct val="30000"/>
              </a:spcBef>
              <a:spcAft>
                <a:spcPct val="0"/>
              </a:spcAft>
              <a:defRPr sz="1200">
                <a:solidFill>
                  <a:schemeClr val="tx1"/>
                </a:solidFill>
                <a:latin typeface="Arial" panose="020B0604020202020204" pitchFamily="34" charset="0"/>
              </a:defRPr>
            </a:lvl9pPr>
          </a:lstStyle>
          <a:p>
            <a:pPr marL="91440">
              <a:spcBef>
                <a:spcPts val="600"/>
              </a:spcBef>
              <a:spcAft>
                <a:spcPts val="0"/>
              </a:spcAft>
            </a:pPr>
            <a:r>
              <a:rPr lang="en-US" altLang="en-US" sz="1400" dirty="0" err="1">
                <a:solidFill>
                  <a:schemeClr val="tx1">
                    <a:lumMod val="65000"/>
                    <a:lumOff val="35000"/>
                  </a:schemeClr>
                </a:solidFill>
                <a:latin typeface="Segoe UI Semibold" panose="020B0702040204020203" pitchFamily="34" charset="0"/>
                <a:cs typeface="Segoe UI Semibold" panose="020B0702040204020203" pitchFamily="34" charset="0"/>
              </a:rPr>
              <a:t>FixedBatchSpout</a:t>
            </a:r>
            <a:r>
              <a:rPr lang="en-US" altLang="en-US" sz="1400" dirty="0">
                <a:solidFill>
                  <a:schemeClr val="tx1">
                    <a:lumMod val="65000"/>
                    <a:lumOff val="35000"/>
                  </a:schemeClr>
                </a:solidFill>
                <a:latin typeface="Segoe UI Semibold" panose="020B0702040204020203" pitchFamily="34" charset="0"/>
                <a:cs typeface="Segoe UI Semibold" panose="020B0702040204020203" pitchFamily="34" charset="0"/>
              </a:rPr>
              <a:t> spout </a:t>
            </a:r>
            <a:r>
              <a:rPr lang="en-US" altLang="en-US" sz="1400" b="1" dirty="0">
                <a:latin typeface="Segoe UI Semibold" panose="020B0702040204020203" pitchFamily="34" charset="0"/>
                <a:cs typeface="Segoe UI Semibold" panose="020B0702040204020203" pitchFamily="34" charset="0"/>
              </a:rPr>
              <a:t>=</a:t>
            </a:r>
            <a:r>
              <a:rPr lang="en-US" altLang="en-US" sz="1400" dirty="0">
                <a:solidFill>
                  <a:srgbClr val="333333"/>
                </a:solidFill>
                <a:latin typeface="Segoe UI Semibold" panose="020B0702040204020203" pitchFamily="34" charset="0"/>
                <a:cs typeface="Segoe UI Semibold" panose="020B0702040204020203" pitchFamily="34" charset="0"/>
              </a:rPr>
              <a:t> </a:t>
            </a:r>
            <a:r>
              <a:rPr lang="en-US" altLang="en-US" sz="1400" b="1" dirty="0">
                <a:solidFill>
                  <a:schemeClr val="tx1">
                    <a:lumMod val="65000"/>
                    <a:lumOff val="35000"/>
                  </a:schemeClr>
                </a:solidFill>
                <a:latin typeface="Segoe UI Semibold" panose="020B0702040204020203" pitchFamily="34" charset="0"/>
                <a:cs typeface="Segoe UI Semibold" panose="020B0702040204020203" pitchFamily="34" charset="0"/>
              </a:rPr>
              <a:t>new</a:t>
            </a:r>
            <a:r>
              <a:rPr lang="en-US" altLang="en-US" sz="1400" dirty="0">
                <a:solidFill>
                  <a:srgbClr val="333333"/>
                </a:solidFill>
                <a:latin typeface="Segoe UI Semibold" panose="020B0702040204020203" pitchFamily="34" charset="0"/>
                <a:cs typeface="Segoe UI Semibold" panose="020B0702040204020203" pitchFamily="34" charset="0"/>
              </a:rPr>
              <a:t> </a:t>
            </a:r>
            <a:r>
              <a:rPr lang="en-US" altLang="en-US" sz="1400" b="1" dirty="0" err="1">
                <a:solidFill>
                  <a:srgbClr val="990000"/>
                </a:solidFill>
                <a:latin typeface="Segoe UI Semibold" panose="020B0702040204020203" pitchFamily="34" charset="0"/>
                <a:cs typeface="Segoe UI Semibold" panose="020B0702040204020203" pitchFamily="34" charset="0"/>
              </a:rPr>
              <a:t>FixedBatchSpout</a:t>
            </a:r>
            <a:r>
              <a:rPr lang="en-US" altLang="en-US" sz="1400" b="1" dirty="0">
                <a:latin typeface="Segoe UI Semibold" panose="020B0702040204020203" pitchFamily="34" charset="0"/>
                <a:cs typeface="Segoe UI Semibold" panose="020B0702040204020203" pitchFamily="34" charset="0"/>
              </a:rPr>
              <a:t>(</a:t>
            </a:r>
            <a:r>
              <a:rPr lang="en-US" altLang="en-US" sz="1400" b="1" dirty="0">
                <a:solidFill>
                  <a:srgbClr val="333333"/>
                </a:solidFill>
                <a:latin typeface="Segoe UI Semibold" panose="020B0702040204020203" pitchFamily="34" charset="0"/>
                <a:cs typeface="Segoe UI Semibold" panose="020B0702040204020203" pitchFamily="34" charset="0"/>
              </a:rPr>
              <a:t>new</a:t>
            </a:r>
          </a:p>
          <a:p>
            <a:pPr marL="91440" lvl="1">
              <a:spcBef>
                <a:spcPts val="600"/>
              </a:spcBef>
              <a:spcAft>
                <a:spcPts val="0"/>
              </a:spcAft>
            </a:pPr>
            <a:r>
              <a:rPr lang="en-US" altLang="en-US" sz="1400" b="1" dirty="0">
                <a:solidFill>
                  <a:srgbClr val="990000"/>
                </a:solidFill>
                <a:latin typeface="Segoe UI Semibold" panose="020B0702040204020203" pitchFamily="34" charset="0"/>
                <a:cs typeface="Segoe UI Semibold" panose="020B0702040204020203" pitchFamily="34" charset="0"/>
              </a:rPr>
              <a:t>Fields</a:t>
            </a:r>
            <a:r>
              <a:rPr lang="en-US" altLang="en-US" sz="1400" b="1" dirty="0">
                <a:latin typeface="Segoe UI Semibold" panose="020B0702040204020203" pitchFamily="34" charset="0"/>
                <a:cs typeface="Segoe UI Semibold" panose="020B0702040204020203" pitchFamily="34" charset="0"/>
              </a:rPr>
              <a:t>(</a:t>
            </a:r>
            <a:r>
              <a:rPr lang="en-US" altLang="en-US" sz="1400" dirty="0">
                <a:solidFill>
                  <a:srgbClr val="DD1144"/>
                </a:solidFill>
                <a:latin typeface="Segoe UI Semibold" panose="020B0702040204020203" pitchFamily="34" charset="0"/>
                <a:cs typeface="Segoe UI Semibold" panose="020B0702040204020203" pitchFamily="34" charset="0"/>
              </a:rPr>
              <a:t>"sentence"</a:t>
            </a:r>
            <a:r>
              <a:rPr lang="en-US" altLang="en-US" sz="1400" b="1" dirty="0">
                <a:latin typeface="Segoe UI Semibold" panose="020B0702040204020203" pitchFamily="34" charset="0"/>
                <a:cs typeface="Segoe UI Semibold" panose="020B0702040204020203" pitchFamily="34" charset="0"/>
              </a:rPr>
              <a:t>),</a:t>
            </a:r>
            <a:r>
              <a:rPr lang="en-US" altLang="en-US" sz="1400" dirty="0">
                <a:solidFill>
                  <a:srgbClr val="333333"/>
                </a:solidFill>
                <a:latin typeface="Segoe UI Semibold" panose="020B0702040204020203" pitchFamily="34" charset="0"/>
                <a:cs typeface="Segoe UI Semibold" panose="020B0702040204020203" pitchFamily="34" charset="0"/>
              </a:rPr>
              <a:t> </a:t>
            </a:r>
            <a:r>
              <a:rPr lang="en-US" altLang="en-US" sz="1400" dirty="0">
                <a:solidFill>
                  <a:srgbClr val="009999"/>
                </a:solidFill>
                <a:latin typeface="Segoe UI Semibold" panose="020B0702040204020203" pitchFamily="34" charset="0"/>
                <a:cs typeface="Segoe UI Semibold" panose="020B0702040204020203" pitchFamily="34" charset="0"/>
              </a:rPr>
              <a:t>3</a:t>
            </a:r>
            <a:r>
              <a:rPr lang="en-US" altLang="en-US" sz="1400" b="1" dirty="0">
                <a:latin typeface="Segoe UI Semibold" panose="020B0702040204020203" pitchFamily="34" charset="0"/>
                <a:cs typeface="Segoe UI Semibold" panose="020B0702040204020203" pitchFamily="34" charset="0"/>
              </a:rPr>
              <a:t>,</a:t>
            </a:r>
            <a:r>
              <a:rPr lang="en-US" altLang="en-US" sz="1400" dirty="0">
                <a:solidFill>
                  <a:srgbClr val="333333"/>
                </a:solidFill>
                <a:latin typeface="Segoe UI Semibold" panose="020B0702040204020203" pitchFamily="34" charset="0"/>
                <a:cs typeface="Segoe UI Semibold" panose="020B0702040204020203" pitchFamily="34" charset="0"/>
              </a:rPr>
              <a:t> </a:t>
            </a:r>
            <a:r>
              <a:rPr lang="en-US" altLang="en-US" sz="1400" b="1" dirty="0">
                <a:solidFill>
                  <a:schemeClr val="tx1">
                    <a:lumMod val="65000"/>
                    <a:lumOff val="35000"/>
                  </a:schemeClr>
                </a:solidFill>
                <a:latin typeface="Segoe UI Semibold" panose="020B0702040204020203" pitchFamily="34" charset="0"/>
                <a:cs typeface="Segoe UI Semibold" panose="020B0702040204020203" pitchFamily="34" charset="0"/>
              </a:rPr>
              <a:t>new</a:t>
            </a:r>
            <a:r>
              <a:rPr lang="en-US" altLang="en-US" sz="1400" dirty="0">
                <a:solidFill>
                  <a:srgbClr val="333333"/>
                </a:solidFill>
                <a:latin typeface="Segoe UI Semibold" panose="020B0702040204020203" pitchFamily="34" charset="0"/>
                <a:cs typeface="Segoe UI Semibold" panose="020B0702040204020203" pitchFamily="34" charset="0"/>
              </a:rPr>
              <a:t> </a:t>
            </a:r>
            <a:r>
              <a:rPr lang="en-US" altLang="en-US" sz="1400" b="1" dirty="0">
                <a:solidFill>
                  <a:srgbClr val="990000"/>
                </a:solidFill>
                <a:latin typeface="Segoe UI Semibold" panose="020B0702040204020203" pitchFamily="34" charset="0"/>
                <a:cs typeface="Segoe UI Semibold" panose="020B0702040204020203" pitchFamily="34" charset="0"/>
              </a:rPr>
              <a:t>Values</a:t>
            </a:r>
            <a:r>
              <a:rPr lang="en-US" altLang="en-US" sz="1400" b="1" dirty="0">
                <a:latin typeface="Segoe UI Semibold" panose="020B0702040204020203" pitchFamily="34" charset="0"/>
                <a:cs typeface="Segoe UI Semibold" panose="020B0702040204020203" pitchFamily="34" charset="0"/>
              </a:rPr>
              <a:t>(</a:t>
            </a:r>
            <a:r>
              <a:rPr lang="en-US" altLang="en-US" sz="1400" dirty="0">
                <a:solidFill>
                  <a:srgbClr val="DD1144"/>
                </a:solidFill>
                <a:latin typeface="Segoe UI Semibold" panose="020B0702040204020203" pitchFamily="34" charset="0"/>
                <a:cs typeface="Segoe UI Semibold" panose="020B0702040204020203" pitchFamily="34" charset="0"/>
              </a:rPr>
              <a:t>"cow jumped over the moon"</a:t>
            </a:r>
            <a:r>
              <a:rPr lang="en-US" altLang="en-US" sz="1400" b="1" dirty="0">
                <a:latin typeface="Segoe UI Semibold" panose="020B0702040204020203" pitchFamily="34" charset="0"/>
                <a:cs typeface="Segoe UI Semibold" panose="020B0702040204020203" pitchFamily="34" charset="0"/>
              </a:rPr>
              <a:t>);</a:t>
            </a:r>
            <a:endParaRPr kumimoji="0" lang="en-US" altLang="en-US" sz="1400" b="0" i="0" u="none" strike="noStrike" cap="none" normalizeH="0" baseline="0" dirty="0">
              <a:ln>
                <a:noFill/>
              </a:ln>
              <a:solidFill>
                <a:schemeClr val="tx1"/>
              </a:solidFill>
              <a:effectLst/>
              <a:latin typeface="Segoe UI Semibold" panose="020B0702040204020203" pitchFamily="34" charset="0"/>
              <a:cs typeface="Segoe UI Semibold" panose="020B0702040204020203" pitchFamily="34" charset="0"/>
            </a:endParaRPr>
          </a:p>
          <a:p>
            <a:pPr marL="0" marR="0" lvl="0" indent="0" algn="l" defTabSz="914400" rtl="0" eaLnBrk="0" fontAlgn="base" latinLnBrk="0" hangingPunct="0">
              <a:lnSpc>
                <a:spcPct val="100000"/>
              </a:lnSpc>
              <a:spcBef>
                <a:spcPts val="600"/>
              </a:spcBef>
              <a:spcAft>
                <a:spcPts val="0"/>
              </a:spcAft>
              <a:buClrTx/>
              <a:buSzTx/>
              <a:buFontTx/>
              <a:buNone/>
              <a:tabLst/>
            </a:pPr>
            <a:endParaRPr kumimoji="0" lang="en-US" altLang="en-US" sz="1400" b="0" i="0" u="none" strike="noStrike" cap="none" normalizeH="0" baseline="0" dirty="0">
              <a:ln>
                <a:noFill/>
              </a:ln>
              <a:solidFill>
                <a:schemeClr val="tx1"/>
              </a:solidFill>
              <a:effectLst/>
              <a:latin typeface="Segoe UI Semibold" panose="020B0702040204020203" pitchFamily="34" charset="0"/>
              <a:cs typeface="Segoe UI Semibold" panose="020B0702040204020203" pitchFamily="34" charset="0"/>
            </a:endParaRPr>
          </a:p>
          <a:p>
            <a:pPr marL="91440" marR="0" lvl="0" indent="0" algn="l" defTabSz="914400" rtl="0" eaLnBrk="0" fontAlgn="base" latinLnBrk="0" hangingPunct="0">
              <a:lnSpc>
                <a:spcPct val="100000"/>
              </a:lnSpc>
              <a:spcBef>
                <a:spcPts val="600"/>
              </a:spcBef>
              <a:spcAft>
                <a:spcPts val="0"/>
              </a:spcAft>
              <a:buClrTx/>
              <a:buSzTx/>
              <a:buFontTx/>
              <a:buNone/>
              <a:tabLst/>
            </a:pPr>
            <a:r>
              <a:rPr kumimoji="0" lang="en-US" altLang="en-US" sz="1400" b="0" i="0" u="none" strike="noStrike" cap="none" normalizeH="0" baseline="0" dirty="0" err="1">
                <a:ln>
                  <a:noFill/>
                </a:ln>
                <a:solidFill>
                  <a:schemeClr val="tx1">
                    <a:lumMod val="65000"/>
                    <a:lumOff val="35000"/>
                  </a:schemeClr>
                </a:solidFill>
                <a:effectLst/>
                <a:latin typeface="Segoe UI Semibold" panose="020B0702040204020203" pitchFamily="34" charset="0"/>
                <a:cs typeface="Segoe UI Semibold" panose="020B0702040204020203" pitchFamily="34" charset="0"/>
              </a:rPr>
              <a:t>TridentTopology</a:t>
            </a:r>
            <a:r>
              <a:rPr kumimoji="0" lang="en-US" altLang="en-US" sz="1400" b="0" i="0" u="none" strike="noStrike" cap="none" normalizeH="0" baseline="0" dirty="0">
                <a:ln>
                  <a:noFill/>
                </a:ln>
                <a:solidFill>
                  <a:schemeClr val="tx1">
                    <a:lumMod val="65000"/>
                    <a:lumOff val="35000"/>
                  </a:schemeClr>
                </a:solidFill>
                <a:effectLst/>
                <a:latin typeface="Segoe UI Semibold" panose="020B0702040204020203" pitchFamily="34" charset="0"/>
                <a:cs typeface="Segoe UI Semibold" panose="020B0702040204020203" pitchFamily="34" charset="0"/>
              </a:rPr>
              <a:t> topology </a:t>
            </a:r>
            <a:r>
              <a:rPr kumimoji="0" lang="en-US" altLang="en-US" sz="1400" b="1" i="0" u="none" strike="noStrike" cap="none" normalizeH="0" baseline="0" dirty="0">
                <a:ln>
                  <a:noFill/>
                </a:ln>
                <a:solidFill>
                  <a:schemeClr val="tx1"/>
                </a:solidFill>
                <a:effectLst/>
                <a:latin typeface="Segoe UI Semibold" panose="020B0702040204020203" pitchFamily="34" charset="0"/>
                <a:cs typeface="Segoe UI Semibold" panose="020B0702040204020203" pitchFamily="34" charset="0"/>
              </a:rPr>
              <a:t>=</a:t>
            </a:r>
            <a:r>
              <a:rPr kumimoji="0" lang="en-US" altLang="en-US" sz="1400" b="0" i="0" u="none" strike="noStrike" cap="none" normalizeH="0" baseline="0" dirty="0">
                <a:ln>
                  <a:noFill/>
                </a:ln>
                <a:solidFill>
                  <a:srgbClr val="333333"/>
                </a:solidFill>
                <a:effectLst/>
                <a:latin typeface="Segoe UI Semibold" panose="020B0702040204020203" pitchFamily="34" charset="0"/>
                <a:cs typeface="Segoe UI Semibold" panose="020B0702040204020203" pitchFamily="34" charset="0"/>
              </a:rPr>
              <a:t> </a:t>
            </a:r>
            <a:r>
              <a:rPr kumimoji="0" lang="en-US" altLang="en-US" sz="1400" b="1" i="0" u="none" strike="noStrike" cap="none" normalizeH="0" baseline="0" dirty="0">
                <a:ln>
                  <a:noFill/>
                </a:ln>
                <a:solidFill>
                  <a:srgbClr val="333333"/>
                </a:solidFill>
                <a:effectLst/>
                <a:latin typeface="Segoe UI Semibold" panose="020B0702040204020203" pitchFamily="34" charset="0"/>
                <a:cs typeface="Segoe UI Semibold" panose="020B0702040204020203" pitchFamily="34" charset="0"/>
              </a:rPr>
              <a:t>new</a:t>
            </a:r>
            <a:r>
              <a:rPr kumimoji="0" lang="en-US" altLang="en-US" sz="1400" b="0" i="0" u="none" strike="noStrike" cap="none" normalizeH="0" baseline="0" dirty="0">
                <a:ln>
                  <a:noFill/>
                </a:ln>
                <a:solidFill>
                  <a:srgbClr val="333333"/>
                </a:solidFill>
                <a:effectLst/>
                <a:latin typeface="Segoe UI Semibold" panose="020B0702040204020203" pitchFamily="34" charset="0"/>
                <a:cs typeface="Segoe UI Semibold" panose="020B0702040204020203" pitchFamily="34" charset="0"/>
              </a:rPr>
              <a:t> </a:t>
            </a:r>
            <a:r>
              <a:rPr kumimoji="0" lang="en-US" altLang="en-US" sz="1400" b="1" i="0" u="none" strike="noStrike" cap="none" normalizeH="0" baseline="0" dirty="0" err="1">
                <a:ln>
                  <a:noFill/>
                </a:ln>
                <a:solidFill>
                  <a:srgbClr val="990000"/>
                </a:solidFill>
                <a:effectLst/>
                <a:latin typeface="Segoe UI Semibold" panose="020B0702040204020203" pitchFamily="34" charset="0"/>
                <a:cs typeface="Segoe UI Semibold" panose="020B0702040204020203" pitchFamily="34" charset="0"/>
              </a:rPr>
              <a:t>TridentTopology</a:t>
            </a:r>
            <a:r>
              <a:rPr kumimoji="0" lang="en-US" altLang="en-US" sz="1400" b="1" i="0" u="none" strike="noStrike" cap="none" normalizeH="0" baseline="0" dirty="0">
                <a:ln>
                  <a:noFill/>
                </a:ln>
                <a:solidFill>
                  <a:schemeClr val="tx1"/>
                </a:solidFill>
                <a:effectLst/>
                <a:latin typeface="Segoe UI Semibold" panose="020B0702040204020203" pitchFamily="34" charset="0"/>
                <a:cs typeface="Segoe UI Semibold" panose="020B0702040204020203" pitchFamily="34" charset="0"/>
              </a:rPr>
              <a:t>();</a:t>
            </a:r>
            <a:r>
              <a:rPr kumimoji="0" lang="en-US" altLang="en-US" sz="1400" b="0" i="0" u="none" strike="noStrike" cap="none" normalizeH="0" baseline="0" dirty="0">
                <a:ln>
                  <a:noFill/>
                </a:ln>
                <a:solidFill>
                  <a:srgbClr val="333333"/>
                </a:solidFill>
                <a:effectLst/>
                <a:latin typeface="Segoe UI Semibold" panose="020B0702040204020203" pitchFamily="34" charset="0"/>
                <a:cs typeface="Segoe UI Semibold" panose="020B0702040204020203" pitchFamily="34" charset="0"/>
              </a:rPr>
              <a:t> </a:t>
            </a:r>
          </a:p>
          <a:p>
            <a:pPr marL="91440" marR="0" lvl="0" indent="0" algn="l" defTabSz="914400" rtl="0" eaLnBrk="0" fontAlgn="base" latinLnBrk="0" hangingPunct="0">
              <a:lnSpc>
                <a:spcPct val="100000"/>
              </a:lnSpc>
              <a:spcBef>
                <a:spcPts val="600"/>
              </a:spcBef>
              <a:spcAft>
                <a:spcPts val="0"/>
              </a:spcAft>
              <a:buClrTx/>
              <a:buSzTx/>
              <a:buFontTx/>
              <a:buNone/>
              <a:tabLst/>
            </a:pPr>
            <a:r>
              <a:rPr kumimoji="0" lang="en-US" altLang="en-US" sz="1400" b="0" i="0" u="none" strike="noStrike" cap="none" normalizeH="0" baseline="0" dirty="0" err="1">
                <a:ln>
                  <a:noFill/>
                </a:ln>
                <a:solidFill>
                  <a:schemeClr val="tx1">
                    <a:lumMod val="65000"/>
                    <a:lumOff val="35000"/>
                  </a:schemeClr>
                </a:solidFill>
                <a:effectLst/>
                <a:latin typeface="Segoe UI Semibold" panose="020B0702040204020203" pitchFamily="34" charset="0"/>
                <a:cs typeface="Segoe UI Semibold" panose="020B0702040204020203" pitchFamily="34" charset="0"/>
              </a:rPr>
              <a:t>TridentState</a:t>
            </a:r>
            <a:r>
              <a:rPr kumimoji="0" lang="en-US" altLang="en-US" sz="1400" b="0" i="0" u="none" strike="noStrike" cap="none" normalizeH="0" baseline="0" dirty="0">
                <a:ln>
                  <a:noFill/>
                </a:ln>
                <a:solidFill>
                  <a:schemeClr val="tx1">
                    <a:lumMod val="65000"/>
                    <a:lumOff val="35000"/>
                  </a:schemeClr>
                </a:solidFill>
                <a:effectLst/>
                <a:latin typeface="Segoe UI Semibold" panose="020B0702040204020203" pitchFamily="34" charset="0"/>
                <a:cs typeface="Segoe UI Semibold" panose="020B0702040204020203" pitchFamily="34" charset="0"/>
              </a:rPr>
              <a:t> </a:t>
            </a:r>
            <a:r>
              <a:rPr kumimoji="0" lang="en-US" altLang="en-US" sz="1400" b="0" i="0" u="none" strike="noStrike" cap="none" normalizeH="0" baseline="0" dirty="0" err="1">
                <a:ln>
                  <a:noFill/>
                </a:ln>
                <a:solidFill>
                  <a:schemeClr val="tx1">
                    <a:lumMod val="65000"/>
                    <a:lumOff val="35000"/>
                  </a:schemeClr>
                </a:solidFill>
                <a:effectLst/>
                <a:latin typeface="Segoe UI Semibold" panose="020B0702040204020203" pitchFamily="34" charset="0"/>
                <a:cs typeface="Segoe UI Semibold" panose="020B0702040204020203" pitchFamily="34" charset="0"/>
              </a:rPr>
              <a:t>wordCounts</a:t>
            </a:r>
            <a:r>
              <a:rPr kumimoji="0" lang="en-US" altLang="en-US" sz="1400" b="0" i="0" u="none" strike="noStrike" cap="none" normalizeH="0" baseline="0" dirty="0">
                <a:ln>
                  <a:noFill/>
                </a:ln>
                <a:solidFill>
                  <a:schemeClr val="tx1">
                    <a:lumMod val="65000"/>
                    <a:lumOff val="35000"/>
                  </a:schemeClr>
                </a:solidFill>
                <a:effectLst/>
                <a:latin typeface="Segoe UI Semibold" panose="020B0702040204020203" pitchFamily="34" charset="0"/>
                <a:cs typeface="Segoe UI Semibold" panose="020B0702040204020203" pitchFamily="34" charset="0"/>
              </a:rPr>
              <a:t> </a:t>
            </a:r>
            <a:r>
              <a:rPr kumimoji="0" lang="en-US" altLang="en-US" sz="1400" b="1" i="0" u="none" strike="noStrike" cap="none" normalizeH="0" baseline="0" dirty="0">
                <a:ln>
                  <a:noFill/>
                </a:ln>
                <a:solidFill>
                  <a:schemeClr val="tx1"/>
                </a:solidFill>
                <a:effectLst/>
                <a:latin typeface="Segoe UI Semibold" panose="020B0702040204020203" pitchFamily="34" charset="0"/>
                <a:cs typeface="Segoe UI Semibold" panose="020B0702040204020203" pitchFamily="34" charset="0"/>
              </a:rPr>
              <a:t>=</a:t>
            </a:r>
            <a:r>
              <a:rPr kumimoji="0" lang="en-US" altLang="en-US" sz="1400" b="0" i="0" u="none" strike="noStrike" cap="none" normalizeH="0" baseline="0" dirty="0">
                <a:ln>
                  <a:noFill/>
                </a:ln>
                <a:solidFill>
                  <a:srgbClr val="333333"/>
                </a:solidFill>
                <a:effectLst/>
                <a:latin typeface="Segoe UI Semibold" panose="020B0702040204020203" pitchFamily="34" charset="0"/>
                <a:cs typeface="Segoe UI Semibold" panose="020B0702040204020203" pitchFamily="34" charset="0"/>
              </a:rPr>
              <a:t> </a:t>
            </a:r>
            <a:r>
              <a:rPr kumimoji="0" lang="en-US" altLang="en-US" sz="1400" b="0" i="0" u="none" strike="noStrike" cap="none" normalizeH="0" baseline="0" dirty="0" err="1">
                <a:ln>
                  <a:noFill/>
                </a:ln>
                <a:solidFill>
                  <a:schemeClr val="tx1">
                    <a:lumMod val="65000"/>
                    <a:lumOff val="35000"/>
                  </a:schemeClr>
                </a:solidFill>
                <a:effectLst/>
                <a:latin typeface="Segoe UI Semibold" panose="020B0702040204020203" pitchFamily="34" charset="0"/>
                <a:cs typeface="Segoe UI Semibold" panose="020B0702040204020203" pitchFamily="34" charset="0"/>
              </a:rPr>
              <a:t>topology</a:t>
            </a:r>
            <a:r>
              <a:rPr kumimoji="0" lang="en-US" altLang="en-US" sz="1400" b="1" i="0" u="none" strike="noStrike" cap="none" normalizeH="0" baseline="0" dirty="0" err="1">
                <a:ln>
                  <a:noFill/>
                </a:ln>
                <a:solidFill>
                  <a:schemeClr val="tx1"/>
                </a:solidFill>
                <a:effectLst/>
                <a:latin typeface="Segoe UI Semibold" panose="020B0702040204020203" pitchFamily="34" charset="0"/>
                <a:cs typeface="Segoe UI Semibold" panose="020B0702040204020203" pitchFamily="34" charset="0"/>
              </a:rPr>
              <a:t>.</a:t>
            </a:r>
            <a:r>
              <a:rPr kumimoji="0" lang="en-US" altLang="en-US" sz="1400" b="0" i="0" u="none" strike="noStrike" cap="none" normalizeH="0" baseline="0" dirty="0" err="1">
                <a:ln>
                  <a:noFill/>
                </a:ln>
                <a:solidFill>
                  <a:srgbClr val="008080"/>
                </a:solidFill>
                <a:effectLst/>
                <a:latin typeface="Segoe UI Semibold" panose="020B0702040204020203" pitchFamily="34" charset="0"/>
                <a:cs typeface="Segoe UI Semibold" panose="020B0702040204020203" pitchFamily="34" charset="0"/>
              </a:rPr>
              <a:t>newStream</a:t>
            </a:r>
            <a:r>
              <a:rPr kumimoji="0" lang="en-US" altLang="en-US" sz="1400" b="1" i="0" u="none" strike="noStrike" cap="none" normalizeH="0" baseline="0" dirty="0">
                <a:ln>
                  <a:noFill/>
                </a:ln>
                <a:solidFill>
                  <a:schemeClr val="tx1"/>
                </a:solidFill>
                <a:effectLst/>
                <a:latin typeface="Segoe UI Semibold" panose="020B0702040204020203" pitchFamily="34" charset="0"/>
                <a:cs typeface="Segoe UI Semibold" panose="020B0702040204020203" pitchFamily="34" charset="0"/>
              </a:rPr>
              <a:t>(</a:t>
            </a:r>
            <a:r>
              <a:rPr kumimoji="0" lang="en-US" altLang="en-US" sz="1400" b="0" i="0" u="none" strike="noStrike" cap="none" normalizeH="0" baseline="0" dirty="0">
                <a:ln>
                  <a:noFill/>
                </a:ln>
                <a:solidFill>
                  <a:srgbClr val="DD1144"/>
                </a:solidFill>
                <a:effectLst/>
                <a:latin typeface="Segoe UI Semibold" panose="020B0702040204020203" pitchFamily="34" charset="0"/>
                <a:cs typeface="Segoe UI Semibold" panose="020B0702040204020203" pitchFamily="34" charset="0"/>
              </a:rPr>
              <a:t>"spout1"</a:t>
            </a:r>
            <a:r>
              <a:rPr kumimoji="0" lang="en-US" altLang="en-US" sz="1400" b="1" i="0" u="none" strike="noStrike" cap="none" normalizeH="0" baseline="0" dirty="0">
                <a:ln>
                  <a:noFill/>
                </a:ln>
                <a:solidFill>
                  <a:schemeClr val="tx1"/>
                </a:solidFill>
                <a:effectLst/>
                <a:latin typeface="Segoe UI Semibold" panose="020B0702040204020203" pitchFamily="34" charset="0"/>
                <a:cs typeface="Segoe UI Semibold" panose="020B0702040204020203" pitchFamily="34" charset="0"/>
              </a:rPr>
              <a:t>,</a:t>
            </a:r>
            <a:r>
              <a:rPr kumimoji="0" lang="en-US" altLang="en-US" sz="1400" b="0" i="0" u="none" strike="noStrike" cap="none" normalizeH="0" baseline="0" dirty="0">
                <a:ln>
                  <a:noFill/>
                </a:ln>
                <a:solidFill>
                  <a:srgbClr val="333333"/>
                </a:solidFill>
                <a:effectLst/>
                <a:latin typeface="Segoe UI Semibold" panose="020B0702040204020203" pitchFamily="34" charset="0"/>
                <a:cs typeface="Segoe UI Semibold" panose="020B0702040204020203" pitchFamily="34" charset="0"/>
              </a:rPr>
              <a:t> </a:t>
            </a:r>
            <a:r>
              <a:rPr kumimoji="0" lang="en-US" altLang="en-US" sz="1400" b="0" i="0" u="none" strike="noStrike" cap="none" normalizeH="0" baseline="0" dirty="0">
                <a:ln>
                  <a:noFill/>
                </a:ln>
                <a:solidFill>
                  <a:schemeClr val="tx1">
                    <a:lumMod val="65000"/>
                    <a:lumOff val="35000"/>
                  </a:schemeClr>
                </a:solidFill>
                <a:effectLst/>
                <a:latin typeface="Segoe UI Semibold" panose="020B0702040204020203" pitchFamily="34" charset="0"/>
                <a:cs typeface="Segoe UI Semibold" panose="020B0702040204020203" pitchFamily="34" charset="0"/>
              </a:rPr>
              <a:t>spout</a:t>
            </a:r>
            <a:r>
              <a:rPr kumimoji="0" lang="en-US" altLang="en-US" sz="1400" b="1" i="0" u="none" strike="noStrike" cap="none" normalizeH="0" baseline="0" dirty="0">
                <a:ln>
                  <a:noFill/>
                </a:ln>
                <a:solidFill>
                  <a:schemeClr val="tx1">
                    <a:lumMod val="65000"/>
                    <a:lumOff val="35000"/>
                  </a:schemeClr>
                </a:solidFill>
                <a:effectLst/>
                <a:latin typeface="Segoe UI Semibold" panose="020B0702040204020203" pitchFamily="34" charset="0"/>
                <a:cs typeface="Segoe UI Semibold" panose="020B0702040204020203" pitchFamily="34" charset="0"/>
              </a:rPr>
              <a:t>)</a:t>
            </a:r>
            <a:r>
              <a:rPr kumimoji="0" lang="en-US" altLang="en-US" sz="1400" b="0" i="0" u="none" strike="noStrike" cap="none" normalizeH="0" baseline="0" dirty="0">
                <a:ln>
                  <a:noFill/>
                </a:ln>
                <a:solidFill>
                  <a:schemeClr val="tx1">
                    <a:lumMod val="65000"/>
                    <a:lumOff val="35000"/>
                  </a:schemeClr>
                </a:solidFill>
                <a:effectLst/>
                <a:latin typeface="Segoe UI Semibold" panose="020B0702040204020203" pitchFamily="34" charset="0"/>
                <a:cs typeface="Segoe UI Semibold" panose="020B0702040204020203" pitchFamily="34" charset="0"/>
              </a:rPr>
              <a:t> </a:t>
            </a:r>
          </a:p>
          <a:p>
            <a:pPr marL="548640" lvl="2">
              <a:spcBef>
                <a:spcPts val="600"/>
              </a:spcBef>
              <a:spcAft>
                <a:spcPts val="0"/>
              </a:spcAft>
            </a:pPr>
            <a:r>
              <a:rPr kumimoji="0" lang="en-US" altLang="en-US" sz="1400" b="1" i="0" u="none" strike="noStrike" cap="none" normalizeH="0" baseline="0" dirty="0">
                <a:ln>
                  <a:noFill/>
                </a:ln>
                <a:solidFill>
                  <a:schemeClr val="tx1"/>
                </a:solidFill>
                <a:effectLst/>
                <a:latin typeface="Segoe UI Semibold" panose="020B0702040204020203" pitchFamily="34" charset="0"/>
                <a:cs typeface="Segoe UI Semibold" panose="020B0702040204020203" pitchFamily="34" charset="0"/>
              </a:rPr>
              <a:t>.</a:t>
            </a:r>
            <a:r>
              <a:rPr kumimoji="0" lang="en-US" altLang="en-US" sz="1400" b="0" i="0" u="none" strike="noStrike" cap="none" normalizeH="0" baseline="0" dirty="0">
                <a:ln>
                  <a:noFill/>
                </a:ln>
                <a:solidFill>
                  <a:srgbClr val="008080"/>
                </a:solidFill>
                <a:effectLst/>
                <a:latin typeface="Segoe UI Semibold" panose="020B0702040204020203" pitchFamily="34" charset="0"/>
                <a:cs typeface="Segoe UI Semibold" panose="020B0702040204020203" pitchFamily="34" charset="0"/>
              </a:rPr>
              <a:t>each</a:t>
            </a:r>
            <a:r>
              <a:rPr kumimoji="0" lang="en-US" altLang="en-US" sz="1400" b="1" i="0" u="none" strike="noStrike" cap="none" normalizeH="0" baseline="0" dirty="0">
                <a:ln>
                  <a:noFill/>
                </a:ln>
                <a:solidFill>
                  <a:schemeClr val="tx1"/>
                </a:solidFill>
                <a:effectLst/>
                <a:latin typeface="Segoe UI Semibold" panose="020B0702040204020203" pitchFamily="34" charset="0"/>
                <a:cs typeface="Segoe UI Semibold" panose="020B0702040204020203" pitchFamily="34" charset="0"/>
              </a:rPr>
              <a:t>(</a:t>
            </a:r>
            <a:r>
              <a:rPr kumimoji="0" lang="en-US" altLang="en-US" sz="1400" b="1" i="0" u="none" strike="noStrike" cap="none" normalizeH="0" baseline="0" dirty="0">
                <a:ln>
                  <a:noFill/>
                </a:ln>
                <a:solidFill>
                  <a:srgbClr val="333333"/>
                </a:solidFill>
                <a:effectLst/>
                <a:latin typeface="Segoe UI Semibold" panose="020B0702040204020203" pitchFamily="34" charset="0"/>
                <a:cs typeface="Segoe UI Semibold" panose="020B0702040204020203" pitchFamily="34" charset="0"/>
              </a:rPr>
              <a:t>new</a:t>
            </a:r>
            <a:r>
              <a:rPr kumimoji="0" lang="en-US" altLang="en-US" sz="1400" b="0" i="0" u="none" strike="noStrike" cap="none" normalizeH="0" baseline="0" dirty="0">
                <a:ln>
                  <a:noFill/>
                </a:ln>
                <a:solidFill>
                  <a:srgbClr val="333333"/>
                </a:solidFill>
                <a:effectLst/>
                <a:latin typeface="Segoe UI Semibold" panose="020B0702040204020203" pitchFamily="34" charset="0"/>
                <a:cs typeface="Segoe UI Semibold" panose="020B0702040204020203" pitchFamily="34" charset="0"/>
              </a:rPr>
              <a:t> </a:t>
            </a:r>
            <a:r>
              <a:rPr kumimoji="0" lang="en-US" altLang="en-US" sz="1400" b="1" i="0" u="none" strike="noStrike" cap="none" normalizeH="0" baseline="0" dirty="0">
                <a:ln>
                  <a:noFill/>
                </a:ln>
                <a:solidFill>
                  <a:srgbClr val="990000"/>
                </a:solidFill>
                <a:effectLst/>
                <a:latin typeface="Segoe UI Semibold" panose="020B0702040204020203" pitchFamily="34" charset="0"/>
                <a:cs typeface="Segoe UI Semibold" panose="020B0702040204020203" pitchFamily="34" charset="0"/>
              </a:rPr>
              <a:t>Fields</a:t>
            </a:r>
            <a:r>
              <a:rPr kumimoji="0" lang="en-US" altLang="en-US" sz="1400" b="1" i="0" u="none" strike="noStrike" cap="none" normalizeH="0" baseline="0" dirty="0">
                <a:ln>
                  <a:noFill/>
                </a:ln>
                <a:solidFill>
                  <a:schemeClr val="tx1"/>
                </a:solidFill>
                <a:effectLst/>
                <a:latin typeface="Segoe UI Semibold" panose="020B0702040204020203" pitchFamily="34" charset="0"/>
                <a:cs typeface="Segoe UI Semibold" panose="020B0702040204020203" pitchFamily="34" charset="0"/>
              </a:rPr>
              <a:t>(</a:t>
            </a:r>
            <a:r>
              <a:rPr kumimoji="0" lang="en-US" altLang="en-US" sz="1400" b="0" i="0" u="none" strike="noStrike" cap="none" normalizeH="0" baseline="0" dirty="0">
                <a:ln>
                  <a:noFill/>
                </a:ln>
                <a:solidFill>
                  <a:srgbClr val="DD1144"/>
                </a:solidFill>
                <a:effectLst/>
                <a:latin typeface="Segoe UI Semibold" panose="020B0702040204020203" pitchFamily="34" charset="0"/>
                <a:cs typeface="Segoe UI Semibold" panose="020B0702040204020203" pitchFamily="34" charset="0"/>
              </a:rPr>
              <a:t>"sentence"</a:t>
            </a:r>
            <a:r>
              <a:rPr kumimoji="0" lang="en-US" altLang="en-US" sz="1400" b="1" i="0" u="none" strike="noStrike" cap="none" normalizeH="0" baseline="0" dirty="0">
                <a:ln>
                  <a:noFill/>
                </a:ln>
                <a:solidFill>
                  <a:schemeClr val="tx1">
                    <a:lumMod val="65000"/>
                    <a:lumOff val="35000"/>
                  </a:schemeClr>
                </a:solidFill>
                <a:effectLst/>
                <a:latin typeface="Segoe UI Semibold" panose="020B0702040204020203" pitchFamily="34" charset="0"/>
                <a:cs typeface="Segoe UI Semibold" panose="020B0702040204020203" pitchFamily="34" charset="0"/>
              </a:rPr>
              <a:t>)</a:t>
            </a:r>
            <a:r>
              <a:rPr kumimoji="0" lang="en-US" altLang="en-US" sz="1400" b="1" i="0" u="none" strike="noStrike" cap="none" normalizeH="0" baseline="0" dirty="0">
                <a:ln>
                  <a:noFill/>
                </a:ln>
                <a:solidFill>
                  <a:schemeClr val="tx1"/>
                </a:solidFill>
                <a:effectLst/>
                <a:latin typeface="Segoe UI Semibold" panose="020B0702040204020203" pitchFamily="34" charset="0"/>
                <a:cs typeface="Segoe UI Semibold" panose="020B0702040204020203" pitchFamily="34" charset="0"/>
              </a:rPr>
              <a:t>,</a:t>
            </a:r>
            <a:r>
              <a:rPr kumimoji="0" lang="en-US" altLang="en-US" sz="1400" b="0" i="0" u="none" strike="noStrike" cap="none" normalizeH="0" baseline="0" dirty="0">
                <a:ln>
                  <a:noFill/>
                </a:ln>
                <a:solidFill>
                  <a:srgbClr val="333333"/>
                </a:solidFill>
                <a:effectLst/>
                <a:latin typeface="Segoe UI Semibold" panose="020B0702040204020203" pitchFamily="34" charset="0"/>
                <a:cs typeface="Segoe UI Semibold" panose="020B0702040204020203" pitchFamily="34" charset="0"/>
              </a:rPr>
              <a:t> </a:t>
            </a:r>
            <a:r>
              <a:rPr kumimoji="0" lang="en-US" altLang="en-US" sz="1400" b="1" i="0" u="none" strike="noStrike" cap="none" normalizeH="0" baseline="0" dirty="0">
                <a:ln>
                  <a:noFill/>
                </a:ln>
                <a:solidFill>
                  <a:srgbClr val="333333"/>
                </a:solidFill>
                <a:effectLst/>
                <a:latin typeface="Segoe UI Semibold" panose="020B0702040204020203" pitchFamily="34" charset="0"/>
                <a:cs typeface="Segoe UI Semibold" panose="020B0702040204020203" pitchFamily="34" charset="0"/>
              </a:rPr>
              <a:t>new</a:t>
            </a:r>
            <a:r>
              <a:rPr kumimoji="0" lang="en-US" altLang="en-US" sz="1400" b="0" i="0" u="none" strike="noStrike" cap="none" normalizeH="0" baseline="0" dirty="0">
                <a:ln>
                  <a:noFill/>
                </a:ln>
                <a:solidFill>
                  <a:srgbClr val="333333"/>
                </a:solidFill>
                <a:effectLst/>
                <a:latin typeface="Segoe UI Semibold" panose="020B0702040204020203" pitchFamily="34" charset="0"/>
                <a:cs typeface="Segoe UI Semibold" panose="020B0702040204020203" pitchFamily="34" charset="0"/>
              </a:rPr>
              <a:t> </a:t>
            </a:r>
            <a:r>
              <a:rPr kumimoji="0" lang="en-US" altLang="en-US" sz="1400" b="1" i="0" u="none" strike="noStrike" cap="none" normalizeH="0" baseline="0" dirty="0">
                <a:ln>
                  <a:noFill/>
                </a:ln>
                <a:solidFill>
                  <a:srgbClr val="990000"/>
                </a:solidFill>
                <a:effectLst/>
                <a:latin typeface="Segoe UI Semibold" panose="020B0702040204020203" pitchFamily="34" charset="0"/>
                <a:cs typeface="Segoe UI Semibold" panose="020B0702040204020203" pitchFamily="34" charset="0"/>
              </a:rPr>
              <a:t>Split</a:t>
            </a:r>
            <a:r>
              <a:rPr kumimoji="0" lang="en-US" altLang="en-US" sz="1400" b="1" i="0" u="none" strike="noStrike" cap="none" normalizeH="0" baseline="0" dirty="0">
                <a:ln>
                  <a:noFill/>
                </a:ln>
                <a:solidFill>
                  <a:schemeClr val="tx1"/>
                </a:solidFill>
                <a:effectLst/>
                <a:latin typeface="Segoe UI Semibold" panose="020B0702040204020203" pitchFamily="34" charset="0"/>
                <a:cs typeface="Segoe UI Semibold" panose="020B0702040204020203" pitchFamily="34" charset="0"/>
              </a:rPr>
              <a:t>(),</a:t>
            </a:r>
            <a:r>
              <a:rPr kumimoji="0" lang="en-US" altLang="en-US" sz="1400" b="0" i="0" u="none" strike="noStrike" cap="none" normalizeH="0" baseline="0" dirty="0">
                <a:ln>
                  <a:noFill/>
                </a:ln>
                <a:solidFill>
                  <a:srgbClr val="333333"/>
                </a:solidFill>
                <a:effectLst/>
                <a:latin typeface="Segoe UI Semibold" panose="020B0702040204020203" pitchFamily="34" charset="0"/>
                <a:cs typeface="Segoe UI Semibold" panose="020B0702040204020203" pitchFamily="34" charset="0"/>
              </a:rPr>
              <a:t> </a:t>
            </a:r>
            <a:r>
              <a:rPr kumimoji="0" lang="en-US" altLang="en-US" sz="1400" b="1" i="0" u="none" strike="noStrike" cap="none" normalizeH="0" baseline="0" dirty="0">
                <a:ln>
                  <a:noFill/>
                </a:ln>
                <a:solidFill>
                  <a:srgbClr val="333333"/>
                </a:solidFill>
                <a:effectLst/>
                <a:latin typeface="Segoe UI Semibold" panose="020B0702040204020203" pitchFamily="34" charset="0"/>
                <a:cs typeface="Segoe UI Semibold" panose="020B0702040204020203" pitchFamily="34" charset="0"/>
              </a:rPr>
              <a:t>new</a:t>
            </a:r>
            <a:r>
              <a:rPr kumimoji="0" lang="en-US" altLang="en-US" sz="1400" b="0" i="0" u="none" strike="noStrike" cap="none" normalizeH="0" baseline="0" dirty="0">
                <a:ln>
                  <a:noFill/>
                </a:ln>
                <a:solidFill>
                  <a:srgbClr val="333333"/>
                </a:solidFill>
                <a:effectLst/>
                <a:latin typeface="Segoe UI Semibold" panose="020B0702040204020203" pitchFamily="34" charset="0"/>
                <a:cs typeface="Segoe UI Semibold" panose="020B0702040204020203" pitchFamily="34" charset="0"/>
              </a:rPr>
              <a:t> </a:t>
            </a:r>
            <a:r>
              <a:rPr kumimoji="0" lang="en-US" altLang="en-US" sz="1400" b="1" i="0" u="none" strike="noStrike" cap="none" normalizeH="0" baseline="0" dirty="0">
                <a:ln>
                  <a:noFill/>
                </a:ln>
                <a:solidFill>
                  <a:srgbClr val="990000"/>
                </a:solidFill>
                <a:effectLst/>
                <a:latin typeface="Segoe UI Semibold" panose="020B0702040204020203" pitchFamily="34" charset="0"/>
                <a:cs typeface="Segoe UI Semibold" panose="020B0702040204020203" pitchFamily="34" charset="0"/>
              </a:rPr>
              <a:t>Fields</a:t>
            </a:r>
            <a:r>
              <a:rPr kumimoji="0" lang="en-US" altLang="en-US" sz="1400" b="1" i="0" u="none" strike="noStrike" cap="none" normalizeH="0" baseline="0" dirty="0">
                <a:ln>
                  <a:noFill/>
                </a:ln>
                <a:solidFill>
                  <a:schemeClr val="tx1"/>
                </a:solidFill>
                <a:effectLst/>
                <a:latin typeface="Segoe UI Semibold" panose="020B0702040204020203" pitchFamily="34" charset="0"/>
                <a:cs typeface="Segoe UI Semibold" panose="020B0702040204020203" pitchFamily="34" charset="0"/>
              </a:rPr>
              <a:t>(</a:t>
            </a:r>
            <a:r>
              <a:rPr kumimoji="0" lang="en-US" altLang="en-US" sz="1400" b="0" i="0" u="none" strike="noStrike" cap="none" normalizeH="0" baseline="0" dirty="0">
                <a:ln>
                  <a:noFill/>
                </a:ln>
                <a:solidFill>
                  <a:srgbClr val="DD1144"/>
                </a:solidFill>
                <a:effectLst/>
                <a:latin typeface="Segoe UI Semibold" panose="020B0702040204020203" pitchFamily="34" charset="0"/>
                <a:cs typeface="Segoe UI Semibold" panose="020B0702040204020203" pitchFamily="34" charset="0"/>
              </a:rPr>
              <a:t>"word"</a:t>
            </a:r>
            <a:r>
              <a:rPr kumimoji="0" lang="en-US" altLang="en-US" sz="1400" b="1" i="0" u="none" strike="noStrike" cap="none" normalizeH="0" baseline="0" dirty="0">
                <a:ln>
                  <a:noFill/>
                </a:ln>
                <a:solidFill>
                  <a:schemeClr val="tx1"/>
                </a:solidFill>
                <a:effectLst/>
                <a:latin typeface="Segoe UI Semibold" panose="020B0702040204020203" pitchFamily="34" charset="0"/>
                <a:cs typeface="Segoe UI Semibold" panose="020B0702040204020203" pitchFamily="34" charset="0"/>
              </a:rPr>
              <a:t>))</a:t>
            </a:r>
            <a:endParaRPr lang="en-US" altLang="en-US" sz="1400" dirty="0">
              <a:solidFill>
                <a:srgbClr val="333333"/>
              </a:solidFill>
              <a:latin typeface="Segoe UI Semibold" panose="020B0702040204020203" pitchFamily="34" charset="0"/>
              <a:cs typeface="Segoe UI Semibold" panose="020B0702040204020203" pitchFamily="34" charset="0"/>
            </a:endParaRPr>
          </a:p>
          <a:p>
            <a:pPr marL="548640" lvl="2">
              <a:spcBef>
                <a:spcPts val="600"/>
              </a:spcBef>
              <a:spcAft>
                <a:spcPts val="0"/>
              </a:spcAft>
            </a:pPr>
            <a:r>
              <a:rPr kumimoji="0" lang="en-US" altLang="en-US" sz="1400" b="1" i="0" u="none" strike="noStrike" cap="none" normalizeH="0" baseline="0" dirty="0">
                <a:ln>
                  <a:noFill/>
                </a:ln>
                <a:solidFill>
                  <a:schemeClr val="tx1"/>
                </a:solidFill>
                <a:effectLst/>
                <a:latin typeface="Segoe UI Semibold" panose="020B0702040204020203" pitchFamily="34" charset="0"/>
                <a:cs typeface="Segoe UI Semibold" panose="020B0702040204020203" pitchFamily="34" charset="0"/>
              </a:rPr>
              <a:t>.</a:t>
            </a:r>
            <a:r>
              <a:rPr kumimoji="0" lang="en-US" altLang="en-US" sz="1400" b="0" i="0" u="none" strike="noStrike" cap="none" normalizeH="0" baseline="0" dirty="0" err="1">
                <a:ln>
                  <a:noFill/>
                </a:ln>
                <a:solidFill>
                  <a:srgbClr val="008080"/>
                </a:solidFill>
                <a:effectLst/>
                <a:latin typeface="Segoe UI Semibold" panose="020B0702040204020203" pitchFamily="34" charset="0"/>
                <a:cs typeface="Segoe UI Semibold" panose="020B0702040204020203" pitchFamily="34" charset="0"/>
              </a:rPr>
              <a:t>groupBy</a:t>
            </a:r>
            <a:r>
              <a:rPr kumimoji="0" lang="en-US" altLang="en-US" sz="1400" b="1" i="0" u="none" strike="noStrike" cap="none" normalizeH="0" baseline="0" dirty="0">
                <a:ln>
                  <a:noFill/>
                </a:ln>
                <a:solidFill>
                  <a:schemeClr val="tx1"/>
                </a:solidFill>
                <a:effectLst/>
                <a:latin typeface="Segoe UI Semibold" panose="020B0702040204020203" pitchFamily="34" charset="0"/>
                <a:cs typeface="Segoe UI Semibold" panose="020B0702040204020203" pitchFamily="34" charset="0"/>
              </a:rPr>
              <a:t>(</a:t>
            </a:r>
            <a:r>
              <a:rPr kumimoji="0" lang="en-US" altLang="en-US" sz="1400" b="1" i="0" u="none" strike="noStrike" cap="none" normalizeH="0" baseline="0" dirty="0">
                <a:ln>
                  <a:noFill/>
                </a:ln>
                <a:solidFill>
                  <a:srgbClr val="333333"/>
                </a:solidFill>
                <a:effectLst/>
                <a:latin typeface="Segoe UI Semibold" panose="020B0702040204020203" pitchFamily="34" charset="0"/>
                <a:cs typeface="Segoe UI Semibold" panose="020B0702040204020203" pitchFamily="34" charset="0"/>
              </a:rPr>
              <a:t>new</a:t>
            </a:r>
            <a:r>
              <a:rPr kumimoji="0" lang="en-US" altLang="en-US" sz="1400" b="0" i="0" u="none" strike="noStrike" cap="none" normalizeH="0" baseline="0" dirty="0">
                <a:ln>
                  <a:noFill/>
                </a:ln>
                <a:solidFill>
                  <a:srgbClr val="333333"/>
                </a:solidFill>
                <a:effectLst/>
                <a:latin typeface="Segoe UI Semibold" panose="020B0702040204020203" pitchFamily="34" charset="0"/>
                <a:cs typeface="Segoe UI Semibold" panose="020B0702040204020203" pitchFamily="34" charset="0"/>
              </a:rPr>
              <a:t> </a:t>
            </a:r>
            <a:r>
              <a:rPr kumimoji="0" lang="en-US" altLang="en-US" sz="1400" b="1" i="0" u="none" strike="noStrike" cap="none" normalizeH="0" baseline="0" dirty="0">
                <a:ln>
                  <a:noFill/>
                </a:ln>
                <a:solidFill>
                  <a:srgbClr val="990000"/>
                </a:solidFill>
                <a:effectLst/>
                <a:latin typeface="Segoe UI Semibold" panose="020B0702040204020203" pitchFamily="34" charset="0"/>
                <a:cs typeface="Segoe UI Semibold" panose="020B0702040204020203" pitchFamily="34" charset="0"/>
              </a:rPr>
              <a:t>Fields</a:t>
            </a:r>
            <a:r>
              <a:rPr kumimoji="0" lang="en-US" altLang="en-US" sz="1400" b="1" i="0" u="none" strike="noStrike" cap="none" normalizeH="0" baseline="0" dirty="0">
                <a:ln>
                  <a:noFill/>
                </a:ln>
                <a:solidFill>
                  <a:schemeClr val="tx1"/>
                </a:solidFill>
                <a:effectLst/>
                <a:latin typeface="Segoe UI Semibold" panose="020B0702040204020203" pitchFamily="34" charset="0"/>
                <a:cs typeface="Segoe UI Semibold" panose="020B0702040204020203" pitchFamily="34" charset="0"/>
              </a:rPr>
              <a:t>(</a:t>
            </a:r>
            <a:r>
              <a:rPr kumimoji="0" lang="en-US" altLang="en-US" sz="1400" b="0" i="0" u="none" strike="noStrike" cap="none" normalizeH="0" baseline="0" dirty="0">
                <a:ln>
                  <a:noFill/>
                </a:ln>
                <a:solidFill>
                  <a:srgbClr val="DD1144"/>
                </a:solidFill>
                <a:effectLst/>
                <a:latin typeface="Segoe UI Semibold" panose="020B0702040204020203" pitchFamily="34" charset="0"/>
                <a:cs typeface="Segoe UI Semibold" panose="020B0702040204020203" pitchFamily="34" charset="0"/>
              </a:rPr>
              <a:t>"word"</a:t>
            </a:r>
            <a:r>
              <a:rPr kumimoji="0" lang="en-US" altLang="en-US" sz="1400" b="1" i="0" u="none" strike="noStrike" cap="none" normalizeH="0" baseline="0" dirty="0">
                <a:ln>
                  <a:noFill/>
                </a:ln>
                <a:solidFill>
                  <a:schemeClr val="tx1">
                    <a:lumMod val="65000"/>
                    <a:lumOff val="35000"/>
                  </a:schemeClr>
                </a:solidFill>
                <a:effectLst/>
                <a:latin typeface="Segoe UI Semibold" panose="020B0702040204020203" pitchFamily="34" charset="0"/>
                <a:cs typeface="Segoe UI Semibold" panose="020B0702040204020203" pitchFamily="34" charset="0"/>
              </a:rPr>
              <a:t>))</a:t>
            </a:r>
            <a:r>
              <a:rPr kumimoji="0" lang="en-US" altLang="en-US" sz="1400" b="0" i="0" u="none" strike="noStrike" cap="none" normalizeH="0" baseline="0" dirty="0">
                <a:ln>
                  <a:noFill/>
                </a:ln>
                <a:solidFill>
                  <a:srgbClr val="333333"/>
                </a:solidFill>
                <a:effectLst/>
                <a:latin typeface="Segoe UI Semibold" panose="020B0702040204020203" pitchFamily="34" charset="0"/>
                <a:cs typeface="Segoe UI Semibold" panose="020B0702040204020203" pitchFamily="34" charset="0"/>
              </a:rPr>
              <a:t> </a:t>
            </a:r>
          </a:p>
          <a:p>
            <a:pPr marL="548640" lvl="2">
              <a:spcBef>
                <a:spcPts val="600"/>
              </a:spcBef>
              <a:spcAft>
                <a:spcPts val="0"/>
              </a:spcAft>
            </a:pPr>
            <a:r>
              <a:rPr kumimoji="0" lang="en-US" altLang="en-US" sz="1400" b="1" i="0" u="none" strike="noStrike" cap="none" normalizeH="0" baseline="0" dirty="0">
                <a:ln>
                  <a:noFill/>
                </a:ln>
                <a:solidFill>
                  <a:schemeClr val="tx1"/>
                </a:solidFill>
                <a:effectLst/>
                <a:latin typeface="Segoe UI Semibold" panose="020B0702040204020203" pitchFamily="34" charset="0"/>
                <a:cs typeface="Segoe UI Semibold" panose="020B0702040204020203" pitchFamily="34" charset="0"/>
              </a:rPr>
              <a:t>.</a:t>
            </a:r>
            <a:r>
              <a:rPr kumimoji="0" lang="en-US" altLang="en-US" sz="1400" b="0" i="0" u="none" strike="noStrike" cap="none" normalizeH="0" baseline="0" dirty="0" err="1">
                <a:ln>
                  <a:noFill/>
                </a:ln>
                <a:solidFill>
                  <a:srgbClr val="008080"/>
                </a:solidFill>
                <a:effectLst/>
                <a:latin typeface="Segoe UI Semibold" panose="020B0702040204020203" pitchFamily="34" charset="0"/>
                <a:cs typeface="Segoe UI Semibold" panose="020B0702040204020203" pitchFamily="34" charset="0"/>
              </a:rPr>
              <a:t>persistentAggregate</a:t>
            </a:r>
            <a:r>
              <a:rPr kumimoji="0" lang="en-US" altLang="en-US" sz="1400" b="1" i="0" u="none" strike="noStrike" cap="none" normalizeH="0" baseline="0" dirty="0">
                <a:ln>
                  <a:noFill/>
                </a:ln>
                <a:solidFill>
                  <a:schemeClr val="tx1"/>
                </a:solidFill>
                <a:effectLst/>
                <a:latin typeface="Segoe UI Semibold" panose="020B0702040204020203" pitchFamily="34" charset="0"/>
                <a:cs typeface="Segoe UI Semibold" panose="020B0702040204020203" pitchFamily="34" charset="0"/>
              </a:rPr>
              <a:t>(</a:t>
            </a:r>
            <a:r>
              <a:rPr kumimoji="0" lang="en-US" altLang="en-US" sz="1400" b="1" i="0" u="none" strike="noStrike" cap="none" normalizeH="0" baseline="0" dirty="0">
                <a:ln>
                  <a:noFill/>
                </a:ln>
                <a:solidFill>
                  <a:srgbClr val="333333"/>
                </a:solidFill>
                <a:effectLst/>
                <a:latin typeface="Segoe UI Semibold" panose="020B0702040204020203" pitchFamily="34" charset="0"/>
                <a:cs typeface="Segoe UI Semibold" panose="020B0702040204020203" pitchFamily="34" charset="0"/>
              </a:rPr>
              <a:t>new</a:t>
            </a:r>
            <a:r>
              <a:rPr kumimoji="0" lang="en-US" altLang="en-US" sz="1400" b="0" i="0" u="none" strike="noStrike" cap="none" normalizeH="0" baseline="0" dirty="0">
                <a:ln>
                  <a:noFill/>
                </a:ln>
                <a:solidFill>
                  <a:srgbClr val="333333"/>
                </a:solidFill>
                <a:effectLst/>
                <a:latin typeface="Segoe UI Semibold" panose="020B0702040204020203" pitchFamily="34" charset="0"/>
                <a:cs typeface="Segoe UI Semibold" panose="020B0702040204020203" pitchFamily="34" charset="0"/>
              </a:rPr>
              <a:t> </a:t>
            </a:r>
            <a:r>
              <a:rPr kumimoji="0" lang="en-US" altLang="en-US" sz="1400" b="0" i="0" u="none" strike="noStrike" cap="none" normalizeH="0" baseline="0" dirty="0" err="1">
                <a:ln>
                  <a:noFill/>
                </a:ln>
                <a:solidFill>
                  <a:schemeClr val="tx1">
                    <a:lumMod val="65000"/>
                    <a:lumOff val="35000"/>
                  </a:schemeClr>
                </a:solidFill>
                <a:effectLst/>
                <a:latin typeface="Segoe UI Semibold" panose="020B0702040204020203" pitchFamily="34" charset="0"/>
                <a:cs typeface="Segoe UI Semibold" panose="020B0702040204020203" pitchFamily="34" charset="0"/>
              </a:rPr>
              <a:t>MemoryMapState</a:t>
            </a:r>
            <a:r>
              <a:rPr kumimoji="0" lang="en-US" altLang="en-US" sz="1400" b="1" i="0" u="none" strike="noStrike" cap="none" normalizeH="0" baseline="0" dirty="0" err="1">
                <a:ln>
                  <a:noFill/>
                </a:ln>
                <a:solidFill>
                  <a:schemeClr val="tx1"/>
                </a:solidFill>
                <a:effectLst/>
                <a:latin typeface="Segoe UI Semibold" panose="020B0702040204020203" pitchFamily="34" charset="0"/>
                <a:cs typeface="Segoe UI Semibold" panose="020B0702040204020203" pitchFamily="34" charset="0"/>
              </a:rPr>
              <a:t>.</a:t>
            </a:r>
            <a:r>
              <a:rPr kumimoji="0" lang="en-US" altLang="en-US" sz="1400" b="0" i="0" u="none" strike="noStrike" cap="none" normalizeH="0" baseline="0" dirty="0" err="1">
                <a:ln>
                  <a:noFill/>
                </a:ln>
                <a:solidFill>
                  <a:srgbClr val="008080"/>
                </a:solidFill>
                <a:effectLst/>
                <a:latin typeface="Segoe UI Semibold" panose="020B0702040204020203" pitchFamily="34" charset="0"/>
                <a:cs typeface="Segoe UI Semibold" panose="020B0702040204020203" pitchFamily="34" charset="0"/>
              </a:rPr>
              <a:t>Factory</a:t>
            </a:r>
            <a:r>
              <a:rPr kumimoji="0" lang="en-US" altLang="en-US" sz="1400" b="1" i="0" u="none" strike="noStrike" cap="none" normalizeH="0" baseline="0" dirty="0">
                <a:ln>
                  <a:noFill/>
                </a:ln>
                <a:solidFill>
                  <a:schemeClr val="tx1">
                    <a:lumMod val="65000"/>
                    <a:lumOff val="35000"/>
                  </a:schemeClr>
                </a:solidFill>
                <a:effectLst/>
                <a:latin typeface="Segoe UI Semibold" panose="020B0702040204020203" pitchFamily="34" charset="0"/>
                <a:cs typeface="Segoe UI Semibold" panose="020B0702040204020203" pitchFamily="34" charset="0"/>
              </a:rPr>
              <a:t>(),</a:t>
            </a:r>
            <a:r>
              <a:rPr kumimoji="0" lang="en-US" altLang="en-US" sz="1400" b="0" i="0" u="none" strike="noStrike" cap="none" normalizeH="0" baseline="0" dirty="0">
                <a:ln>
                  <a:noFill/>
                </a:ln>
                <a:solidFill>
                  <a:srgbClr val="333333"/>
                </a:solidFill>
                <a:effectLst/>
                <a:latin typeface="Segoe UI Semibold" panose="020B0702040204020203" pitchFamily="34" charset="0"/>
                <a:cs typeface="Segoe UI Semibold" panose="020B0702040204020203" pitchFamily="34" charset="0"/>
              </a:rPr>
              <a:t> </a:t>
            </a:r>
          </a:p>
          <a:p>
            <a:pPr marL="91440" lvl="1">
              <a:spcBef>
                <a:spcPts val="600"/>
              </a:spcBef>
              <a:spcAft>
                <a:spcPts val="0"/>
              </a:spcAft>
            </a:pPr>
            <a:r>
              <a:rPr lang="en-US" altLang="en-US" sz="1400" dirty="0">
                <a:solidFill>
                  <a:srgbClr val="333333"/>
                </a:solidFill>
                <a:latin typeface="Segoe UI Semibold" panose="020B0702040204020203" pitchFamily="34" charset="0"/>
                <a:cs typeface="Segoe UI Semibold" panose="020B0702040204020203" pitchFamily="34" charset="0"/>
              </a:rPr>
              <a:t>         		         </a:t>
            </a:r>
            <a:r>
              <a:rPr kumimoji="0" lang="en-US" altLang="en-US" sz="1400" b="1" i="0" u="none" strike="noStrike" cap="none" normalizeH="0" baseline="0" dirty="0">
                <a:ln>
                  <a:noFill/>
                </a:ln>
                <a:solidFill>
                  <a:srgbClr val="333333"/>
                </a:solidFill>
                <a:effectLst/>
                <a:latin typeface="Segoe UI Semibold" panose="020B0702040204020203" pitchFamily="34" charset="0"/>
                <a:cs typeface="Segoe UI Semibold" panose="020B0702040204020203" pitchFamily="34" charset="0"/>
              </a:rPr>
              <a:t>new</a:t>
            </a:r>
            <a:r>
              <a:rPr kumimoji="0" lang="en-US" altLang="en-US" sz="1400" b="0" i="0" u="none" strike="noStrike" cap="none" normalizeH="0" baseline="0" dirty="0">
                <a:ln>
                  <a:noFill/>
                </a:ln>
                <a:solidFill>
                  <a:srgbClr val="333333"/>
                </a:solidFill>
                <a:effectLst/>
                <a:latin typeface="Segoe UI Semibold" panose="020B0702040204020203" pitchFamily="34" charset="0"/>
                <a:cs typeface="Segoe UI Semibold" panose="020B0702040204020203" pitchFamily="34" charset="0"/>
              </a:rPr>
              <a:t> </a:t>
            </a:r>
            <a:r>
              <a:rPr kumimoji="0" lang="en-US" altLang="en-US" sz="1400" b="1" i="0" u="none" strike="noStrike" cap="none" normalizeH="0" baseline="0" dirty="0">
                <a:ln>
                  <a:noFill/>
                </a:ln>
                <a:solidFill>
                  <a:srgbClr val="990000"/>
                </a:solidFill>
                <a:effectLst/>
                <a:latin typeface="Segoe UI Semibold" panose="020B0702040204020203" pitchFamily="34" charset="0"/>
                <a:cs typeface="Segoe UI Semibold" panose="020B0702040204020203" pitchFamily="34" charset="0"/>
              </a:rPr>
              <a:t>Count</a:t>
            </a:r>
            <a:r>
              <a:rPr kumimoji="0" lang="en-US" altLang="en-US" sz="1400" b="1" i="0" u="none" strike="noStrike" cap="none" normalizeH="0" baseline="0" dirty="0">
                <a:ln>
                  <a:noFill/>
                </a:ln>
                <a:solidFill>
                  <a:schemeClr val="tx1">
                    <a:lumMod val="65000"/>
                    <a:lumOff val="35000"/>
                  </a:schemeClr>
                </a:solidFill>
                <a:effectLst/>
                <a:latin typeface="Segoe UI Semibold" panose="020B0702040204020203" pitchFamily="34" charset="0"/>
                <a:cs typeface="Segoe UI Semibold" panose="020B0702040204020203" pitchFamily="34" charset="0"/>
              </a:rPr>
              <a:t>(),</a:t>
            </a:r>
            <a:r>
              <a:rPr kumimoji="0" lang="en-US" altLang="en-US" sz="1400" b="0" i="0" u="none" strike="noStrike" cap="none" normalizeH="0" baseline="0" dirty="0">
                <a:ln>
                  <a:noFill/>
                </a:ln>
                <a:solidFill>
                  <a:srgbClr val="333333"/>
                </a:solidFill>
                <a:effectLst/>
                <a:latin typeface="Segoe UI Semibold" panose="020B0702040204020203" pitchFamily="34" charset="0"/>
                <a:cs typeface="Segoe UI Semibold" panose="020B0702040204020203" pitchFamily="34" charset="0"/>
              </a:rPr>
              <a:t> </a:t>
            </a:r>
            <a:r>
              <a:rPr kumimoji="0" lang="en-US" altLang="en-US" sz="1400" b="1" i="0" u="none" strike="noStrike" cap="none" normalizeH="0" baseline="0" dirty="0">
                <a:ln>
                  <a:noFill/>
                </a:ln>
                <a:solidFill>
                  <a:srgbClr val="333333"/>
                </a:solidFill>
                <a:effectLst/>
                <a:latin typeface="Segoe UI Semibold" panose="020B0702040204020203" pitchFamily="34" charset="0"/>
                <a:cs typeface="Segoe UI Semibold" panose="020B0702040204020203" pitchFamily="34" charset="0"/>
              </a:rPr>
              <a:t>new</a:t>
            </a:r>
            <a:r>
              <a:rPr kumimoji="0" lang="en-US" altLang="en-US" sz="1400" b="0" i="0" u="none" strike="noStrike" cap="none" normalizeH="0" baseline="0" dirty="0">
                <a:ln>
                  <a:noFill/>
                </a:ln>
                <a:solidFill>
                  <a:srgbClr val="333333"/>
                </a:solidFill>
                <a:effectLst/>
                <a:latin typeface="Segoe UI Semibold" panose="020B0702040204020203" pitchFamily="34" charset="0"/>
                <a:cs typeface="Segoe UI Semibold" panose="020B0702040204020203" pitchFamily="34" charset="0"/>
              </a:rPr>
              <a:t> </a:t>
            </a:r>
            <a:r>
              <a:rPr kumimoji="0" lang="en-US" altLang="en-US" sz="1400" b="1" i="0" u="none" strike="noStrike" cap="none" normalizeH="0" baseline="0" dirty="0">
                <a:ln>
                  <a:noFill/>
                </a:ln>
                <a:solidFill>
                  <a:srgbClr val="990000"/>
                </a:solidFill>
                <a:effectLst/>
                <a:latin typeface="Segoe UI Semibold" panose="020B0702040204020203" pitchFamily="34" charset="0"/>
                <a:cs typeface="Segoe UI Semibold" panose="020B0702040204020203" pitchFamily="34" charset="0"/>
              </a:rPr>
              <a:t>Fields</a:t>
            </a:r>
            <a:r>
              <a:rPr kumimoji="0" lang="en-US" altLang="en-US" sz="1400" b="1" i="0" u="none" strike="noStrike" cap="none" normalizeH="0" baseline="0" dirty="0">
                <a:ln>
                  <a:noFill/>
                </a:ln>
                <a:solidFill>
                  <a:schemeClr val="tx1"/>
                </a:solidFill>
                <a:effectLst/>
                <a:latin typeface="Segoe UI Semibold" panose="020B0702040204020203" pitchFamily="34" charset="0"/>
                <a:cs typeface="Segoe UI Semibold" panose="020B0702040204020203" pitchFamily="34" charset="0"/>
              </a:rPr>
              <a:t>(</a:t>
            </a:r>
            <a:r>
              <a:rPr kumimoji="0" lang="en-US" altLang="en-US" sz="1400" b="0" i="0" u="none" strike="noStrike" cap="none" normalizeH="0" baseline="0" dirty="0">
                <a:ln>
                  <a:noFill/>
                </a:ln>
                <a:solidFill>
                  <a:srgbClr val="DD1144"/>
                </a:solidFill>
                <a:effectLst/>
                <a:latin typeface="Segoe UI Semibold" panose="020B0702040204020203" pitchFamily="34" charset="0"/>
                <a:cs typeface="Segoe UI Semibold" panose="020B0702040204020203" pitchFamily="34" charset="0"/>
              </a:rPr>
              <a:t>"count</a:t>
            </a:r>
            <a:r>
              <a:rPr kumimoji="0" lang="en-US" altLang="en-US" sz="1400" b="0" i="0" u="none" strike="noStrike" cap="none" normalizeH="0" baseline="0" dirty="0">
                <a:ln>
                  <a:noFill/>
                </a:ln>
                <a:solidFill>
                  <a:schemeClr val="tx1">
                    <a:lumMod val="65000"/>
                    <a:lumOff val="35000"/>
                  </a:schemeClr>
                </a:solidFill>
                <a:effectLst/>
                <a:latin typeface="Segoe UI Semibold" panose="020B0702040204020203" pitchFamily="34" charset="0"/>
                <a:cs typeface="Segoe UI Semibold" panose="020B0702040204020203" pitchFamily="34" charset="0"/>
              </a:rPr>
              <a:t>"</a:t>
            </a:r>
            <a:r>
              <a:rPr kumimoji="0" lang="en-US" altLang="en-US" sz="1400" b="1" i="0" u="none" strike="noStrike" cap="none" normalizeH="0" baseline="0" dirty="0">
                <a:ln>
                  <a:noFill/>
                </a:ln>
                <a:solidFill>
                  <a:schemeClr val="tx1">
                    <a:lumMod val="65000"/>
                    <a:lumOff val="35000"/>
                  </a:schemeClr>
                </a:solidFill>
                <a:effectLst/>
                <a:latin typeface="Segoe UI Semibold" panose="020B0702040204020203" pitchFamily="34" charset="0"/>
                <a:cs typeface="Segoe UI Semibold" panose="020B0702040204020203" pitchFamily="34" charset="0"/>
              </a:rPr>
              <a:t>));</a:t>
            </a:r>
          </a:p>
        </p:txBody>
      </p:sp>
      <p:sp>
        <p:nvSpPr>
          <p:cNvPr id="9" name="TextBox 8"/>
          <p:cNvSpPr txBox="1"/>
          <p:nvPr/>
        </p:nvSpPr>
        <p:spPr>
          <a:xfrm>
            <a:off x="6347968" y="4844268"/>
            <a:ext cx="5431604" cy="1593474"/>
          </a:xfrm>
          <a:prstGeom prst="rect">
            <a:avLst/>
          </a:prstGeom>
          <a:noFill/>
        </p:spPr>
        <p:txBody>
          <a:bodyPr wrap="square" lIns="182880" tIns="146304" rIns="182880" bIns="146304" rtlCol="0">
            <a:noAutofit/>
          </a:bodyPr>
          <a:lstStyle/>
          <a:p>
            <a:pPr>
              <a:lnSpc>
                <a:spcPct val="90000"/>
              </a:lnSpc>
              <a:spcAft>
                <a:spcPts val="600"/>
              </a:spcAft>
              <a:buClr>
                <a:schemeClr val="accent3"/>
              </a:buClr>
              <a:buSzPct val="75000"/>
            </a:pPr>
            <a:r>
              <a:rPr lang="en-US" sz="17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What the code does:</a:t>
            </a:r>
          </a:p>
          <a:p>
            <a:pPr marL="91440" lvl="1" indent="-285750" defTabSz="913770" fontAlgn="base">
              <a:lnSpc>
                <a:spcPct val="90000"/>
              </a:lnSpc>
              <a:spcAft>
                <a:spcPts val="588"/>
              </a:spcAft>
              <a:buClr>
                <a:srgbClr val="68217A">
                  <a:lumMod val="50000"/>
                </a:srgbClr>
              </a:buClr>
              <a:buSzPct val="75000"/>
              <a:buFont typeface="Wingdings" panose="05000000000000000000" pitchFamily="2" charset="2"/>
              <a:buChar char="§"/>
              <a:tabLst>
                <a:tab pos="645523" algn="l"/>
              </a:tabLst>
            </a:pPr>
            <a:r>
              <a:rPr lang="en-US" sz="14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Takes a stream of text from a Spout</a:t>
            </a:r>
          </a:p>
          <a:p>
            <a:pPr marL="91440" lvl="1" indent="-285750" defTabSz="913770" fontAlgn="base">
              <a:lnSpc>
                <a:spcPct val="90000"/>
              </a:lnSpc>
              <a:spcAft>
                <a:spcPts val="588"/>
              </a:spcAft>
              <a:buClr>
                <a:srgbClr val="68217A">
                  <a:lumMod val="50000"/>
                </a:srgbClr>
              </a:buClr>
              <a:buSzPct val="75000"/>
              <a:buFont typeface="Wingdings" panose="05000000000000000000" pitchFamily="2" charset="2"/>
              <a:buChar char="§"/>
              <a:tabLst>
                <a:tab pos="645523" algn="l"/>
              </a:tabLst>
            </a:pPr>
            <a:r>
              <a:rPr lang="en-US" sz="14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Split the text into words</a:t>
            </a:r>
          </a:p>
          <a:p>
            <a:pPr marL="91440" lvl="1" indent="-285750" defTabSz="913770" fontAlgn="base">
              <a:lnSpc>
                <a:spcPct val="90000"/>
              </a:lnSpc>
              <a:spcAft>
                <a:spcPts val="588"/>
              </a:spcAft>
              <a:buClr>
                <a:srgbClr val="68217A">
                  <a:lumMod val="50000"/>
                </a:srgbClr>
              </a:buClr>
              <a:buSzPct val="75000"/>
              <a:buFont typeface="Wingdings" panose="05000000000000000000" pitchFamily="2" charset="2"/>
              <a:buChar char="§"/>
              <a:tabLst>
                <a:tab pos="645523" algn="l"/>
              </a:tabLst>
            </a:pPr>
            <a:r>
              <a:rPr lang="en-US" sz="14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Groups the words</a:t>
            </a:r>
          </a:p>
          <a:p>
            <a:pPr marL="91440" lvl="1" indent="-285750" defTabSz="913770" fontAlgn="base">
              <a:lnSpc>
                <a:spcPct val="90000"/>
              </a:lnSpc>
              <a:spcAft>
                <a:spcPts val="588"/>
              </a:spcAft>
              <a:buClr>
                <a:srgbClr val="68217A">
                  <a:lumMod val="50000"/>
                </a:srgbClr>
              </a:buClr>
              <a:buSzPct val="75000"/>
              <a:buFont typeface="Wingdings" panose="05000000000000000000" pitchFamily="2" charset="2"/>
              <a:buChar char="§"/>
              <a:tabLst>
                <a:tab pos="645523" algn="l"/>
              </a:tabLst>
            </a:pPr>
            <a:r>
              <a:rPr lang="en-US" sz="14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Stores the word and count of words to an in-memory store </a:t>
            </a:r>
          </a:p>
        </p:txBody>
      </p:sp>
      <p:sp>
        <p:nvSpPr>
          <p:cNvPr id="10" name="TextBox 9"/>
          <p:cNvSpPr txBox="1"/>
          <p:nvPr/>
        </p:nvSpPr>
        <p:spPr>
          <a:xfrm>
            <a:off x="105557" y="1744217"/>
            <a:ext cx="6206451" cy="4693525"/>
          </a:xfrm>
          <a:prstGeom prst="rect">
            <a:avLst/>
          </a:prstGeom>
          <a:noFill/>
        </p:spPr>
        <p:txBody>
          <a:bodyPr wrap="square" lIns="182880" tIns="146304" rIns="182880" bIns="146304" rtlCol="0">
            <a:noAutofit/>
          </a:bodyPr>
          <a:lstStyle/>
          <a:p>
            <a:pPr marL="285750" indent="-285750">
              <a:lnSpc>
                <a:spcPct val="90000"/>
              </a:lnSpc>
              <a:spcAft>
                <a:spcPts val="300"/>
              </a:spcAft>
              <a:buClr>
                <a:schemeClr val="accent3"/>
              </a:buClr>
              <a:buSzPct val="75000"/>
              <a:buFont typeface="Wingdings" panose="05000000000000000000" pitchFamily="2" charset="2"/>
              <a:buChar char="v"/>
            </a:pPr>
            <a:r>
              <a:rPr lang="en-US" sz="165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Is a batch-oriented streaming analytic framework (like Pig or Cascading)</a:t>
            </a:r>
          </a:p>
          <a:p>
            <a:pPr marL="548640" lvl="2" indent="-285750" defTabSz="913770" fontAlgn="base">
              <a:lnSpc>
                <a:spcPct val="90000"/>
              </a:lnSpc>
              <a:spcAft>
                <a:spcPts val="300"/>
              </a:spcAft>
              <a:buClr>
                <a:srgbClr val="68217A">
                  <a:lumMod val="50000"/>
                </a:srgbClr>
              </a:buClr>
              <a:buSzPct val="75000"/>
              <a:buFont typeface="Wingdings" panose="05000000000000000000" pitchFamily="2" charset="2"/>
              <a:buChar char="§"/>
              <a:tabLst>
                <a:tab pos="645523" algn="l"/>
              </a:tabLst>
            </a:pPr>
            <a:r>
              <a:rPr lang="en-US" sz="145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Rather than emitting a single event, Spout emits tuples in batches. </a:t>
            </a:r>
          </a:p>
          <a:p>
            <a:pPr marL="548640" lvl="2" indent="-285750" defTabSz="913770" fontAlgn="base">
              <a:lnSpc>
                <a:spcPct val="90000"/>
              </a:lnSpc>
              <a:spcAft>
                <a:spcPts val="300"/>
              </a:spcAft>
              <a:buClr>
                <a:srgbClr val="68217A">
                  <a:lumMod val="50000"/>
                </a:srgbClr>
              </a:buClr>
              <a:buSzPct val="75000"/>
              <a:buFont typeface="Wingdings" panose="05000000000000000000" pitchFamily="2" charset="2"/>
              <a:buChar char="§"/>
              <a:tabLst>
                <a:tab pos="645523" algn="l"/>
              </a:tabLst>
            </a:pPr>
            <a:r>
              <a:rPr lang="en-US" sz="145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Size of the batches can be controlled.</a:t>
            </a:r>
          </a:p>
          <a:p>
            <a:pPr marL="548640" lvl="2" indent="-285750" defTabSz="913770" fontAlgn="base">
              <a:lnSpc>
                <a:spcPct val="90000"/>
              </a:lnSpc>
              <a:spcAft>
                <a:spcPts val="300"/>
              </a:spcAft>
              <a:buClr>
                <a:srgbClr val="68217A">
                  <a:lumMod val="50000"/>
                </a:srgbClr>
              </a:buClr>
              <a:buSzPct val="75000"/>
              <a:buFont typeface="Wingdings" panose="05000000000000000000" pitchFamily="2" charset="2"/>
              <a:buChar char="§"/>
              <a:tabLst>
                <a:tab pos="645523" algn="l"/>
              </a:tabLst>
            </a:pPr>
            <a:r>
              <a:rPr lang="en-US" sz="145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Bolts process tuples in batches.</a:t>
            </a:r>
          </a:p>
          <a:p>
            <a:pPr marL="285750" indent="-285750">
              <a:lnSpc>
                <a:spcPct val="90000"/>
              </a:lnSpc>
              <a:spcAft>
                <a:spcPts val="300"/>
              </a:spcAft>
              <a:buClr>
                <a:schemeClr val="accent3"/>
              </a:buClr>
              <a:buSzPct val="75000"/>
              <a:buFont typeface="Wingdings" panose="05000000000000000000" pitchFamily="2" charset="2"/>
              <a:buChar char="v"/>
            </a:pPr>
            <a:r>
              <a:rPr lang="en-US" sz="165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Provides a number of built-in operators that work on a batch:</a:t>
            </a:r>
          </a:p>
          <a:p>
            <a:pPr marL="548640" lvl="2" indent="-285750" defTabSz="913770" fontAlgn="base">
              <a:lnSpc>
                <a:spcPct val="90000"/>
              </a:lnSpc>
              <a:spcAft>
                <a:spcPts val="300"/>
              </a:spcAft>
              <a:buClr>
                <a:srgbClr val="68217A">
                  <a:lumMod val="50000"/>
                </a:srgbClr>
              </a:buClr>
              <a:buSzPct val="75000"/>
              <a:buFont typeface="Wingdings" panose="05000000000000000000" pitchFamily="2" charset="2"/>
              <a:buChar char="§"/>
              <a:tabLst>
                <a:tab pos="645523" algn="l"/>
              </a:tabLst>
            </a:pPr>
            <a:r>
              <a:rPr lang="en-US" sz="145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Join and Merge </a:t>
            </a:r>
          </a:p>
          <a:p>
            <a:pPr marL="548640" lvl="2" indent="-285750" defTabSz="913770" fontAlgn="base">
              <a:lnSpc>
                <a:spcPct val="90000"/>
              </a:lnSpc>
              <a:spcAft>
                <a:spcPts val="300"/>
              </a:spcAft>
              <a:buClr>
                <a:srgbClr val="68217A">
                  <a:lumMod val="50000"/>
                </a:srgbClr>
              </a:buClr>
              <a:buSzPct val="75000"/>
              <a:buFont typeface="Wingdings" panose="05000000000000000000" pitchFamily="2" charset="2"/>
              <a:buChar char="§"/>
              <a:tabLst>
                <a:tab pos="645523" algn="l"/>
              </a:tabLst>
            </a:pPr>
            <a:r>
              <a:rPr lang="en-US" sz="145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Aggregate, </a:t>
            </a:r>
            <a:r>
              <a:rPr lang="en-US" sz="1450" dirty="0" err="1">
                <a:ln>
                  <a:solidFill>
                    <a:srgbClr val="FFFFFF">
                      <a:alpha val="0"/>
                    </a:srgbClr>
                  </a:solidFill>
                </a:ln>
                <a:gradFill>
                  <a:gsLst>
                    <a:gs pos="85321">
                      <a:srgbClr val="505050"/>
                    </a:gs>
                    <a:gs pos="57000">
                      <a:srgbClr val="505050"/>
                    </a:gs>
                  </a:gsLst>
                </a:gradFill>
                <a:ea typeface="Segoe UI" pitchFamily="34" charset="0"/>
                <a:cs typeface="Segoe UI" pitchFamily="34" charset="0"/>
              </a:rPr>
              <a:t>persistentAggregate</a:t>
            </a:r>
            <a:endParaRPr lang="en-US" sz="1450" dirty="0">
              <a:ln>
                <a:solidFill>
                  <a:srgbClr val="FFFFFF">
                    <a:alpha val="0"/>
                  </a:srgbClr>
                </a:solidFill>
              </a:ln>
              <a:gradFill>
                <a:gsLst>
                  <a:gs pos="85321">
                    <a:srgbClr val="505050"/>
                  </a:gs>
                  <a:gs pos="57000">
                    <a:srgbClr val="505050"/>
                  </a:gs>
                </a:gsLst>
              </a:gradFill>
              <a:ea typeface="Segoe UI" pitchFamily="34" charset="0"/>
              <a:cs typeface="Segoe UI" pitchFamily="34" charset="0"/>
            </a:endParaRPr>
          </a:p>
          <a:p>
            <a:pPr marL="548640" lvl="2" indent="-285750" defTabSz="913770" fontAlgn="base">
              <a:lnSpc>
                <a:spcPct val="90000"/>
              </a:lnSpc>
              <a:spcAft>
                <a:spcPts val="300"/>
              </a:spcAft>
              <a:buClr>
                <a:srgbClr val="68217A">
                  <a:lumMod val="50000"/>
                </a:srgbClr>
              </a:buClr>
              <a:buSzPct val="75000"/>
              <a:buFont typeface="Wingdings" panose="05000000000000000000" pitchFamily="2" charset="2"/>
              <a:buChar char="§"/>
              <a:tabLst>
                <a:tab pos="645523" algn="l"/>
              </a:tabLst>
            </a:pPr>
            <a:r>
              <a:rPr lang="en-US" sz="1450" dirty="0" err="1">
                <a:ln>
                  <a:solidFill>
                    <a:srgbClr val="FFFFFF">
                      <a:alpha val="0"/>
                    </a:srgbClr>
                  </a:solidFill>
                </a:ln>
                <a:gradFill>
                  <a:gsLst>
                    <a:gs pos="85321">
                      <a:srgbClr val="505050"/>
                    </a:gs>
                    <a:gs pos="57000">
                      <a:srgbClr val="505050"/>
                    </a:gs>
                  </a:gsLst>
                </a:gradFill>
                <a:ea typeface="Segoe UI" pitchFamily="34" charset="0"/>
                <a:cs typeface="Segoe UI" pitchFamily="34" charset="0"/>
              </a:rPr>
              <a:t>groupBy</a:t>
            </a:r>
            <a:endParaRPr lang="en-US" sz="1450" dirty="0">
              <a:ln>
                <a:solidFill>
                  <a:srgbClr val="FFFFFF">
                    <a:alpha val="0"/>
                  </a:srgbClr>
                </a:solidFill>
              </a:ln>
              <a:gradFill>
                <a:gsLst>
                  <a:gs pos="85321">
                    <a:srgbClr val="505050"/>
                  </a:gs>
                  <a:gs pos="57000">
                    <a:srgbClr val="505050"/>
                  </a:gs>
                </a:gsLst>
              </a:gradFill>
              <a:ea typeface="Segoe UI" pitchFamily="34" charset="0"/>
              <a:cs typeface="Segoe UI" pitchFamily="34" charset="0"/>
            </a:endParaRPr>
          </a:p>
          <a:p>
            <a:pPr marL="548640" lvl="2" indent="-285750" defTabSz="913770" fontAlgn="base">
              <a:lnSpc>
                <a:spcPct val="90000"/>
              </a:lnSpc>
              <a:spcAft>
                <a:spcPts val="300"/>
              </a:spcAft>
              <a:buClr>
                <a:srgbClr val="68217A">
                  <a:lumMod val="50000"/>
                </a:srgbClr>
              </a:buClr>
              <a:buSzPct val="75000"/>
              <a:buFont typeface="Wingdings" panose="05000000000000000000" pitchFamily="2" charset="2"/>
              <a:buChar char="§"/>
              <a:tabLst>
                <a:tab pos="645523" algn="l"/>
              </a:tabLst>
            </a:pPr>
            <a:r>
              <a:rPr lang="en-US" sz="145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Repartition and Partition Local operators </a:t>
            </a:r>
          </a:p>
          <a:p>
            <a:pPr marL="285750" indent="-285750">
              <a:lnSpc>
                <a:spcPct val="90000"/>
              </a:lnSpc>
              <a:spcAft>
                <a:spcPts val="300"/>
              </a:spcAft>
              <a:buClr>
                <a:schemeClr val="accent3"/>
              </a:buClr>
              <a:buSzPct val="75000"/>
              <a:buFont typeface="Wingdings" panose="05000000000000000000" pitchFamily="2" charset="2"/>
              <a:buChar char="v"/>
            </a:pPr>
            <a:r>
              <a:rPr lang="en-US" sz="165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Trident topologies compile to Storm topologies</a:t>
            </a:r>
          </a:p>
          <a:p>
            <a:pPr marL="285750" indent="-285750">
              <a:lnSpc>
                <a:spcPct val="90000"/>
              </a:lnSpc>
              <a:spcAft>
                <a:spcPts val="300"/>
              </a:spcAft>
              <a:buClr>
                <a:schemeClr val="accent3"/>
              </a:buClr>
              <a:buSzPct val="75000"/>
              <a:buFont typeface="Wingdings" panose="05000000000000000000" pitchFamily="2" charset="2"/>
              <a:buChar char="v"/>
            </a:pPr>
            <a:r>
              <a:rPr lang="en-US" sz="165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Supports exactly-once message processing</a:t>
            </a:r>
          </a:p>
          <a:p>
            <a:pPr marL="548640" lvl="2" indent="-285750" defTabSz="913770" fontAlgn="base">
              <a:lnSpc>
                <a:spcPct val="90000"/>
              </a:lnSpc>
              <a:spcAft>
                <a:spcPts val="300"/>
              </a:spcAft>
              <a:buClr>
                <a:srgbClr val="68217A">
                  <a:lumMod val="50000"/>
                </a:srgbClr>
              </a:buClr>
              <a:buSzPct val="75000"/>
              <a:buFont typeface="Wingdings" panose="05000000000000000000" pitchFamily="2" charset="2"/>
              <a:buChar char="§"/>
              <a:tabLst>
                <a:tab pos="645523" algn="l"/>
              </a:tabLst>
            </a:pPr>
            <a:r>
              <a:rPr lang="en-US" sz="145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Trident persists state in a way so that if failures occur and retries are necessary, it won't perform multiple updates to the database for the same source data.</a:t>
            </a:r>
          </a:p>
          <a:p>
            <a:pPr marL="285750" indent="-285750">
              <a:lnSpc>
                <a:spcPct val="90000"/>
              </a:lnSpc>
              <a:spcAft>
                <a:spcPts val="300"/>
              </a:spcAft>
              <a:buClr>
                <a:schemeClr val="accent3"/>
              </a:buClr>
              <a:buSzPct val="75000"/>
              <a:buFont typeface="Wingdings" panose="05000000000000000000" pitchFamily="2" charset="2"/>
              <a:buChar char="v"/>
            </a:pPr>
            <a:r>
              <a:rPr lang="en-US" sz="165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State can be persisted correctly even when tuples are replayed on failure. </a:t>
            </a:r>
          </a:p>
        </p:txBody>
      </p:sp>
      <p:sp>
        <p:nvSpPr>
          <p:cNvPr id="12" name="Rectangle 11"/>
          <p:cNvSpPr/>
          <p:nvPr/>
        </p:nvSpPr>
        <p:spPr>
          <a:xfrm>
            <a:off x="6419888" y="1874701"/>
            <a:ext cx="5683068" cy="338554"/>
          </a:xfrm>
          <a:prstGeom prst="rect">
            <a:avLst/>
          </a:prstGeom>
          <a:solidFill>
            <a:schemeClr val="accent1"/>
          </a:solidFill>
        </p:spPr>
        <p:txBody>
          <a:bodyPr wrap="square">
            <a:spAutoFit/>
          </a:bodyPr>
          <a:lstStyle/>
          <a:p>
            <a:pPr algn="ctr"/>
            <a:r>
              <a:rPr lang="en-US" sz="1600" dirty="0">
                <a:solidFill>
                  <a:schemeClr val="bg1"/>
                </a:solidFill>
              </a:rPr>
              <a:t>Code for counting words in an input stream. </a:t>
            </a:r>
            <a:endParaRPr lang="en-US" dirty="0">
              <a:solidFill>
                <a:schemeClr val="bg1"/>
              </a:solidFill>
            </a:endParaRPr>
          </a:p>
        </p:txBody>
      </p:sp>
    </p:spTree>
    <p:extLst>
      <p:ext uri="{BB962C8B-B14F-4D97-AF65-F5344CB8AC3E}">
        <p14:creationId xmlns:p14="http://schemas.microsoft.com/office/powerpoint/2010/main" val="4125519854"/>
      </p:ext>
    </p:extLst>
  </p:cSld>
  <p:clrMapOvr>
    <a:masterClrMapping/>
  </p:clrMapOvr>
  <p:transition spd="med">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ident and Storm</a:t>
            </a:r>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79</a:t>
            </a:fld>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2353107017"/>
              </p:ext>
            </p:extLst>
          </p:nvPr>
        </p:nvGraphicFramePr>
        <p:xfrm>
          <a:off x="655263" y="1214323"/>
          <a:ext cx="11139471" cy="4977917"/>
        </p:xfrm>
        <a:graphic>
          <a:graphicData uri="http://schemas.openxmlformats.org/drawingml/2006/table">
            <a:tbl>
              <a:tblPr firstRow="1" bandRow="1">
                <a:tableStyleId>{1FECB4D8-DB02-4DC6-A0A2-4F2EBAE1DC90}</a:tableStyleId>
              </a:tblPr>
              <a:tblGrid>
                <a:gridCol w="2211227">
                  <a:extLst>
                    <a:ext uri="{9D8B030D-6E8A-4147-A177-3AD203B41FA5}">
                      <a16:colId xmlns:a16="http://schemas.microsoft.com/office/drawing/2014/main" val="446127680"/>
                    </a:ext>
                  </a:extLst>
                </a:gridCol>
                <a:gridCol w="3996647">
                  <a:extLst>
                    <a:ext uri="{9D8B030D-6E8A-4147-A177-3AD203B41FA5}">
                      <a16:colId xmlns:a16="http://schemas.microsoft.com/office/drawing/2014/main" val="3491183537"/>
                    </a:ext>
                  </a:extLst>
                </a:gridCol>
                <a:gridCol w="4931597">
                  <a:extLst>
                    <a:ext uri="{9D8B030D-6E8A-4147-A177-3AD203B41FA5}">
                      <a16:colId xmlns:a16="http://schemas.microsoft.com/office/drawing/2014/main" val="2793591271"/>
                    </a:ext>
                  </a:extLst>
                </a:gridCol>
              </a:tblGrid>
              <a:tr h="495295">
                <a:tc>
                  <a:txBody>
                    <a:bodyPr/>
                    <a:lstStyle/>
                    <a:p>
                      <a:pPr algn="ctr"/>
                      <a:endParaRPr lang="en-US" dirty="0"/>
                    </a:p>
                  </a:txBody>
                  <a:tcPr anchor="ctr"/>
                </a:tc>
                <a:tc>
                  <a:txBody>
                    <a:bodyPr/>
                    <a:lstStyle/>
                    <a:p>
                      <a:pPr algn="ctr"/>
                      <a:r>
                        <a:rPr lang="en-US" dirty="0"/>
                        <a:t>Storm</a:t>
                      </a:r>
                    </a:p>
                  </a:txBody>
                  <a:tcPr anchor="ctr"/>
                </a:tc>
                <a:tc>
                  <a:txBody>
                    <a:bodyPr/>
                    <a:lstStyle/>
                    <a:p>
                      <a:pPr algn="ctr"/>
                      <a:r>
                        <a:rPr lang="en-US" dirty="0"/>
                        <a:t>Trident</a:t>
                      </a:r>
                    </a:p>
                  </a:txBody>
                  <a:tcPr anchor="ctr"/>
                </a:tc>
                <a:extLst>
                  <a:ext uri="{0D108BD9-81ED-4DB2-BD59-A6C34878D82A}">
                    <a16:rowId xmlns:a16="http://schemas.microsoft.com/office/drawing/2014/main" val="445422134"/>
                  </a:ext>
                </a:extLst>
              </a:tr>
              <a:tr h="1357036">
                <a:tc>
                  <a:txBody>
                    <a:bodyPr/>
                    <a:lstStyle/>
                    <a:p>
                      <a:r>
                        <a:rPr lang="en-US" sz="1800" dirty="0">
                          <a:solidFill>
                            <a:schemeClr val="tx1">
                              <a:lumMod val="65000"/>
                              <a:lumOff val="35000"/>
                            </a:schemeClr>
                          </a:solidFill>
                          <a:latin typeface="+mn-lt"/>
                        </a:rPr>
                        <a:t>Productivity</a:t>
                      </a:r>
                      <a:r>
                        <a:rPr lang="en-US" sz="1800" baseline="0" dirty="0">
                          <a:solidFill>
                            <a:schemeClr val="tx1">
                              <a:lumMod val="65000"/>
                              <a:lumOff val="35000"/>
                            </a:schemeClr>
                          </a:solidFill>
                          <a:latin typeface="+mn-lt"/>
                        </a:rPr>
                        <a:t> API</a:t>
                      </a:r>
                      <a:endParaRPr lang="en-US" sz="1800" dirty="0">
                        <a:solidFill>
                          <a:schemeClr val="tx1">
                            <a:lumMod val="65000"/>
                            <a:lumOff val="35000"/>
                          </a:schemeClr>
                        </a:solidFill>
                        <a:latin typeface="+mn-lt"/>
                      </a:endParaRPr>
                    </a:p>
                  </a:txBody>
                  <a:tcPr anchor="ctr"/>
                </a:tc>
                <a:tc>
                  <a:txBody>
                    <a:bodyPr/>
                    <a:lstStyle/>
                    <a:p>
                      <a:pPr algn="l"/>
                      <a:r>
                        <a:rPr lang="en-US" sz="1800" dirty="0">
                          <a:solidFill>
                            <a:schemeClr val="tx1">
                              <a:lumMod val="65000"/>
                              <a:lumOff val="35000"/>
                            </a:schemeClr>
                          </a:solidFill>
                          <a:latin typeface="+mn-lt"/>
                        </a:rPr>
                        <a:t>Very low level.</a:t>
                      </a:r>
                    </a:p>
                    <a:p>
                      <a:pPr algn="l"/>
                      <a:r>
                        <a:rPr lang="en-US" sz="1800" dirty="0">
                          <a:solidFill>
                            <a:schemeClr val="tx1">
                              <a:lumMod val="65000"/>
                              <a:lumOff val="35000"/>
                            </a:schemeClr>
                          </a:solidFill>
                          <a:latin typeface="+mn-lt"/>
                        </a:rPr>
                        <a:t>No built-in operators </a:t>
                      </a:r>
                      <a:endParaRPr lang="en-US" sz="1800" dirty="0">
                        <a:solidFill>
                          <a:schemeClr val="tx1">
                            <a:lumMod val="65000"/>
                            <a:lumOff val="35000"/>
                          </a:schemeClr>
                        </a:solidFill>
                        <a:latin typeface="+mn-lt"/>
                        <a:ea typeface="Segoe UI" panose="020B0502040204020203" pitchFamily="34" charset="0"/>
                        <a:cs typeface="Segoe UI" panose="020B0502040204020203" pitchFamily="34" charset="0"/>
                      </a:endParaRPr>
                    </a:p>
                  </a:txBody>
                  <a:tcPr anchor="ctr"/>
                </a:tc>
                <a:tc>
                  <a:txBody>
                    <a:bodyPr/>
                    <a:lstStyle/>
                    <a:p>
                      <a:pPr marL="285750" indent="-285750" algn="l">
                        <a:buClr>
                          <a:schemeClr val="accent3"/>
                        </a:buClr>
                        <a:buFont typeface="Arial" panose="020B0604020202020204" pitchFamily="34" charset="0"/>
                        <a:buChar char="•"/>
                      </a:pPr>
                      <a:r>
                        <a:rPr lang="en-US" sz="1800" dirty="0">
                          <a:solidFill>
                            <a:schemeClr val="tx1">
                              <a:lumMod val="65000"/>
                              <a:lumOff val="35000"/>
                            </a:schemeClr>
                          </a:solidFill>
                          <a:latin typeface="+mn-lt"/>
                        </a:rPr>
                        <a:t>Higher level</a:t>
                      </a:r>
                      <a:r>
                        <a:rPr lang="en-US" sz="1800" baseline="0" dirty="0">
                          <a:solidFill>
                            <a:schemeClr val="tx1">
                              <a:lumMod val="65000"/>
                              <a:lumOff val="35000"/>
                            </a:schemeClr>
                          </a:solidFill>
                          <a:latin typeface="+mn-lt"/>
                        </a:rPr>
                        <a:t> Abstractions.</a:t>
                      </a:r>
                      <a:endParaRPr lang="en-US" sz="1800" dirty="0">
                        <a:solidFill>
                          <a:schemeClr val="tx1">
                            <a:lumMod val="65000"/>
                            <a:lumOff val="35000"/>
                          </a:schemeClr>
                        </a:solidFill>
                        <a:latin typeface="+mn-lt"/>
                      </a:endParaRPr>
                    </a:p>
                    <a:p>
                      <a:pPr marL="285750" indent="-285750" algn="l">
                        <a:buClr>
                          <a:schemeClr val="accent3"/>
                        </a:buClr>
                        <a:buFont typeface="Arial" panose="020B0604020202020204" pitchFamily="34" charset="0"/>
                        <a:buChar char="•"/>
                      </a:pPr>
                      <a:r>
                        <a:rPr lang="en-US" sz="1800" dirty="0">
                          <a:solidFill>
                            <a:schemeClr val="tx1">
                              <a:lumMod val="65000"/>
                              <a:lumOff val="35000"/>
                            </a:schemeClr>
                          </a:solidFill>
                          <a:latin typeface="+mn-lt"/>
                        </a:rPr>
                        <a:t>Many built-in</a:t>
                      </a:r>
                      <a:r>
                        <a:rPr lang="en-US" sz="1800" baseline="0" dirty="0">
                          <a:solidFill>
                            <a:schemeClr val="tx1">
                              <a:lumMod val="65000"/>
                              <a:lumOff val="35000"/>
                            </a:schemeClr>
                          </a:solidFill>
                          <a:latin typeface="+mn-lt"/>
                        </a:rPr>
                        <a:t> operators</a:t>
                      </a:r>
                    </a:p>
                    <a:p>
                      <a:pPr marL="285750" indent="-285750" algn="l">
                        <a:buClr>
                          <a:schemeClr val="accent3"/>
                        </a:buClr>
                        <a:buFont typeface="Arial" panose="020B0604020202020204" pitchFamily="34" charset="0"/>
                        <a:buChar char="•"/>
                      </a:pPr>
                      <a:r>
                        <a:rPr lang="en-US" sz="1800" baseline="0" dirty="0">
                          <a:solidFill>
                            <a:schemeClr val="tx1">
                              <a:lumMod val="65000"/>
                              <a:lumOff val="35000"/>
                            </a:schemeClr>
                          </a:solidFill>
                          <a:latin typeface="+mn-lt"/>
                        </a:rPr>
                        <a:t>Trident sometimes needs multiple orders of magnitude less lines of code compared to Storm for the same application logic</a:t>
                      </a:r>
                      <a:endParaRPr lang="en-US" sz="1800" dirty="0">
                        <a:solidFill>
                          <a:schemeClr val="tx1">
                            <a:lumMod val="65000"/>
                            <a:lumOff val="35000"/>
                          </a:schemeClr>
                        </a:solidFill>
                        <a:latin typeface="+mn-lt"/>
                        <a:ea typeface="Segoe UI" panose="020B0502040204020203" pitchFamily="34" charset="0"/>
                        <a:cs typeface="Segoe UI" panose="020B0502040204020203" pitchFamily="34" charset="0"/>
                      </a:endParaRPr>
                    </a:p>
                  </a:txBody>
                  <a:tcPr anchor="ctr"/>
                </a:tc>
                <a:extLst>
                  <a:ext uri="{0D108BD9-81ED-4DB2-BD59-A6C34878D82A}">
                    <a16:rowId xmlns:a16="http://schemas.microsoft.com/office/drawing/2014/main" val="2293235596"/>
                  </a:ext>
                </a:extLst>
              </a:tr>
              <a:tr h="915431">
                <a:tc>
                  <a:txBody>
                    <a:bodyPr/>
                    <a:lstStyle/>
                    <a:p>
                      <a:r>
                        <a:rPr lang="en-US" sz="1800" dirty="0">
                          <a:solidFill>
                            <a:schemeClr val="tx1">
                              <a:lumMod val="65000"/>
                              <a:lumOff val="35000"/>
                            </a:schemeClr>
                          </a:solidFill>
                          <a:latin typeface="+mn-lt"/>
                        </a:rPr>
                        <a:t>Windowing</a:t>
                      </a:r>
                      <a:br>
                        <a:rPr lang="en-US" sz="1800" dirty="0">
                          <a:solidFill>
                            <a:schemeClr val="tx1">
                              <a:lumMod val="65000"/>
                              <a:lumOff val="35000"/>
                            </a:schemeClr>
                          </a:solidFill>
                          <a:latin typeface="+mn-lt"/>
                        </a:rPr>
                      </a:br>
                      <a:r>
                        <a:rPr lang="en-US" sz="1800" dirty="0">
                          <a:solidFill>
                            <a:schemeClr val="tx1">
                              <a:lumMod val="65000"/>
                              <a:lumOff val="35000"/>
                            </a:schemeClr>
                          </a:solidFill>
                          <a:latin typeface="+mn-lt"/>
                        </a:rPr>
                        <a:t>Support</a:t>
                      </a:r>
                    </a:p>
                  </a:txBody>
                  <a:tcPr anchor="ctr"/>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800" baseline="0" dirty="0">
                          <a:solidFill>
                            <a:schemeClr val="tx1">
                              <a:lumMod val="65000"/>
                              <a:lumOff val="35000"/>
                            </a:schemeClr>
                          </a:solidFill>
                          <a:latin typeface="+mn-lt"/>
                          <a:ea typeface="Segoe UI" panose="020B0502040204020203" pitchFamily="34" charset="0"/>
                          <a:cs typeface="Segoe UI" panose="020B0502040204020203" pitchFamily="34" charset="0"/>
                        </a:rPr>
                        <a:t>Can roll your own tumbling windows with </a:t>
                      </a:r>
                      <a:r>
                        <a:rPr lang="en-US" sz="1800" i="1" baseline="0" dirty="0">
                          <a:solidFill>
                            <a:schemeClr val="tx1">
                              <a:lumMod val="65000"/>
                              <a:lumOff val="35000"/>
                            </a:schemeClr>
                          </a:solidFill>
                          <a:latin typeface="+mn-lt"/>
                          <a:ea typeface="Segoe UI" panose="020B0502040204020203" pitchFamily="34" charset="0"/>
                          <a:cs typeface="Segoe UI" panose="020B0502040204020203" pitchFamily="34" charset="0"/>
                        </a:rPr>
                        <a:t>tick tuples</a:t>
                      </a:r>
                      <a:r>
                        <a:rPr lang="en-US" sz="1800" baseline="0" dirty="0">
                          <a:solidFill>
                            <a:schemeClr val="tx1">
                              <a:lumMod val="65000"/>
                              <a:lumOff val="35000"/>
                            </a:schemeClr>
                          </a:solidFill>
                          <a:latin typeface="+mn-lt"/>
                          <a:ea typeface="Segoe UI" panose="020B0502040204020203" pitchFamily="34" charset="0"/>
                          <a:cs typeface="Segoe UI" panose="020B0502040204020203" pitchFamily="34" charset="0"/>
                        </a:rPr>
                        <a:t>.</a:t>
                      </a:r>
                    </a:p>
                    <a:p>
                      <a:pPr marL="0" marR="0" indent="0" algn="l" defTabSz="914367" rtl="0" eaLnBrk="1" fontAlgn="auto" latinLnBrk="0" hangingPunct="1">
                        <a:lnSpc>
                          <a:spcPct val="100000"/>
                        </a:lnSpc>
                        <a:spcBef>
                          <a:spcPts val="0"/>
                        </a:spcBef>
                        <a:spcAft>
                          <a:spcPts val="0"/>
                        </a:spcAft>
                        <a:buClrTx/>
                        <a:buSzTx/>
                        <a:buFontTx/>
                        <a:buNone/>
                        <a:tabLst/>
                        <a:defRPr/>
                      </a:pPr>
                      <a:r>
                        <a:rPr lang="en-US" sz="1800" baseline="0" dirty="0">
                          <a:solidFill>
                            <a:schemeClr val="tx1">
                              <a:lumMod val="65000"/>
                              <a:lumOff val="35000"/>
                            </a:schemeClr>
                          </a:solidFill>
                          <a:latin typeface="+mn-lt"/>
                          <a:ea typeface="Segoe UI" panose="020B0502040204020203" pitchFamily="34" charset="0"/>
                          <a:cs typeface="Segoe UI" panose="020B0502040204020203" pitchFamily="34" charset="0"/>
                        </a:rPr>
                        <a:t> </a:t>
                      </a:r>
                      <a:r>
                        <a:rPr lang="en-US" sz="1800" dirty="0">
                          <a:solidFill>
                            <a:schemeClr val="tx1">
                              <a:lumMod val="65000"/>
                              <a:lumOff val="35000"/>
                            </a:schemeClr>
                          </a:solidFill>
                          <a:latin typeface="+mn-lt"/>
                          <a:ea typeface="Segoe UI" panose="020B0502040204020203" pitchFamily="34" charset="0"/>
                          <a:cs typeface="Segoe UI" panose="020B0502040204020203" pitchFamily="34" charset="0"/>
                        </a:rPr>
                        <a:t>No</a:t>
                      </a:r>
                      <a:r>
                        <a:rPr lang="en-US" sz="1800" baseline="0" dirty="0">
                          <a:solidFill>
                            <a:schemeClr val="tx1">
                              <a:lumMod val="65000"/>
                              <a:lumOff val="35000"/>
                            </a:schemeClr>
                          </a:solidFill>
                          <a:latin typeface="+mn-lt"/>
                          <a:ea typeface="Segoe UI" panose="020B0502040204020203" pitchFamily="34" charset="0"/>
                          <a:cs typeface="Segoe UI" panose="020B0502040204020203" pitchFamily="34" charset="0"/>
                        </a:rPr>
                        <a:t> supports for sliding window</a:t>
                      </a:r>
                    </a:p>
                  </a:txBody>
                  <a:tcPr anchor="ctr"/>
                </a:tc>
                <a:tc>
                  <a:txBody>
                    <a:bodyPr/>
                    <a:lstStyle/>
                    <a:p>
                      <a:pPr algn="l"/>
                      <a:r>
                        <a:rPr lang="en-US" sz="1800" dirty="0">
                          <a:solidFill>
                            <a:schemeClr val="tx1">
                              <a:lumMod val="65000"/>
                              <a:lumOff val="35000"/>
                            </a:schemeClr>
                          </a:solidFill>
                          <a:latin typeface="+mn-lt"/>
                          <a:ea typeface="Segoe UI" panose="020B0502040204020203" pitchFamily="34" charset="0"/>
                          <a:cs typeface="Segoe UI" panose="020B0502040204020203" pitchFamily="34" charset="0"/>
                        </a:rPr>
                        <a:t>No tick</a:t>
                      </a:r>
                      <a:r>
                        <a:rPr lang="en-US" sz="1800" baseline="0" dirty="0">
                          <a:solidFill>
                            <a:schemeClr val="tx1">
                              <a:lumMod val="65000"/>
                              <a:lumOff val="35000"/>
                            </a:schemeClr>
                          </a:solidFill>
                          <a:latin typeface="+mn-lt"/>
                          <a:ea typeface="Segoe UI" panose="020B0502040204020203" pitchFamily="34" charset="0"/>
                          <a:cs typeface="Segoe UI" panose="020B0502040204020203" pitchFamily="34" charset="0"/>
                        </a:rPr>
                        <a:t> tuple feature so no windowing support of any type</a:t>
                      </a:r>
                      <a:endParaRPr lang="en-US" sz="1800" dirty="0">
                        <a:solidFill>
                          <a:schemeClr val="tx1">
                            <a:lumMod val="65000"/>
                            <a:lumOff val="35000"/>
                          </a:schemeClr>
                        </a:solidFill>
                        <a:latin typeface="+mn-lt"/>
                        <a:ea typeface="Segoe UI" panose="020B0502040204020203" pitchFamily="34" charset="0"/>
                        <a:cs typeface="Segoe UI" panose="020B0502040204020203" pitchFamily="34" charset="0"/>
                      </a:endParaRPr>
                    </a:p>
                  </a:txBody>
                  <a:tcPr anchor="ctr"/>
                </a:tc>
                <a:extLst>
                  <a:ext uri="{0D108BD9-81ED-4DB2-BD59-A6C34878D82A}">
                    <a16:rowId xmlns:a16="http://schemas.microsoft.com/office/drawing/2014/main" val="513927620"/>
                  </a:ext>
                </a:extLst>
              </a:tr>
              <a:tr h="915431">
                <a:tc>
                  <a:txBody>
                    <a:bodyPr/>
                    <a:lstStyle/>
                    <a:p>
                      <a:r>
                        <a:rPr lang="en-US" sz="1800" dirty="0">
                          <a:solidFill>
                            <a:schemeClr val="tx1">
                              <a:lumMod val="65000"/>
                              <a:lumOff val="35000"/>
                            </a:schemeClr>
                          </a:solidFill>
                          <a:latin typeface="+mn-lt"/>
                        </a:rPr>
                        <a:t>At-least-once Guarantee</a:t>
                      </a:r>
                    </a:p>
                  </a:txBody>
                  <a:tcPr anchor="ctr"/>
                </a:tc>
                <a:tc>
                  <a:txBody>
                    <a:bodyPr/>
                    <a:lstStyle/>
                    <a:p>
                      <a:pPr algn="l"/>
                      <a:r>
                        <a:rPr lang="en-US" sz="1800" dirty="0">
                          <a:solidFill>
                            <a:schemeClr val="tx1">
                              <a:lumMod val="65000"/>
                              <a:lumOff val="35000"/>
                            </a:schemeClr>
                          </a:solidFill>
                          <a:latin typeface="+mn-lt"/>
                        </a:rPr>
                        <a:t>Yes</a:t>
                      </a:r>
                      <a:r>
                        <a:rPr lang="en-US" sz="1800" baseline="0" dirty="0">
                          <a:solidFill>
                            <a:schemeClr val="tx1">
                              <a:lumMod val="65000"/>
                              <a:lumOff val="35000"/>
                            </a:schemeClr>
                          </a:solidFill>
                          <a:latin typeface="+mn-lt"/>
                        </a:rPr>
                        <a:t>, if the ‘reliability API’ is used and with spouts that can re-emit tuples when requested</a:t>
                      </a:r>
                      <a:endParaRPr lang="en-US" sz="1800" dirty="0">
                        <a:solidFill>
                          <a:schemeClr val="tx1">
                            <a:lumMod val="65000"/>
                            <a:lumOff val="35000"/>
                          </a:schemeClr>
                        </a:solidFill>
                        <a:latin typeface="+mn-lt"/>
                      </a:endParaRPr>
                    </a:p>
                  </a:txBody>
                  <a:tcPr anchor="ctr"/>
                </a:tc>
                <a:tc>
                  <a:txBody>
                    <a:bodyPr/>
                    <a:lstStyle/>
                    <a:p>
                      <a:pPr algn="l"/>
                      <a:r>
                        <a:rPr lang="en-US" sz="1800" dirty="0">
                          <a:solidFill>
                            <a:schemeClr val="tx1">
                              <a:lumMod val="65000"/>
                              <a:lumOff val="35000"/>
                            </a:schemeClr>
                          </a:solidFill>
                          <a:latin typeface="+mn-lt"/>
                        </a:rPr>
                        <a:t>Yes,</a:t>
                      </a:r>
                      <a:r>
                        <a:rPr lang="en-US" sz="1800" baseline="0" dirty="0">
                          <a:solidFill>
                            <a:schemeClr val="tx1">
                              <a:lumMod val="65000"/>
                              <a:lumOff val="35000"/>
                            </a:schemeClr>
                          </a:solidFill>
                          <a:latin typeface="+mn-lt"/>
                        </a:rPr>
                        <a:t> with spouts that can re-emit tuples when requested. </a:t>
                      </a:r>
                      <a:endParaRPr lang="en-US" sz="1800" dirty="0">
                        <a:solidFill>
                          <a:schemeClr val="tx1">
                            <a:lumMod val="65000"/>
                            <a:lumOff val="35000"/>
                          </a:schemeClr>
                        </a:solidFill>
                        <a:latin typeface="+mn-lt"/>
                      </a:endParaRPr>
                    </a:p>
                  </a:txBody>
                  <a:tcPr anchor="ctr"/>
                </a:tc>
                <a:extLst>
                  <a:ext uri="{0D108BD9-81ED-4DB2-BD59-A6C34878D82A}">
                    <a16:rowId xmlns:a16="http://schemas.microsoft.com/office/drawing/2014/main" val="3660622260"/>
                  </a:ext>
                </a:extLst>
              </a:tr>
              <a:tr h="1102592">
                <a:tc>
                  <a:txBody>
                    <a:bodyPr/>
                    <a:lstStyle/>
                    <a:p>
                      <a:r>
                        <a:rPr lang="en-US" sz="1800" dirty="0">
                          <a:solidFill>
                            <a:schemeClr val="tx1">
                              <a:lumMod val="65000"/>
                              <a:lumOff val="35000"/>
                            </a:schemeClr>
                          </a:solidFill>
                          <a:latin typeface="+mn-lt"/>
                        </a:rPr>
                        <a:t>Exactly-once Guarantee</a:t>
                      </a:r>
                    </a:p>
                  </a:txBody>
                  <a:tcPr anchor="ctr"/>
                </a:tc>
                <a:tc>
                  <a:txBody>
                    <a:bodyPr/>
                    <a:lstStyle/>
                    <a:p>
                      <a:pPr algn="l"/>
                      <a:r>
                        <a:rPr lang="en-US" sz="1800" dirty="0">
                          <a:solidFill>
                            <a:schemeClr val="tx1">
                              <a:lumMod val="65000"/>
                              <a:lumOff val="35000"/>
                            </a:schemeClr>
                          </a:solidFill>
                          <a:latin typeface="+mn-lt"/>
                        </a:rPr>
                        <a:t>No</a:t>
                      </a:r>
                    </a:p>
                  </a:txBody>
                  <a:tcPr anchor="ctr"/>
                </a:tc>
                <a:tc>
                  <a:txBody>
                    <a:bodyPr/>
                    <a:lstStyle/>
                    <a:p>
                      <a:pPr marL="285750" indent="-285750" algn="l" defTabSz="914367" rtl="0" eaLnBrk="1" latinLnBrk="0" hangingPunct="1">
                        <a:buClr>
                          <a:schemeClr val="accent3"/>
                        </a:buClr>
                        <a:buFont typeface="Arial" panose="020B0604020202020204" pitchFamily="34" charset="0"/>
                        <a:buChar char="•"/>
                      </a:pPr>
                      <a:r>
                        <a:rPr lang="en-US" sz="1800" kern="1200" baseline="0" dirty="0">
                          <a:solidFill>
                            <a:schemeClr val="tx1">
                              <a:lumMod val="65000"/>
                              <a:lumOff val="35000"/>
                            </a:schemeClr>
                          </a:solidFill>
                          <a:latin typeface="+mn-lt"/>
                          <a:ea typeface="+mn-ea"/>
                          <a:cs typeface="+mn-cs"/>
                        </a:rPr>
                        <a:t>Yes, with suitable spouts.</a:t>
                      </a:r>
                    </a:p>
                    <a:p>
                      <a:pPr marL="285750" indent="-285750" algn="l" defTabSz="914367" rtl="0" eaLnBrk="1" latinLnBrk="0" hangingPunct="1">
                        <a:buClr>
                          <a:schemeClr val="accent3"/>
                        </a:buClr>
                        <a:buFont typeface="Arial" panose="020B0604020202020204" pitchFamily="34" charset="0"/>
                        <a:buChar char="•"/>
                      </a:pPr>
                      <a:r>
                        <a:rPr lang="en-US" sz="1800" kern="1200" baseline="0" dirty="0">
                          <a:solidFill>
                            <a:schemeClr val="tx1">
                              <a:lumMod val="65000"/>
                              <a:lumOff val="35000"/>
                            </a:schemeClr>
                          </a:solidFill>
                          <a:latin typeface="+mn-lt"/>
                          <a:ea typeface="+mn-ea"/>
                          <a:cs typeface="+mn-cs"/>
                        </a:rPr>
                        <a:t>Trident has support for storing data in an external store only-once even when tuples are ‘replayed’ </a:t>
                      </a:r>
                    </a:p>
                  </a:txBody>
                  <a:tcPr anchor="ctr"/>
                </a:tc>
                <a:extLst>
                  <a:ext uri="{0D108BD9-81ED-4DB2-BD59-A6C34878D82A}">
                    <a16:rowId xmlns:a16="http://schemas.microsoft.com/office/drawing/2014/main" val="678532778"/>
                  </a:ext>
                </a:extLst>
              </a:tr>
            </a:tbl>
          </a:graphicData>
        </a:graphic>
      </p:graphicFrame>
    </p:spTree>
    <p:extLst>
      <p:ext uri="{BB962C8B-B14F-4D97-AF65-F5344CB8AC3E}">
        <p14:creationId xmlns:p14="http://schemas.microsoft.com/office/powerpoint/2010/main" val="41804966"/>
      </p:ext>
    </p:extLst>
  </p:cSld>
  <p:clrMapOvr>
    <a:masterClrMapping/>
  </p:clrMapOvr>
  <p:transition spd="med">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pReduce: How it works</a:t>
            </a:r>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8</a:t>
            </a:fld>
            <a:endParaRPr lang="en-US" dirty="0"/>
          </a:p>
        </p:txBody>
      </p:sp>
      <p:grpSp>
        <p:nvGrpSpPr>
          <p:cNvPr id="98" name="Group 97"/>
          <p:cNvGrpSpPr/>
          <p:nvPr/>
        </p:nvGrpSpPr>
        <p:grpSpPr>
          <a:xfrm>
            <a:off x="6709025" y="1345915"/>
            <a:ext cx="5213425" cy="4743724"/>
            <a:chOff x="5832439" y="928776"/>
            <a:chExt cx="6090011" cy="5160864"/>
          </a:xfrm>
        </p:grpSpPr>
        <p:sp>
          <p:nvSpPr>
            <p:cNvPr id="32" name="Rectangle 31"/>
            <p:cNvSpPr/>
            <p:nvPr/>
          </p:nvSpPr>
          <p:spPr bwMode="auto">
            <a:xfrm>
              <a:off x="5944600" y="3630612"/>
              <a:ext cx="5977850" cy="1524080"/>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b="1" dirty="0">
                <a:solidFill>
                  <a:schemeClr val="bg1"/>
                </a:solidFill>
                <a:latin typeface="+mj-lt"/>
                <a:ea typeface="Segoe UI" pitchFamily="34" charset="0"/>
                <a:cs typeface="Segoe UI" pitchFamily="34" charset="0"/>
              </a:endParaRPr>
            </a:p>
          </p:txBody>
        </p:sp>
        <p:sp>
          <p:nvSpPr>
            <p:cNvPr id="4" name="Rectangle 3"/>
            <p:cNvSpPr/>
            <p:nvPr/>
          </p:nvSpPr>
          <p:spPr bwMode="auto">
            <a:xfrm>
              <a:off x="5944600" y="5154692"/>
              <a:ext cx="5977850" cy="93494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b="1" dirty="0">
                <a:solidFill>
                  <a:schemeClr val="bg1"/>
                </a:solidFill>
                <a:latin typeface="+mj-lt"/>
                <a:ea typeface="Segoe UI" pitchFamily="34" charset="0"/>
                <a:cs typeface="Segoe UI" pitchFamily="34" charset="0"/>
              </a:endParaRPr>
            </a:p>
          </p:txBody>
        </p:sp>
        <p:sp>
          <p:nvSpPr>
            <p:cNvPr id="7" name="Rectangle 6"/>
            <p:cNvSpPr/>
            <p:nvPr/>
          </p:nvSpPr>
          <p:spPr bwMode="auto">
            <a:xfrm>
              <a:off x="5944601" y="1049931"/>
              <a:ext cx="5977849" cy="889917"/>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b="1" dirty="0">
                <a:solidFill>
                  <a:schemeClr val="bg1"/>
                </a:solidFill>
                <a:latin typeface="+mj-lt"/>
                <a:ea typeface="Segoe UI" pitchFamily="34" charset="0"/>
                <a:cs typeface="Segoe UI" pitchFamily="34" charset="0"/>
              </a:endParaRPr>
            </a:p>
          </p:txBody>
        </p:sp>
        <p:sp>
          <p:nvSpPr>
            <p:cNvPr id="9" name="TextBox 8"/>
            <p:cNvSpPr txBox="1"/>
            <p:nvPr/>
          </p:nvSpPr>
          <p:spPr>
            <a:xfrm>
              <a:off x="7911246" y="1238910"/>
              <a:ext cx="2044558" cy="364805"/>
            </a:xfrm>
            <a:prstGeom prst="rect">
              <a:avLst/>
            </a:prstGeom>
            <a:solidFill>
              <a:schemeClr val="bg1"/>
            </a:solidFill>
          </p:spPr>
          <p:txBody>
            <a:bodyPr wrap="none" lIns="182880" tIns="146304" rIns="182880" bIns="146304" rtlCol="0" anchor="ctr">
              <a:noAutofit/>
            </a:bodyPr>
            <a:lstStyle/>
            <a:p>
              <a:pPr>
                <a:lnSpc>
                  <a:spcPct val="90000"/>
                </a:lnSpc>
                <a:spcAft>
                  <a:spcPts val="600"/>
                </a:spcAft>
              </a:pPr>
              <a:r>
                <a:rPr lang="en-US" sz="1400" dirty="0">
                  <a:solidFill>
                    <a:schemeClr val="tx1">
                      <a:lumMod val="85000"/>
                      <a:lumOff val="15000"/>
                    </a:schemeClr>
                  </a:solidFill>
                  <a:latin typeface="Segoe UI Semibold" panose="020B0702040204020203" pitchFamily="34" charset="0"/>
                  <a:cs typeface="Segoe UI Semibold" panose="020B0702040204020203" pitchFamily="34" charset="0"/>
                </a:rPr>
                <a:t>Input Data File</a:t>
              </a:r>
            </a:p>
          </p:txBody>
        </p:sp>
        <p:sp>
          <p:nvSpPr>
            <p:cNvPr id="10" name="TextBox 9"/>
            <p:cNvSpPr txBox="1"/>
            <p:nvPr/>
          </p:nvSpPr>
          <p:spPr>
            <a:xfrm>
              <a:off x="5862407" y="928776"/>
              <a:ext cx="914400" cy="457200"/>
            </a:xfrm>
            <a:prstGeom prst="rect">
              <a:avLst/>
            </a:prstGeom>
            <a:noFill/>
          </p:spPr>
          <p:txBody>
            <a:bodyPr wrap="none" lIns="182880" tIns="146304" rIns="182880" bIns="146304" rtlCol="0">
              <a:noAutofit/>
            </a:bodyPr>
            <a:lstStyle/>
            <a:p>
              <a:pPr>
                <a:lnSpc>
                  <a:spcPct val="90000"/>
                </a:lnSpc>
                <a:spcAft>
                  <a:spcPts val="600"/>
                </a:spcAft>
              </a:pPr>
              <a:r>
                <a:rPr lang="en-US" sz="1400" dirty="0">
                  <a:solidFill>
                    <a:schemeClr val="bg1"/>
                  </a:solidFill>
                  <a:latin typeface="Segoe UI Semibold" panose="020B0702040204020203" pitchFamily="34" charset="0"/>
                  <a:cs typeface="Segoe UI Semibold" panose="020B0702040204020203" pitchFamily="34" charset="0"/>
                </a:rPr>
                <a:t>HDFS</a:t>
              </a:r>
            </a:p>
          </p:txBody>
        </p:sp>
        <p:sp>
          <p:nvSpPr>
            <p:cNvPr id="11" name="TextBox 10"/>
            <p:cNvSpPr txBox="1"/>
            <p:nvPr/>
          </p:nvSpPr>
          <p:spPr>
            <a:xfrm>
              <a:off x="5832439" y="5632440"/>
              <a:ext cx="914400" cy="457200"/>
            </a:xfrm>
            <a:prstGeom prst="rect">
              <a:avLst/>
            </a:prstGeom>
            <a:noFill/>
          </p:spPr>
          <p:txBody>
            <a:bodyPr wrap="none" lIns="182880" tIns="146304" rIns="182880" bIns="146304" rtlCol="0">
              <a:noAutofit/>
            </a:bodyPr>
            <a:lstStyle/>
            <a:p>
              <a:pPr>
                <a:lnSpc>
                  <a:spcPct val="90000"/>
                </a:lnSpc>
                <a:spcAft>
                  <a:spcPts val="600"/>
                </a:spcAft>
              </a:pPr>
              <a:r>
                <a:rPr lang="en-US" sz="1400" dirty="0">
                  <a:solidFill>
                    <a:schemeClr val="bg1"/>
                  </a:solidFill>
                  <a:latin typeface="Segoe UI Semibold" panose="020B0702040204020203" pitchFamily="34" charset="0"/>
                  <a:cs typeface="Segoe UI Semibold" panose="020B0702040204020203" pitchFamily="34" charset="0"/>
                </a:rPr>
                <a:t>HDFS</a:t>
              </a:r>
            </a:p>
          </p:txBody>
        </p:sp>
        <p:sp>
          <p:nvSpPr>
            <p:cNvPr id="30" name="TextBox 29"/>
            <p:cNvSpPr txBox="1"/>
            <p:nvPr/>
          </p:nvSpPr>
          <p:spPr>
            <a:xfrm>
              <a:off x="6708063" y="5444090"/>
              <a:ext cx="1380661" cy="356151"/>
            </a:xfrm>
            <a:prstGeom prst="rect">
              <a:avLst/>
            </a:prstGeom>
            <a:solidFill>
              <a:schemeClr val="bg1"/>
            </a:solidFill>
          </p:spPr>
          <p:txBody>
            <a:bodyPr wrap="none" lIns="91440" tIns="91440" rIns="91440" bIns="91440" rtlCol="0" anchor="ctr">
              <a:noAutofit/>
            </a:bodyPr>
            <a:lstStyle/>
            <a:p>
              <a:pPr algn="ctr">
                <a:lnSpc>
                  <a:spcPct val="90000"/>
                </a:lnSpc>
                <a:spcAft>
                  <a:spcPts val="600"/>
                </a:spcAft>
              </a:pPr>
              <a:r>
                <a:rPr lang="en-US" sz="1400" dirty="0">
                  <a:solidFill>
                    <a:schemeClr val="tx1">
                      <a:lumMod val="85000"/>
                      <a:lumOff val="15000"/>
                    </a:schemeClr>
                  </a:solidFill>
                </a:rPr>
                <a:t>Output File</a:t>
              </a:r>
            </a:p>
          </p:txBody>
        </p:sp>
        <p:sp>
          <p:nvSpPr>
            <p:cNvPr id="31" name="TextBox 30"/>
            <p:cNvSpPr txBox="1"/>
            <p:nvPr/>
          </p:nvSpPr>
          <p:spPr>
            <a:xfrm>
              <a:off x="9768056" y="5442378"/>
              <a:ext cx="1380661" cy="356151"/>
            </a:xfrm>
            <a:prstGeom prst="rect">
              <a:avLst/>
            </a:prstGeom>
            <a:solidFill>
              <a:schemeClr val="bg1"/>
            </a:solidFill>
          </p:spPr>
          <p:txBody>
            <a:bodyPr wrap="none" lIns="91440" tIns="91440" rIns="91440" bIns="91440" rtlCol="0" anchor="ctr">
              <a:noAutofit/>
            </a:bodyPr>
            <a:lstStyle/>
            <a:p>
              <a:pPr algn="ctr">
                <a:lnSpc>
                  <a:spcPct val="90000"/>
                </a:lnSpc>
                <a:spcAft>
                  <a:spcPts val="600"/>
                </a:spcAft>
              </a:pPr>
              <a:r>
                <a:rPr lang="en-US" sz="1400" dirty="0">
                  <a:solidFill>
                    <a:schemeClr val="tx1">
                      <a:lumMod val="85000"/>
                      <a:lumOff val="15000"/>
                    </a:schemeClr>
                  </a:solidFill>
                </a:rPr>
                <a:t>Output File</a:t>
              </a:r>
            </a:p>
          </p:txBody>
        </p:sp>
        <p:sp>
          <p:nvSpPr>
            <p:cNvPr id="5" name="Rectangle 4"/>
            <p:cNvSpPr/>
            <p:nvPr/>
          </p:nvSpPr>
          <p:spPr bwMode="auto">
            <a:xfrm>
              <a:off x="6392133" y="3862449"/>
              <a:ext cx="2012522" cy="114287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b="1" dirty="0">
                <a:solidFill>
                  <a:schemeClr val="bg1"/>
                </a:solidFill>
                <a:latin typeface="+mj-lt"/>
                <a:ea typeface="Segoe UI" pitchFamily="34" charset="0"/>
                <a:cs typeface="Segoe UI" pitchFamily="34" charset="0"/>
              </a:endParaRPr>
            </a:p>
          </p:txBody>
        </p:sp>
        <p:sp>
          <p:nvSpPr>
            <p:cNvPr id="29" name="TextBox 28"/>
            <p:cNvSpPr txBox="1"/>
            <p:nvPr/>
          </p:nvSpPr>
          <p:spPr>
            <a:xfrm>
              <a:off x="6887610" y="4214576"/>
              <a:ext cx="1021568" cy="356151"/>
            </a:xfrm>
            <a:prstGeom prst="rect">
              <a:avLst/>
            </a:prstGeom>
            <a:solidFill>
              <a:schemeClr val="bg1"/>
            </a:solidFill>
          </p:spPr>
          <p:txBody>
            <a:bodyPr wrap="none" lIns="91440" tIns="91440" rIns="91440" bIns="91440" rtlCol="0" anchor="ctr">
              <a:noAutofit/>
            </a:bodyPr>
            <a:lstStyle/>
            <a:p>
              <a:pPr algn="ctr">
                <a:lnSpc>
                  <a:spcPct val="90000"/>
                </a:lnSpc>
                <a:spcAft>
                  <a:spcPts val="600"/>
                </a:spcAft>
              </a:pPr>
              <a:r>
                <a:rPr lang="en-US" sz="1400" dirty="0">
                  <a:solidFill>
                    <a:schemeClr val="tx1">
                      <a:lumMod val="85000"/>
                      <a:lumOff val="15000"/>
                    </a:schemeClr>
                  </a:solidFill>
                </a:rPr>
                <a:t>Reducer</a:t>
              </a:r>
            </a:p>
          </p:txBody>
        </p:sp>
        <p:sp>
          <p:nvSpPr>
            <p:cNvPr id="6" name="Rectangle 5"/>
            <p:cNvSpPr/>
            <p:nvPr/>
          </p:nvSpPr>
          <p:spPr bwMode="auto">
            <a:xfrm>
              <a:off x="5944603" y="1943208"/>
              <a:ext cx="2865649" cy="167884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b="1" dirty="0">
                <a:solidFill>
                  <a:schemeClr val="bg1"/>
                </a:solidFill>
                <a:latin typeface="+mj-lt"/>
                <a:ea typeface="Segoe UI" pitchFamily="34" charset="0"/>
                <a:cs typeface="Segoe UI" pitchFamily="34" charset="0"/>
              </a:endParaRPr>
            </a:p>
          </p:txBody>
        </p:sp>
        <p:sp>
          <p:nvSpPr>
            <p:cNvPr id="13" name="TextBox 12"/>
            <p:cNvSpPr txBox="1"/>
            <p:nvPr/>
          </p:nvSpPr>
          <p:spPr>
            <a:xfrm>
              <a:off x="6887610" y="2178549"/>
              <a:ext cx="1021568" cy="356151"/>
            </a:xfrm>
            <a:prstGeom prst="rect">
              <a:avLst/>
            </a:prstGeom>
            <a:solidFill>
              <a:schemeClr val="bg1"/>
            </a:solidFill>
          </p:spPr>
          <p:txBody>
            <a:bodyPr wrap="none" lIns="91440" tIns="91440" rIns="91440" bIns="91440" rtlCol="0" anchor="ctr">
              <a:noAutofit/>
            </a:bodyPr>
            <a:lstStyle/>
            <a:p>
              <a:pPr algn="ctr">
                <a:lnSpc>
                  <a:spcPct val="90000"/>
                </a:lnSpc>
                <a:spcAft>
                  <a:spcPts val="600"/>
                </a:spcAft>
              </a:pPr>
              <a:r>
                <a:rPr lang="en-US" sz="1400" dirty="0">
                  <a:solidFill>
                    <a:schemeClr val="tx1">
                      <a:lumMod val="85000"/>
                      <a:lumOff val="15000"/>
                    </a:schemeClr>
                  </a:solidFill>
                </a:rPr>
                <a:t>Mapper</a:t>
              </a:r>
            </a:p>
          </p:txBody>
        </p:sp>
        <p:sp>
          <p:nvSpPr>
            <p:cNvPr id="17" name="TextBox 16"/>
            <p:cNvSpPr txBox="1"/>
            <p:nvPr/>
          </p:nvSpPr>
          <p:spPr>
            <a:xfrm>
              <a:off x="5882955" y="1930333"/>
              <a:ext cx="698642" cy="298827"/>
            </a:xfrm>
            <a:prstGeom prst="rect">
              <a:avLst/>
            </a:prstGeom>
            <a:noFill/>
          </p:spPr>
          <p:txBody>
            <a:bodyPr wrap="none" lIns="182880" tIns="146304" rIns="182880" bIns="146304" rtlCol="0" anchor="ctr">
              <a:noAutofit/>
            </a:bodyPr>
            <a:lstStyle/>
            <a:p>
              <a:pPr algn="ctr">
                <a:lnSpc>
                  <a:spcPct val="90000"/>
                </a:lnSpc>
                <a:spcAft>
                  <a:spcPts val="600"/>
                </a:spcAft>
              </a:pPr>
              <a:r>
                <a:rPr lang="en-US" sz="1100" dirty="0">
                  <a:solidFill>
                    <a:schemeClr val="bg1"/>
                  </a:solidFill>
                </a:rPr>
                <a:t>Host </a:t>
              </a:r>
            </a:p>
          </p:txBody>
        </p:sp>
        <p:sp>
          <p:nvSpPr>
            <p:cNvPr id="18" name="TextBox 17"/>
            <p:cNvSpPr txBox="1"/>
            <p:nvPr/>
          </p:nvSpPr>
          <p:spPr>
            <a:xfrm>
              <a:off x="6098711" y="2925330"/>
              <a:ext cx="799678" cy="425723"/>
            </a:xfrm>
            <a:prstGeom prst="rect">
              <a:avLst/>
            </a:prstGeom>
            <a:solidFill>
              <a:schemeClr val="accent2">
                <a:lumMod val="20000"/>
                <a:lumOff val="80000"/>
              </a:schemeClr>
            </a:solidFill>
          </p:spPr>
          <p:txBody>
            <a:bodyPr wrap="square" lIns="0" tIns="0" rIns="0" bIns="0" rtlCol="0" anchor="ctr">
              <a:noAutofit/>
            </a:bodyPr>
            <a:lstStyle/>
            <a:p>
              <a:pPr algn="ctr">
                <a:lnSpc>
                  <a:spcPct val="90000"/>
                </a:lnSpc>
                <a:spcAft>
                  <a:spcPts val="600"/>
                </a:spcAft>
              </a:pPr>
              <a:r>
                <a:rPr lang="en-US" sz="1050" dirty="0">
                  <a:solidFill>
                    <a:schemeClr val="tx1">
                      <a:lumMod val="85000"/>
                      <a:lumOff val="15000"/>
                    </a:schemeClr>
                  </a:solidFill>
                  <a:latin typeface="Segoe UI Semibold" panose="020B0702040204020203" pitchFamily="34" charset="0"/>
                  <a:cs typeface="Segoe UI Semibold" panose="020B0702040204020203" pitchFamily="34" charset="0"/>
                </a:rPr>
                <a:t>Data Partition 1</a:t>
              </a:r>
            </a:p>
          </p:txBody>
        </p:sp>
        <p:sp>
          <p:nvSpPr>
            <p:cNvPr id="19" name="TextBox 18"/>
            <p:cNvSpPr txBox="1"/>
            <p:nvPr/>
          </p:nvSpPr>
          <p:spPr>
            <a:xfrm>
              <a:off x="6998555" y="2925330"/>
              <a:ext cx="799678" cy="425723"/>
            </a:xfrm>
            <a:prstGeom prst="rect">
              <a:avLst/>
            </a:prstGeom>
            <a:solidFill>
              <a:schemeClr val="accent2">
                <a:lumMod val="20000"/>
                <a:lumOff val="80000"/>
              </a:schemeClr>
            </a:solidFill>
          </p:spPr>
          <p:txBody>
            <a:bodyPr wrap="square" lIns="0" tIns="0" rIns="0" bIns="0" rtlCol="0" anchor="ctr">
              <a:noAutofit/>
            </a:bodyPr>
            <a:lstStyle/>
            <a:p>
              <a:pPr algn="ctr">
                <a:lnSpc>
                  <a:spcPct val="90000"/>
                </a:lnSpc>
                <a:spcAft>
                  <a:spcPts val="600"/>
                </a:spcAft>
              </a:pPr>
              <a:r>
                <a:rPr lang="en-US" sz="1050" dirty="0">
                  <a:solidFill>
                    <a:schemeClr val="tx1">
                      <a:lumMod val="85000"/>
                      <a:lumOff val="15000"/>
                    </a:schemeClr>
                  </a:solidFill>
                  <a:latin typeface="Segoe UI Semibold" panose="020B0702040204020203" pitchFamily="34" charset="0"/>
                  <a:cs typeface="Segoe UI Semibold" panose="020B0702040204020203" pitchFamily="34" charset="0"/>
                </a:rPr>
                <a:t>Data Partition 2</a:t>
              </a:r>
            </a:p>
          </p:txBody>
        </p:sp>
        <p:sp>
          <p:nvSpPr>
            <p:cNvPr id="20" name="TextBox 19"/>
            <p:cNvSpPr txBox="1"/>
            <p:nvPr/>
          </p:nvSpPr>
          <p:spPr>
            <a:xfrm>
              <a:off x="7930930" y="2925330"/>
              <a:ext cx="799678" cy="425723"/>
            </a:xfrm>
            <a:prstGeom prst="rect">
              <a:avLst/>
            </a:prstGeom>
            <a:solidFill>
              <a:schemeClr val="accent2">
                <a:lumMod val="20000"/>
                <a:lumOff val="80000"/>
              </a:schemeClr>
            </a:solidFill>
          </p:spPr>
          <p:txBody>
            <a:bodyPr wrap="square" lIns="0" tIns="0" rIns="0" bIns="0" rtlCol="0" anchor="ctr">
              <a:noAutofit/>
            </a:bodyPr>
            <a:lstStyle/>
            <a:p>
              <a:pPr algn="ctr">
                <a:lnSpc>
                  <a:spcPct val="90000"/>
                </a:lnSpc>
                <a:spcAft>
                  <a:spcPts val="600"/>
                </a:spcAft>
              </a:pPr>
              <a:r>
                <a:rPr lang="en-US" sz="1050" dirty="0">
                  <a:solidFill>
                    <a:schemeClr val="tx1">
                      <a:lumMod val="85000"/>
                      <a:lumOff val="15000"/>
                    </a:schemeClr>
                  </a:solidFill>
                  <a:latin typeface="Segoe UI Semibold" panose="020B0702040204020203" pitchFamily="34" charset="0"/>
                  <a:cs typeface="Segoe UI Semibold" panose="020B0702040204020203" pitchFamily="34" charset="0"/>
                </a:rPr>
                <a:t>Data Partition 3</a:t>
              </a:r>
            </a:p>
          </p:txBody>
        </p:sp>
        <p:cxnSp>
          <p:nvCxnSpPr>
            <p:cNvPr id="40" name="Straight Arrow Connector 39"/>
            <p:cNvCxnSpPr>
              <a:stCxn id="13" idx="2"/>
              <a:endCxn id="19" idx="0"/>
            </p:cNvCxnSpPr>
            <p:nvPr/>
          </p:nvCxnSpPr>
          <p:spPr>
            <a:xfrm>
              <a:off x="7398394" y="2534700"/>
              <a:ext cx="0" cy="390630"/>
            </a:xfrm>
            <a:prstGeom prst="straightConnector1">
              <a:avLst/>
            </a:prstGeom>
            <a:ln w="28575">
              <a:solidFill>
                <a:schemeClr val="bg1"/>
              </a:solidFill>
              <a:headEnd type="none"/>
              <a:tailEnd type="triangle"/>
            </a:ln>
          </p:spPr>
          <p:style>
            <a:lnRef idx="1">
              <a:schemeClr val="accent5"/>
            </a:lnRef>
            <a:fillRef idx="0">
              <a:schemeClr val="accent5"/>
            </a:fillRef>
            <a:effectRef idx="0">
              <a:schemeClr val="accent5"/>
            </a:effectRef>
            <a:fontRef idx="minor">
              <a:schemeClr val="tx1"/>
            </a:fontRef>
          </p:style>
        </p:cxnSp>
        <p:cxnSp>
          <p:nvCxnSpPr>
            <p:cNvPr id="42" name="Elbow Connector 41"/>
            <p:cNvCxnSpPr/>
            <p:nvPr/>
          </p:nvCxnSpPr>
          <p:spPr>
            <a:xfrm rot="16200000" flipH="1">
              <a:off x="7624784" y="2239763"/>
              <a:ext cx="457200" cy="914400"/>
            </a:xfrm>
            <a:prstGeom prst="bentConnector3">
              <a:avLst/>
            </a:prstGeom>
            <a:ln w="28575">
              <a:solidFill>
                <a:schemeClr val="bg1"/>
              </a:solidFill>
              <a:headEnd type="none"/>
              <a:tailEnd type="triangle"/>
            </a:ln>
          </p:spPr>
          <p:style>
            <a:lnRef idx="1">
              <a:schemeClr val="accent5"/>
            </a:lnRef>
            <a:fillRef idx="0">
              <a:schemeClr val="accent5"/>
            </a:fillRef>
            <a:effectRef idx="0">
              <a:schemeClr val="accent5"/>
            </a:effectRef>
            <a:fontRef idx="minor">
              <a:schemeClr val="tx1"/>
            </a:fontRef>
          </p:style>
        </p:cxnSp>
        <p:cxnSp>
          <p:nvCxnSpPr>
            <p:cNvPr id="43" name="Elbow Connector 42"/>
            <p:cNvCxnSpPr/>
            <p:nvPr/>
          </p:nvCxnSpPr>
          <p:spPr>
            <a:xfrm rot="5400000">
              <a:off x="6708672" y="2246275"/>
              <a:ext cx="457200" cy="914400"/>
            </a:xfrm>
            <a:prstGeom prst="bentConnector3">
              <a:avLst/>
            </a:prstGeom>
            <a:ln w="28575">
              <a:solidFill>
                <a:schemeClr val="bg1"/>
              </a:solidFill>
              <a:headEnd type="none"/>
              <a:tailEnd type="triangle"/>
            </a:ln>
          </p:spPr>
          <p:style>
            <a:lnRef idx="1">
              <a:schemeClr val="accent5"/>
            </a:lnRef>
            <a:fillRef idx="0">
              <a:schemeClr val="accent5"/>
            </a:fillRef>
            <a:effectRef idx="0">
              <a:schemeClr val="accent5"/>
            </a:effectRef>
            <a:fontRef idx="minor">
              <a:schemeClr val="tx1"/>
            </a:fontRef>
          </p:style>
        </p:cxnSp>
        <p:cxnSp>
          <p:nvCxnSpPr>
            <p:cNvPr id="62" name="Elbow Connector 61"/>
            <p:cNvCxnSpPr/>
            <p:nvPr/>
          </p:nvCxnSpPr>
          <p:spPr>
            <a:xfrm rot="16200000" flipH="1">
              <a:off x="6365067" y="3497664"/>
              <a:ext cx="822960" cy="548640"/>
            </a:xfrm>
            <a:prstGeom prst="bentConnector3">
              <a:avLst>
                <a:gd name="adj1" fmla="val 42491"/>
              </a:avLst>
            </a:prstGeom>
            <a:ln w="28575">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a:stCxn id="19" idx="2"/>
              <a:endCxn id="29" idx="0"/>
            </p:cNvCxnSpPr>
            <p:nvPr/>
          </p:nvCxnSpPr>
          <p:spPr>
            <a:xfrm>
              <a:off x="7398394" y="3351053"/>
              <a:ext cx="0" cy="863523"/>
            </a:xfrm>
            <a:prstGeom prst="straightConnector1">
              <a:avLst/>
            </a:prstGeom>
            <a:ln w="28575">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7" name="Elbow Connector 66"/>
            <p:cNvCxnSpPr/>
            <p:nvPr/>
          </p:nvCxnSpPr>
          <p:spPr>
            <a:xfrm rot="5400000">
              <a:off x="7627074" y="3506228"/>
              <a:ext cx="822960" cy="548640"/>
            </a:xfrm>
            <a:prstGeom prst="bentConnector3">
              <a:avLst>
                <a:gd name="adj1" fmla="val 42491"/>
              </a:avLst>
            </a:prstGeom>
            <a:ln w="28575">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0" name="Rectangle 69"/>
            <p:cNvSpPr/>
            <p:nvPr/>
          </p:nvSpPr>
          <p:spPr bwMode="auto">
            <a:xfrm>
              <a:off x="9452125" y="3860737"/>
              <a:ext cx="2012522" cy="114287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b="1" dirty="0">
                <a:solidFill>
                  <a:schemeClr val="bg1"/>
                </a:solidFill>
                <a:latin typeface="+mj-lt"/>
                <a:ea typeface="Segoe UI" pitchFamily="34" charset="0"/>
                <a:cs typeface="Segoe UI" pitchFamily="34" charset="0"/>
              </a:endParaRPr>
            </a:p>
          </p:txBody>
        </p:sp>
        <p:sp>
          <p:nvSpPr>
            <p:cNvPr id="71" name="TextBox 70"/>
            <p:cNvSpPr txBox="1"/>
            <p:nvPr/>
          </p:nvSpPr>
          <p:spPr>
            <a:xfrm>
              <a:off x="9947602" y="4212864"/>
              <a:ext cx="1021568" cy="356151"/>
            </a:xfrm>
            <a:prstGeom prst="rect">
              <a:avLst/>
            </a:prstGeom>
            <a:solidFill>
              <a:schemeClr val="bg1"/>
            </a:solidFill>
          </p:spPr>
          <p:txBody>
            <a:bodyPr wrap="none" lIns="91440" tIns="91440" rIns="91440" bIns="91440" rtlCol="0" anchor="ctr">
              <a:noAutofit/>
            </a:bodyPr>
            <a:lstStyle/>
            <a:p>
              <a:pPr algn="ctr">
                <a:lnSpc>
                  <a:spcPct val="90000"/>
                </a:lnSpc>
                <a:spcAft>
                  <a:spcPts val="600"/>
                </a:spcAft>
              </a:pPr>
              <a:r>
                <a:rPr lang="en-US" sz="1400" dirty="0">
                  <a:solidFill>
                    <a:schemeClr val="tx1">
                      <a:lumMod val="85000"/>
                      <a:lumOff val="15000"/>
                    </a:schemeClr>
                  </a:solidFill>
                </a:rPr>
                <a:t>Reducer</a:t>
              </a:r>
            </a:p>
          </p:txBody>
        </p:sp>
        <p:sp>
          <p:nvSpPr>
            <p:cNvPr id="76" name="Rectangle 75"/>
            <p:cNvSpPr/>
            <p:nvPr/>
          </p:nvSpPr>
          <p:spPr bwMode="auto">
            <a:xfrm>
              <a:off x="9054216" y="1941496"/>
              <a:ext cx="2857962" cy="167884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b="1" dirty="0">
                <a:solidFill>
                  <a:schemeClr val="bg1"/>
                </a:solidFill>
                <a:latin typeface="+mj-lt"/>
                <a:ea typeface="Segoe UI" pitchFamily="34" charset="0"/>
                <a:cs typeface="Segoe UI" pitchFamily="34" charset="0"/>
              </a:endParaRPr>
            </a:p>
          </p:txBody>
        </p:sp>
        <p:sp>
          <p:nvSpPr>
            <p:cNvPr id="77" name="TextBox 76"/>
            <p:cNvSpPr txBox="1"/>
            <p:nvPr/>
          </p:nvSpPr>
          <p:spPr>
            <a:xfrm>
              <a:off x="9947602" y="2176837"/>
              <a:ext cx="1021568" cy="356151"/>
            </a:xfrm>
            <a:prstGeom prst="rect">
              <a:avLst/>
            </a:prstGeom>
            <a:solidFill>
              <a:schemeClr val="bg1"/>
            </a:solidFill>
          </p:spPr>
          <p:txBody>
            <a:bodyPr wrap="none" lIns="91440" tIns="91440" rIns="91440" bIns="91440" rtlCol="0" anchor="ctr">
              <a:noAutofit/>
            </a:bodyPr>
            <a:lstStyle/>
            <a:p>
              <a:pPr algn="ctr">
                <a:lnSpc>
                  <a:spcPct val="90000"/>
                </a:lnSpc>
                <a:spcAft>
                  <a:spcPts val="600"/>
                </a:spcAft>
              </a:pPr>
              <a:r>
                <a:rPr lang="en-US" sz="1400" dirty="0">
                  <a:solidFill>
                    <a:schemeClr val="tx1">
                      <a:lumMod val="85000"/>
                      <a:lumOff val="15000"/>
                    </a:schemeClr>
                  </a:solidFill>
                </a:rPr>
                <a:t>Mapper</a:t>
              </a:r>
            </a:p>
          </p:txBody>
        </p:sp>
        <p:sp>
          <p:nvSpPr>
            <p:cNvPr id="78" name="TextBox 77"/>
            <p:cNvSpPr txBox="1"/>
            <p:nvPr/>
          </p:nvSpPr>
          <p:spPr>
            <a:xfrm>
              <a:off x="8942947" y="1928621"/>
              <a:ext cx="698642" cy="298827"/>
            </a:xfrm>
            <a:prstGeom prst="rect">
              <a:avLst/>
            </a:prstGeom>
            <a:noFill/>
          </p:spPr>
          <p:txBody>
            <a:bodyPr wrap="none" lIns="182880" tIns="146304" rIns="182880" bIns="146304" rtlCol="0" anchor="ctr">
              <a:noAutofit/>
            </a:bodyPr>
            <a:lstStyle/>
            <a:p>
              <a:pPr algn="ctr">
                <a:lnSpc>
                  <a:spcPct val="90000"/>
                </a:lnSpc>
                <a:spcAft>
                  <a:spcPts val="600"/>
                </a:spcAft>
              </a:pPr>
              <a:r>
                <a:rPr lang="en-US" sz="1100" dirty="0">
                  <a:solidFill>
                    <a:schemeClr val="bg1"/>
                  </a:solidFill>
                </a:rPr>
                <a:t>Host </a:t>
              </a:r>
            </a:p>
          </p:txBody>
        </p:sp>
        <p:sp>
          <p:nvSpPr>
            <p:cNvPr id="79" name="TextBox 78"/>
            <p:cNvSpPr txBox="1"/>
            <p:nvPr/>
          </p:nvSpPr>
          <p:spPr>
            <a:xfrm>
              <a:off x="9158703" y="2923618"/>
              <a:ext cx="799678" cy="425723"/>
            </a:xfrm>
            <a:prstGeom prst="rect">
              <a:avLst/>
            </a:prstGeom>
            <a:solidFill>
              <a:schemeClr val="accent2">
                <a:lumMod val="20000"/>
                <a:lumOff val="80000"/>
              </a:schemeClr>
            </a:solidFill>
          </p:spPr>
          <p:txBody>
            <a:bodyPr wrap="square" lIns="0" tIns="0" rIns="0" bIns="0" rtlCol="0" anchor="ctr">
              <a:noAutofit/>
            </a:bodyPr>
            <a:lstStyle/>
            <a:p>
              <a:pPr algn="ctr">
                <a:lnSpc>
                  <a:spcPct val="90000"/>
                </a:lnSpc>
                <a:spcAft>
                  <a:spcPts val="600"/>
                </a:spcAft>
              </a:pPr>
              <a:r>
                <a:rPr lang="en-US" sz="1050" dirty="0">
                  <a:solidFill>
                    <a:schemeClr val="tx1">
                      <a:lumMod val="85000"/>
                      <a:lumOff val="15000"/>
                    </a:schemeClr>
                  </a:solidFill>
                  <a:latin typeface="Segoe UI Semibold" panose="020B0702040204020203" pitchFamily="34" charset="0"/>
                  <a:cs typeface="Segoe UI Semibold" panose="020B0702040204020203" pitchFamily="34" charset="0"/>
                </a:rPr>
                <a:t>Data Partition 1</a:t>
              </a:r>
            </a:p>
          </p:txBody>
        </p:sp>
        <p:sp>
          <p:nvSpPr>
            <p:cNvPr id="80" name="TextBox 79"/>
            <p:cNvSpPr txBox="1"/>
            <p:nvPr/>
          </p:nvSpPr>
          <p:spPr>
            <a:xfrm>
              <a:off x="10058547" y="2923618"/>
              <a:ext cx="799678" cy="425723"/>
            </a:xfrm>
            <a:prstGeom prst="rect">
              <a:avLst/>
            </a:prstGeom>
            <a:solidFill>
              <a:schemeClr val="accent2">
                <a:lumMod val="20000"/>
                <a:lumOff val="80000"/>
              </a:schemeClr>
            </a:solidFill>
          </p:spPr>
          <p:txBody>
            <a:bodyPr wrap="square" lIns="0" tIns="0" rIns="0" bIns="0" rtlCol="0" anchor="ctr">
              <a:noAutofit/>
            </a:bodyPr>
            <a:lstStyle/>
            <a:p>
              <a:pPr algn="ctr">
                <a:lnSpc>
                  <a:spcPct val="90000"/>
                </a:lnSpc>
                <a:spcAft>
                  <a:spcPts val="600"/>
                </a:spcAft>
              </a:pPr>
              <a:r>
                <a:rPr lang="en-US" sz="1050" dirty="0">
                  <a:solidFill>
                    <a:schemeClr val="tx1">
                      <a:lumMod val="85000"/>
                      <a:lumOff val="15000"/>
                    </a:schemeClr>
                  </a:solidFill>
                  <a:latin typeface="Segoe UI Semibold" panose="020B0702040204020203" pitchFamily="34" charset="0"/>
                  <a:cs typeface="Segoe UI Semibold" panose="020B0702040204020203" pitchFamily="34" charset="0"/>
                </a:rPr>
                <a:t>Data Partition 2</a:t>
              </a:r>
            </a:p>
          </p:txBody>
        </p:sp>
        <p:sp>
          <p:nvSpPr>
            <p:cNvPr id="81" name="TextBox 80"/>
            <p:cNvSpPr txBox="1"/>
            <p:nvPr/>
          </p:nvSpPr>
          <p:spPr>
            <a:xfrm>
              <a:off x="10990922" y="2923618"/>
              <a:ext cx="799678" cy="425723"/>
            </a:xfrm>
            <a:prstGeom prst="rect">
              <a:avLst/>
            </a:prstGeom>
            <a:solidFill>
              <a:schemeClr val="accent2">
                <a:lumMod val="20000"/>
                <a:lumOff val="80000"/>
              </a:schemeClr>
            </a:solidFill>
          </p:spPr>
          <p:txBody>
            <a:bodyPr wrap="square" lIns="0" tIns="0" rIns="0" bIns="0" rtlCol="0" anchor="ctr">
              <a:noAutofit/>
            </a:bodyPr>
            <a:lstStyle/>
            <a:p>
              <a:pPr algn="ctr">
                <a:lnSpc>
                  <a:spcPct val="90000"/>
                </a:lnSpc>
                <a:spcAft>
                  <a:spcPts val="600"/>
                </a:spcAft>
              </a:pPr>
              <a:r>
                <a:rPr lang="en-US" sz="1050" dirty="0">
                  <a:solidFill>
                    <a:schemeClr val="tx1">
                      <a:lumMod val="85000"/>
                      <a:lumOff val="15000"/>
                    </a:schemeClr>
                  </a:solidFill>
                  <a:latin typeface="Segoe UI Semibold" panose="020B0702040204020203" pitchFamily="34" charset="0"/>
                  <a:cs typeface="Segoe UI Semibold" panose="020B0702040204020203" pitchFamily="34" charset="0"/>
                </a:rPr>
                <a:t>Data Partition 3</a:t>
              </a:r>
            </a:p>
          </p:txBody>
        </p:sp>
        <p:cxnSp>
          <p:nvCxnSpPr>
            <p:cNvPr id="82" name="Straight Arrow Connector 81"/>
            <p:cNvCxnSpPr>
              <a:stCxn id="77" idx="2"/>
              <a:endCxn id="80" idx="0"/>
            </p:cNvCxnSpPr>
            <p:nvPr/>
          </p:nvCxnSpPr>
          <p:spPr>
            <a:xfrm>
              <a:off x="10458386" y="2532988"/>
              <a:ext cx="0" cy="390630"/>
            </a:xfrm>
            <a:prstGeom prst="straightConnector1">
              <a:avLst/>
            </a:prstGeom>
            <a:ln w="28575">
              <a:solidFill>
                <a:schemeClr val="bg1"/>
              </a:solidFill>
              <a:headEnd type="none"/>
              <a:tailEnd type="triangle"/>
            </a:ln>
          </p:spPr>
          <p:style>
            <a:lnRef idx="1">
              <a:schemeClr val="accent5"/>
            </a:lnRef>
            <a:fillRef idx="0">
              <a:schemeClr val="accent5"/>
            </a:fillRef>
            <a:effectRef idx="0">
              <a:schemeClr val="accent5"/>
            </a:effectRef>
            <a:fontRef idx="minor">
              <a:schemeClr val="tx1"/>
            </a:fontRef>
          </p:style>
        </p:cxnSp>
        <p:cxnSp>
          <p:nvCxnSpPr>
            <p:cNvPr id="83" name="Elbow Connector 82"/>
            <p:cNvCxnSpPr/>
            <p:nvPr/>
          </p:nvCxnSpPr>
          <p:spPr>
            <a:xfrm rot="16200000" flipH="1">
              <a:off x="10684776" y="2227777"/>
              <a:ext cx="457200" cy="914400"/>
            </a:xfrm>
            <a:prstGeom prst="bentConnector3">
              <a:avLst/>
            </a:prstGeom>
            <a:ln w="28575">
              <a:solidFill>
                <a:schemeClr val="bg1"/>
              </a:solidFill>
              <a:headEnd type="none"/>
              <a:tailEnd type="triangle"/>
            </a:ln>
          </p:spPr>
          <p:style>
            <a:lnRef idx="1">
              <a:schemeClr val="accent5"/>
            </a:lnRef>
            <a:fillRef idx="0">
              <a:schemeClr val="accent5"/>
            </a:fillRef>
            <a:effectRef idx="0">
              <a:schemeClr val="accent5"/>
            </a:effectRef>
            <a:fontRef idx="minor">
              <a:schemeClr val="tx1"/>
            </a:fontRef>
          </p:style>
        </p:cxnSp>
        <p:cxnSp>
          <p:nvCxnSpPr>
            <p:cNvPr id="84" name="Elbow Connector 83"/>
            <p:cNvCxnSpPr/>
            <p:nvPr/>
          </p:nvCxnSpPr>
          <p:spPr>
            <a:xfrm rot="5400000">
              <a:off x="9768664" y="2234289"/>
              <a:ext cx="457200" cy="914400"/>
            </a:xfrm>
            <a:prstGeom prst="bentConnector3">
              <a:avLst/>
            </a:prstGeom>
            <a:ln w="28575">
              <a:solidFill>
                <a:schemeClr val="bg1"/>
              </a:solidFill>
              <a:headEnd type="none"/>
              <a:tailEnd type="triangle"/>
            </a:ln>
          </p:spPr>
          <p:style>
            <a:lnRef idx="1">
              <a:schemeClr val="accent5"/>
            </a:lnRef>
            <a:fillRef idx="0">
              <a:schemeClr val="accent5"/>
            </a:fillRef>
            <a:effectRef idx="0">
              <a:schemeClr val="accent5"/>
            </a:effectRef>
            <a:fontRef idx="minor">
              <a:schemeClr val="tx1"/>
            </a:fontRef>
          </p:style>
        </p:cxnSp>
        <p:cxnSp>
          <p:nvCxnSpPr>
            <p:cNvPr id="73" name="Elbow Connector 72"/>
            <p:cNvCxnSpPr/>
            <p:nvPr/>
          </p:nvCxnSpPr>
          <p:spPr>
            <a:xfrm rot="16200000" flipH="1">
              <a:off x="9425059" y="3495952"/>
              <a:ext cx="822960" cy="548640"/>
            </a:xfrm>
            <a:prstGeom prst="bentConnector3">
              <a:avLst>
                <a:gd name="adj1" fmla="val 42491"/>
              </a:avLst>
            </a:prstGeom>
            <a:ln w="28575">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a:stCxn id="80" idx="2"/>
              <a:endCxn id="71" idx="0"/>
            </p:cNvCxnSpPr>
            <p:nvPr/>
          </p:nvCxnSpPr>
          <p:spPr>
            <a:xfrm>
              <a:off x="10458386" y="3349341"/>
              <a:ext cx="0" cy="863523"/>
            </a:xfrm>
            <a:prstGeom prst="straightConnector1">
              <a:avLst/>
            </a:prstGeom>
            <a:ln w="28575">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5" name="Elbow Connector 74"/>
            <p:cNvCxnSpPr/>
            <p:nvPr/>
          </p:nvCxnSpPr>
          <p:spPr>
            <a:xfrm rot="5400000">
              <a:off x="10687066" y="3504516"/>
              <a:ext cx="822960" cy="548640"/>
            </a:xfrm>
            <a:prstGeom prst="bentConnector3">
              <a:avLst>
                <a:gd name="adj1" fmla="val 42491"/>
              </a:avLst>
            </a:prstGeom>
            <a:ln w="28575">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0" name="Elbow Connector 59"/>
            <p:cNvCxnSpPr/>
            <p:nvPr/>
          </p:nvCxnSpPr>
          <p:spPr>
            <a:xfrm rot="16200000" flipH="1">
              <a:off x="9367591" y="1095885"/>
              <a:ext cx="640080" cy="1527048"/>
            </a:xfrm>
            <a:prstGeom prst="bentConnector3">
              <a:avLst>
                <a:gd name="adj1" fmla="val 28571"/>
              </a:avLst>
            </a:prstGeom>
            <a:ln w="28575">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p:cNvCxnSpPr>
              <a:stCxn id="29" idx="2"/>
              <a:endCxn id="30" idx="0"/>
            </p:cNvCxnSpPr>
            <p:nvPr/>
          </p:nvCxnSpPr>
          <p:spPr>
            <a:xfrm>
              <a:off x="7398394" y="4570727"/>
              <a:ext cx="0" cy="873363"/>
            </a:xfrm>
            <a:prstGeom prst="straightConnector1">
              <a:avLst/>
            </a:prstGeom>
            <a:ln w="28575">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a:stCxn id="71" idx="2"/>
              <a:endCxn id="31" idx="0"/>
            </p:cNvCxnSpPr>
            <p:nvPr/>
          </p:nvCxnSpPr>
          <p:spPr>
            <a:xfrm>
              <a:off x="10458386" y="4569015"/>
              <a:ext cx="1" cy="873363"/>
            </a:xfrm>
            <a:prstGeom prst="straightConnector1">
              <a:avLst/>
            </a:prstGeom>
            <a:ln w="28575">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6" name="Elbow Connector 55"/>
            <p:cNvCxnSpPr/>
            <p:nvPr/>
          </p:nvCxnSpPr>
          <p:spPr>
            <a:xfrm rot="5400000">
              <a:off x="7883676" y="1144916"/>
              <a:ext cx="548640" cy="1527048"/>
            </a:xfrm>
            <a:prstGeom prst="bentConnector3">
              <a:avLst>
                <a:gd name="adj1" fmla="val 17602"/>
              </a:avLst>
            </a:prstGeom>
            <a:ln w="28575">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92" name="TextBox 91"/>
            <p:cNvSpPr txBox="1"/>
            <p:nvPr/>
          </p:nvSpPr>
          <p:spPr>
            <a:xfrm>
              <a:off x="6312753" y="3808789"/>
              <a:ext cx="698642" cy="298827"/>
            </a:xfrm>
            <a:prstGeom prst="rect">
              <a:avLst/>
            </a:prstGeom>
            <a:noFill/>
          </p:spPr>
          <p:txBody>
            <a:bodyPr wrap="none" lIns="182880" tIns="146304" rIns="182880" bIns="146304" rtlCol="0" anchor="ctr">
              <a:noAutofit/>
            </a:bodyPr>
            <a:lstStyle/>
            <a:p>
              <a:pPr algn="ctr">
                <a:lnSpc>
                  <a:spcPct val="90000"/>
                </a:lnSpc>
                <a:spcAft>
                  <a:spcPts val="600"/>
                </a:spcAft>
              </a:pPr>
              <a:r>
                <a:rPr lang="en-US" sz="1100" dirty="0">
                  <a:solidFill>
                    <a:schemeClr val="bg1"/>
                  </a:solidFill>
                </a:rPr>
                <a:t>Host</a:t>
              </a:r>
            </a:p>
          </p:txBody>
        </p:sp>
        <p:sp>
          <p:nvSpPr>
            <p:cNvPr id="93" name="TextBox 92"/>
            <p:cNvSpPr txBox="1"/>
            <p:nvPr/>
          </p:nvSpPr>
          <p:spPr>
            <a:xfrm>
              <a:off x="9321366" y="3827625"/>
              <a:ext cx="698642" cy="298827"/>
            </a:xfrm>
            <a:prstGeom prst="rect">
              <a:avLst/>
            </a:prstGeom>
            <a:noFill/>
          </p:spPr>
          <p:txBody>
            <a:bodyPr wrap="none" lIns="182880" tIns="146304" rIns="182880" bIns="146304" rtlCol="0" anchor="ctr">
              <a:noAutofit/>
            </a:bodyPr>
            <a:lstStyle/>
            <a:p>
              <a:pPr algn="ctr">
                <a:lnSpc>
                  <a:spcPct val="90000"/>
                </a:lnSpc>
                <a:spcAft>
                  <a:spcPts val="600"/>
                </a:spcAft>
              </a:pPr>
              <a:r>
                <a:rPr lang="en-US" sz="1100" dirty="0">
                  <a:solidFill>
                    <a:schemeClr val="bg1"/>
                  </a:solidFill>
                </a:rPr>
                <a:t>Host</a:t>
              </a:r>
            </a:p>
          </p:txBody>
        </p:sp>
      </p:grpSp>
      <p:sp>
        <p:nvSpPr>
          <p:cNvPr id="99" name="TextBox 98"/>
          <p:cNvSpPr txBox="1"/>
          <p:nvPr/>
        </p:nvSpPr>
        <p:spPr>
          <a:xfrm>
            <a:off x="308045" y="1396554"/>
            <a:ext cx="6301687" cy="4846737"/>
          </a:xfrm>
          <a:prstGeom prst="rect">
            <a:avLst/>
          </a:prstGeom>
          <a:noFill/>
        </p:spPr>
        <p:txBody>
          <a:bodyPr wrap="square" lIns="182880" tIns="146304" rIns="182880" bIns="146304" rtlCol="0">
            <a:noAutofit/>
          </a:bodyPr>
          <a:lstStyle/>
          <a:p>
            <a:pPr marL="285750" indent="-285750">
              <a:lnSpc>
                <a:spcPct val="90000"/>
              </a:lnSpc>
              <a:spcAft>
                <a:spcPts val="600"/>
              </a:spcAft>
              <a:buClr>
                <a:schemeClr val="accent3"/>
              </a:buClr>
              <a:buSzPct val="75000"/>
              <a:buFont typeface="Wingdings" panose="05000000000000000000" pitchFamily="2" charset="2"/>
              <a:buChar char="v"/>
            </a:pPr>
            <a:r>
              <a:rPr lang="en-US" dirty="0">
                <a:solidFill>
                  <a:schemeClr val="tx1">
                    <a:lumMod val="65000"/>
                    <a:lumOff val="35000"/>
                  </a:schemeClr>
                </a:solidFill>
              </a:rPr>
              <a:t>Hadoop divides the input file into splits and assign every split to different mapper.</a:t>
            </a:r>
          </a:p>
          <a:p>
            <a:pPr marL="285750" indent="-285750">
              <a:lnSpc>
                <a:spcPct val="90000"/>
              </a:lnSpc>
              <a:spcAft>
                <a:spcPts val="600"/>
              </a:spcAft>
              <a:buClr>
                <a:schemeClr val="accent3"/>
              </a:buClr>
              <a:buSzPct val="75000"/>
              <a:buFont typeface="Wingdings" panose="05000000000000000000" pitchFamily="2" charset="2"/>
              <a:buChar char="v"/>
            </a:pPr>
            <a:r>
              <a:rPr lang="en-US" dirty="0">
                <a:solidFill>
                  <a:schemeClr val="tx1">
                    <a:lumMod val="65000"/>
                    <a:lumOff val="35000"/>
                  </a:schemeClr>
                </a:solidFill>
              </a:rPr>
              <a:t>Locally Hadoop reads the split line-by-line and call map() for very line, passing it as key/value parameters</a:t>
            </a:r>
          </a:p>
          <a:p>
            <a:pPr marL="285750" indent="-285750">
              <a:lnSpc>
                <a:spcPct val="90000"/>
              </a:lnSpc>
              <a:spcAft>
                <a:spcPts val="600"/>
              </a:spcAft>
              <a:buClr>
                <a:schemeClr val="accent3"/>
              </a:buClr>
              <a:buSzPct val="75000"/>
              <a:buFont typeface="Wingdings" panose="05000000000000000000" pitchFamily="2" charset="2"/>
              <a:buChar char="v"/>
            </a:pPr>
            <a:r>
              <a:rPr lang="en-US" dirty="0">
                <a:solidFill>
                  <a:schemeClr val="tx1">
                    <a:lumMod val="65000"/>
                    <a:lumOff val="35000"/>
                  </a:schemeClr>
                </a:solidFill>
              </a:rPr>
              <a:t>The mapper emits other intermediate key/value pairs</a:t>
            </a:r>
          </a:p>
          <a:p>
            <a:pPr marL="285750" indent="-285750">
              <a:lnSpc>
                <a:spcPct val="90000"/>
              </a:lnSpc>
              <a:spcAft>
                <a:spcPts val="600"/>
              </a:spcAft>
              <a:buClr>
                <a:schemeClr val="accent3"/>
              </a:buClr>
              <a:buSzPct val="75000"/>
              <a:buFont typeface="Wingdings" panose="05000000000000000000" pitchFamily="2" charset="2"/>
              <a:buChar char="v"/>
            </a:pPr>
            <a:r>
              <a:rPr lang="en-US" dirty="0">
                <a:solidFill>
                  <a:schemeClr val="tx1">
                    <a:lumMod val="65000"/>
                    <a:lumOff val="35000"/>
                  </a:schemeClr>
                </a:solidFill>
              </a:rPr>
              <a:t>All the intermediate values for a given intermediate key are combined together into a list.</a:t>
            </a:r>
          </a:p>
          <a:p>
            <a:pPr marL="285750" indent="-285750">
              <a:lnSpc>
                <a:spcPct val="90000"/>
              </a:lnSpc>
              <a:spcAft>
                <a:spcPts val="600"/>
              </a:spcAft>
              <a:buClr>
                <a:schemeClr val="accent3"/>
              </a:buClr>
              <a:buSzPct val="75000"/>
              <a:buFont typeface="Wingdings" panose="05000000000000000000" pitchFamily="2" charset="2"/>
              <a:buChar char="v"/>
            </a:pPr>
            <a:r>
              <a:rPr lang="en-US" dirty="0">
                <a:solidFill>
                  <a:schemeClr val="tx1">
                    <a:lumMod val="65000"/>
                    <a:lumOff val="35000"/>
                  </a:schemeClr>
                </a:solidFill>
              </a:rPr>
              <a:t>The list is given to one or more Reducers.</a:t>
            </a:r>
            <a:endParaRPr lang="en-US" sz="1600" dirty="0">
              <a:solidFill>
                <a:schemeClr val="tx1">
                  <a:lumMod val="65000"/>
                  <a:lumOff val="35000"/>
                </a:schemeClr>
              </a:solidFill>
            </a:endParaRPr>
          </a:p>
          <a:p>
            <a:pPr marL="548640" lvl="1" indent="-285750">
              <a:lnSpc>
                <a:spcPct val="90000"/>
              </a:lnSpc>
              <a:spcAft>
                <a:spcPts val="600"/>
              </a:spcAft>
              <a:buClr>
                <a:schemeClr val="accent3"/>
              </a:buClr>
              <a:buFont typeface="Arial" panose="020B0604020202020204" pitchFamily="34" charset="0"/>
              <a:buChar char="•"/>
            </a:pPr>
            <a:r>
              <a:rPr lang="en-US" sz="1600" dirty="0">
                <a:solidFill>
                  <a:schemeClr val="tx1">
                    <a:lumMod val="65000"/>
                    <a:lumOff val="35000"/>
                  </a:schemeClr>
                </a:solidFill>
              </a:rPr>
              <a:t>All values associated with a particular intermediate key are guaranteed to go to the same Reducer</a:t>
            </a:r>
          </a:p>
          <a:p>
            <a:pPr marL="548640" lvl="1" indent="-285750">
              <a:lnSpc>
                <a:spcPct val="90000"/>
              </a:lnSpc>
              <a:spcAft>
                <a:spcPts val="600"/>
              </a:spcAft>
              <a:buClr>
                <a:schemeClr val="accent3"/>
              </a:buClr>
              <a:buFont typeface="Arial" panose="020B0604020202020204" pitchFamily="34" charset="0"/>
              <a:buChar char="•"/>
            </a:pPr>
            <a:r>
              <a:rPr lang="en-US" sz="1600" dirty="0">
                <a:solidFill>
                  <a:schemeClr val="tx1">
                    <a:lumMod val="65000"/>
                    <a:lumOff val="35000"/>
                  </a:schemeClr>
                </a:solidFill>
              </a:rPr>
              <a:t>The intermediate keys, and their value lists, are passed to the Reducer in sorted key order – This step is known as the ‘shuffle and sort’</a:t>
            </a:r>
          </a:p>
          <a:p>
            <a:pPr marL="548640" lvl="1" indent="-285750">
              <a:lnSpc>
                <a:spcPct val="90000"/>
              </a:lnSpc>
              <a:spcAft>
                <a:spcPts val="600"/>
              </a:spcAft>
              <a:buClr>
                <a:schemeClr val="accent3"/>
              </a:buClr>
              <a:buFont typeface="Arial" panose="020B0604020202020204" pitchFamily="34" charset="0"/>
              <a:buChar char="•"/>
            </a:pPr>
            <a:r>
              <a:rPr lang="en-US" sz="1600" dirty="0">
                <a:solidFill>
                  <a:schemeClr val="tx1">
                    <a:lumMod val="65000"/>
                    <a:lumOff val="35000"/>
                  </a:schemeClr>
                </a:solidFill>
              </a:rPr>
              <a:t>Hadoop calls reduce() on every line of the input</a:t>
            </a:r>
          </a:p>
          <a:p>
            <a:pPr marL="548640" lvl="1" indent="-285750">
              <a:lnSpc>
                <a:spcPct val="90000"/>
              </a:lnSpc>
              <a:spcAft>
                <a:spcPts val="600"/>
              </a:spcAft>
              <a:buClr>
                <a:schemeClr val="accent3"/>
              </a:buClr>
              <a:buFont typeface="Arial" panose="020B0604020202020204" pitchFamily="34" charset="0"/>
              <a:buChar char="•"/>
            </a:pPr>
            <a:r>
              <a:rPr lang="en-US" sz="1600" dirty="0">
                <a:solidFill>
                  <a:schemeClr val="tx1">
                    <a:lumMod val="65000"/>
                    <a:lumOff val="35000"/>
                  </a:schemeClr>
                </a:solidFill>
              </a:rPr>
              <a:t>The Reducer outputs zero or more final key/value pairs. These are written to HDFS </a:t>
            </a:r>
          </a:p>
          <a:p>
            <a:pPr>
              <a:lnSpc>
                <a:spcPct val="90000"/>
              </a:lnSpc>
              <a:spcAft>
                <a:spcPts val="600"/>
              </a:spcAft>
            </a:pPr>
            <a:endParaRPr lang="en-US" dirty="0">
              <a:solidFill>
                <a:schemeClr val="tx1">
                  <a:lumMod val="85000"/>
                  <a:lumOff val="15000"/>
                </a:schemeClr>
              </a:solidFill>
            </a:endParaRPr>
          </a:p>
        </p:txBody>
      </p:sp>
      <p:sp>
        <p:nvSpPr>
          <p:cNvPr id="8" name="TextBox 7"/>
          <p:cNvSpPr txBox="1"/>
          <p:nvPr/>
        </p:nvSpPr>
        <p:spPr>
          <a:xfrm>
            <a:off x="9164785" y="2838263"/>
            <a:ext cx="410701" cy="271793"/>
          </a:xfrm>
          <a:prstGeom prst="rect">
            <a:avLst/>
          </a:prstGeom>
          <a:noFill/>
        </p:spPr>
        <p:txBody>
          <a:bodyPr wrap="none" lIns="91440" tIns="0" rIns="91440" bIns="0" rtlCol="0" anchor="ctr">
            <a:noAutofit/>
          </a:bodyPr>
          <a:lstStyle/>
          <a:p>
            <a:pPr algn="ctr">
              <a:lnSpc>
                <a:spcPct val="90000"/>
              </a:lnSpc>
              <a:spcAft>
                <a:spcPts val="600"/>
              </a:spcAft>
            </a:pPr>
            <a:r>
              <a:rPr lang="en-US" dirty="0">
                <a:solidFill>
                  <a:schemeClr val="tx1">
                    <a:lumMod val="85000"/>
                    <a:lumOff val="15000"/>
                  </a:schemeClr>
                </a:solidFill>
              </a:rPr>
              <a:t>…</a:t>
            </a:r>
          </a:p>
        </p:txBody>
      </p:sp>
    </p:spTree>
    <p:extLst>
      <p:ext uri="{BB962C8B-B14F-4D97-AF65-F5344CB8AC3E}">
        <p14:creationId xmlns:p14="http://schemas.microsoft.com/office/powerpoint/2010/main" val="1292262298"/>
      </p:ext>
    </p:extLst>
  </p:cSld>
  <p:clrMapOvr>
    <a:masterClrMapping/>
  </p:clrMapOvr>
  <p:transition spd="med">
    <p:fade/>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pache Storm on </a:t>
            </a:r>
            <a:r>
              <a:rPr lang="en-US" dirty="0" err="1"/>
              <a:t>HDInsight</a:t>
            </a:r>
            <a:endParaRPr lang="en-US" dirty="0"/>
          </a:p>
        </p:txBody>
      </p:sp>
      <p:sp>
        <p:nvSpPr>
          <p:cNvPr id="4" name="Slide Number Placeholder 3"/>
          <p:cNvSpPr>
            <a:spLocks noGrp="1"/>
          </p:cNvSpPr>
          <p:nvPr>
            <p:ph type="sldNum" sz="quarter" idx="11"/>
          </p:nvPr>
        </p:nvSpPr>
        <p:spPr/>
        <p:txBody>
          <a:bodyPr/>
          <a:lstStyle/>
          <a:p>
            <a:pPr>
              <a:defRPr/>
            </a:pPr>
            <a:fld id="{F8A0AC42-AA1D-4944-8D96-660DE70C7E1B}" type="slidenum">
              <a:rPr lang="en-IN"/>
              <a:pPr>
                <a:defRPr/>
              </a:pPr>
              <a:t>80</a:t>
            </a:fld>
            <a:endParaRPr lang="en-IN" dirty="0"/>
          </a:p>
        </p:txBody>
      </p:sp>
      <p:grpSp>
        <p:nvGrpSpPr>
          <p:cNvPr id="95260" name="Group 95259"/>
          <p:cNvGrpSpPr/>
          <p:nvPr/>
        </p:nvGrpSpPr>
        <p:grpSpPr>
          <a:xfrm>
            <a:off x="519708" y="1294085"/>
            <a:ext cx="5398867" cy="806782"/>
            <a:chOff x="530128" y="1319537"/>
            <a:chExt cx="5507126" cy="822960"/>
          </a:xfrm>
        </p:grpSpPr>
        <p:sp>
          <p:nvSpPr>
            <p:cNvPr id="133" name="Rectangle 132"/>
            <p:cNvSpPr/>
            <p:nvPr/>
          </p:nvSpPr>
          <p:spPr>
            <a:xfrm>
              <a:off x="1556694" y="1319537"/>
              <a:ext cx="4480560" cy="822960"/>
            </a:xfrm>
            <a:prstGeom prst="rect">
              <a:avLst/>
            </a:prstGeom>
            <a:noFill/>
            <a:ln w="3175">
              <a:noFill/>
            </a:ln>
          </p:spPr>
          <p:txBody>
            <a:bodyPr wrap="square" lIns="0" tIns="0" rIns="0" bIns="0" anchor="ctr">
              <a:noAutofit/>
            </a:bodyPr>
            <a:lstStyle/>
            <a:p>
              <a:pPr marL="0" lvl="1" defTabSz="913770" fontAlgn="base">
                <a:buClr>
                  <a:srgbClr val="68217A">
                    <a:lumMod val="50000"/>
                  </a:srgbClr>
                </a:buClr>
                <a:tabLst>
                  <a:tab pos="645523" algn="l"/>
                </a:tabLst>
              </a:pPr>
              <a:r>
                <a:rPr lang="en-IN" sz="2353" dirty="0">
                  <a:solidFill>
                    <a:srgbClr val="505050"/>
                  </a:solidFill>
                  <a:ea typeface="Segoe UI" pitchFamily="34" charset="0"/>
                  <a:cs typeface="Segoe UI Semibold" panose="020B0702040204020203" pitchFamily="34" charset="0"/>
                </a:rPr>
                <a:t>Managed services</a:t>
              </a:r>
            </a:p>
          </p:txBody>
        </p:sp>
        <p:grpSp>
          <p:nvGrpSpPr>
            <p:cNvPr id="95259" name="Group 95258"/>
            <p:cNvGrpSpPr/>
            <p:nvPr/>
          </p:nvGrpSpPr>
          <p:grpSpPr>
            <a:xfrm>
              <a:off x="530128" y="1319537"/>
              <a:ext cx="916617" cy="822960"/>
              <a:chOff x="530128" y="1319537"/>
              <a:chExt cx="916617" cy="822960"/>
            </a:xfrm>
          </p:grpSpPr>
          <p:sp>
            <p:nvSpPr>
              <p:cNvPr id="64" name="Freeform 63"/>
              <p:cNvSpPr/>
              <p:nvPr/>
            </p:nvSpPr>
            <p:spPr>
              <a:xfrm flipH="1">
                <a:off x="530128" y="1468515"/>
                <a:ext cx="855136" cy="525004"/>
              </a:xfrm>
              <a:custGeom>
                <a:avLst/>
                <a:gdLst>
                  <a:gd name="connsiteX0" fmla="*/ 400990 w 559881"/>
                  <a:gd name="connsiteY0" fmla="*/ 142969 h 343735"/>
                  <a:gd name="connsiteX1" fmla="*/ 442909 w 559881"/>
                  <a:gd name="connsiteY1" fmla="*/ 184888 h 343735"/>
                  <a:gd name="connsiteX2" fmla="*/ 400990 w 559881"/>
                  <a:gd name="connsiteY2" fmla="*/ 226807 h 343735"/>
                  <a:gd name="connsiteX3" fmla="*/ 359071 w 559881"/>
                  <a:gd name="connsiteY3" fmla="*/ 184888 h 343735"/>
                  <a:gd name="connsiteX4" fmla="*/ 400990 w 559881"/>
                  <a:gd name="connsiteY4" fmla="*/ 142969 h 343735"/>
                  <a:gd name="connsiteX5" fmla="*/ 400990 w 559881"/>
                  <a:gd name="connsiteY5" fmla="*/ 117905 h 343735"/>
                  <a:gd name="connsiteX6" fmla="*/ 334008 w 559881"/>
                  <a:gd name="connsiteY6" fmla="*/ 184888 h 343735"/>
                  <a:gd name="connsiteX7" fmla="*/ 400990 w 559881"/>
                  <a:gd name="connsiteY7" fmla="*/ 251870 h 343735"/>
                  <a:gd name="connsiteX8" fmla="*/ 467973 w 559881"/>
                  <a:gd name="connsiteY8" fmla="*/ 184888 h 343735"/>
                  <a:gd name="connsiteX9" fmla="*/ 400990 w 559881"/>
                  <a:gd name="connsiteY9" fmla="*/ 117905 h 343735"/>
                  <a:gd name="connsiteX10" fmla="*/ 400990 w 559881"/>
                  <a:gd name="connsiteY10" fmla="*/ 92340 h 343735"/>
                  <a:gd name="connsiteX11" fmla="*/ 493539 w 559881"/>
                  <a:gd name="connsiteY11" fmla="*/ 184888 h 343735"/>
                  <a:gd name="connsiteX12" fmla="*/ 400990 w 559881"/>
                  <a:gd name="connsiteY12" fmla="*/ 277435 h 343735"/>
                  <a:gd name="connsiteX13" fmla="*/ 308443 w 559881"/>
                  <a:gd name="connsiteY13" fmla="*/ 184888 h 343735"/>
                  <a:gd name="connsiteX14" fmla="*/ 400990 w 559881"/>
                  <a:gd name="connsiteY14" fmla="*/ 92340 h 343735"/>
                  <a:gd name="connsiteX15" fmla="*/ 117879 w 559881"/>
                  <a:gd name="connsiteY15" fmla="*/ 86747 h 343735"/>
                  <a:gd name="connsiteX16" fmla="*/ 148978 w 559881"/>
                  <a:gd name="connsiteY16" fmla="*/ 117846 h 343735"/>
                  <a:gd name="connsiteX17" fmla="*/ 117879 w 559881"/>
                  <a:gd name="connsiteY17" fmla="*/ 148944 h 343735"/>
                  <a:gd name="connsiteX18" fmla="*/ 86780 w 559881"/>
                  <a:gd name="connsiteY18" fmla="*/ 117846 h 343735"/>
                  <a:gd name="connsiteX19" fmla="*/ 117879 w 559881"/>
                  <a:gd name="connsiteY19" fmla="*/ 86747 h 343735"/>
                  <a:gd name="connsiteX20" fmla="*/ 117879 w 559881"/>
                  <a:gd name="connsiteY20" fmla="*/ 68153 h 343735"/>
                  <a:gd name="connsiteX21" fmla="*/ 68186 w 559881"/>
                  <a:gd name="connsiteY21" fmla="*/ 117846 h 343735"/>
                  <a:gd name="connsiteX22" fmla="*/ 117879 w 559881"/>
                  <a:gd name="connsiteY22" fmla="*/ 167540 h 343735"/>
                  <a:gd name="connsiteX23" fmla="*/ 167571 w 559881"/>
                  <a:gd name="connsiteY23" fmla="*/ 117846 h 343735"/>
                  <a:gd name="connsiteX24" fmla="*/ 117879 w 559881"/>
                  <a:gd name="connsiteY24" fmla="*/ 68153 h 343735"/>
                  <a:gd name="connsiteX25" fmla="*/ 117879 w 559881"/>
                  <a:gd name="connsiteY25" fmla="*/ 49186 h 343735"/>
                  <a:gd name="connsiteX26" fmla="*/ 186539 w 559881"/>
                  <a:gd name="connsiteY26" fmla="*/ 117846 h 343735"/>
                  <a:gd name="connsiteX27" fmla="*/ 117879 w 559881"/>
                  <a:gd name="connsiteY27" fmla="*/ 186505 h 343735"/>
                  <a:gd name="connsiteX28" fmla="*/ 49220 w 559881"/>
                  <a:gd name="connsiteY28" fmla="*/ 117846 h 343735"/>
                  <a:gd name="connsiteX29" fmla="*/ 117879 w 559881"/>
                  <a:gd name="connsiteY29" fmla="*/ 49186 h 343735"/>
                  <a:gd name="connsiteX30" fmla="*/ 359687 w 559881"/>
                  <a:gd name="connsiteY30" fmla="*/ 26040 h 343735"/>
                  <a:gd name="connsiteX31" fmla="*/ 315937 w 559881"/>
                  <a:gd name="connsiteY31" fmla="*/ 44760 h 343735"/>
                  <a:gd name="connsiteX32" fmla="*/ 313517 w 559881"/>
                  <a:gd name="connsiteY32" fmla="*/ 99930 h 343735"/>
                  <a:gd name="connsiteX33" fmla="*/ 258760 w 559881"/>
                  <a:gd name="connsiteY33" fmla="*/ 104163 h 343735"/>
                  <a:gd name="connsiteX34" fmla="*/ 242488 w 559881"/>
                  <a:gd name="connsiteY34" fmla="*/ 143659 h 343735"/>
                  <a:gd name="connsiteX35" fmla="*/ 279046 w 559881"/>
                  <a:gd name="connsiteY35" fmla="*/ 184893 h 343735"/>
                  <a:gd name="connsiteX36" fmla="*/ 242099 w 559881"/>
                  <a:gd name="connsiteY36" fmla="*/ 226204 h 343735"/>
                  <a:gd name="connsiteX37" fmla="*/ 258438 w 559881"/>
                  <a:gd name="connsiteY37" fmla="*/ 266298 h 343735"/>
                  <a:gd name="connsiteX38" fmla="*/ 313721 w 559881"/>
                  <a:gd name="connsiteY38" fmla="*/ 270064 h 343735"/>
                  <a:gd name="connsiteX39" fmla="*/ 316406 w 559881"/>
                  <a:gd name="connsiteY39" fmla="*/ 325035 h 343735"/>
                  <a:gd name="connsiteX40" fmla="*/ 359758 w 559881"/>
                  <a:gd name="connsiteY40" fmla="*/ 343396 h 343735"/>
                  <a:gd name="connsiteX41" fmla="*/ 400990 w 559881"/>
                  <a:gd name="connsiteY41" fmla="*/ 306836 h 343735"/>
                  <a:gd name="connsiteX42" fmla="*/ 442292 w 559881"/>
                  <a:gd name="connsiteY42" fmla="*/ 343735 h 343735"/>
                  <a:gd name="connsiteX43" fmla="*/ 485979 w 559881"/>
                  <a:gd name="connsiteY43" fmla="*/ 324931 h 343735"/>
                  <a:gd name="connsiteX44" fmla="*/ 488464 w 559881"/>
                  <a:gd name="connsiteY44" fmla="*/ 269856 h 343735"/>
                  <a:gd name="connsiteX45" fmla="*/ 543310 w 559881"/>
                  <a:gd name="connsiteY45" fmla="*/ 265680 h 343735"/>
                  <a:gd name="connsiteX46" fmla="*/ 559853 w 559881"/>
                  <a:gd name="connsiteY46" fmla="*/ 226198 h 343735"/>
                  <a:gd name="connsiteX47" fmla="*/ 522934 w 559881"/>
                  <a:gd name="connsiteY47" fmla="*/ 184893 h 343735"/>
                  <a:gd name="connsiteX48" fmla="*/ 559881 w 559881"/>
                  <a:gd name="connsiteY48" fmla="*/ 143582 h 343735"/>
                  <a:gd name="connsiteX49" fmla="*/ 543543 w 559881"/>
                  <a:gd name="connsiteY49" fmla="*/ 103487 h 343735"/>
                  <a:gd name="connsiteX50" fmla="*/ 488261 w 559881"/>
                  <a:gd name="connsiteY50" fmla="*/ 99720 h 343735"/>
                  <a:gd name="connsiteX51" fmla="*/ 485574 w 559881"/>
                  <a:gd name="connsiteY51" fmla="*/ 44751 h 343735"/>
                  <a:gd name="connsiteX52" fmla="*/ 442224 w 559881"/>
                  <a:gd name="connsiteY52" fmla="*/ 26391 h 343735"/>
                  <a:gd name="connsiteX53" fmla="*/ 400990 w 559881"/>
                  <a:gd name="connsiteY53" fmla="*/ 62949 h 343735"/>
                  <a:gd name="connsiteX54" fmla="*/ 359687 w 559881"/>
                  <a:gd name="connsiteY54" fmla="*/ 26040 h 343735"/>
                  <a:gd name="connsiteX55" fmla="*/ 87236 w 559881"/>
                  <a:gd name="connsiteY55" fmla="*/ 0 h 343735"/>
                  <a:gd name="connsiteX56" fmla="*/ 54779 w 559881"/>
                  <a:gd name="connsiteY56" fmla="*/ 13888 h 343735"/>
                  <a:gd name="connsiteX57" fmla="*/ 52983 w 559881"/>
                  <a:gd name="connsiteY57" fmla="*/ 54818 h 343735"/>
                  <a:gd name="connsiteX58" fmla="*/ 12361 w 559881"/>
                  <a:gd name="connsiteY58" fmla="*/ 57958 h 343735"/>
                  <a:gd name="connsiteX59" fmla="*/ 289 w 559881"/>
                  <a:gd name="connsiteY59" fmla="*/ 87260 h 343735"/>
                  <a:gd name="connsiteX60" fmla="*/ 27410 w 559881"/>
                  <a:gd name="connsiteY60" fmla="*/ 117850 h 343735"/>
                  <a:gd name="connsiteX61" fmla="*/ 0 w 559881"/>
                  <a:gd name="connsiteY61" fmla="*/ 148498 h 343735"/>
                  <a:gd name="connsiteX62" fmla="*/ 12122 w 559881"/>
                  <a:gd name="connsiteY62" fmla="*/ 178242 h 343735"/>
                  <a:gd name="connsiteX63" fmla="*/ 53135 w 559881"/>
                  <a:gd name="connsiteY63" fmla="*/ 181038 h 343735"/>
                  <a:gd name="connsiteX64" fmla="*/ 55128 w 559881"/>
                  <a:gd name="connsiteY64" fmla="*/ 221819 h 343735"/>
                  <a:gd name="connsiteX65" fmla="*/ 87289 w 559881"/>
                  <a:gd name="connsiteY65" fmla="*/ 235440 h 343735"/>
                  <a:gd name="connsiteX66" fmla="*/ 117879 w 559881"/>
                  <a:gd name="connsiteY66" fmla="*/ 208318 h 343735"/>
                  <a:gd name="connsiteX67" fmla="*/ 148520 w 559881"/>
                  <a:gd name="connsiteY67" fmla="*/ 235692 h 343735"/>
                  <a:gd name="connsiteX68" fmla="*/ 180930 w 559881"/>
                  <a:gd name="connsiteY68" fmla="*/ 221742 h 343735"/>
                  <a:gd name="connsiteX69" fmla="*/ 182774 w 559881"/>
                  <a:gd name="connsiteY69" fmla="*/ 180882 h 343735"/>
                  <a:gd name="connsiteX70" fmla="*/ 223462 w 559881"/>
                  <a:gd name="connsiteY70" fmla="*/ 177784 h 343735"/>
                  <a:gd name="connsiteX71" fmla="*/ 235735 w 559881"/>
                  <a:gd name="connsiteY71" fmla="*/ 148493 h 343735"/>
                  <a:gd name="connsiteX72" fmla="*/ 208347 w 559881"/>
                  <a:gd name="connsiteY72" fmla="*/ 117850 h 343735"/>
                  <a:gd name="connsiteX73" fmla="*/ 235757 w 559881"/>
                  <a:gd name="connsiteY73" fmla="*/ 87202 h 343735"/>
                  <a:gd name="connsiteX74" fmla="*/ 223636 w 559881"/>
                  <a:gd name="connsiteY74" fmla="*/ 57458 h 343735"/>
                  <a:gd name="connsiteX75" fmla="*/ 182622 w 559881"/>
                  <a:gd name="connsiteY75" fmla="*/ 54661 h 343735"/>
                  <a:gd name="connsiteX76" fmla="*/ 180629 w 559881"/>
                  <a:gd name="connsiteY76" fmla="*/ 13880 h 343735"/>
                  <a:gd name="connsiteX77" fmla="*/ 148468 w 559881"/>
                  <a:gd name="connsiteY77" fmla="*/ 259 h 343735"/>
                  <a:gd name="connsiteX78" fmla="*/ 117879 w 559881"/>
                  <a:gd name="connsiteY78" fmla="*/ 27382 h 343735"/>
                  <a:gd name="connsiteX79" fmla="*/ 87236 w 559881"/>
                  <a:gd name="connsiteY79" fmla="*/ 0 h 343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559881" h="343735">
                    <a:moveTo>
                      <a:pt x="400990" y="142969"/>
                    </a:moveTo>
                    <a:cubicBezTo>
                      <a:pt x="424141" y="142969"/>
                      <a:pt x="442909" y="161737"/>
                      <a:pt x="442909" y="184888"/>
                    </a:cubicBezTo>
                    <a:cubicBezTo>
                      <a:pt x="442909" y="208038"/>
                      <a:pt x="424141" y="226807"/>
                      <a:pt x="400990" y="226807"/>
                    </a:cubicBezTo>
                    <a:cubicBezTo>
                      <a:pt x="377839" y="226807"/>
                      <a:pt x="359071" y="208038"/>
                      <a:pt x="359071" y="184888"/>
                    </a:cubicBezTo>
                    <a:cubicBezTo>
                      <a:pt x="359071" y="161737"/>
                      <a:pt x="377839" y="142969"/>
                      <a:pt x="400990" y="142969"/>
                    </a:cubicBezTo>
                    <a:close/>
                    <a:moveTo>
                      <a:pt x="400990" y="117905"/>
                    </a:moveTo>
                    <a:cubicBezTo>
                      <a:pt x="363997" y="117905"/>
                      <a:pt x="334008" y="147894"/>
                      <a:pt x="334008" y="184888"/>
                    </a:cubicBezTo>
                    <a:cubicBezTo>
                      <a:pt x="334008" y="221881"/>
                      <a:pt x="363997" y="251870"/>
                      <a:pt x="400990" y="251870"/>
                    </a:cubicBezTo>
                    <a:cubicBezTo>
                      <a:pt x="437985" y="251870"/>
                      <a:pt x="467973" y="221881"/>
                      <a:pt x="467973" y="184888"/>
                    </a:cubicBezTo>
                    <a:cubicBezTo>
                      <a:pt x="467973" y="147894"/>
                      <a:pt x="437985" y="117905"/>
                      <a:pt x="400990" y="117905"/>
                    </a:cubicBezTo>
                    <a:close/>
                    <a:moveTo>
                      <a:pt x="400990" y="92340"/>
                    </a:moveTo>
                    <a:cubicBezTo>
                      <a:pt x="452103" y="92340"/>
                      <a:pt x="493539" y="133775"/>
                      <a:pt x="493539" y="184888"/>
                    </a:cubicBezTo>
                    <a:cubicBezTo>
                      <a:pt x="493539" y="236000"/>
                      <a:pt x="452103" y="277435"/>
                      <a:pt x="400990" y="277435"/>
                    </a:cubicBezTo>
                    <a:cubicBezTo>
                      <a:pt x="349878" y="277435"/>
                      <a:pt x="308443" y="236000"/>
                      <a:pt x="308443" y="184888"/>
                    </a:cubicBezTo>
                    <a:cubicBezTo>
                      <a:pt x="308443" y="133775"/>
                      <a:pt x="349878" y="92340"/>
                      <a:pt x="400990" y="92340"/>
                    </a:cubicBezTo>
                    <a:close/>
                    <a:moveTo>
                      <a:pt x="117879" y="86747"/>
                    </a:moveTo>
                    <a:cubicBezTo>
                      <a:pt x="135055" y="86747"/>
                      <a:pt x="148978" y="100671"/>
                      <a:pt x="148978" y="117846"/>
                    </a:cubicBezTo>
                    <a:cubicBezTo>
                      <a:pt x="148978" y="135021"/>
                      <a:pt x="135055" y="148944"/>
                      <a:pt x="117879" y="148944"/>
                    </a:cubicBezTo>
                    <a:cubicBezTo>
                      <a:pt x="100704" y="148944"/>
                      <a:pt x="86780" y="135021"/>
                      <a:pt x="86780" y="117846"/>
                    </a:cubicBezTo>
                    <a:cubicBezTo>
                      <a:pt x="86780" y="100671"/>
                      <a:pt x="100704" y="86747"/>
                      <a:pt x="117879" y="86747"/>
                    </a:cubicBezTo>
                    <a:close/>
                    <a:moveTo>
                      <a:pt x="117879" y="68153"/>
                    </a:moveTo>
                    <a:cubicBezTo>
                      <a:pt x="90434" y="68153"/>
                      <a:pt x="68186" y="90402"/>
                      <a:pt x="68186" y="117846"/>
                    </a:cubicBezTo>
                    <a:cubicBezTo>
                      <a:pt x="68186" y="145291"/>
                      <a:pt x="90434" y="167540"/>
                      <a:pt x="117879" y="167540"/>
                    </a:cubicBezTo>
                    <a:cubicBezTo>
                      <a:pt x="145323" y="167540"/>
                      <a:pt x="167571" y="145291"/>
                      <a:pt x="167571" y="117846"/>
                    </a:cubicBezTo>
                    <a:cubicBezTo>
                      <a:pt x="167571" y="90402"/>
                      <a:pt x="145323" y="68153"/>
                      <a:pt x="117879" y="68153"/>
                    </a:cubicBezTo>
                    <a:close/>
                    <a:moveTo>
                      <a:pt x="117879" y="49186"/>
                    </a:moveTo>
                    <a:cubicBezTo>
                      <a:pt x="155798" y="49186"/>
                      <a:pt x="186539" y="79927"/>
                      <a:pt x="186539" y="117846"/>
                    </a:cubicBezTo>
                    <a:cubicBezTo>
                      <a:pt x="186539" y="155766"/>
                      <a:pt x="155798" y="186505"/>
                      <a:pt x="117879" y="186505"/>
                    </a:cubicBezTo>
                    <a:cubicBezTo>
                      <a:pt x="79959" y="186505"/>
                      <a:pt x="49220" y="155766"/>
                      <a:pt x="49220" y="117846"/>
                    </a:cubicBezTo>
                    <a:cubicBezTo>
                      <a:pt x="49220" y="79927"/>
                      <a:pt x="79959" y="49186"/>
                      <a:pt x="117879" y="49186"/>
                    </a:cubicBezTo>
                    <a:close/>
                    <a:moveTo>
                      <a:pt x="359687" y="26040"/>
                    </a:moveTo>
                    <a:cubicBezTo>
                      <a:pt x="343985" y="29932"/>
                      <a:pt x="329284" y="36347"/>
                      <a:pt x="315937" y="44760"/>
                    </a:cubicBezTo>
                    <a:cubicBezTo>
                      <a:pt x="329394" y="60726"/>
                      <a:pt x="328463" y="84542"/>
                      <a:pt x="313517" y="99930"/>
                    </a:cubicBezTo>
                    <a:cubicBezTo>
                      <a:pt x="298663" y="115223"/>
                      <a:pt x="275086" y="116922"/>
                      <a:pt x="258760" y="104163"/>
                    </a:cubicBezTo>
                    <a:cubicBezTo>
                      <a:pt x="251370" y="116243"/>
                      <a:pt x="246011" y="129584"/>
                      <a:pt x="242488" y="143659"/>
                    </a:cubicBezTo>
                    <a:cubicBezTo>
                      <a:pt x="263197" y="145792"/>
                      <a:pt x="279046" y="163492"/>
                      <a:pt x="279046" y="184893"/>
                    </a:cubicBezTo>
                    <a:cubicBezTo>
                      <a:pt x="279046" y="206432"/>
                      <a:pt x="262991" y="224220"/>
                      <a:pt x="242099" y="226204"/>
                    </a:cubicBezTo>
                    <a:cubicBezTo>
                      <a:pt x="245616" y="240466"/>
                      <a:pt x="251210" y="253912"/>
                      <a:pt x="258438" y="266298"/>
                    </a:cubicBezTo>
                    <a:cubicBezTo>
                      <a:pt x="274773" y="253134"/>
                      <a:pt x="298681" y="254654"/>
                      <a:pt x="313721" y="270064"/>
                    </a:cubicBezTo>
                    <a:cubicBezTo>
                      <a:pt x="328647" y="285359"/>
                      <a:pt x="329685" y="309049"/>
                      <a:pt x="316406" y="325035"/>
                    </a:cubicBezTo>
                    <a:cubicBezTo>
                      <a:pt x="329585" y="333384"/>
                      <a:pt x="344223" y="339506"/>
                      <a:pt x="359758" y="343396"/>
                    </a:cubicBezTo>
                    <a:cubicBezTo>
                      <a:pt x="361890" y="322686"/>
                      <a:pt x="379589" y="306836"/>
                      <a:pt x="400990" y="306836"/>
                    </a:cubicBezTo>
                    <a:cubicBezTo>
                      <a:pt x="422513" y="306836"/>
                      <a:pt x="440290" y="322866"/>
                      <a:pt x="442292" y="343735"/>
                    </a:cubicBezTo>
                    <a:cubicBezTo>
                      <a:pt x="457978" y="339831"/>
                      <a:pt x="472658" y="333396"/>
                      <a:pt x="485979" y="324931"/>
                    </a:cubicBezTo>
                    <a:cubicBezTo>
                      <a:pt x="472591" y="308970"/>
                      <a:pt x="473546" y="285215"/>
                      <a:pt x="488464" y="269856"/>
                    </a:cubicBezTo>
                    <a:cubicBezTo>
                      <a:pt x="503345" y="254536"/>
                      <a:pt x="526976" y="252858"/>
                      <a:pt x="543310" y="265680"/>
                    </a:cubicBezTo>
                    <a:cubicBezTo>
                      <a:pt x="550662" y="253524"/>
                      <a:pt x="556292" y="240273"/>
                      <a:pt x="559853" y="226198"/>
                    </a:cubicBezTo>
                    <a:cubicBezTo>
                      <a:pt x="538974" y="224203"/>
                      <a:pt x="522934" y="206421"/>
                      <a:pt x="522934" y="184893"/>
                    </a:cubicBezTo>
                    <a:cubicBezTo>
                      <a:pt x="522934" y="163354"/>
                      <a:pt x="538989" y="145564"/>
                      <a:pt x="559881" y="143582"/>
                    </a:cubicBezTo>
                    <a:cubicBezTo>
                      <a:pt x="556365" y="129318"/>
                      <a:pt x="550771" y="115873"/>
                      <a:pt x="543543" y="103487"/>
                    </a:cubicBezTo>
                    <a:cubicBezTo>
                      <a:pt x="527207" y="116652"/>
                      <a:pt x="503301" y="115131"/>
                      <a:pt x="488261" y="99720"/>
                    </a:cubicBezTo>
                    <a:cubicBezTo>
                      <a:pt x="473335" y="84426"/>
                      <a:pt x="472297" y="60737"/>
                      <a:pt x="485574" y="44751"/>
                    </a:cubicBezTo>
                    <a:cubicBezTo>
                      <a:pt x="472397" y="36403"/>
                      <a:pt x="457759" y="30280"/>
                      <a:pt x="442224" y="26391"/>
                    </a:cubicBezTo>
                    <a:cubicBezTo>
                      <a:pt x="440091" y="47100"/>
                      <a:pt x="422392" y="62949"/>
                      <a:pt x="400990" y="62949"/>
                    </a:cubicBezTo>
                    <a:cubicBezTo>
                      <a:pt x="379464" y="62949"/>
                      <a:pt x="361685" y="46915"/>
                      <a:pt x="359687" y="26040"/>
                    </a:cubicBezTo>
                    <a:close/>
                    <a:moveTo>
                      <a:pt x="87236" y="0"/>
                    </a:moveTo>
                    <a:cubicBezTo>
                      <a:pt x="75587" y="2889"/>
                      <a:pt x="64681" y="7646"/>
                      <a:pt x="54779" y="13888"/>
                    </a:cubicBezTo>
                    <a:cubicBezTo>
                      <a:pt x="64763" y="25732"/>
                      <a:pt x="64072" y="43402"/>
                      <a:pt x="52983" y="54818"/>
                    </a:cubicBezTo>
                    <a:cubicBezTo>
                      <a:pt x="41963" y="66164"/>
                      <a:pt x="24473" y="67423"/>
                      <a:pt x="12361" y="57958"/>
                    </a:cubicBezTo>
                    <a:cubicBezTo>
                      <a:pt x="6879" y="66920"/>
                      <a:pt x="2903" y="76817"/>
                      <a:pt x="289" y="87260"/>
                    </a:cubicBezTo>
                    <a:cubicBezTo>
                      <a:pt x="15652" y="88843"/>
                      <a:pt x="27410" y="101973"/>
                      <a:pt x="27410" y="117850"/>
                    </a:cubicBezTo>
                    <a:cubicBezTo>
                      <a:pt x="27410" y="133829"/>
                      <a:pt x="15500" y="147027"/>
                      <a:pt x="0" y="148498"/>
                    </a:cubicBezTo>
                    <a:cubicBezTo>
                      <a:pt x="2609" y="159079"/>
                      <a:pt x="6759" y="169055"/>
                      <a:pt x="12122" y="178242"/>
                    </a:cubicBezTo>
                    <a:cubicBezTo>
                      <a:pt x="24241" y="168477"/>
                      <a:pt x="41977" y="169604"/>
                      <a:pt x="53135" y="181038"/>
                    </a:cubicBezTo>
                    <a:cubicBezTo>
                      <a:pt x="64208" y="192384"/>
                      <a:pt x="64978" y="209960"/>
                      <a:pt x="55128" y="221819"/>
                    </a:cubicBezTo>
                    <a:cubicBezTo>
                      <a:pt x="64904" y="228013"/>
                      <a:pt x="75765" y="232555"/>
                      <a:pt x="87289" y="235440"/>
                    </a:cubicBezTo>
                    <a:cubicBezTo>
                      <a:pt x="88871" y="220077"/>
                      <a:pt x="102001" y="208318"/>
                      <a:pt x="117879" y="208318"/>
                    </a:cubicBezTo>
                    <a:cubicBezTo>
                      <a:pt x="133846" y="208318"/>
                      <a:pt x="147035" y="220209"/>
                      <a:pt x="148520" y="235692"/>
                    </a:cubicBezTo>
                    <a:cubicBezTo>
                      <a:pt x="160156" y="232796"/>
                      <a:pt x="171048" y="228022"/>
                      <a:pt x="180930" y="221742"/>
                    </a:cubicBezTo>
                    <a:cubicBezTo>
                      <a:pt x="170997" y="209902"/>
                      <a:pt x="171706" y="192277"/>
                      <a:pt x="182774" y="180882"/>
                    </a:cubicBezTo>
                    <a:cubicBezTo>
                      <a:pt x="193814" y="169516"/>
                      <a:pt x="211345" y="168272"/>
                      <a:pt x="223462" y="177784"/>
                    </a:cubicBezTo>
                    <a:cubicBezTo>
                      <a:pt x="228918" y="168767"/>
                      <a:pt x="233094" y="158935"/>
                      <a:pt x="235735" y="148493"/>
                    </a:cubicBezTo>
                    <a:cubicBezTo>
                      <a:pt x="220246" y="147014"/>
                      <a:pt x="208347" y="133821"/>
                      <a:pt x="208347" y="117850"/>
                    </a:cubicBezTo>
                    <a:cubicBezTo>
                      <a:pt x="208347" y="101870"/>
                      <a:pt x="220257" y="88673"/>
                      <a:pt x="235757" y="87202"/>
                    </a:cubicBezTo>
                    <a:cubicBezTo>
                      <a:pt x="233149" y="76621"/>
                      <a:pt x="228998" y="66646"/>
                      <a:pt x="223636" y="57458"/>
                    </a:cubicBezTo>
                    <a:cubicBezTo>
                      <a:pt x="211517" y="67224"/>
                      <a:pt x="193780" y="66095"/>
                      <a:pt x="182622" y="54661"/>
                    </a:cubicBezTo>
                    <a:cubicBezTo>
                      <a:pt x="171549" y="43316"/>
                      <a:pt x="170779" y="25740"/>
                      <a:pt x="180629" y="13880"/>
                    </a:cubicBezTo>
                    <a:cubicBezTo>
                      <a:pt x="170853" y="7687"/>
                      <a:pt x="159993" y="3145"/>
                      <a:pt x="148468" y="259"/>
                    </a:cubicBezTo>
                    <a:cubicBezTo>
                      <a:pt x="146886" y="15623"/>
                      <a:pt x="133756" y="27382"/>
                      <a:pt x="117879" y="27382"/>
                    </a:cubicBezTo>
                    <a:cubicBezTo>
                      <a:pt x="101909" y="27382"/>
                      <a:pt x="88718" y="15487"/>
                      <a:pt x="87236" y="0"/>
                    </a:cubicBezTo>
                    <a:close/>
                  </a:path>
                </a:pathLst>
              </a:custGeom>
              <a:solidFill>
                <a:schemeClr val="accent3"/>
              </a:solidFill>
              <a:ln w="9525">
                <a:noFill/>
                <a:round/>
                <a:headEnd/>
                <a:tailEnd/>
              </a:ln>
            </p:spPr>
            <p:txBody>
              <a:bodyPr wrap="square">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765" dirty="0" err="1">
                  <a:ln>
                    <a:solidFill>
                      <a:srgbClr val="000000">
                        <a:alpha val="0"/>
                      </a:srgbClr>
                    </a:solidFill>
                  </a:ln>
                  <a:solidFill>
                    <a:srgbClr val="000000"/>
                  </a:solidFill>
                </a:endParaRPr>
              </a:p>
            </p:txBody>
          </p:sp>
          <p:cxnSp>
            <p:nvCxnSpPr>
              <p:cNvPr id="134" name="Straight Connector 133"/>
              <p:cNvCxnSpPr/>
              <p:nvPr/>
            </p:nvCxnSpPr>
            <p:spPr>
              <a:xfrm>
                <a:off x="1446745" y="1319537"/>
                <a:ext cx="0" cy="822960"/>
              </a:xfrm>
              <a:prstGeom prst="line">
                <a:avLst/>
              </a:prstGeom>
              <a:ln w="3175">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95261" name="Group 95260"/>
          <p:cNvGrpSpPr/>
          <p:nvPr/>
        </p:nvGrpSpPr>
        <p:grpSpPr>
          <a:xfrm>
            <a:off x="611258" y="2285864"/>
            <a:ext cx="5307317" cy="806782"/>
            <a:chOff x="623514" y="2331204"/>
            <a:chExt cx="5413740" cy="822960"/>
          </a:xfrm>
        </p:grpSpPr>
        <p:sp>
          <p:nvSpPr>
            <p:cNvPr id="66" name="Freeform 65"/>
            <p:cNvSpPr/>
            <p:nvPr/>
          </p:nvSpPr>
          <p:spPr bwMode="auto">
            <a:xfrm>
              <a:off x="623514" y="2420335"/>
              <a:ext cx="668364" cy="644698"/>
            </a:xfrm>
            <a:custGeom>
              <a:avLst/>
              <a:gdLst>
                <a:gd name="connsiteX0" fmla="*/ 2429334 w 4876571"/>
                <a:gd name="connsiteY0" fmla="*/ 16 h 4703898"/>
                <a:gd name="connsiteX1" fmla="*/ 4830334 w 4876571"/>
                <a:gd name="connsiteY1" fmla="*/ 1966713 h 4703898"/>
                <a:gd name="connsiteX2" fmla="*/ 3354879 w 4876571"/>
                <a:gd name="connsiteY2" fmla="*/ 4697231 h 4703898"/>
                <a:gd name="connsiteX3" fmla="*/ 2750529 w 4876571"/>
                <a:gd name="connsiteY3" fmla="*/ 3207660 h 4703898"/>
                <a:gd name="connsiteX4" fmla="*/ 3253157 w 4876571"/>
                <a:gd name="connsiteY4" fmla="*/ 2277481 h 4703898"/>
                <a:gd name="connsiteX5" fmla="*/ 2435232 w 4876571"/>
                <a:gd name="connsiteY5" fmla="*/ 1607506 h 4703898"/>
                <a:gd name="connsiteX6" fmla="*/ 1622247 w 4876571"/>
                <a:gd name="connsiteY6" fmla="*/ 2283467 h 4703898"/>
                <a:gd name="connsiteX7" fmla="*/ 2131690 w 4876571"/>
                <a:gd name="connsiteY7" fmla="*/ 3209931 h 4703898"/>
                <a:gd name="connsiteX8" fmla="*/ 1538291 w 4876571"/>
                <a:gd name="connsiteY8" fmla="*/ 4703898 h 4703898"/>
                <a:gd name="connsiteX9" fmla="*/ 42834 w 4876571"/>
                <a:gd name="connsiteY9" fmla="*/ 1984283 h 4703898"/>
                <a:gd name="connsiteX10" fmla="*/ 2429334 w 4876571"/>
                <a:gd name="connsiteY10" fmla="*/ 16 h 4703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76571" h="4703898">
                  <a:moveTo>
                    <a:pt x="2429334" y="16"/>
                  </a:moveTo>
                  <a:cubicBezTo>
                    <a:pt x="3597473" y="-4271"/>
                    <a:pt x="4604503" y="820603"/>
                    <a:pt x="4830334" y="1966713"/>
                  </a:cubicBezTo>
                  <a:cubicBezTo>
                    <a:pt x="5056165" y="3112823"/>
                    <a:pt x="4437327" y="4258060"/>
                    <a:pt x="3354879" y="4697231"/>
                  </a:cubicBezTo>
                  <a:lnTo>
                    <a:pt x="2750529" y="3207660"/>
                  </a:lnTo>
                  <a:cubicBezTo>
                    <a:pt x="3119276" y="3058052"/>
                    <a:pt x="3330089" y="2667915"/>
                    <a:pt x="3253157" y="2277481"/>
                  </a:cubicBezTo>
                  <a:cubicBezTo>
                    <a:pt x="3176225" y="1887047"/>
                    <a:pt x="2833170" y="1606045"/>
                    <a:pt x="2435232" y="1607506"/>
                  </a:cubicBezTo>
                  <a:cubicBezTo>
                    <a:pt x="2037294" y="1608966"/>
                    <a:pt x="1696310" y="1892479"/>
                    <a:pt x="1622247" y="2283467"/>
                  </a:cubicBezTo>
                  <a:cubicBezTo>
                    <a:pt x="1548183" y="2674455"/>
                    <a:pt x="1761854" y="3063034"/>
                    <a:pt x="2131690" y="3209931"/>
                  </a:cubicBezTo>
                  <a:lnTo>
                    <a:pt x="1538291" y="4703898"/>
                  </a:lnTo>
                  <a:cubicBezTo>
                    <a:pt x="452648" y="4272684"/>
                    <a:pt x="-174579" y="3132019"/>
                    <a:pt x="42834" y="1984283"/>
                  </a:cubicBezTo>
                  <a:cubicBezTo>
                    <a:pt x="260246" y="836547"/>
                    <a:pt x="1261195" y="4303"/>
                    <a:pt x="2429334" y="16"/>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dirty="0">
                <a:solidFill>
                  <a:srgbClr val="FFFFFF"/>
                </a:solidFill>
                <a:latin typeface="Segoe UI Light"/>
                <a:ea typeface="Segoe UI" pitchFamily="34" charset="0"/>
                <a:cs typeface="Segoe UI" pitchFamily="34" charset="0"/>
              </a:endParaRPr>
            </a:p>
          </p:txBody>
        </p:sp>
        <p:sp>
          <p:nvSpPr>
            <p:cNvPr id="130" name="Rectangle 129"/>
            <p:cNvSpPr/>
            <p:nvPr/>
          </p:nvSpPr>
          <p:spPr>
            <a:xfrm>
              <a:off x="1556694" y="2331204"/>
              <a:ext cx="4480560" cy="822960"/>
            </a:xfrm>
            <a:prstGeom prst="rect">
              <a:avLst/>
            </a:prstGeom>
            <a:noFill/>
            <a:ln w="3175">
              <a:noFill/>
            </a:ln>
          </p:spPr>
          <p:txBody>
            <a:bodyPr wrap="square" lIns="0" tIns="0" rIns="0" bIns="0" anchor="ctr">
              <a:noAutofit/>
            </a:bodyPr>
            <a:lstStyle/>
            <a:p>
              <a:pPr marL="0" lvl="1" defTabSz="913770" fontAlgn="base">
                <a:buClr>
                  <a:srgbClr val="68217A">
                    <a:lumMod val="50000"/>
                  </a:srgbClr>
                </a:buClr>
                <a:tabLst>
                  <a:tab pos="645523" algn="l"/>
                </a:tabLst>
              </a:pPr>
              <a:r>
                <a:rPr lang="en-IN" sz="2353" dirty="0">
                  <a:solidFill>
                    <a:srgbClr val="505050"/>
                  </a:solidFill>
                  <a:ea typeface="Segoe UI" pitchFamily="34" charset="0"/>
                  <a:cs typeface="Segoe UI Semibold" panose="020B0702040204020203" pitchFamily="34" charset="0"/>
                </a:rPr>
                <a:t>Open source platform</a:t>
              </a:r>
            </a:p>
          </p:txBody>
        </p:sp>
        <p:cxnSp>
          <p:nvCxnSpPr>
            <p:cNvPr id="141" name="Straight Connector 140"/>
            <p:cNvCxnSpPr/>
            <p:nvPr/>
          </p:nvCxnSpPr>
          <p:spPr>
            <a:xfrm>
              <a:off x="1446745" y="2331204"/>
              <a:ext cx="0" cy="822960"/>
            </a:xfrm>
            <a:prstGeom prst="line">
              <a:avLst/>
            </a:prstGeom>
            <a:ln w="3175">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95263" name="Group 95262"/>
          <p:cNvGrpSpPr/>
          <p:nvPr/>
        </p:nvGrpSpPr>
        <p:grpSpPr>
          <a:xfrm>
            <a:off x="551414" y="4269424"/>
            <a:ext cx="5367161" cy="806782"/>
            <a:chOff x="562470" y="4354538"/>
            <a:chExt cx="5474784" cy="822960"/>
          </a:xfrm>
        </p:grpSpPr>
        <p:grpSp>
          <p:nvGrpSpPr>
            <p:cNvPr id="17" name="Group 16"/>
            <p:cNvGrpSpPr/>
            <p:nvPr/>
          </p:nvGrpSpPr>
          <p:grpSpPr>
            <a:xfrm>
              <a:off x="562470" y="4452053"/>
              <a:ext cx="790452" cy="627930"/>
              <a:chOff x="7540795" y="3461097"/>
              <a:chExt cx="820539" cy="651831"/>
            </a:xfrm>
            <a:solidFill>
              <a:schemeClr val="accent3"/>
            </a:solidFill>
          </p:grpSpPr>
          <p:grpSp>
            <p:nvGrpSpPr>
              <p:cNvPr id="18" name="Group 17"/>
              <p:cNvGrpSpPr/>
              <p:nvPr/>
            </p:nvGrpSpPr>
            <p:grpSpPr>
              <a:xfrm rot="10800000">
                <a:off x="7540795" y="3813067"/>
                <a:ext cx="568902" cy="299861"/>
                <a:chOff x="7792432" y="2907854"/>
                <a:chExt cx="568902" cy="299861"/>
              </a:xfrm>
              <a:grpFill/>
            </p:grpSpPr>
            <p:sp>
              <p:nvSpPr>
                <p:cNvPr id="24" name="Freeform 8"/>
                <p:cNvSpPr>
                  <a:spLocks/>
                </p:cNvSpPr>
                <p:nvPr/>
              </p:nvSpPr>
              <p:spPr bwMode="auto">
                <a:xfrm>
                  <a:off x="8055009" y="2907854"/>
                  <a:ext cx="306325" cy="299861"/>
                </a:xfrm>
                <a:custGeom>
                  <a:avLst/>
                  <a:gdLst>
                    <a:gd name="T0" fmla="*/ 100 w 100"/>
                    <a:gd name="T1" fmla="*/ 0 h 98"/>
                    <a:gd name="T2" fmla="*/ 16 w 100"/>
                    <a:gd name="T3" fmla="*/ 13 h 98"/>
                    <a:gd name="T4" fmla="*/ 41 w 100"/>
                    <a:gd name="T5" fmla="*/ 39 h 98"/>
                    <a:gd name="T6" fmla="*/ 41 w 100"/>
                    <a:gd name="T7" fmla="*/ 39 h 98"/>
                    <a:gd name="T8" fmla="*/ 6 w 100"/>
                    <a:gd name="T9" fmla="*/ 75 h 98"/>
                    <a:gd name="T10" fmla="*/ 6 w 100"/>
                    <a:gd name="T11" fmla="*/ 94 h 98"/>
                    <a:gd name="T12" fmla="*/ 16 w 100"/>
                    <a:gd name="T13" fmla="*/ 98 h 98"/>
                    <a:gd name="T14" fmla="*/ 25 w 100"/>
                    <a:gd name="T15" fmla="*/ 94 h 98"/>
                    <a:gd name="T16" fmla="*/ 61 w 100"/>
                    <a:gd name="T17" fmla="*/ 59 h 98"/>
                    <a:gd name="T18" fmla="*/ 61 w 100"/>
                    <a:gd name="T19" fmla="*/ 59 h 98"/>
                    <a:gd name="T20" fmla="*/ 87 w 100"/>
                    <a:gd name="T21" fmla="*/ 84 h 98"/>
                    <a:gd name="T22" fmla="*/ 100 w 100"/>
                    <a:gd name="T23"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 h="98">
                      <a:moveTo>
                        <a:pt x="100" y="0"/>
                      </a:moveTo>
                      <a:cubicBezTo>
                        <a:pt x="16" y="13"/>
                        <a:pt x="16" y="13"/>
                        <a:pt x="16" y="13"/>
                      </a:cubicBezTo>
                      <a:cubicBezTo>
                        <a:pt x="41" y="39"/>
                        <a:pt x="41" y="39"/>
                        <a:pt x="41" y="39"/>
                      </a:cubicBezTo>
                      <a:cubicBezTo>
                        <a:pt x="41" y="39"/>
                        <a:pt x="41" y="39"/>
                        <a:pt x="41" y="39"/>
                      </a:cubicBezTo>
                      <a:cubicBezTo>
                        <a:pt x="6" y="75"/>
                        <a:pt x="6" y="75"/>
                        <a:pt x="6" y="75"/>
                      </a:cubicBezTo>
                      <a:cubicBezTo>
                        <a:pt x="0" y="80"/>
                        <a:pt x="0" y="89"/>
                        <a:pt x="6" y="94"/>
                      </a:cubicBezTo>
                      <a:cubicBezTo>
                        <a:pt x="8" y="97"/>
                        <a:pt x="12" y="98"/>
                        <a:pt x="16" y="98"/>
                      </a:cubicBezTo>
                      <a:cubicBezTo>
                        <a:pt x="19" y="98"/>
                        <a:pt x="23" y="97"/>
                        <a:pt x="25" y="94"/>
                      </a:cubicBezTo>
                      <a:cubicBezTo>
                        <a:pt x="61" y="59"/>
                        <a:pt x="61" y="59"/>
                        <a:pt x="61" y="59"/>
                      </a:cubicBezTo>
                      <a:cubicBezTo>
                        <a:pt x="61" y="59"/>
                        <a:pt x="61" y="59"/>
                        <a:pt x="61" y="59"/>
                      </a:cubicBezTo>
                      <a:cubicBezTo>
                        <a:pt x="87" y="84"/>
                        <a:pt x="87" y="84"/>
                        <a:pt x="87" y="84"/>
                      </a:cubicBezTo>
                      <a:lnTo>
                        <a:pt x="10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sp>
              <p:nvSpPr>
                <p:cNvPr id="25" name="Rectangle 9"/>
                <p:cNvSpPr>
                  <a:spLocks noChangeArrowheads="1"/>
                </p:cNvSpPr>
                <p:nvPr/>
              </p:nvSpPr>
              <p:spPr bwMode="auto">
                <a:xfrm>
                  <a:off x="7891463" y="3122410"/>
                  <a:ext cx="212661" cy="853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sp>
              <p:nvSpPr>
                <p:cNvPr id="26" name="Rectangle 9"/>
                <p:cNvSpPr>
                  <a:spLocks noChangeArrowheads="1"/>
                </p:cNvSpPr>
                <p:nvPr/>
              </p:nvSpPr>
              <p:spPr bwMode="auto">
                <a:xfrm>
                  <a:off x="7792432" y="3122410"/>
                  <a:ext cx="27432" cy="853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sp>
              <p:nvSpPr>
                <p:cNvPr id="27" name="Rectangle 9"/>
                <p:cNvSpPr>
                  <a:spLocks noChangeArrowheads="1"/>
                </p:cNvSpPr>
                <p:nvPr/>
              </p:nvSpPr>
              <p:spPr bwMode="auto">
                <a:xfrm>
                  <a:off x="7832804" y="3122410"/>
                  <a:ext cx="45719" cy="853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grpSp>
          <p:grpSp>
            <p:nvGrpSpPr>
              <p:cNvPr id="19" name="Group 18"/>
              <p:cNvGrpSpPr/>
              <p:nvPr/>
            </p:nvGrpSpPr>
            <p:grpSpPr>
              <a:xfrm>
                <a:off x="7792432" y="3461097"/>
                <a:ext cx="568902" cy="299861"/>
                <a:chOff x="7792432" y="3461097"/>
                <a:chExt cx="568902" cy="299861"/>
              </a:xfrm>
              <a:grpFill/>
            </p:grpSpPr>
            <p:sp>
              <p:nvSpPr>
                <p:cNvPr id="20" name="Freeform 8"/>
                <p:cNvSpPr>
                  <a:spLocks/>
                </p:cNvSpPr>
                <p:nvPr/>
              </p:nvSpPr>
              <p:spPr bwMode="auto">
                <a:xfrm>
                  <a:off x="8055009" y="3461097"/>
                  <a:ext cx="306325" cy="299861"/>
                </a:xfrm>
                <a:custGeom>
                  <a:avLst/>
                  <a:gdLst>
                    <a:gd name="T0" fmla="*/ 100 w 100"/>
                    <a:gd name="T1" fmla="*/ 0 h 98"/>
                    <a:gd name="T2" fmla="*/ 16 w 100"/>
                    <a:gd name="T3" fmla="*/ 13 h 98"/>
                    <a:gd name="T4" fmla="*/ 41 w 100"/>
                    <a:gd name="T5" fmla="*/ 39 h 98"/>
                    <a:gd name="T6" fmla="*/ 41 w 100"/>
                    <a:gd name="T7" fmla="*/ 39 h 98"/>
                    <a:gd name="T8" fmla="*/ 6 w 100"/>
                    <a:gd name="T9" fmla="*/ 75 h 98"/>
                    <a:gd name="T10" fmla="*/ 6 w 100"/>
                    <a:gd name="T11" fmla="*/ 94 h 98"/>
                    <a:gd name="T12" fmla="*/ 16 w 100"/>
                    <a:gd name="T13" fmla="*/ 98 h 98"/>
                    <a:gd name="T14" fmla="*/ 25 w 100"/>
                    <a:gd name="T15" fmla="*/ 94 h 98"/>
                    <a:gd name="T16" fmla="*/ 61 w 100"/>
                    <a:gd name="T17" fmla="*/ 59 h 98"/>
                    <a:gd name="T18" fmla="*/ 61 w 100"/>
                    <a:gd name="T19" fmla="*/ 59 h 98"/>
                    <a:gd name="T20" fmla="*/ 87 w 100"/>
                    <a:gd name="T21" fmla="*/ 84 h 98"/>
                    <a:gd name="T22" fmla="*/ 100 w 100"/>
                    <a:gd name="T23"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 h="98">
                      <a:moveTo>
                        <a:pt x="100" y="0"/>
                      </a:moveTo>
                      <a:cubicBezTo>
                        <a:pt x="16" y="13"/>
                        <a:pt x="16" y="13"/>
                        <a:pt x="16" y="13"/>
                      </a:cubicBezTo>
                      <a:cubicBezTo>
                        <a:pt x="41" y="39"/>
                        <a:pt x="41" y="39"/>
                        <a:pt x="41" y="39"/>
                      </a:cubicBezTo>
                      <a:cubicBezTo>
                        <a:pt x="41" y="39"/>
                        <a:pt x="41" y="39"/>
                        <a:pt x="41" y="39"/>
                      </a:cubicBezTo>
                      <a:cubicBezTo>
                        <a:pt x="6" y="75"/>
                        <a:pt x="6" y="75"/>
                        <a:pt x="6" y="75"/>
                      </a:cubicBezTo>
                      <a:cubicBezTo>
                        <a:pt x="0" y="80"/>
                        <a:pt x="0" y="89"/>
                        <a:pt x="6" y="94"/>
                      </a:cubicBezTo>
                      <a:cubicBezTo>
                        <a:pt x="8" y="97"/>
                        <a:pt x="12" y="98"/>
                        <a:pt x="16" y="98"/>
                      </a:cubicBezTo>
                      <a:cubicBezTo>
                        <a:pt x="19" y="98"/>
                        <a:pt x="23" y="97"/>
                        <a:pt x="25" y="94"/>
                      </a:cubicBezTo>
                      <a:cubicBezTo>
                        <a:pt x="61" y="59"/>
                        <a:pt x="61" y="59"/>
                        <a:pt x="61" y="59"/>
                      </a:cubicBezTo>
                      <a:cubicBezTo>
                        <a:pt x="61" y="59"/>
                        <a:pt x="61" y="59"/>
                        <a:pt x="61" y="59"/>
                      </a:cubicBezTo>
                      <a:cubicBezTo>
                        <a:pt x="87" y="84"/>
                        <a:pt x="87" y="84"/>
                        <a:pt x="87" y="84"/>
                      </a:cubicBezTo>
                      <a:lnTo>
                        <a:pt x="10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sp>
              <p:nvSpPr>
                <p:cNvPr id="21" name="Rectangle 9"/>
                <p:cNvSpPr>
                  <a:spLocks noChangeArrowheads="1"/>
                </p:cNvSpPr>
                <p:nvPr/>
              </p:nvSpPr>
              <p:spPr bwMode="auto">
                <a:xfrm>
                  <a:off x="7891463" y="3675653"/>
                  <a:ext cx="212661" cy="853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sp>
              <p:nvSpPr>
                <p:cNvPr id="22" name="Rectangle 9"/>
                <p:cNvSpPr>
                  <a:spLocks noChangeArrowheads="1"/>
                </p:cNvSpPr>
                <p:nvPr/>
              </p:nvSpPr>
              <p:spPr bwMode="auto">
                <a:xfrm>
                  <a:off x="7792432" y="3675653"/>
                  <a:ext cx="27432" cy="853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sp>
              <p:nvSpPr>
                <p:cNvPr id="23" name="Rectangle 9"/>
                <p:cNvSpPr>
                  <a:spLocks noChangeArrowheads="1"/>
                </p:cNvSpPr>
                <p:nvPr/>
              </p:nvSpPr>
              <p:spPr bwMode="auto">
                <a:xfrm>
                  <a:off x="7832804" y="3675653"/>
                  <a:ext cx="45719" cy="853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grpSp>
        </p:grpSp>
        <p:sp>
          <p:nvSpPr>
            <p:cNvPr id="135" name="Rectangle 134"/>
            <p:cNvSpPr/>
            <p:nvPr/>
          </p:nvSpPr>
          <p:spPr>
            <a:xfrm>
              <a:off x="1556694" y="4354538"/>
              <a:ext cx="4480560" cy="822960"/>
            </a:xfrm>
            <a:prstGeom prst="rect">
              <a:avLst/>
            </a:prstGeom>
            <a:noFill/>
            <a:ln w="3175">
              <a:noFill/>
            </a:ln>
          </p:spPr>
          <p:txBody>
            <a:bodyPr wrap="square" lIns="0" tIns="0" rIns="0" bIns="0" anchor="ctr">
              <a:noAutofit/>
            </a:bodyPr>
            <a:lstStyle/>
            <a:p>
              <a:pPr marL="0" lvl="1" defTabSz="913770" fontAlgn="base">
                <a:buClr>
                  <a:srgbClr val="68217A">
                    <a:lumMod val="50000"/>
                  </a:srgbClr>
                </a:buClr>
                <a:tabLst>
                  <a:tab pos="645523" algn="l"/>
                </a:tabLst>
              </a:pPr>
              <a:r>
                <a:rPr lang="en-IN" sz="2353" dirty="0">
                  <a:solidFill>
                    <a:srgbClr val="505050"/>
                  </a:solidFill>
                  <a:ea typeface="Segoe UI" pitchFamily="34" charset="0"/>
                  <a:cs typeface="Segoe UI Semibold" panose="020B0702040204020203" pitchFamily="34" charset="0"/>
                </a:rPr>
                <a:t>Scale-up and scale-down</a:t>
              </a:r>
            </a:p>
          </p:txBody>
        </p:sp>
        <p:cxnSp>
          <p:nvCxnSpPr>
            <p:cNvPr id="143" name="Straight Connector 142"/>
            <p:cNvCxnSpPr/>
            <p:nvPr/>
          </p:nvCxnSpPr>
          <p:spPr>
            <a:xfrm>
              <a:off x="1446745" y="4354538"/>
              <a:ext cx="0" cy="822960"/>
            </a:xfrm>
            <a:prstGeom prst="line">
              <a:avLst/>
            </a:prstGeom>
            <a:ln w="3175">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95258" name="Group 95257"/>
          <p:cNvGrpSpPr/>
          <p:nvPr/>
        </p:nvGrpSpPr>
        <p:grpSpPr>
          <a:xfrm>
            <a:off x="7261447" y="1294085"/>
            <a:ext cx="4511912" cy="806782"/>
            <a:chOff x="6581553" y="1319537"/>
            <a:chExt cx="4602385" cy="822960"/>
          </a:xfrm>
        </p:grpSpPr>
        <p:sp>
          <p:nvSpPr>
            <p:cNvPr id="61" name="Freeform 60"/>
            <p:cNvSpPr/>
            <p:nvPr/>
          </p:nvSpPr>
          <p:spPr bwMode="auto">
            <a:xfrm>
              <a:off x="6581553" y="1383444"/>
              <a:ext cx="672723" cy="695147"/>
            </a:xfrm>
            <a:custGeom>
              <a:avLst/>
              <a:gdLst>
                <a:gd name="connsiteX0" fmla="*/ 8338 w 714379"/>
                <a:gd name="connsiteY0" fmla="*/ 571502 h 738191"/>
                <a:gd name="connsiteX1" fmla="*/ 84537 w 714379"/>
                <a:gd name="connsiteY1" fmla="*/ 571502 h 738191"/>
                <a:gd name="connsiteX2" fmla="*/ 92872 w 714379"/>
                <a:gd name="connsiteY2" fmla="*/ 579837 h 738191"/>
                <a:gd name="connsiteX3" fmla="*/ 92872 w 714379"/>
                <a:gd name="connsiteY3" fmla="*/ 645322 h 738191"/>
                <a:gd name="connsiteX4" fmla="*/ 621509 w 714379"/>
                <a:gd name="connsiteY4" fmla="*/ 645322 h 738191"/>
                <a:gd name="connsiteX5" fmla="*/ 621509 w 714379"/>
                <a:gd name="connsiteY5" fmla="*/ 579837 h 738191"/>
                <a:gd name="connsiteX6" fmla="*/ 629844 w 714379"/>
                <a:gd name="connsiteY6" fmla="*/ 571502 h 738191"/>
                <a:gd name="connsiteX7" fmla="*/ 706043 w 714379"/>
                <a:gd name="connsiteY7" fmla="*/ 571502 h 738191"/>
                <a:gd name="connsiteX8" fmla="*/ 714378 w 714379"/>
                <a:gd name="connsiteY8" fmla="*/ 579837 h 738191"/>
                <a:gd name="connsiteX9" fmla="*/ 714378 w 714379"/>
                <a:gd name="connsiteY9" fmla="*/ 651274 h 738191"/>
                <a:gd name="connsiteX10" fmla="*/ 714379 w 714379"/>
                <a:gd name="connsiteY10" fmla="*/ 651275 h 738191"/>
                <a:gd name="connsiteX11" fmla="*/ 714379 w 714379"/>
                <a:gd name="connsiteY11" fmla="*/ 732238 h 738191"/>
                <a:gd name="connsiteX12" fmla="*/ 708426 w 714379"/>
                <a:gd name="connsiteY12" fmla="*/ 738191 h 738191"/>
                <a:gd name="connsiteX13" fmla="*/ 5956 w 714379"/>
                <a:gd name="connsiteY13" fmla="*/ 738191 h 738191"/>
                <a:gd name="connsiteX14" fmla="*/ 2 w 714379"/>
                <a:gd name="connsiteY14" fmla="*/ 732238 h 738191"/>
                <a:gd name="connsiteX15" fmla="*/ 2 w 714379"/>
                <a:gd name="connsiteY15" fmla="*/ 651275 h 738191"/>
                <a:gd name="connsiteX16" fmla="*/ 3 w 714379"/>
                <a:gd name="connsiteY16" fmla="*/ 651274 h 738191"/>
                <a:gd name="connsiteX17" fmla="*/ 3 w 714379"/>
                <a:gd name="connsiteY17" fmla="*/ 579837 h 738191"/>
                <a:gd name="connsiteX18" fmla="*/ 8338 w 714379"/>
                <a:gd name="connsiteY18" fmla="*/ 571502 h 738191"/>
                <a:gd name="connsiteX19" fmla="*/ 158952 w 714379"/>
                <a:gd name="connsiteY19" fmla="*/ 471488 h 738191"/>
                <a:gd name="connsiteX20" fmla="*/ 262536 w 714379"/>
                <a:gd name="connsiteY20" fmla="*/ 471488 h 738191"/>
                <a:gd name="connsiteX21" fmla="*/ 270871 w 714379"/>
                <a:gd name="connsiteY21" fmla="*/ 479823 h 738191"/>
                <a:gd name="connsiteX22" fmla="*/ 270871 w 714379"/>
                <a:gd name="connsiteY22" fmla="*/ 556022 h 738191"/>
                <a:gd name="connsiteX23" fmla="*/ 262536 w 714379"/>
                <a:gd name="connsiteY23" fmla="*/ 564357 h 738191"/>
                <a:gd name="connsiteX24" fmla="*/ 158952 w 714379"/>
                <a:gd name="connsiteY24" fmla="*/ 564357 h 738191"/>
                <a:gd name="connsiteX25" fmla="*/ 150617 w 714379"/>
                <a:gd name="connsiteY25" fmla="*/ 556022 h 738191"/>
                <a:gd name="connsiteX26" fmla="*/ 150617 w 714379"/>
                <a:gd name="connsiteY26" fmla="*/ 479823 h 738191"/>
                <a:gd name="connsiteX27" fmla="*/ 158952 w 714379"/>
                <a:gd name="connsiteY27" fmla="*/ 471488 h 738191"/>
                <a:gd name="connsiteX28" fmla="*/ 331924 w 714379"/>
                <a:gd name="connsiteY28" fmla="*/ 400465 h 738191"/>
                <a:gd name="connsiteX29" fmla="*/ 435508 w 714379"/>
                <a:gd name="connsiteY29" fmla="*/ 400465 h 738191"/>
                <a:gd name="connsiteX30" fmla="*/ 443843 w 714379"/>
                <a:gd name="connsiteY30" fmla="*/ 408800 h 738191"/>
                <a:gd name="connsiteX31" fmla="*/ 443843 w 714379"/>
                <a:gd name="connsiteY31" fmla="*/ 484999 h 738191"/>
                <a:gd name="connsiteX32" fmla="*/ 435508 w 714379"/>
                <a:gd name="connsiteY32" fmla="*/ 493334 h 738191"/>
                <a:gd name="connsiteX33" fmla="*/ 331924 w 714379"/>
                <a:gd name="connsiteY33" fmla="*/ 493334 h 738191"/>
                <a:gd name="connsiteX34" fmla="*/ 323589 w 714379"/>
                <a:gd name="connsiteY34" fmla="*/ 484999 h 738191"/>
                <a:gd name="connsiteX35" fmla="*/ 323589 w 714379"/>
                <a:gd name="connsiteY35" fmla="*/ 408800 h 738191"/>
                <a:gd name="connsiteX36" fmla="*/ 331924 w 714379"/>
                <a:gd name="connsiteY36" fmla="*/ 400465 h 738191"/>
                <a:gd name="connsiteX37" fmla="*/ 158952 w 714379"/>
                <a:gd name="connsiteY37" fmla="*/ 322661 h 738191"/>
                <a:gd name="connsiteX38" fmla="*/ 262536 w 714379"/>
                <a:gd name="connsiteY38" fmla="*/ 322661 h 738191"/>
                <a:gd name="connsiteX39" fmla="*/ 270871 w 714379"/>
                <a:gd name="connsiteY39" fmla="*/ 330996 h 738191"/>
                <a:gd name="connsiteX40" fmla="*/ 270871 w 714379"/>
                <a:gd name="connsiteY40" fmla="*/ 407195 h 738191"/>
                <a:gd name="connsiteX41" fmla="*/ 262536 w 714379"/>
                <a:gd name="connsiteY41" fmla="*/ 415530 h 738191"/>
                <a:gd name="connsiteX42" fmla="*/ 158952 w 714379"/>
                <a:gd name="connsiteY42" fmla="*/ 415530 h 738191"/>
                <a:gd name="connsiteX43" fmla="*/ 150617 w 714379"/>
                <a:gd name="connsiteY43" fmla="*/ 407195 h 738191"/>
                <a:gd name="connsiteX44" fmla="*/ 150617 w 714379"/>
                <a:gd name="connsiteY44" fmla="*/ 330996 h 738191"/>
                <a:gd name="connsiteX45" fmla="*/ 158952 w 714379"/>
                <a:gd name="connsiteY45" fmla="*/ 322661 h 738191"/>
                <a:gd name="connsiteX46" fmla="*/ 505528 w 714379"/>
                <a:gd name="connsiteY46" fmla="*/ 322660 h 738191"/>
                <a:gd name="connsiteX47" fmla="*/ 609112 w 714379"/>
                <a:gd name="connsiteY47" fmla="*/ 322660 h 738191"/>
                <a:gd name="connsiteX48" fmla="*/ 617447 w 714379"/>
                <a:gd name="connsiteY48" fmla="*/ 330995 h 738191"/>
                <a:gd name="connsiteX49" fmla="*/ 617447 w 714379"/>
                <a:gd name="connsiteY49" fmla="*/ 407194 h 738191"/>
                <a:gd name="connsiteX50" fmla="*/ 609112 w 714379"/>
                <a:gd name="connsiteY50" fmla="*/ 415529 h 738191"/>
                <a:gd name="connsiteX51" fmla="*/ 505528 w 714379"/>
                <a:gd name="connsiteY51" fmla="*/ 415529 h 738191"/>
                <a:gd name="connsiteX52" fmla="*/ 497193 w 714379"/>
                <a:gd name="connsiteY52" fmla="*/ 407194 h 738191"/>
                <a:gd name="connsiteX53" fmla="*/ 497193 w 714379"/>
                <a:gd name="connsiteY53" fmla="*/ 330995 h 738191"/>
                <a:gd name="connsiteX54" fmla="*/ 505528 w 714379"/>
                <a:gd name="connsiteY54" fmla="*/ 322660 h 738191"/>
                <a:gd name="connsiteX55" fmla="*/ 332240 w 714379"/>
                <a:gd name="connsiteY55" fmla="*/ 249093 h 738191"/>
                <a:gd name="connsiteX56" fmla="*/ 435824 w 714379"/>
                <a:gd name="connsiteY56" fmla="*/ 249093 h 738191"/>
                <a:gd name="connsiteX57" fmla="*/ 444159 w 714379"/>
                <a:gd name="connsiteY57" fmla="*/ 257428 h 738191"/>
                <a:gd name="connsiteX58" fmla="*/ 444159 w 714379"/>
                <a:gd name="connsiteY58" fmla="*/ 333627 h 738191"/>
                <a:gd name="connsiteX59" fmla="*/ 435824 w 714379"/>
                <a:gd name="connsiteY59" fmla="*/ 341962 h 738191"/>
                <a:gd name="connsiteX60" fmla="*/ 332240 w 714379"/>
                <a:gd name="connsiteY60" fmla="*/ 341962 h 738191"/>
                <a:gd name="connsiteX61" fmla="*/ 323905 w 714379"/>
                <a:gd name="connsiteY61" fmla="*/ 333627 h 738191"/>
                <a:gd name="connsiteX62" fmla="*/ 323905 w 714379"/>
                <a:gd name="connsiteY62" fmla="*/ 257428 h 738191"/>
                <a:gd name="connsiteX63" fmla="*/ 332240 w 714379"/>
                <a:gd name="connsiteY63" fmla="*/ 249093 h 738191"/>
                <a:gd name="connsiteX64" fmla="*/ 158952 w 714379"/>
                <a:gd name="connsiteY64" fmla="*/ 173833 h 738191"/>
                <a:gd name="connsiteX65" fmla="*/ 262536 w 714379"/>
                <a:gd name="connsiteY65" fmla="*/ 173833 h 738191"/>
                <a:gd name="connsiteX66" fmla="*/ 270871 w 714379"/>
                <a:gd name="connsiteY66" fmla="*/ 182168 h 738191"/>
                <a:gd name="connsiteX67" fmla="*/ 270871 w 714379"/>
                <a:gd name="connsiteY67" fmla="*/ 258367 h 738191"/>
                <a:gd name="connsiteX68" fmla="*/ 262536 w 714379"/>
                <a:gd name="connsiteY68" fmla="*/ 266702 h 738191"/>
                <a:gd name="connsiteX69" fmla="*/ 158952 w 714379"/>
                <a:gd name="connsiteY69" fmla="*/ 266702 h 738191"/>
                <a:gd name="connsiteX70" fmla="*/ 150617 w 714379"/>
                <a:gd name="connsiteY70" fmla="*/ 258367 h 738191"/>
                <a:gd name="connsiteX71" fmla="*/ 150617 w 714379"/>
                <a:gd name="connsiteY71" fmla="*/ 182168 h 738191"/>
                <a:gd name="connsiteX72" fmla="*/ 158952 w 714379"/>
                <a:gd name="connsiteY72" fmla="*/ 173833 h 738191"/>
                <a:gd name="connsiteX73" fmla="*/ 5954 w 714379"/>
                <a:gd name="connsiteY73" fmla="*/ 0 h 738191"/>
                <a:gd name="connsiteX74" fmla="*/ 708424 w 714379"/>
                <a:gd name="connsiteY74" fmla="*/ 0 h 738191"/>
                <a:gd name="connsiteX75" fmla="*/ 714377 w 714379"/>
                <a:gd name="connsiteY75" fmla="*/ 5953 h 738191"/>
                <a:gd name="connsiteX76" fmla="*/ 714377 w 714379"/>
                <a:gd name="connsiteY76" fmla="*/ 86916 h 738191"/>
                <a:gd name="connsiteX77" fmla="*/ 714376 w 714379"/>
                <a:gd name="connsiteY77" fmla="*/ 86917 h 738191"/>
                <a:gd name="connsiteX78" fmla="*/ 714376 w 714379"/>
                <a:gd name="connsiteY78" fmla="*/ 158354 h 738191"/>
                <a:gd name="connsiteX79" fmla="*/ 706041 w 714379"/>
                <a:gd name="connsiteY79" fmla="*/ 166689 h 738191"/>
                <a:gd name="connsiteX80" fmla="*/ 629842 w 714379"/>
                <a:gd name="connsiteY80" fmla="*/ 166689 h 738191"/>
                <a:gd name="connsiteX81" fmla="*/ 621507 w 714379"/>
                <a:gd name="connsiteY81" fmla="*/ 158354 h 738191"/>
                <a:gd name="connsiteX82" fmla="*/ 621507 w 714379"/>
                <a:gd name="connsiteY82" fmla="*/ 92869 h 738191"/>
                <a:gd name="connsiteX83" fmla="*/ 92870 w 714379"/>
                <a:gd name="connsiteY83" fmla="*/ 92869 h 738191"/>
                <a:gd name="connsiteX84" fmla="*/ 92870 w 714379"/>
                <a:gd name="connsiteY84" fmla="*/ 158354 h 738191"/>
                <a:gd name="connsiteX85" fmla="*/ 84535 w 714379"/>
                <a:gd name="connsiteY85" fmla="*/ 166689 h 738191"/>
                <a:gd name="connsiteX86" fmla="*/ 8336 w 714379"/>
                <a:gd name="connsiteY86" fmla="*/ 166689 h 738191"/>
                <a:gd name="connsiteX87" fmla="*/ 1 w 714379"/>
                <a:gd name="connsiteY87" fmla="*/ 158354 h 738191"/>
                <a:gd name="connsiteX88" fmla="*/ 1 w 714379"/>
                <a:gd name="connsiteY88" fmla="*/ 86917 h 738191"/>
                <a:gd name="connsiteX89" fmla="*/ 0 w 714379"/>
                <a:gd name="connsiteY89" fmla="*/ 86916 h 738191"/>
                <a:gd name="connsiteX90" fmla="*/ 0 w 714379"/>
                <a:gd name="connsiteY90" fmla="*/ 5953 h 738191"/>
                <a:gd name="connsiteX91" fmla="*/ 5954 w 714379"/>
                <a:gd name="connsiteY91" fmla="*/ 0 h 738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714379" h="738191">
                  <a:moveTo>
                    <a:pt x="8338" y="571502"/>
                  </a:moveTo>
                  <a:lnTo>
                    <a:pt x="84537" y="571502"/>
                  </a:lnTo>
                  <a:cubicBezTo>
                    <a:pt x="89140" y="571502"/>
                    <a:pt x="92872" y="575234"/>
                    <a:pt x="92872" y="579837"/>
                  </a:cubicBezTo>
                  <a:lnTo>
                    <a:pt x="92872" y="645322"/>
                  </a:lnTo>
                  <a:lnTo>
                    <a:pt x="621509" y="645322"/>
                  </a:lnTo>
                  <a:lnTo>
                    <a:pt x="621509" y="579837"/>
                  </a:lnTo>
                  <a:cubicBezTo>
                    <a:pt x="621509" y="575234"/>
                    <a:pt x="625241" y="571502"/>
                    <a:pt x="629844" y="571502"/>
                  </a:cubicBezTo>
                  <a:lnTo>
                    <a:pt x="706043" y="571502"/>
                  </a:lnTo>
                  <a:cubicBezTo>
                    <a:pt x="710646" y="571502"/>
                    <a:pt x="714378" y="575234"/>
                    <a:pt x="714378" y="579837"/>
                  </a:cubicBezTo>
                  <a:lnTo>
                    <a:pt x="714378" y="651274"/>
                  </a:lnTo>
                  <a:lnTo>
                    <a:pt x="714379" y="651275"/>
                  </a:lnTo>
                  <a:lnTo>
                    <a:pt x="714379" y="732238"/>
                  </a:lnTo>
                  <a:cubicBezTo>
                    <a:pt x="714379" y="735526"/>
                    <a:pt x="711714" y="738191"/>
                    <a:pt x="708426" y="738191"/>
                  </a:cubicBezTo>
                  <a:lnTo>
                    <a:pt x="5956" y="738191"/>
                  </a:lnTo>
                  <a:cubicBezTo>
                    <a:pt x="2668" y="738191"/>
                    <a:pt x="2" y="735526"/>
                    <a:pt x="2" y="732238"/>
                  </a:cubicBezTo>
                  <a:lnTo>
                    <a:pt x="2" y="651275"/>
                  </a:lnTo>
                  <a:lnTo>
                    <a:pt x="3" y="651274"/>
                  </a:lnTo>
                  <a:lnTo>
                    <a:pt x="3" y="579837"/>
                  </a:lnTo>
                  <a:cubicBezTo>
                    <a:pt x="3" y="575234"/>
                    <a:pt x="3735" y="571502"/>
                    <a:pt x="8338" y="571502"/>
                  </a:cubicBezTo>
                  <a:close/>
                  <a:moveTo>
                    <a:pt x="158952" y="471488"/>
                  </a:moveTo>
                  <a:lnTo>
                    <a:pt x="262536" y="471488"/>
                  </a:lnTo>
                  <a:cubicBezTo>
                    <a:pt x="267139" y="471488"/>
                    <a:pt x="270871" y="475220"/>
                    <a:pt x="270871" y="479823"/>
                  </a:cubicBezTo>
                  <a:lnTo>
                    <a:pt x="270871" y="556022"/>
                  </a:lnTo>
                  <a:cubicBezTo>
                    <a:pt x="270871" y="560625"/>
                    <a:pt x="267139" y="564357"/>
                    <a:pt x="262536" y="564357"/>
                  </a:cubicBezTo>
                  <a:lnTo>
                    <a:pt x="158952" y="564357"/>
                  </a:lnTo>
                  <a:cubicBezTo>
                    <a:pt x="154349" y="564357"/>
                    <a:pt x="150617" y="560625"/>
                    <a:pt x="150617" y="556022"/>
                  </a:cubicBezTo>
                  <a:lnTo>
                    <a:pt x="150617" y="479823"/>
                  </a:lnTo>
                  <a:cubicBezTo>
                    <a:pt x="150617" y="475220"/>
                    <a:pt x="154349" y="471488"/>
                    <a:pt x="158952" y="471488"/>
                  </a:cubicBezTo>
                  <a:close/>
                  <a:moveTo>
                    <a:pt x="331924" y="400465"/>
                  </a:moveTo>
                  <a:lnTo>
                    <a:pt x="435508" y="400465"/>
                  </a:lnTo>
                  <a:cubicBezTo>
                    <a:pt x="440111" y="400465"/>
                    <a:pt x="443843" y="404197"/>
                    <a:pt x="443843" y="408800"/>
                  </a:cubicBezTo>
                  <a:lnTo>
                    <a:pt x="443843" y="484999"/>
                  </a:lnTo>
                  <a:cubicBezTo>
                    <a:pt x="443843" y="489602"/>
                    <a:pt x="440111" y="493334"/>
                    <a:pt x="435508" y="493334"/>
                  </a:cubicBezTo>
                  <a:lnTo>
                    <a:pt x="331924" y="493334"/>
                  </a:lnTo>
                  <a:cubicBezTo>
                    <a:pt x="327321" y="493334"/>
                    <a:pt x="323589" y="489602"/>
                    <a:pt x="323589" y="484999"/>
                  </a:cubicBezTo>
                  <a:lnTo>
                    <a:pt x="323589" y="408800"/>
                  </a:lnTo>
                  <a:cubicBezTo>
                    <a:pt x="323589" y="404197"/>
                    <a:pt x="327321" y="400465"/>
                    <a:pt x="331924" y="400465"/>
                  </a:cubicBezTo>
                  <a:close/>
                  <a:moveTo>
                    <a:pt x="158952" y="322661"/>
                  </a:moveTo>
                  <a:lnTo>
                    <a:pt x="262536" y="322661"/>
                  </a:lnTo>
                  <a:cubicBezTo>
                    <a:pt x="267139" y="322661"/>
                    <a:pt x="270871" y="326393"/>
                    <a:pt x="270871" y="330996"/>
                  </a:cubicBezTo>
                  <a:lnTo>
                    <a:pt x="270871" y="407195"/>
                  </a:lnTo>
                  <a:cubicBezTo>
                    <a:pt x="270871" y="411798"/>
                    <a:pt x="267139" y="415530"/>
                    <a:pt x="262536" y="415530"/>
                  </a:cubicBezTo>
                  <a:lnTo>
                    <a:pt x="158952" y="415530"/>
                  </a:lnTo>
                  <a:cubicBezTo>
                    <a:pt x="154349" y="415530"/>
                    <a:pt x="150617" y="411798"/>
                    <a:pt x="150617" y="407195"/>
                  </a:cubicBezTo>
                  <a:lnTo>
                    <a:pt x="150617" y="330996"/>
                  </a:lnTo>
                  <a:cubicBezTo>
                    <a:pt x="150617" y="326393"/>
                    <a:pt x="154349" y="322661"/>
                    <a:pt x="158952" y="322661"/>
                  </a:cubicBezTo>
                  <a:close/>
                  <a:moveTo>
                    <a:pt x="505528" y="322660"/>
                  </a:moveTo>
                  <a:lnTo>
                    <a:pt x="609112" y="322660"/>
                  </a:lnTo>
                  <a:cubicBezTo>
                    <a:pt x="613715" y="322660"/>
                    <a:pt x="617447" y="326392"/>
                    <a:pt x="617447" y="330995"/>
                  </a:cubicBezTo>
                  <a:lnTo>
                    <a:pt x="617447" y="407194"/>
                  </a:lnTo>
                  <a:cubicBezTo>
                    <a:pt x="617447" y="411797"/>
                    <a:pt x="613715" y="415529"/>
                    <a:pt x="609112" y="415529"/>
                  </a:cubicBezTo>
                  <a:lnTo>
                    <a:pt x="505528" y="415529"/>
                  </a:lnTo>
                  <a:cubicBezTo>
                    <a:pt x="500925" y="415529"/>
                    <a:pt x="497193" y="411797"/>
                    <a:pt x="497193" y="407194"/>
                  </a:cubicBezTo>
                  <a:lnTo>
                    <a:pt x="497193" y="330995"/>
                  </a:lnTo>
                  <a:cubicBezTo>
                    <a:pt x="497193" y="326392"/>
                    <a:pt x="500925" y="322660"/>
                    <a:pt x="505528" y="322660"/>
                  </a:cubicBezTo>
                  <a:close/>
                  <a:moveTo>
                    <a:pt x="332240" y="249093"/>
                  </a:moveTo>
                  <a:lnTo>
                    <a:pt x="435824" y="249093"/>
                  </a:lnTo>
                  <a:cubicBezTo>
                    <a:pt x="440427" y="249093"/>
                    <a:pt x="444159" y="252825"/>
                    <a:pt x="444159" y="257428"/>
                  </a:cubicBezTo>
                  <a:lnTo>
                    <a:pt x="444159" y="333627"/>
                  </a:lnTo>
                  <a:cubicBezTo>
                    <a:pt x="444159" y="338230"/>
                    <a:pt x="440427" y="341962"/>
                    <a:pt x="435824" y="341962"/>
                  </a:cubicBezTo>
                  <a:lnTo>
                    <a:pt x="332240" y="341962"/>
                  </a:lnTo>
                  <a:cubicBezTo>
                    <a:pt x="327637" y="341962"/>
                    <a:pt x="323905" y="338230"/>
                    <a:pt x="323905" y="333627"/>
                  </a:cubicBezTo>
                  <a:lnTo>
                    <a:pt x="323905" y="257428"/>
                  </a:lnTo>
                  <a:cubicBezTo>
                    <a:pt x="323905" y="252825"/>
                    <a:pt x="327637" y="249093"/>
                    <a:pt x="332240" y="249093"/>
                  </a:cubicBezTo>
                  <a:close/>
                  <a:moveTo>
                    <a:pt x="158952" y="173833"/>
                  </a:moveTo>
                  <a:lnTo>
                    <a:pt x="262536" y="173833"/>
                  </a:lnTo>
                  <a:cubicBezTo>
                    <a:pt x="267139" y="173833"/>
                    <a:pt x="270871" y="177565"/>
                    <a:pt x="270871" y="182168"/>
                  </a:cubicBezTo>
                  <a:lnTo>
                    <a:pt x="270871" y="258367"/>
                  </a:lnTo>
                  <a:cubicBezTo>
                    <a:pt x="270871" y="262970"/>
                    <a:pt x="267139" y="266702"/>
                    <a:pt x="262536" y="266702"/>
                  </a:cubicBezTo>
                  <a:lnTo>
                    <a:pt x="158952" y="266702"/>
                  </a:lnTo>
                  <a:cubicBezTo>
                    <a:pt x="154349" y="266702"/>
                    <a:pt x="150617" y="262970"/>
                    <a:pt x="150617" y="258367"/>
                  </a:cubicBezTo>
                  <a:lnTo>
                    <a:pt x="150617" y="182168"/>
                  </a:lnTo>
                  <a:cubicBezTo>
                    <a:pt x="150617" y="177565"/>
                    <a:pt x="154349" y="173833"/>
                    <a:pt x="158952" y="173833"/>
                  </a:cubicBezTo>
                  <a:close/>
                  <a:moveTo>
                    <a:pt x="5954" y="0"/>
                  </a:moveTo>
                  <a:lnTo>
                    <a:pt x="708424" y="0"/>
                  </a:lnTo>
                  <a:cubicBezTo>
                    <a:pt x="711712" y="0"/>
                    <a:pt x="714377" y="2665"/>
                    <a:pt x="714377" y="5953"/>
                  </a:cubicBezTo>
                  <a:lnTo>
                    <a:pt x="714377" y="86916"/>
                  </a:lnTo>
                  <a:lnTo>
                    <a:pt x="714376" y="86917"/>
                  </a:lnTo>
                  <a:lnTo>
                    <a:pt x="714376" y="158354"/>
                  </a:lnTo>
                  <a:cubicBezTo>
                    <a:pt x="714376" y="162957"/>
                    <a:pt x="710644" y="166689"/>
                    <a:pt x="706041" y="166689"/>
                  </a:cubicBezTo>
                  <a:lnTo>
                    <a:pt x="629842" y="166689"/>
                  </a:lnTo>
                  <a:cubicBezTo>
                    <a:pt x="625239" y="166689"/>
                    <a:pt x="621507" y="162957"/>
                    <a:pt x="621507" y="158354"/>
                  </a:cubicBezTo>
                  <a:lnTo>
                    <a:pt x="621507" y="92869"/>
                  </a:lnTo>
                  <a:lnTo>
                    <a:pt x="92870" y="92869"/>
                  </a:lnTo>
                  <a:lnTo>
                    <a:pt x="92870" y="158354"/>
                  </a:lnTo>
                  <a:cubicBezTo>
                    <a:pt x="92870" y="162957"/>
                    <a:pt x="89138" y="166689"/>
                    <a:pt x="84535" y="166689"/>
                  </a:cubicBezTo>
                  <a:lnTo>
                    <a:pt x="8336" y="166689"/>
                  </a:lnTo>
                  <a:cubicBezTo>
                    <a:pt x="3733" y="166689"/>
                    <a:pt x="1" y="162957"/>
                    <a:pt x="1" y="158354"/>
                  </a:cubicBezTo>
                  <a:lnTo>
                    <a:pt x="1" y="86917"/>
                  </a:lnTo>
                  <a:lnTo>
                    <a:pt x="0" y="86916"/>
                  </a:lnTo>
                  <a:lnTo>
                    <a:pt x="0" y="5953"/>
                  </a:lnTo>
                  <a:cubicBezTo>
                    <a:pt x="0" y="2665"/>
                    <a:pt x="2666" y="0"/>
                    <a:pt x="5954" y="0"/>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dirty="0">
                <a:solidFill>
                  <a:srgbClr val="FFFFFF"/>
                </a:solidFill>
                <a:latin typeface="Segoe UI Light"/>
                <a:ea typeface="Segoe UI" pitchFamily="34" charset="0"/>
                <a:cs typeface="Segoe UI" pitchFamily="34" charset="0"/>
              </a:endParaRPr>
            </a:p>
          </p:txBody>
        </p:sp>
        <p:sp>
          <p:nvSpPr>
            <p:cNvPr id="131" name="Rectangle 130"/>
            <p:cNvSpPr/>
            <p:nvPr/>
          </p:nvSpPr>
          <p:spPr>
            <a:xfrm>
              <a:off x="7520166" y="1319537"/>
              <a:ext cx="3663772" cy="822960"/>
            </a:xfrm>
            <a:prstGeom prst="rect">
              <a:avLst/>
            </a:prstGeom>
            <a:noFill/>
            <a:ln w="3175">
              <a:noFill/>
            </a:ln>
          </p:spPr>
          <p:txBody>
            <a:bodyPr wrap="square" lIns="0" tIns="0" rIns="0" bIns="0" anchor="ctr">
              <a:noAutofit/>
            </a:bodyPr>
            <a:lstStyle/>
            <a:p>
              <a:pPr marL="0" lvl="1" defTabSz="913770" fontAlgn="base">
                <a:buClr>
                  <a:srgbClr val="68217A">
                    <a:lumMod val="50000"/>
                  </a:srgbClr>
                </a:buClr>
                <a:tabLst>
                  <a:tab pos="645523" algn="l"/>
                </a:tabLst>
              </a:pPr>
              <a:r>
                <a:rPr lang="en-IN" sz="2353" dirty="0">
                  <a:solidFill>
                    <a:srgbClr val="505050"/>
                  </a:solidFill>
                  <a:ea typeface="Segoe UI" pitchFamily="34" charset="0"/>
                  <a:cs typeface="Segoe UI Semibold" panose="020B0702040204020203" pitchFamily="34" charset="0"/>
                </a:rPr>
                <a:t>Event Hub</a:t>
              </a:r>
            </a:p>
          </p:txBody>
        </p:sp>
        <p:cxnSp>
          <p:nvCxnSpPr>
            <p:cNvPr id="144" name="Straight Connector 143"/>
            <p:cNvCxnSpPr/>
            <p:nvPr/>
          </p:nvCxnSpPr>
          <p:spPr>
            <a:xfrm>
              <a:off x="7390345" y="1319537"/>
              <a:ext cx="0" cy="822960"/>
            </a:xfrm>
            <a:prstGeom prst="line">
              <a:avLst/>
            </a:prstGeom>
            <a:ln w="3175">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95257" name="Group 95256"/>
          <p:cNvGrpSpPr/>
          <p:nvPr/>
        </p:nvGrpSpPr>
        <p:grpSpPr>
          <a:xfrm>
            <a:off x="7198905" y="2285864"/>
            <a:ext cx="4574453" cy="806782"/>
            <a:chOff x="6517758" y="2331204"/>
            <a:chExt cx="4666180" cy="822960"/>
          </a:xfrm>
        </p:grpSpPr>
        <p:sp>
          <p:nvSpPr>
            <p:cNvPr id="77" name="Freeform 76"/>
            <p:cNvSpPr>
              <a:spLocks/>
            </p:cNvSpPr>
            <p:nvPr/>
          </p:nvSpPr>
          <p:spPr bwMode="auto">
            <a:xfrm>
              <a:off x="6517758" y="2416003"/>
              <a:ext cx="653362" cy="653362"/>
            </a:xfrm>
            <a:custGeom>
              <a:avLst/>
              <a:gdLst>
                <a:gd name="connsiteX0" fmla="*/ 276225 w 2743200"/>
                <a:gd name="connsiteY0" fmla="*/ 965994 h 2743200"/>
                <a:gd name="connsiteX1" fmla="*/ 276225 w 2743200"/>
                <a:gd name="connsiteY1" fmla="*/ 1777206 h 2743200"/>
                <a:gd name="connsiteX2" fmla="*/ 680071 w 2743200"/>
                <a:gd name="connsiteY2" fmla="*/ 1371600 h 2743200"/>
                <a:gd name="connsiteX3" fmla="*/ 2073276 w 2743200"/>
                <a:gd name="connsiteY3" fmla="*/ 802481 h 2743200"/>
                <a:gd name="connsiteX4" fmla="*/ 1345978 w 2743200"/>
                <a:gd name="connsiteY4" fmla="*/ 1371601 h 2743200"/>
                <a:gd name="connsiteX5" fmla="*/ 2073276 w 2743200"/>
                <a:gd name="connsiteY5" fmla="*/ 1940721 h 2743200"/>
                <a:gd name="connsiteX6" fmla="*/ 2070100 w 2743200"/>
                <a:gd name="connsiteY6" fmla="*/ 0 h 2743200"/>
                <a:gd name="connsiteX7" fmla="*/ 2403475 w 2743200"/>
                <a:gd name="connsiteY7" fmla="*/ 136525 h 2743200"/>
                <a:gd name="connsiteX8" fmla="*/ 2571750 w 2743200"/>
                <a:gd name="connsiteY8" fmla="*/ 203200 h 2743200"/>
                <a:gd name="connsiteX9" fmla="*/ 2743200 w 2743200"/>
                <a:gd name="connsiteY9" fmla="*/ 266700 h 2743200"/>
                <a:gd name="connsiteX10" fmla="*/ 2743200 w 2743200"/>
                <a:gd name="connsiteY10" fmla="*/ 2476500 h 2743200"/>
                <a:gd name="connsiteX11" fmla="*/ 2409825 w 2743200"/>
                <a:gd name="connsiteY11" fmla="*/ 2606675 h 2743200"/>
                <a:gd name="connsiteX12" fmla="*/ 2244725 w 2743200"/>
                <a:gd name="connsiteY12" fmla="*/ 2673350 h 2743200"/>
                <a:gd name="connsiteX13" fmla="*/ 2082800 w 2743200"/>
                <a:gd name="connsiteY13" fmla="*/ 2743200 h 2743200"/>
                <a:gd name="connsiteX14" fmla="*/ 1939925 w 2743200"/>
                <a:gd name="connsiteY14" fmla="*/ 2613025 h 2743200"/>
                <a:gd name="connsiteX15" fmla="*/ 1800225 w 2743200"/>
                <a:gd name="connsiteY15" fmla="*/ 2479675 h 2743200"/>
                <a:gd name="connsiteX16" fmla="*/ 1663700 w 2743200"/>
                <a:gd name="connsiteY16" fmla="*/ 2343150 h 2743200"/>
                <a:gd name="connsiteX17" fmla="*/ 1527175 w 2743200"/>
                <a:gd name="connsiteY17" fmla="*/ 2206625 h 2743200"/>
                <a:gd name="connsiteX18" fmla="*/ 1254125 w 2743200"/>
                <a:gd name="connsiteY18" fmla="*/ 1933575 h 2743200"/>
                <a:gd name="connsiteX19" fmla="*/ 1117600 w 2743200"/>
                <a:gd name="connsiteY19" fmla="*/ 1797050 h 2743200"/>
                <a:gd name="connsiteX20" fmla="*/ 977900 w 2743200"/>
                <a:gd name="connsiteY20" fmla="*/ 1663700 h 2743200"/>
                <a:gd name="connsiteX21" fmla="*/ 885825 w 2743200"/>
                <a:gd name="connsiteY21" fmla="*/ 1727200 h 2743200"/>
                <a:gd name="connsiteX22" fmla="*/ 796925 w 2743200"/>
                <a:gd name="connsiteY22" fmla="*/ 1790700 h 2743200"/>
                <a:gd name="connsiteX23" fmla="*/ 622300 w 2743200"/>
                <a:gd name="connsiteY23" fmla="*/ 1924050 h 2743200"/>
                <a:gd name="connsiteX24" fmla="*/ 450850 w 2743200"/>
                <a:gd name="connsiteY24" fmla="*/ 2060575 h 2743200"/>
                <a:gd name="connsiteX25" fmla="*/ 279400 w 2743200"/>
                <a:gd name="connsiteY25" fmla="*/ 2197100 h 2743200"/>
                <a:gd name="connsiteX26" fmla="*/ 0 w 2743200"/>
                <a:gd name="connsiteY26" fmla="*/ 2057400 h 2743200"/>
                <a:gd name="connsiteX27" fmla="*/ 0 w 2743200"/>
                <a:gd name="connsiteY27" fmla="*/ 685800 h 2743200"/>
                <a:gd name="connsiteX28" fmla="*/ 34925 w 2743200"/>
                <a:gd name="connsiteY28" fmla="*/ 669925 h 2743200"/>
                <a:gd name="connsiteX29" fmla="*/ 66675 w 2743200"/>
                <a:gd name="connsiteY29" fmla="*/ 654050 h 2743200"/>
                <a:gd name="connsiteX30" fmla="*/ 133350 w 2743200"/>
                <a:gd name="connsiteY30" fmla="*/ 622300 h 2743200"/>
                <a:gd name="connsiteX31" fmla="*/ 196850 w 2743200"/>
                <a:gd name="connsiteY31" fmla="*/ 587375 h 2743200"/>
                <a:gd name="connsiteX32" fmla="*/ 231775 w 2743200"/>
                <a:gd name="connsiteY32" fmla="*/ 571500 h 2743200"/>
                <a:gd name="connsiteX33" fmla="*/ 266700 w 2743200"/>
                <a:gd name="connsiteY33" fmla="*/ 558800 h 2743200"/>
                <a:gd name="connsiteX34" fmla="*/ 358775 w 2743200"/>
                <a:gd name="connsiteY34" fmla="*/ 619125 h 2743200"/>
                <a:gd name="connsiteX35" fmla="*/ 450850 w 2743200"/>
                <a:gd name="connsiteY35" fmla="*/ 682625 h 2743200"/>
                <a:gd name="connsiteX36" fmla="*/ 536575 w 2743200"/>
                <a:gd name="connsiteY36" fmla="*/ 749300 h 2743200"/>
                <a:gd name="connsiteX37" fmla="*/ 625475 w 2743200"/>
                <a:gd name="connsiteY37" fmla="*/ 815975 h 2743200"/>
                <a:gd name="connsiteX38" fmla="*/ 793750 w 2743200"/>
                <a:gd name="connsiteY38" fmla="*/ 955675 h 2743200"/>
                <a:gd name="connsiteX39" fmla="*/ 965200 w 2743200"/>
                <a:gd name="connsiteY39" fmla="*/ 1092200 h 2743200"/>
                <a:gd name="connsiteX40" fmla="*/ 1104900 w 2743200"/>
                <a:gd name="connsiteY40" fmla="*/ 958850 h 2743200"/>
                <a:gd name="connsiteX41" fmla="*/ 1244600 w 2743200"/>
                <a:gd name="connsiteY41" fmla="*/ 822325 h 2743200"/>
                <a:gd name="connsiteX42" fmla="*/ 1517650 w 2743200"/>
                <a:gd name="connsiteY42" fmla="*/ 546100 h 2743200"/>
                <a:gd name="connsiteX43" fmla="*/ 1790700 w 2743200"/>
                <a:gd name="connsiteY43" fmla="*/ 269875 h 2743200"/>
                <a:gd name="connsiteX44" fmla="*/ 1930400 w 2743200"/>
                <a:gd name="connsiteY44" fmla="*/ 133350 h 274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2743200" h="2743200">
                  <a:moveTo>
                    <a:pt x="276225" y="965994"/>
                  </a:moveTo>
                  <a:lnTo>
                    <a:pt x="276225" y="1777206"/>
                  </a:lnTo>
                  <a:lnTo>
                    <a:pt x="680071" y="1371600"/>
                  </a:lnTo>
                  <a:close/>
                  <a:moveTo>
                    <a:pt x="2073276" y="802481"/>
                  </a:moveTo>
                  <a:lnTo>
                    <a:pt x="1345978" y="1371601"/>
                  </a:lnTo>
                  <a:lnTo>
                    <a:pt x="2073276" y="1940721"/>
                  </a:lnTo>
                  <a:close/>
                  <a:moveTo>
                    <a:pt x="2070100" y="0"/>
                  </a:moveTo>
                  <a:lnTo>
                    <a:pt x="2403475" y="136525"/>
                  </a:lnTo>
                  <a:lnTo>
                    <a:pt x="2571750" y="203200"/>
                  </a:lnTo>
                  <a:lnTo>
                    <a:pt x="2743200" y="266700"/>
                  </a:lnTo>
                  <a:lnTo>
                    <a:pt x="2743200" y="2476500"/>
                  </a:lnTo>
                  <a:lnTo>
                    <a:pt x="2409825" y="2606675"/>
                  </a:lnTo>
                  <a:lnTo>
                    <a:pt x="2244725" y="2673350"/>
                  </a:lnTo>
                  <a:lnTo>
                    <a:pt x="2082800" y="2743200"/>
                  </a:lnTo>
                  <a:lnTo>
                    <a:pt x="1939925" y="2613025"/>
                  </a:lnTo>
                  <a:lnTo>
                    <a:pt x="1800225" y="2479675"/>
                  </a:lnTo>
                  <a:lnTo>
                    <a:pt x="1663700" y="2343150"/>
                  </a:lnTo>
                  <a:lnTo>
                    <a:pt x="1527175" y="2206625"/>
                  </a:lnTo>
                  <a:lnTo>
                    <a:pt x="1254125" y="1933575"/>
                  </a:lnTo>
                  <a:lnTo>
                    <a:pt x="1117600" y="1797050"/>
                  </a:lnTo>
                  <a:lnTo>
                    <a:pt x="977900" y="1663700"/>
                  </a:lnTo>
                  <a:lnTo>
                    <a:pt x="885825" y="1727200"/>
                  </a:lnTo>
                  <a:lnTo>
                    <a:pt x="796925" y="1790700"/>
                  </a:lnTo>
                  <a:lnTo>
                    <a:pt x="622300" y="1924050"/>
                  </a:lnTo>
                  <a:lnTo>
                    <a:pt x="450850" y="2060575"/>
                  </a:lnTo>
                  <a:lnTo>
                    <a:pt x="279400" y="2197100"/>
                  </a:lnTo>
                  <a:lnTo>
                    <a:pt x="0" y="2057400"/>
                  </a:lnTo>
                  <a:lnTo>
                    <a:pt x="0" y="685800"/>
                  </a:lnTo>
                  <a:lnTo>
                    <a:pt x="34925" y="669925"/>
                  </a:lnTo>
                  <a:lnTo>
                    <a:pt x="66675" y="654050"/>
                  </a:lnTo>
                  <a:lnTo>
                    <a:pt x="133350" y="622300"/>
                  </a:lnTo>
                  <a:lnTo>
                    <a:pt x="196850" y="587375"/>
                  </a:lnTo>
                  <a:lnTo>
                    <a:pt x="231775" y="571500"/>
                  </a:lnTo>
                  <a:lnTo>
                    <a:pt x="266700" y="558800"/>
                  </a:lnTo>
                  <a:lnTo>
                    <a:pt x="358775" y="619125"/>
                  </a:lnTo>
                  <a:lnTo>
                    <a:pt x="450850" y="682625"/>
                  </a:lnTo>
                  <a:lnTo>
                    <a:pt x="536575" y="749300"/>
                  </a:lnTo>
                  <a:lnTo>
                    <a:pt x="625475" y="815975"/>
                  </a:lnTo>
                  <a:lnTo>
                    <a:pt x="793750" y="955675"/>
                  </a:lnTo>
                  <a:lnTo>
                    <a:pt x="965200" y="1092200"/>
                  </a:lnTo>
                  <a:lnTo>
                    <a:pt x="1104900" y="958850"/>
                  </a:lnTo>
                  <a:lnTo>
                    <a:pt x="1244600" y="822325"/>
                  </a:lnTo>
                  <a:lnTo>
                    <a:pt x="1517650" y="546100"/>
                  </a:lnTo>
                  <a:lnTo>
                    <a:pt x="1790700" y="269875"/>
                  </a:lnTo>
                  <a:lnTo>
                    <a:pt x="1930400" y="133350"/>
                  </a:lnTo>
                  <a:close/>
                </a:path>
              </a:pathLst>
            </a:custGeom>
            <a:solidFill>
              <a:schemeClr val="accent3"/>
            </a:solidFill>
            <a:ln>
              <a:noFill/>
            </a:ln>
          </p:spPr>
          <p:txBody>
            <a:bodyPr vert="horz" wrap="square" lIns="89642" tIns="44821" rIns="89642" bIns="44821" numCol="1" anchor="t" anchorCtr="0" compatLnSpc="1">
              <a:prstTxWarp prst="textNoShape">
                <a:avLst/>
              </a:prstTxWarp>
              <a:noAutofit/>
            </a:bodyPr>
            <a:lstStyle/>
            <a:p>
              <a:pPr defTabSz="914367"/>
              <a:endParaRPr lang="en-IN" sz="1765">
                <a:solidFill>
                  <a:srgbClr val="000000"/>
                </a:solidFill>
              </a:endParaRPr>
            </a:p>
          </p:txBody>
        </p:sp>
        <p:sp>
          <p:nvSpPr>
            <p:cNvPr id="132" name="Rectangle 131"/>
            <p:cNvSpPr/>
            <p:nvPr/>
          </p:nvSpPr>
          <p:spPr>
            <a:xfrm>
              <a:off x="7520166" y="2331204"/>
              <a:ext cx="3663772" cy="822960"/>
            </a:xfrm>
            <a:prstGeom prst="rect">
              <a:avLst/>
            </a:prstGeom>
            <a:noFill/>
            <a:ln w="3175">
              <a:noFill/>
            </a:ln>
          </p:spPr>
          <p:txBody>
            <a:bodyPr wrap="square" lIns="0" tIns="0" rIns="0" bIns="0" anchor="ctr">
              <a:noAutofit/>
            </a:bodyPr>
            <a:lstStyle/>
            <a:p>
              <a:pPr marL="0" lvl="1" defTabSz="913770" fontAlgn="base">
                <a:buClr>
                  <a:srgbClr val="68217A">
                    <a:lumMod val="50000"/>
                  </a:srgbClr>
                </a:buClr>
                <a:tabLst>
                  <a:tab pos="645523" algn="l"/>
                </a:tabLst>
              </a:pPr>
              <a:r>
                <a:rPr lang="en-IN" sz="2353" dirty="0">
                  <a:solidFill>
                    <a:srgbClr val="505050"/>
                  </a:solidFill>
                  <a:ea typeface="Segoe UI" pitchFamily="34" charset="0"/>
                  <a:cs typeface="Segoe UI Semibold" panose="020B0702040204020203" pitchFamily="34" charset="0"/>
                </a:rPr>
                <a:t>Visual Studio </a:t>
              </a:r>
            </a:p>
          </p:txBody>
        </p:sp>
        <p:cxnSp>
          <p:nvCxnSpPr>
            <p:cNvPr id="145" name="Straight Connector 144"/>
            <p:cNvCxnSpPr/>
            <p:nvPr/>
          </p:nvCxnSpPr>
          <p:spPr>
            <a:xfrm>
              <a:off x="7390345" y="2331204"/>
              <a:ext cx="0" cy="822960"/>
            </a:xfrm>
            <a:prstGeom prst="line">
              <a:avLst/>
            </a:prstGeom>
            <a:ln w="3175">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95256" name="Group 95255"/>
          <p:cNvGrpSpPr/>
          <p:nvPr/>
        </p:nvGrpSpPr>
        <p:grpSpPr>
          <a:xfrm>
            <a:off x="7285720" y="3277644"/>
            <a:ext cx="4487638" cy="806782"/>
            <a:chOff x="6606314" y="3342871"/>
            <a:chExt cx="4577624" cy="822960"/>
          </a:xfrm>
        </p:grpSpPr>
        <p:sp>
          <p:nvSpPr>
            <p:cNvPr id="85" name="Freeform 84"/>
            <p:cNvSpPr>
              <a:spLocks/>
            </p:cNvSpPr>
            <p:nvPr/>
          </p:nvSpPr>
          <p:spPr bwMode="auto">
            <a:xfrm>
              <a:off x="6606314" y="3441146"/>
              <a:ext cx="624622" cy="626410"/>
            </a:xfrm>
            <a:custGeom>
              <a:avLst/>
              <a:gdLst>
                <a:gd name="connsiteX0" fmla="*/ 508000 w 1108075"/>
                <a:gd name="connsiteY0" fmla="*/ 587375 h 1111250"/>
                <a:gd name="connsiteX1" fmla="*/ 1108075 w 1108075"/>
                <a:gd name="connsiteY1" fmla="*/ 587375 h 1111250"/>
                <a:gd name="connsiteX2" fmla="*/ 1108075 w 1108075"/>
                <a:gd name="connsiteY2" fmla="*/ 1111250 h 1111250"/>
                <a:gd name="connsiteX3" fmla="*/ 508000 w 1108075"/>
                <a:gd name="connsiteY3" fmla="*/ 1028700 h 1111250"/>
                <a:gd name="connsiteX4" fmla="*/ 0 w 1108075"/>
                <a:gd name="connsiteY4" fmla="*/ 581025 h 1111250"/>
                <a:gd name="connsiteX5" fmla="*/ 454025 w 1108075"/>
                <a:gd name="connsiteY5" fmla="*/ 584200 h 1111250"/>
                <a:gd name="connsiteX6" fmla="*/ 454025 w 1108075"/>
                <a:gd name="connsiteY6" fmla="*/ 1022350 h 1111250"/>
                <a:gd name="connsiteX7" fmla="*/ 0 w 1108075"/>
                <a:gd name="connsiteY7" fmla="*/ 958850 h 1111250"/>
                <a:gd name="connsiteX8" fmla="*/ 454025 w 1108075"/>
                <a:gd name="connsiteY8" fmla="*/ 95250 h 1111250"/>
                <a:gd name="connsiteX9" fmla="*/ 454025 w 1108075"/>
                <a:gd name="connsiteY9" fmla="*/ 533400 h 1111250"/>
                <a:gd name="connsiteX10" fmla="*/ 0 w 1108075"/>
                <a:gd name="connsiteY10" fmla="*/ 536575 h 1111250"/>
                <a:gd name="connsiteX11" fmla="*/ 0 w 1108075"/>
                <a:gd name="connsiteY11" fmla="*/ 158750 h 1111250"/>
                <a:gd name="connsiteX12" fmla="*/ 1108075 w 1108075"/>
                <a:gd name="connsiteY12" fmla="*/ 0 h 1111250"/>
                <a:gd name="connsiteX13" fmla="*/ 1108075 w 1108075"/>
                <a:gd name="connsiteY13" fmla="*/ 527050 h 1111250"/>
                <a:gd name="connsiteX14" fmla="*/ 508000 w 1108075"/>
                <a:gd name="connsiteY14" fmla="*/ 533400 h 1111250"/>
                <a:gd name="connsiteX15" fmla="*/ 508000 w 1108075"/>
                <a:gd name="connsiteY15" fmla="*/ 88900 h 1111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08075" h="1111250">
                  <a:moveTo>
                    <a:pt x="508000" y="587375"/>
                  </a:moveTo>
                  <a:lnTo>
                    <a:pt x="1108075" y="587375"/>
                  </a:lnTo>
                  <a:lnTo>
                    <a:pt x="1108075" y="1111250"/>
                  </a:lnTo>
                  <a:lnTo>
                    <a:pt x="508000" y="1028700"/>
                  </a:lnTo>
                  <a:close/>
                  <a:moveTo>
                    <a:pt x="0" y="581025"/>
                  </a:moveTo>
                  <a:lnTo>
                    <a:pt x="454025" y="584200"/>
                  </a:lnTo>
                  <a:lnTo>
                    <a:pt x="454025" y="1022350"/>
                  </a:lnTo>
                  <a:lnTo>
                    <a:pt x="0" y="958850"/>
                  </a:lnTo>
                  <a:close/>
                  <a:moveTo>
                    <a:pt x="454025" y="95250"/>
                  </a:moveTo>
                  <a:lnTo>
                    <a:pt x="454025" y="533400"/>
                  </a:lnTo>
                  <a:lnTo>
                    <a:pt x="0" y="536575"/>
                  </a:lnTo>
                  <a:lnTo>
                    <a:pt x="0" y="158750"/>
                  </a:lnTo>
                  <a:close/>
                  <a:moveTo>
                    <a:pt x="1108075" y="0"/>
                  </a:moveTo>
                  <a:lnTo>
                    <a:pt x="1108075" y="527050"/>
                  </a:lnTo>
                  <a:lnTo>
                    <a:pt x="508000" y="533400"/>
                  </a:lnTo>
                  <a:lnTo>
                    <a:pt x="508000" y="88900"/>
                  </a:lnTo>
                  <a:close/>
                </a:path>
              </a:pathLst>
            </a:custGeom>
            <a:solidFill>
              <a:schemeClr val="accent3"/>
            </a:solidFill>
            <a:ln>
              <a:noFill/>
            </a:ln>
          </p:spPr>
          <p:txBody>
            <a:bodyPr vert="horz" wrap="square" lIns="89642" tIns="44821" rIns="89642" bIns="44821" numCol="1" anchor="t" anchorCtr="0" compatLnSpc="1">
              <a:prstTxWarp prst="textNoShape">
                <a:avLst/>
              </a:prstTxWarp>
              <a:noAutofit/>
            </a:bodyPr>
            <a:lstStyle/>
            <a:p>
              <a:pPr defTabSz="914367"/>
              <a:endParaRPr lang="en-IN" sz="1765">
                <a:solidFill>
                  <a:srgbClr val="000000"/>
                </a:solidFill>
              </a:endParaRPr>
            </a:p>
          </p:txBody>
        </p:sp>
        <p:sp>
          <p:nvSpPr>
            <p:cNvPr id="136" name="Rectangle 135"/>
            <p:cNvSpPr/>
            <p:nvPr/>
          </p:nvSpPr>
          <p:spPr>
            <a:xfrm>
              <a:off x="7520166" y="3342871"/>
              <a:ext cx="3663772" cy="822960"/>
            </a:xfrm>
            <a:prstGeom prst="rect">
              <a:avLst/>
            </a:prstGeom>
            <a:noFill/>
            <a:ln w="3175">
              <a:noFill/>
            </a:ln>
          </p:spPr>
          <p:txBody>
            <a:bodyPr wrap="square" lIns="0" tIns="0" rIns="0" bIns="0" anchor="ctr">
              <a:noAutofit/>
            </a:bodyPr>
            <a:lstStyle/>
            <a:p>
              <a:pPr marL="0" lvl="1" defTabSz="913770" fontAlgn="base">
                <a:buClr>
                  <a:srgbClr val="68217A">
                    <a:lumMod val="50000"/>
                  </a:srgbClr>
                </a:buClr>
                <a:tabLst>
                  <a:tab pos="645523" algn="l"/>
                </a:tabLst>
              </a:pPr>
              <a:r>
                <a:rPr lang="en-IN" sz="2353" dirty="0">
                  <a:solidFill>
                    <a:srgbClr val="505050"/>
                  </a:solidFill>
                  <a:ea typeface="Segoe UI" pitchFamily="34" charset="0"/>
                  <a:cs typeface="Segoe UI Semibold" panose="020B0702040204020203" pitchFamily="34" charset="0"/>
                </a:rPr>
                <a:t>Azure</a:t>
              </a:r>
            </a:p>
          </p:txBody>
        </p:sp>
        <p:cxnSp>
          <p:nvCxnSpPr>
            <p:cNvPr id="146" name="Straight Connector 145"/>
            <p:cNvCxnSpPr/>
            <p:nvPr/>
          </p:nvCxnSpPr>
          <p:spPr>
            <a:xfrm>
              <a:off x="7390345" y="3342871"/>
              <a:ext cx="0" cy="822960"/>
            </a:xfrm>
            <a:prstGeom prst="line">
              <a:avLst/>
            </a:prstGeom>
            <a:ln w="3175">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95255" name="Group 95254"/>
          <p:cNvGrpSpPr/>
          <p:nvPr/>
        </p:nvGrpSpPr>
        <p:grpSpPr>
          <a:xfrm>
            <a:off x="7146323" y="4269424"/>
            <a:ext cx="4627035" cy="806782"/>
            <a:chOff x="6464121" y="4354538"/>
            <a:chExt cx="4719817" cy="822960"/>
          </a:xfrm>
        </p:grpSpPr>
        <p:grpSp>
          <p:nvGrpSpPr>
            <p:cNvPr id="95248" name="Group 95247"/>
            <p:cNvGrpSpPr/>
            <p:nvPr/>
          </p:nvGrpSpPr>
          <p:grpSpPr>
            <a:xfrm>
              <a:off x="6464121" y="4427916"/>
              <a:ext cx="843048" cy="676205"/>
              <a:chOff x="6507795" y="4648530"/>
              <a:chExt cx="961222" cy="770992"/>
            </a:xfrm>
          </p:grpSpPr>
          <p:sp>
            <p:nvSpPr>
              <p:cNvPr id="38" name="Freeform 37"/>
              <p:cNvSpPr/>
              <p:nvPr/>
            </p:nvSpPr>
            <p:spPr bwMode="auto">
              <a:xfrm>
                <a:off x="6700288" y="4728936"/>
                <a:ext cx="585420" cy="690586"/>
              </a:xfrm>
              <a:custGeom>
                <a:avLst/>
                <a:gdLst>
                  <a:gd name="connsiteX0" fmla="*/ 3243 w 585420"/>
                  <a:gd name="connsiteY0" fmla="*/ 0 h 690586"/>
                  <a:gd name="connsiteX1" fmla="*/ 8704 w 585420"/>
                  <a:gd name="connsiteY1" fmla="*/ 19647 h 690586"/>
                  <a:gd name="connsiteX2" fmla="*/ 293543 w 585420"/>
                  <a:gd name="connsiteY2" fmla="*/ 103844 h 690586"/>
                  <a:gd name="connsiteX3" fmla="*/ 578382 w 585420"/>
                  <a:gd name="connsiteY3" fmla="*/ 19647 h 690586"/>
                  <a:gd name="connsiteX4" fmla="*/ 582972 w 585420"/>
                  <a:gd name="connsiteY4" fmla="*/ 3134 h 690586"/>
                  <a:gd name="connsiteX5" fmla="*/ 585420 w 585420"/>
                  <a:gd name="connsiteY5" fmla="*/ 12784 h 690586"/>
                  <a:gd name="connsiteX6" fmla="*/ 585420 w 585420"/>
                  <a:gd name="connsiteY6" fmla="*/ 574279 h 690586"/>
                  <a:gd name="connsiteX7" fmla="*/ 292710 w 585420"/>
                  <a:gd name="connsiteY7" fmla="*/ 690586 h 690586"/>
                  <a:gd name="connsiteX8" fmla="*/ 178774 w 585420"/>
                  <a:gd name="connsiteY8" fmla="*/ 681447 h 690586"/>
                  <a:gd name="connsiteX9" fmla="*/ 129053 w 585420"/>
                  <a:gd name="connsiteY9" fmla="*/ 670723 h 690586"/>
                  <a:gd name="connsiteX10" fmla="*/ 0 w 585420"/>
                  <a:gd name="connsiteY10" fmla="*/ 574279 h 690586"/>
                  <a:gd name="connsiteX11" fmla="*/ 0 w 585420"/>
                  <a:gd name="connsiteY11" fmla="*/ 12784 h 690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85420" h="690586">
                    <a:moveTo>
                      <a:pt x="3243" y="0"/>
                    </a:moveTo>
                    <a:lnTo>
                      <a:pt x="8704" y="19647"/>
                    </a:lnTo>
                    <a:cubicBezTo>
                      <a:pt x="35815" y="67698"/>
                      <a:pt x="153040" y="103844"/>
                      <a:pt x="293543" y="103844"/>
                    </a:cubicBezTo>
                    <a:cubicBezTo>
                      <a:pt x="434046" y="103844"/>
                      <a:pt x="551271" y="67698"/>
                      <a:pt x="578382" y="19647"/>
                    </a:cubicBezTo>
                    <a:lnTo>
                      <a:pt x="582972" y="3134"/>
                    </a:lnTo>
                    <a:lnTo>
                      <a:pt x="585420" y="12784"/>
                    </a:lnTo>
                    <a:lnTo>
                      <a:pt x="585420" y="574279"/>
                    </a:lnTo>
                    <a:cubicBezTo>
                      <a:pt x="585420" y="638514"/>
                      <a:pt x="454370" y="690586"/>
                      <a:pt x="292710" y="690586"/>
                    </a:cubicBezTo>
                    <a:cubicBezTo>
                      <a:pt x="252295" y="690586"/>
                      <a:pt x="213794" y="687332"/>
                      <a:pt x="178774" y="681447"/>
                    </a:cubicBezTo>
                    <a:cubicBezTo>
                      <a:pt x="161265" y="678504"/>
                      <a:pt x="144625" y="674903"/>
                      <a:pt x="129053" y="670723"/>
                    </a:cubicBezTo>
                    <a:cubicBezTo>
                      <a:pt x="51192" y="649822"/>
                      <a:pt x="0" y="614426"/>
                      <a:pt x="0" y="574279"/>
                    </a:cubicBezTo>
                    <a:lnTo>
                      <a:pt x="0" y="12784"/>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IN" sz="3137"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41" name="Oval 40"/>
              <p:cNvSpPr/>
              <p:nvPr/>
            </p:nvSpPr>
            <p:spPr bwMode="auto">
              <a:xfrm>
                <a:off x="6742045" y="4648530"/>
                <a:ext cx="501907" cy="148913"/>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42" name="Freeform 757"/>
              <p:cNvSpPr>
                <a:spLocks/>
              </p:cNvSpPr>
              <p:nvPr/>
            </p:nvSpPr>
            <p:spPr bwMode="auto">
              <a:xfrm>
                <a:off x="6507795" y="4895356"/>
                <a:ext cx="115646" cy="340228"/>
              </a:xfrm>
              <a:custGeom>
                <a:avLst/>
                <a:gdLst>
                  <a:gd name="T0" fmla="*/ 11 w 704"/>
                  <a:gd name="T1" fmla="*/ 974 h 2176"/>
                  <a:gd name="T2" fmla="*/ 206 w 704"/>
                  <a:gd name="T3" fmla="*/ 788 h 2176"/>
                  <a:gd name="T4" fmla="*/ 185 w 704"/>
                  <a:gd name="T5" fmla="*/ 591 h 2176"/>
                  <a:gd name="T6" fmla="*/ 174 w 704"/>
                  <a:gd name="T7" fmla="*/ 372 h 2176"/>
                  <a:gd name="T8" fmla="*/ 596 w 704"/>
                  <a:gd name="T9" fmla="*/ 0 h 2176"/>
                  <a:gd name="T10" fmla="*/ 704 w 704"/>
                  <a:gd name="T11" fmla="*/ 0 h 2176"/>
                  <a:gd name="T12" fmla="*/ 704 w 704"/>
                  <a:gd name="T13" fmla="*/ 274 h 2176"/>
                  <a:gd name="T14" fmla="*/ 661 w 704"/>
                  <a:gd name="T15" fmla="*/ 274 h 2176"/>
                  <a:gd name="T16" fmla="*/ 520 w 704"/>
                  <a:gd name="T17" fmla="*/ 449 h 2176"/>
                  <a:gd name="T18" fmla="*/ 531 w 704"/>
                  <a:gd name="T19" fmla="*/ 580 h 2176"/>
                  <a:gd name="T20" fmla="*/ 542 w 704"/>
                  <a:gd name="T21" fmla="*/ 766 h 2176"/>
                  <a:gd name="T22" fmla="*/ 293 w 704"/>
                  <a:gd name="T23" fmla="*/ 1083 h 2176"/>
                  <a:gd name="T24" fmla="*/ 293 w 704"/>
                  <a:gd name="T25" fmla="*/ 1094 h 2176"/>
                  <a:gd name="T26" fmla="*/ 542 w 704"/>
                  <a:gd name="T27" fmla="*/ 1422 h 2176"/>
                  <a:gd name="T28" fmla="*/ 531 w 704"/>
                  <a:gd name="T29" fmla="*/ 1597 h 2176"/>
                  <a:gd name="T30" fmla="*/ 520 w 704"/>
                  <a:gd name="T31" fmla="*/ 1739 h 2176"/>
                  <a:gd name="T32" fmla="*/ 661 w 704"/>
                  <a:gd name="T33" fmla="*/ 1914 h 2176"/>
                  <a:gd name="T34" fmla="*/ 704 w 704"/>
                  <a:gd name="T35" fmla="*/ 1914 h 2176"/>
                  <a:gd name="T36" fmla="*/ 704 w 704"/>
                  <a:gd name="T37" fmla="*/ 2176 h 2176"/>
                  <a:gd name="T38" fmla="*/ 596 w 704"/>
                  <a:gd name="T39" fmla="*/ 2176 h 2176"/>
                  <a:gd name="T40" fmla="*/ 174 w 704"/>
                  <a:gd name="T41" fmla="*/ 1805 h 2176"/>
                  <a:gd name="T42" fmla="*/ 195 w 704"/>
                  <a:gd name="T43" fmla="*/ 1597 h 2176"/>
                  <a:gd name="T44" fmla="*/ 206 w 704"/>
                  <a:gd name="T45" fmla="*/ 1389 h 2176"/>
                  <a:gd name="T46" fmla="*/ 0 w 704"/>
                  <a:gd name="T47" fmla="*/ 1214 h 2176"/>
                  <a:gd name="T48" fmla="*/ 11 w 704"/>
                  <a:gd name="T49" fmla="*/ 974 h 2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04" h="2176">
                    <a:moveTo>
                      <a:pt x="11" y="974"/>
                    </a:moveTo>
                    <a:cubicBezTo>
                      <a:pt x="185" y="963"/>
                      <a:pt x="206" y="864"/>
                      <a:pt x="206" y="788"/>
                    </a:cubicBezTo>
                    <a:cubicBezTo>
                      <a:pt x="206" y="733"/>
                      <a:pt x="195" y="657"/>
                      <a:pt x="185" y="591"/>
                    </a:cubicBezTo>
                    <a:cubicBezTo>
                      <a:pt x="185" y="514"/>
                      <a:pt x="174" y="438"/>
                      <a:pt x="174" y="372"/>
                    </a:cubicBezTo>
                    <a:cubicBezTo>
                      <a:pt x="174" y="121"/>
                      <a:pt x="336" y="0"/>
                      <a:pt x="596" y="0"/>
                    </a:cubicBezTo>
                    <a:cubicBezTo>
                      <a:pt x="704" y="0"/>
                      <a:pt x="704" y="0"/>
                      <a:pt x="704" y="0"/>
                    </a:cubicBezTo>
                    <a:cubicBezTo>
                      <a:pt x="704" y="274"/>
                      <a:pt x="704" y="274"/>
                      <a:pt x="704" y="274"/>
                    </a:cubicBezTo>
                    <a:cubicBezTo>
                      <a:pt x="661" y="274"/>
                      <a:pt x="661" y="274"/>
                      <a:pt x="661" y="274"/>
                    </a:cubicBezTo>
                    <a:cubicBezTo>
                      <a:pt x="553" y="274"/>
                      <a:pt x="520" y="339"/>
                      <a:pt x="520" y="449"/>
                    </a:cubicBezTo>
                    <a:cubicBezTo>
                      <a:pt x="520" y="482"/>
                      <a:pt x="520" y="536"/>
                      <a:pt x="531" y="580"/>
                    </a:cubicBezTo>
                    <a:cubicBezTo>
                      <a:pt x="531" y="635"/>
                      <a:pt x="542" y="689"/>
                      <a:pt x="542" y="766"/>
                    </a:cubicBezTo>
                    <a:cubicBezTo>
                      <a:pt x="542" y="985"/>
                      <a:pt x="455" y="1050"/>
                      <a:pt x="293" y="1083"/>
                    </a:cubicBezTo>
                    <a:cubicBezTo>
                      <a:pt x="293" y="1094"/>
                      <a:pt x="293" y="1094"/>
                      <a:pt x="293" y="1094"/>
                    </a:cubicBezTo>
                    <a:cubicBezTo>
                      <a:pt x="455" y="1127"/>
                      <a:pt x="542" y="1203"/>
                      <a:pt x="542" y="1422"/>
                    </a:cubicBezTo>
                    <a:cubicBezTo>
                      <a:pt x="542" y="1488"/>
                      <a:pt x="531" y="1553"/>
                      <a:pt x="531" y="1597"/>
                    </a:cubicBezTo>
                    <a:cubicBezTo>
                      <a:pt x="520" y="1652"/>
                      <a:pt x="520" y="1695"/>
                      <a:pt x="520" y="1739"/>
                    </a:cubicBezTo>
                    <a:cubicBezTo>
                      <a:pt x="520" y="1837"/>
                      <a:pt x="553" y="1914"/>
                      <a:pt x="661" y="1914"/>
                    </a:cubicBezTo>
                    <a:cubicBezTo>
                      <a:pt x="704" y="1914"/>
                      <a:pt x="704" y="1914"/>
                      <a:pt x="704" y="1914"/>
                    </a:cubicBezTo>
                    <a:cubicBezTo>
                      <a:pt x="704" y="2176"/>
                      <a:pt x="704" y="2176"/>
                      <a:pt x="704" y="2176"/>
                    </a:cubicBezTo>
                    <a:cubicBezTo>
                      <a:pt x="596" y="2176"/>
                      <a:pt x="596" y="2176"/>
                      <a:pt x="596" y="2176"/>
                    </a:cubicBezTo>
                    <a:cubicBezTo>
                      <a:pt x="347" y="2176"/>
                      <a:pt x="174" y="2078"/>
                      <a:pt x="174" y="1805"/>
                    </a:cubicBezTo>
                    <a:cubicBezTo>
                      <a:pt x="174" y="1739"/>
                      <a:pt x="185" y="1673"/>
                      <a:pt x="195" y="1597"/>
                    </a:cubicBezTo>
                    <a:cubicBezTo>
                      <a:pt x="195" y="1520"/>
                      <a:pt x="206" y="1455"/>
                      <a:pt x="206" y="1389"/>
                    </a:cubicBezTo>
                    <a:cubicBezTo>
                      <a:pt x="206" y="1313"/>
                      <a:pt x="185" y="1225"/>
                      <a:pt x="0" y="1214"/>
                    </a:cubicBezTo>
                    <a:lnTo>
                      <a:pt x="11" y="974"/>
                    </a:lnTo>
                    <a:close/>
                  </a:path>
                </a:pathLst>
              </a:custGeom>
              <a:solidFill>
                <a:schemeClr val="accent3"/>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IN" sz="1765">
                  <a:solidFill>
                    <a:srgbClr val="000000"/>
                  </a:solidFill>
                </a:endParaRPr>
              </a:p>
            </p:txBody>
          </p:sp>
          <p:sp>
            <p:nvSpPr>
              <p:cNvPr id="43" name="Freeform 758"/>
              <p:cNvSpPr>
                <a:spLocks/>
              </p:cNvSpPr>
              <p:nvPr/>
            </p:nvSpPr>
            <p:spPr bwMode="auto">
              <a:xfrm>
                <a:off x="7355236" y="4895356"/>
                <a:ext cx="113781" cy="340228"/>
              </a:xfrm>
              <a:custGeom>
                <a:avLst/>
                <a:gdLst>
                  <a:gd name="T0" fmla="*/ 704 w 704"/>
                  <a:gd name="T1" fmla="*/ 1214 h 2176"/>
                  <a:gd name="T2" fmla="*/ 510 w 704"/>
                  <a:gd name="T3" fmla="*/ 1389 h 2176"/>
                  <a:gd name="T4" fmla="*/ 520 w 704"/>
                  <a:gd name="T5" fmla="*/ 1597 h 2176"/>
                  <a:gd name="T6" fmla="*/ 531 w 704"/>
                  <a:gd name="T7" fmla="*/ 1805 h 2176"/>
                  <a:gd name="T8" fmla="*/ 109 w 704"/>
                  <a:gd name="T9" fmla="*/ 2176 h 2176"/>
                  <a:gd name="T10" fmla="*/ 0 w 704"/>
                  <a:gd name="T11" fmla="*/ 2176 h 2176"/>
                  <a:gd name="T12" fmla="*/ 0 w 704"/>
                  <a:gd name="T13" fmla="*/ 1914 h 2176"/>
                  <a:gd name="T14" fmla="*/ 44 w 704"/>
                  <a:gd name="T15" fmla="*/ 1914 h 2176"/>
                  <a:gd name="T16" fmla="*/ 195 w 704"/>
                  <a:gd name="T17" fmla="*/ 1739 h 2176"/>
                  <a:gd name="T18" fmla="*/ 185 w 704"/>
                  <a:gd name="T19" fmla="*/ 1597 h 2176"/>
                  <a:gd name="T20" fmla="*/ 174 w 704"/>
                  <a:gd name="T21" fmla="*/ 1422 h 2176"/>
                  <a:gd name="T22" fmla="*/ 423 w 704"/>
                  <a:gd name="T23" fmla="*/ 1094 h 2176"/>
                  <a:gd name="T24" fmla="*/ 423 w 704"/>
                  <a:gd name="T25" fmla="*/ 1083 h 2176"/>
                  <a:gd name="T26" fmla="*/ 174 w 704"/>
                  <a:gd name="T27" fmla="*/ 766 h 2176"/>
                  <a:gd name="T28" fmla="*/ 185 w 704"/>
                  <a:gd name="T29" fmla="*/ 580 h 2176"/>
                  <a:gd name="T30" fmla="*/ 195 w 704"/>
                  <a:gd name="T31" fmla="*/ 449 h 2176"/>
                  <a:gd name="T32" fmla="*/ 44 w 704"/>
                  <a:gd name="T33" fmla="*/ 274 h 2176"/>
                  <a:gd name="T34" fmla="*/ 0 w 704"/>
                  <a:gd name="T35" fmla="*/ 274 h 2176"/>
                  <a:gd name="T36" fmla="*/ 0 w 704"/>
                  <a:gd name="T37" fmla="*/ 0 h 2176"/>
                  <a:gd name="T38" fmla="*/ 109 w 704"/>
                  <a:gd name="T39" fmla="*/ 0 h 2176"/>
                  <a:gd name="T40" fmla="*/ 531 w 704"/>
                  <a:gd name="T41" fmla="*/ 372 h 2176"/>
                  <a:gd name="T42" fmla="*/ 520 w 704"/>
                  <a:gd name="T43" fmla="*/ 591 h 2176"/>
                  <a:gd name="T44" fmla="*/ 510 w 704"/>
                  <a:gd name="T45" fmla="*/ 788 h 2176"/>
                  <a:gd name="T46" fmla="*/ 704 w 704"/>
                  <a:gd name="T47" fmla="*/ 974 h 2176"/>
                  <a:gd name="T48" fmla="*/ 704 w 704"/>
                  <a:gd name="T49" fmla="*/ 1214 h 2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04" h="2176">
                    <a:moveTo>
                      <a:pt x="704" y="1214"/>
                    </a:moveTo>
                    <a:cubicBezTo>
                      <a:pt x="520" y="1225"/>
                      <a:pt x="510" y="1313"/>
                      <a:pt x="510" y="1389"/>
                    </a:cubicBezTo>
                    <a:cubicBezTo>
                      <a:pt x="510" y="1455"/>
                      <a:pt x="510" y="1520"/>
                      <a:pt x="520" y="1597"/>
                    </a:cubicBezTo>
                    <a:cubicBezTo>
                      <a:pt x="531" y="1673"/>
                      <a:pt x="531" y="1739"/>
                      <a:pt x="531" y="1805"/>
                    </a:cubicBezTo>
                    <a:cubicBezTo>
                      <a:pt x="531" y="2078"/>
                      <a:pt x="369" y="2176"/>
                      <a:pt x="109" y="2176"/>
                    </a:cubicBezTo>
                    <a:cubicBezTo>
                      <a:pt x="0" y="2176"/>
                      <a:pt x="0" y="2176"/>
                      <a:pt x="0" y="2176"/>
                    </a:cubicBezTo>
                    <a:cubicBezTo>
                      <a:pt x="0" y="1914"/>
                      <a:pt x="0" y="1914"/>
                      <a:pt x="0" y="1914"/>
                    </a:cubicBezTo>
                    <a:cubicBezTo>
                      <a:pt x="44" y="1914"/>
                      <a:pt x="44" y="1914"/>
                      <a:pt x="44" y="1914"/>
                    </a:cubicBezTo>
                    <a:cubicBezTo>
                      <a:pt x="163" y="1914"/>
                      <a:pt x="195" y="1837"/>
                      <a:pt x="195" y="1739"/>
                    </a:cubicBezTo>
                    <a:cubicBezTo>
                      <a:pt x="195" y="1695"/>
                      <a:pt x="185" y="1652"/>
                      <a:pt x="185" y="1597"/>
                    </a:cubicBezTo>
                    <a:cubicBezTo>
                      <a:pt x="174" y="1553"/>
                      <a:pt x="174" y="1488"/>
                      <a:pt x="174" y="1422"/>
                    </a:cubicBezTo>
                    <a:cubicBezTo>
                      <a:pt x="174" y="1203"/>
                      <a:pt x="250" y="1127"/>
                      <a:pt x="423" y="1094"/>
                    </a:cubicBezTo>
                    <a:cubicBezTo>
                      <a:pt x="423" y="1083"/>
                      <a:pt x="423" y="1083"/>
                      <a:pt x="423" y="1083"/>
                    </a:cubicBezTo>
                    <a:cubicBezTo>
                      <a:pt x="250" y="1050"/>
                      <a:pt x="174" y="985"/>
                      <a:pt x="174" y="766"/>
                    </a:cubicBezTo>
                    <a:cubicBezTo>
                      <a:pt x="174" y="689"/>
                      <a:pt x="174" y="635"/>
                      <a:pt x="185" y="580"/>
                    </a:cubicBezTo>
                    <a:cubicBezTo>
                      <a:pt x="185" y="536"/>
                      <a:pt x="195" y="482"/>
                      <a:pt x="195" y="449"/>
                    </a:cubicBezTo>
                    <a:cubicBezTo>
                      <a:pt x="195" y="339"/>
                      <a:pt x="152" y="274"/>
                      <a:pt x="44" y="274"/>
                    </a:cubicBezTo>
                    <a:cubicBezTo>
                      <a:pt x="0" y="274"/>
                      <a:pt x="0" y="274"/>
                      <a:pt x="0" y="274"/>
                    </a:cubicBezTo>
                    <a:cubicBezTo>
                      <a:pt x="0" y="0"/>
                      <a:pt x="0" y="0"/>
                      <a:pt x="0" y="0"/>
                    </a:cubicBezTo>
                    <a:cubicBezTo>
                      <a:pt x="109" y="0"/>
                      <a:pt x="109" y="0"/>
                      <a:pt x="109" y="0"/>
                    </a:cubicBezTo>
                    <a:cubicBezTo>
                      <a:pt x="380" y="0"/>
                      <a:pt x="531" y="121"/>
                      <a:pt x="531" y="372"/>
                    </a:cubicBezTo>
                    <a:cubicBezTo>
                      <a:pt x="531" y="438"/>
                      <a:pt x="531" y="514"/>
                      <a:pt x="520" y="591"/>
                    </a:cubicBezTo>
                    <a:cubicBezTo>
                      <a:pt x="510" y="657"/>
                      <a:pt x="510" y="733"/>
                      <a:pt x="510" y="788"/>
                    </a:cubicBezTo>
                    <a:cubicBezTo>
                      <a:pt x="510" y="864"/>
                      <a:pt x="520" y="963"/>
                      <a:pt x="704" y="974"/>
                    </a:cubicBezTo>
                    <a:lnTo>
                      <a:pt x="704" y="1214"/>
                    </a:lnTo>
                    <a:close/>
                  </a:path>
                </a:pathLst>
              </a:custGeom>
              <a:solidFill>
                <a:schemeClr val="accent3"/>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IN" sz="1765">
                  <a:solidFill>
                    <a:srgbClr val="000000"/>
                  </a:solidFill>
                </a:endParaRPr>
              </a:p>
            </p:txBody>
          </p:sp>
          <p:grpSp>
            <p:nvGrpSpPr>
              <p:cNvPr id="91" name="Group 90"/>
              <p:cNvGrpSpPr/>
              <p:nvPr/>
            </p:nvGrpSpPr>
            <p:grpSpPr>
              <a:xfrm>
                <a:off x="6776223" y="4903671"/>
                <a:ext cx="433550" cy="230304"/>
                <a:chOff x="9489112" y="3768290"/>
                <a:chExt cx="156651" cy="83214"/>
              </a:xfrm>
              <a:solidFill>
                <a:schemeClr val="bg1"/>
              </a:solidFill>
            </p:grpSpPr>
            <p:sp>
              <p:nvSpPr>
                <p:cNvPr id="92" name="Freeform 91"/>
                <p:cNvSpPr>
                  <a:spLocks/>
                </p:cNvSpPr>
                <p:nvPr/>
              </p:nvSpPr>
              <p:spPr bwMode="auto">
                <a:xfrm>
                  <a:off x="9489112" y="3768441"/>
                  <a:ext cx="40826" cy="65976"/>
                </a:xfrm>
                <a:custGeom>
                  <a:avLst/>
                  <a:gdLst>
                    <a:gd name="T0" fmla="*/ 0 w 342"/>
                    <a:gd name="T1" fmla="*/ 522 h 552"/>
                    <a:gd name="T2" fmla="*/ 0 w 342"/>
                    <a:gd name="T3" fmla="*/ 431 h 552"/>
                    <a:gd name="T4" fmla="*/ 30 w 342"/>
                    <a:gd name="T5" fmla="*/ 451 h 552"/>
                    <a:gd name="T6" fmla="*/ 66 w 342"/>
                    <a:gd name="T7" fmla="*/ 466 h 552"/>
                    <a:gd name="T8" fmla="*/ 104 w 342"/>
                    <a:gd name="T9" fmla="*/ 475 h 552"/>
                    <a:gd name="T10" fmla="*/ 139 w 342"/>
                    <a:gd name="T11" fmla="*/ 479 h 552"/>
                    <a:gd name="T12" fmla="*/ 222 w 342"/>
                    <a:gd name="T13" fmla="*/ 460 h 552"/>
                    <a:gd name="T14" fmla="*/ 249 w 342"/>
                    <a:gd name="T15" fmla="*/ 406 h 552"/>
                    <a:gd name="T16" fmla="*/ 240 w 342"/>
                    <a:gd name="T17" fmla="*/ 373 h 552"/>
                    <a:gd name="T18" fmla="*/ 215 w 342"/>
                    <a:gd name="T19" fmla="*/ 348 h 552"/>
                    <a:gd name="T20" fmla="*/ 176 w 342"/>
                    <a:gd name="T21" fmla="*/ 326 h 552"/>
                    <a:gd name="T22" fmla="*/ 129 w 342"/>
                    <a:gd name="T23" fmla="*/ 303 h 552"/>
                    <a:gd name="T24" fmla="*/ 78 w 342"/>
                    <a:gd name="T25" fmla="*/ 274 h 552"/>
                    <a:gd name="T26" fmla="*/ 37 w 342"/>
                    <a:gd name="T27" fmla="*/ 241 h 552"/>
                    <a:gd name="T28" fmla="*/ 10 w 342"/>
                    <a:gd name="T29" fmla="*/ 200 h 552"/>
                    <a:gd name="T30" fmla="*/ 0 w 342"/>
                    <a:gd name="T31" fmla="*/ 147 h 552"/>
                    <a:gd name="T32" fmla="*/ 17 w 342"/>
                    <a:gd name="T33" fmla="*/ 82 h 552"/>
                    <a:gd name="T34" fmla="*/ 62 w 342"/>
                    <a:gd name="T35" fmla="*/ 36 h 552"/>
                    <a:gd name="T36" fmla="*/ 125 w 342"/>
                    <a:gd name="T37" fmla="*/ 9 h 552"/>
                    <a:gd name="T38" fmla="*/ 197 w 342"/>
                    <a:gd name="T39" fmla="*/ 0 h 552"/>
                    <a:gd name="T40" fmla="*/ 319 w 342"/>
                    <a:gd name="T41" fmla="*/ 19 h 552"/>
                    <a:gd name="T42" fmla="*/ 319 w 342"/>
                    <a:gd name="T43" fmla="*/ 107 h 552"/>
                    <a:gd name="T44" fmla="*/ 202 w 342"/>
                    <a:gd name="T45" fmla="*/ 74 h 552"/>
                    <a:gd name="T46" fmla="*/ 163 w 342"/>
                    <a:gd name="T47" fmla="*/ 78 h 552"/>
                    <a:gd name="T48" fmla="*/ 128 w 342"/>
                    <a:gd name="T49" fmla="*/ 90 h 552"/>
                    <a:gd name="T50" fmla="*/ 103 w 342"/>
                    <a:gd name="T51" fmla="*/ 112 h 552"/>
                    <a:gd name="T52" fmla="*/ 93 w 342"/>
                    <a:gd name="T53" fmla="*/ 144 h 552"/>
                    <a:gd name="T54" fmla="*/ 101 w 342"/>
                    <a:gd name="T55" fmla="*/ 175 h 552"/>
                    <a:gd name="T56" fmla="*/ 122 w 342"/>
                    <a:gd name="T57" fmla="*/ 199 h 552"/>
                    <a:gd name="T58" fmla="*/ 157 w 342"/>
                    <a:gd name="T59" fmla="*/ 220 h 552"/>
                    <a:gd name="T60" fmla="*/ 205 w 342"/>
                    <a:gd name="T61" fmla="*/ 242 h 552"/>
                    <a:gd name="T62" fmla="*/ 258 w 342"/>
                    <a:gd name="T63" fmla="*/ 273 h 552"/>
                    <a:gd name="T64" fmla="*/ 302 w 342"/>
                    <a:gd name="T65" fmla="*/ 308 h 552"/>
                    <a:gd name="T66" fmla="*/ 331 w 342"/>
                    <a:gd name="T67" fmla="*/ 351 h 552"/>
                    <a:gd name="T68" fmla="*/ 342 w 342"/>
                    <a:gd name="T69" fmla="*/ 405 h 552"/>
                    <a:gd name="T70" fmla="*/ 326 w 342"/>
                    <a:gd name="T71" fmla="*/ 474 h 552"/>
                    <a:gd name="T72" fmla="*/ 282 w 342"/>
                    <a:gd name="T73" fmla="*/ 519 h 552"/>
                    <a:gd name="T74" fmla="*/ 218 w 342"/>
                    <a:gd name="T75" fmla="*/ 544 h 552"/>
                    <a:gd name="T76" fmla="*/ 142 w 342"/>
                    <a:gd name="T77" fmla="*/ 552 h 552"/>
                    <a:gd name="T78" fmla="*/ 109 w 342"/>
                    <a:gd name="T79" fmla="*/ 550 h 552"/>
                    <a:gd name="T80" fmla="*/ 69 w 342"/>
                    <a:gd name="T81" fmla="*/ 544 h 552"/>
                    <a:gd name="T82" fmla="*/ 30 w 342"/>
                    <a:gd name="T83" fmla="*/ 535 h 552"/>
                    <a:gd name="T84" fmla="*/ 0 w 342"/>
                    <a:gd name="T85" fmla="*/ 522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2" h="552">
                      <a:moveTo>
                        <a:pt x="0" y="522"/>
                      </a:moveTo>
                      <a:cubicBezTo>
                        <a:pt x="0" y="431"/>
                        <a:pt x="0" y="431"/>
                        <a:pt x="0" y="431"/>
                      </a:cubicBezTo>
                      <a:cubicBezTo>
                        <a:pt x="9" y="438"/>
                        <a:pt x="18" y="445"/>
                        <a:pt x="30" y="451"/>
                      </a:cubicBezTo>
                      <a:cubicBezTo>
                        <a:pt x="41" y="457"/>
                        <a:pt x="53" y="462"/>
                        <a:pt x="66" y="466"/>
                      </a:cubicBezTo>
                      <a:cubicBezTo>
                        <a:pt x="78" y="470"/>
                        <a:pt x="91" y="473"/>
                        <a:pt x="104" y="475"/>
                      </a:cubicBezTo>
                      <a:cubicBezTo>
                        <a:pt x="116" y="478"/>
                        <a:pt x="128" y="479"/>
                        <a:pt x="139" y="479"/>
                      </a:cubicBezTo>
                      <a:cubicBezTo>
                        <a:pt x="176" y="479"/>
                        <a:pt x="204" y="473"/>
                        <a:pt x="222" y="460"/>
                      </a:cubicBezTo>
                      <a:cubicBezTo>
                        <a:pt x="240" y="448"/>
                        <a:pt x="249" y="430"/>
                        <a:pt x="249" y="406"/>
                      </a:cubicBezTo>
                      <a:cubicBezTo>
                        <a:pt x="249" y="393"/>
                        <a:pt x="246" y="382"/>
                        <a:pt x="240" y="373"/>
                      </a:cubicBezTo>
                      <a:cubicBezTo>
                        <a:pt x="234" y="364"/>
                        <a:pt x="225" y="355"/>
                        <a:pt x="215" y="348"/>
                      </a:cubicBezTo>
                      <a:cubicBezTo>
                        <a:pt x="204" y="340"/>
                        <a:pt x="191" y="333"/>
                        <a:pt x="176" y="326"/>
                      </a:cubicBezTo>
                      <a:cubicBezTo>
                        <a:pt x="161" y="318"/>
                        <a:pt x="145" y="311"/>
                        <a:pt x="129" y="303"/>
                      </a:cubicBezTo>
                      <a:cubicBezTo>
                        <a:pt x="110" y="294"/>
                        <a:pt x="93" y="284"/>
                        <a:pt x="78" y="274"/>
                      </a:cubicBezTo>
                      <a:cubicBezTo>
                        <a:pt x="62" y="264"/>
                        <a:pt x="49" y="253"/>
                        <a:pt x="37" y="241"/>
                      </a:cubicBezTo>
                      <a:cubicBezTo>
                        <a:pt x="26" y="229"/>
                        <a:pt x="16" y="215"/>
                        <a:pt x="10" y="200"/>
                      </a:cubicBezTo>
                      <a:cubicBezTo>
                        <a:pt x="3" y="185"/>
                        <a:pt x="0" y="167"/>
                        <a:pt x="0" y="147"/>
                      </a:cubicBezTo>
                      <a:cubicBezTo>
                        <a:pt x="0" y="122"/>
                        <a:pt x="6" y="100"/>
                        <a:pt x="17" y="82"/>
                      </a:cubicBezTo>
                      <a:cubicBezTo>
                        <a:pt x="28" y="63"/>
                        <a:pt x="43" y="48"/>
                        <a:pt x="62" y="36"/>
                      </a:cubicBezTo>
                      <a:cubicBezTo>
                        <a:pt x="80" y="24"/>
                        <a:pt x="101" y="15"/>
                        <a:pt x="125" y="9"/>
                      </a:cubicBezTo>
                      <a:cubicBezTo>
                        <a:pt x="148" y="3"/>
                        <a:pt x="172" y="0"/>
                        <a:pt x="197" y="0"/>
                      </a:cubicBezTo>
                      <a:cubicBezTo>
                        <a:pt x="253" y="0"/>
                        <a:pt x="294" y="6"/>
                        <a:pt x="319" y="19"/>
                      </a:cubicBezTo>
                      <a:cubicBezTo>
                        <a:pt x="319" y="107"/>
                        <a:pt x="319" y="107"/>
                        <a:pt x="319" y="107"/>
                      </a:cubicBezTo>
                      <a:cubicBezTo>
                        <a:pt x="289" y="85"/>
                        <a:pt x="250" y="74"/>
                        <a:pt x="202" y="74"/>
                      </a:cubicBezTo>
                      <a:cubicBezTo>
                        <a:pt x="189" y="74"/>
                        <a:pt x="176" y="75"/>
                        <a:pt x="163" y="78"/>
                      </a:cubicBezTo>
                      <a:cubicBezTo>
                        <a:pt x="150" y="80"/>
                        <a:pt x="138" y="84"/>
                        <a:pt x="128" y="90"/>
                      </a:cubicBezTo>
                      <a:cubicBezTo>
                        <a:pt x="118" y="96"/>
                        <a:pt x="109" y="103"/>
                        <a:pt x="103" y="112"/>
                      </a:cubicBezTo>
                      <a:cubicBezTo>
                        <a:pt x="96" y="121"/>
                        <a:pt x="93" y="132"/>
                        <a:pt x="93" y="144"/>
                      </a:cubicBezTo>
                      <a:cubicBezTo>
                        <a:pt x="93" y="156"/>
                        <a:pt x="96" y="167"/>
                        <a:pt x="101" y="175"/>
                      </a:cubicBezTo>
                      <a:cubicBezTo>
                        <a:pt x="106" y="184"/>
                        <a:pt x="113" y="192"/>
                        <a:pt x="122" y="199"/>
                      </a:cubicBezTo>
                      <a:cubicBezTo>
                        <a:pt x="132" y="206"/>
                        <a:pt x="144" y="213"/>
                        <a:pt x="157" y="220"/>
                      </a:cubicBezTo>
                      <a:cubicBezTo>
                        <a:pt x="171" y="227"/>
                        <a:pt x="187" y="234"/>
                        <a:pt x="205" y="242"/>
                      </a:cubicBezTo>
                      <a:cubicBezTo>
                        <a:pt x="224" y="252"/>
                        <a:pt x="241" y="262"/>
                        <a:pt x="258" y="273"/>
                      </a:cubicBezTo>
                      <a:cubicBezTo>
                        <a:pt x="274" y="283"/>
                        <a:pt x="289" y="295"/>
                        <a:pt x="302" y="308"/>
                      </a:cubicBezTo>
                      <a:cubicBezTo>
                        <a:pt x="314" y="321"/>
                        <a:pt x="324" y="335"/>
                        <a:pt x="331" y="351"/>
                      </a:cubicBezTo>
                      <a:cubicBezTo>
                        <a:pt x="339" y="367"/>
                        <a:pt x="342" y="385"/>
                        <a:pt x="342" y="405"/>
                      </a:cubicBezTo>
                      <a:cubicBezTo>
                        <a:pt x="342" y="432"/>
                        <a:pt x="337" y="455"/>
                        <a:pt x="326" y="474"/>
                      </a:cubicBezTo>
                      <a:cubicBezTo>
                        <a:pt x="315" y="492"/>
                        <a:pt x="300" y="507"/>
                        <a:pt x="282" y="519"/>
                      </a:cubicBezTo>
                      <a:cubicBezTo>
                        <a:pt x="263" y="531"/>
                        <a:pt x="242" y="539"/>
                        <a:pt x="218" y="544"/>
                      </a:cubicBezTo>
                      <a:cubicBezTo>
                        <a:pt x="194" y="550"/>
                        <a:pt x="168" y="552"/>
                        <a:pt x="142" y="552"/>
                      </a:cubicBezTo>
                      <a:cubicBezTo>
                        <a:pt x="133" y="552"/>
                        <a:pt x="122" y="551"/>
                        <a:pt x="109" y="550"/>
                      </a:cubicBezTo>
                      <a:cubicBezTo>
                        <a:pt x="96" y="549"/>
                        <a:pt x="82" y="547"/>
                        <a:pt x="69" y="544"/>
                      </a:cubicBezTo>
                      <a:cubicBezTo>
                        <a:pt x="55" y="541"/>
                        <a:pt x="42" y="538"/>
                        <a:pt x="30" y="535"/>
                      </a:cubicBezTo>
                      <a:cubicBezTo>
                        <a:pt x="18" y="531"/>
                        <a:pt x="8" y="527"/>
                        <a:pt x="0" y="5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896118"/>
                  <a:endParaRPr lang="en-US" sz="1568">
                    <a:solidFill>
                      <a:prstClr val="black"/>
                    </a:solidFill>
                  </a:endParaRPr>
                </a:p>
              </p:txBody>
            </p:sp>
            <p:sp>
              <p:nvSpPr>
                <p:cNvPr id="93" name="Freeform 92"/>
                <p:cNvSpPr>
                  <a:spLocks noEditPoints="1"/>
                </p:cNvSpPr>
                <p:nvPr/>
              </p:nvSpPr>
              <p:spPr bwMode="auto">
                <a:xfrm>
                  <a:off x="9537599" y="3768290"/>
                  <a:ext cx="64213" cy="83214"/>
                </a:xfrm>
                <a:custGeom>
                  <a:avLst/>
                  <a:gdLst>
                    <a:gd name="T0" fmla="*/ 244 w 538"/>
                    <a:gd name="T1" fmla="*/ 553 h 696"/>
                    <a:gd name="T2" fmla="*/ 196 w 538"/>
                    <a:gd name="T3" fmla="*/ 548 h 696"/>
                    <a:gd name="T4" fmla="*/ 149 w 538"/>
                    <a:gd name="T5" fmla="*/ 534 h 696"/>
                    <a:gd name="T6" fmla="*/ 105 w 538"/>
                    <a:gd name="T7" fmla="*/ 510 h 696"/>
                    <a:gd name="T8" fmla="*/ 67 w 538"/>
                    <a:gd name="T9" fmla="*/ 478 h 696"/>
                    <a:gd name="T10" fmla="*/ 0 w 538"/>
                    <a:gd name="T11" fmla="*/ 282 h 696"/>
                    <a:gd name="T12" fmla="*/ 70 w 538"/>
                    <a:gd name="T13" fmla="*/ 77 h 696"/>
                    <a:gd name="T14" fmla="*/ 265 w 538"/>
                    <a:gd name="T15" fmla="*/ 0 h 696"/>
                    <a:gd name="T16" fmla="*/ 444 w 538"/>
                    <a:gd name="T17" fmla="*/ 75 h 696"/>
                    <a:gd name="T18" fmla="*/ 513 w 538"/>
                    <a:gd name="T19" fmla="*/ 269 h 696"/>
                    <a:gd name="T20" fmla="*/ 502 w 538"/>
                    <a:gd name="T21" fmla="*/ 364 h 696"/>
                    <a:gd name="T22" fmla="*/ 470 w 538"/>
                    <a:gd name="T23" fmla="*/ 444 h 696"/>
                    <a:gd name="T24" fmla="*/ 415 w 538"/>
                    <a:gd name="T25" fmla="*/ 504 h 696"/>
                    <a:gd name="T26" fmla="*/ 337 w 538"/>
                    <a:gd name="T27" fmla="*/ 540 h 696"/>
                    <a:gd name="T28" fmla="*/ 374 w 538"/>
                    <a:gd name="T29" fmla="*/ 573 h 696"/>
                    <a:gd name="T30" fmla="*/ 408 w 538"/>
                    <a:gd name="T31" fmla="*/ 598 h 696"/>
                    <a:gd name="T32" fmla="*/ 444 w 538"/>
                    <a:gd name="T33" fmla="*/ 613 h 696"/>
                    <a:gd name="T34" fmla="*/ 485 w 538"/>
                    <a:gd name="T35" fmla="*/ 618 h 696"/>
                    <a:gd name="T36" fmla="*/ 498 w 538"/>
                    <a:gd name="T37" fmla="*/ 617 h 696"/>
                    <a:gd name="T38" fmla="*/ 512 w 538"/>
                    <a:gd name="T39" fmla="*/ 615 h 696"/>
                    <a:gd name="T40" fmla="*/ 526 w 538"/>
                    <a:gd name="T41" fmla="*/ 613 h 696"/>
                    <a:gd name="T42" fmla="*/ 538 w 538"/>
                    <a:gd name="T43" fmla="*/ 609 h 696"/>
                    <a:gd name="T44" fmla="*/ 538 w 538"/>
                    <a:gd name="T45" fmla="*/ 688 h 696"/>
                    <a:gd name="T46" fmla="*/ 523 w 538"/>
                    <a:gd name="T47" fmla="*/ 691 h 696"/>
                    <a:gd name="T48" fmla="*/ 507 w 538"/>
                    <a:gd name="T49" fmla="*/ 694 h 696"/>
                    <a:gd name="T50" fmla="*/ 491 w 538"/>
                    <a:gd name="T51" fmla="*/ 696 h 696"/>
                    <a:gd name="T52" fmla="*/ 476 w 538"/>
                    <a:gd name="T53" fmla="*/ 696 h 696"/>
                    <a:gd name="T54" fmla="*/ 406 w 538"/>
                    <a:gd name="T55" fmla="*/ 685 h 696"/>
                    <a:gd name="T56" fmla="*/ 349 w 538"/>
                    <a:gd name="T57" fmla="*/ 654 h 696"/>
                    <a:gd name="T58" fmla="*/ 297 w 538"/>
                    <a:gd name="T59" fmla="*/ 609 h 696"/>
                    <a:gd name="T60" fmla="*/ 244 w 538"/>
                    <a:gd name="T61" fmla="*/ 553 h 696"/>
                    <a:gd name="T62" fmla="*/ 258 w 538"/>
                    <a:gd name="T63" fmla="*/ 79 h 696"/>
                    <a:gd name="T64" fmla="*/ 139 w 538"/>
                    <a:gd name="T65" fmla="*/ 134 h 696"/>
                    <a:gd name="T66" fmla="*/ 93 w 538"/>
                    <a:gd name="T67" fmla="*/ 278 h 696"/>
                    <a:gd name="T68" fmla="*/ 137 w 538"/>
                    <a:gd name="T69" fmla="*/ 422 h 696"/>
                    <a:gd name="T70" fmla="*/ 254 w 538"/>
                    <a:gd name="T71" fmla="*/ 476 h 696"/>
                    <a:gd name="T72" fmla="*/ 376 w 538"/>
                    <a:gd name="T73" fmla="*/ 424 h 696"/>
                    <a:gd name="T74" fmla="*/ 420 w 538"/>
                    <a:gd name="T75" fmla="*/ 279 h 696"/>
                    <a:gd name="T76" fmla="*/ 377 w 538"/>
                    <a:gd name="T77" fmla="*/ 131 h 696"/>
                    <a:gd name="T78" fmla="*/ 258 w 538"/>
                    <a:gd name="T79" fmla="*/ 79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38" h="696">
                      <a:moveTo>
                        <a:pt x="244" y="553"/>
                      </a:moveTo>
                      <a:cubicBezTo>
                        <a:pt x="229" y="553"/>
                        <a:pt x="213" y="551"/>
                        <a:pt x="196" y="548"/>
                      </a:cubicBezTo>
                      <a:cubicBezTo>
                        <a:pt x="180" y="545"/>
                        <a:pt x="164" y="540"/>
                        <a:pt x="149" y="534"/>
                      </a:cubicBezTo>
                      <a:cubicBezTo>
                        <a:pt x="134" y="528"/>
                        <a:pt x="119" y="520"/>
                        <a:pt x="105" y="510"/>
                      </a:cubicBezTo>
                      <a:cubicBezTo>
                        <a:pt x="91" y="501"/>
                        <a:pt x="79" y="490"/>
                        <a:pt x="67" y="478"/>
                      </a:cubicBezTo>
                      <a:cubicBezTo>
                        <a:pt x="22" y="428"/>
                        <a:pt x="0" y="362"/>
                        <a:pt x="0" y="282"/>
                      </a:cubicBezTo>
                      <a:cubicBezTo>
                        <a:pt x="0" y="196"/>
                        <a:pt x="23" y="128"/>
                        <a:pt x="70" y="77"/>
                      </a:cubicBezTo>
                      <a:cubicBezTo>
                        <a:pt x="118" y="26"/>
                        <a:pt x="183" y="0"/>
                        <a:pt x="265" y="0"/>
                      </a:cubicBezTo>
                      <a:cubicBezTo>
                        <a:pt x="339" y="0"/>
                        <a:pt x="398" y="25"/>
                        <a:pt x="444" y="75"/>
                      </a:cubicBezTo>
                      <a:cubicBezTo>
                        <a:pt x="490" y="124"/>
                        <a:pt x="513" y="189"/>
                        <a:pt x="513" y="269"/>
                      </a:cubicBezTo>
                      <a:cubicBezTo>
                        <a:pt x="513" y="303"/>
                        <a:pt x="510" y="334"/>
                        <a:pt x="502" y="364"/>
                      </a:cubicBezTo>
                      <a:cubicBezTo>
                        <a:pt x="495" y="393"/>
                        <a:pt x="484" y="420"/>
                        <a:pt x="470" y="444"/>
                      </a:cubicBezTo>
                      <a:cubicBezTo>
                        <a:pt x="455" y="467"/>
                        <a:pt x="437" y="488"/>
                        <a:pt x="415" y="504"/>
                      </a:cubicBezTo>
                      <a:cubicBezTo>
                        <a:pt x="393" y="521"/>
                        <a:pt x="367" y="533"/>
                        <a:pt x="337" y="540"/>
                      </a:cubicBezTo>
                      <a:cubicBezTo>
                        <a:pt x="350" y="552"/>
                        <a:pt x="362" y="564"/>
                        <a:pt x="374" y="573"/>
                      </a:cubicBezTo>
                      <a:cubicBezTo>
                        <a:pt x="385" y="583"/>
                        <a:pt x="397" y="591"/>
                        <a:pt x="408" y="598"/>
                      </a:cubicBezTo>
                      <a:cubicBezTo>
                        <a:pt x="420" y="604"/>
                        <a:pt x="431" y="609"/>
                        <a:pt x="444" y="613"/>
                      </a:cubicBezTo>
                      <a:cubicBezTo>
                        <a:pt x="456" y="616"/>
                        <a:pt x="470" y="618"/>
                        <a:pt x="485" y="618"/>
                      </a:cubicBezTo>
                      <a:cubicBezTo>
                        <a:pt x="489" y="618"/>
                        <a:pt x="493" y="618"/>
                        <a:pt x="498" y="617"/>
                      </a:cubicBezTo>
                      <a:cubicBezTo>
                        <a:pt x="503" y="617"/>
                        <a:pt x="507" y="616"/>
                        <a:pt x="512" y="615"/>
                      </a:cubicBezTo>
                      <a:cubicBezTo>
                        <a:pt x="517" y="615"/>
                        <a:pt x="521" y="614"/>
                        <a:pt x="526" y="613"/>
                      </a:cubicBezTo>
                      <a:cubicBezTo>
                        <a:pt x="530" y="611"/>
                        <a:pt x="534" y="610"/>
                        <a:pt x="538" y="609"/>
                      </a:cubicBezTo>
                      <a:cubicBezTo>
                        <a:pt x="538" y="688"/>
                        <a:pt x="538" y="688"/>
                        <a:pt x="538" y="688"/>
                      </a:cubicBezTo>
                      <a:cubicBezTo>
                        <a:pt x="534" y="689"/>
                        <a:pt x="529" y="690"/>
                        <a:pt x="523" y="691"/>
                      </a:cubicBezTo>
                      <a:cubicBezTo>
                        <a:pt x="518" y="692"/>
                        <a:pt x="512" y="693"/>
                        <a:pt x="507" y="694"/>
                      </a:cubicBezTo>
                      <a:cubicBezTo>
                        <a:pt x="501" y="695"/>
                        <a:pt x="496" y="695"/>
                        <a:pt x="491" y="696"/>
                      </a:cubicBezTo>
                      <a:cubicBezTo>
                        <a:pt x="485" y="696"/>
                        <a:pt x="480" y="696"/>
                        <a:pt x="476" y="696"/>
                      </a:cubicBezTo>
                      <a:cubicBezTo>
                        <a:pt x="450" y="696"/>
                        <a:pt x="427" y="692"/>
                        <a:pt x="406" y="685"/>
                      </a:cubicBezTo>
                      <a:cubicBezTo>
                        <a:pt x="386" y="678"/>
                        <a:pt x="366" y="667"/>
                        <a:pt x="349" y="654"/>
                      </a:cubicBezTo>
                      <a:cubicBezTo>
                        <a:pt x="331" y="641"/>
                        <a:pt x="313" y="626"/>
                        <a:pt x="297" y="609"/>
                      </a:cubicBezTo>
                      <a:cubicBezTo>
                        <a:pt x="280" y="591"/>
                        <a:pt x="263" y="573"/>
                        <a:pt x="244" y="553"/>
                      </a:cubicBezTo>
                      <a:close/>
                      <a:moveTo>
                        <a:pt x="258" y="79"/>
                      </a:moveTo>
                      <a:cubicBezTo>
                        <a:pt x="209" y="79"/>
                        <a:pt x="169" y="97"/>
                        <a:pt x="139" y="134"/>
                      </a:cubicBezTo>
                      <a:cubicBezTo>
                        <a:pt x="108" y="170"/>
                        <a:pt x="93" y="218"/>
                        <a:pt x="93" y="278"/>
                      </a:cubicBezTo>
                      <a:cubicBezTo>
                        <a:pt x="93" y="337"/>
                        <a:pt x="108" y="385"/>
                        <a:pt x="137" y="422"/>
                      </a:cubicBezTo>
                      <a:cubicBezTo>
                        <a:pt x="167" y="458"/>
                        <a:pt x="206" y="476"/>
                        <a:pt x="254" y="476"/>
                      </a:cubicBezTo>
                      <a:cubicBezTo>
                        <a:pt x="306" y="476"/>
                        <a:pt x="346" y="458"/>
                        <a:pt x="376" y="424"/>
                      </a:cubicBezTo>
                      <a:cubicBezTo>
                        <a:pt x="405" y="389"/>
                        <a:pt x="420" y="341"/>
                        <a:pt x="420" y="279"/>
                      </a:cubicBezTo>
                      <a:cubicBezTo>
                        <a:pt x="420" y="215"/>
                        <a:pt x="406" y="166"/>
                        <a:pt x="377" y="131"/>
                      </a:cubicBezTo>
                      <a:cubicBezTo>
                        <a:pt x="348" y="96"/>
                        <a:pt x="309" y="79"/>
                        <a:pt x="258"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896118"/>
                  <a:endParaRPr lang="en-US" sz="1568">
                    <a:solidFill>
                      <a:prstClr val="black"/>
                    </a:solidFill>
                  </a:endParaRPr>
                </a:p>
              </p:txBody>
            </p:sp>
            <p:sp>
              <p:nvSpPr>
                <p:cNvPr id="94" name="Freeform 93"/>
                <p:cNvSpPr>
                  <a:spLocks/>
                </p:cNvSpPr>
                <p:nvPr/>
              </p:nvSpPr>
              <p:spPr bwMode="auto">
                <a:xfrm>
                  <a:off x="9610532" y="3769500"/>
                  <a:ext cx="35231" cy="63860"/>
                </a:xfrm>
                <a:custGeom>
                  <a:avLst/>
                  <a:gdLst>
                    <a:gd name="T0" fmla="*/ 699 w 699"/>
                    <a:gd name="T1" fmla="*/ 1267 h 1267"/>
                    <a:gd name="T2" fmla="*/ 0 w 699"/>
                    <a:gd name="T3" fmla="*/ 1267 h 1267"/>
                    <a:gd name="T4" fmla="*/ 0 w 699"/>
                    <a:gd name="T5" fmla="*/ 0 h 1267"/>
                    <a:gd name="T6" fmla="*/ 208 w 699"/>
                    <a:gd name="T7" fmla="*/ 0 h 1267"/>
                    <a:gd name="T8" fmla="*/ 208 w 699"/>
                    <a:gd name="T9" fmla="*/ 1089 h 1267"/>
                    <a:gd name="T10" fmla="*/ 699 w 699"/>
                    <a:gd name="T11" fmla="*/ 1089 h 1267"/>
                    <a:gd name="T12" fmla="*/ 699 w 699"/>
                    <a:gd name="T13" fmla="*/ 1267 h 1267"/>
                  </a:gdLst>
                  <a:ahLst/>
                  <a:cxnLst>
                    <a:cxn ang="0">
                      <a:pos x="T0" y="T1"/>
                    </a:cxn>
                    <a:cxn ang="0">
                      <a:pos x="T2" y="T3"/>
                    </a:cxn>
                    <a:cxn ang="0">
                      <a:pos x="T4" y="T5"/>
                    </a:cxn>
                    <a:cxn ang="0">
                      <a:pos x="T6" y="T7"/>
                    </a:cxn>
                    <a:cxn ang="0">
                      <a:pos x="T8" y="T9"/>
                    </a:cxn>
                    <a:cxn ang="0">
                      <a:pos x="T10" y="T11"/>
                    </a:cxn>
                    <a:cxn ang="0">
                      <a:pos x="T12" y="T13"/>
                    </a:cxn>
                  </a:cxnLst>
                  <a:rect l="0" t="0" r="r" b="b"/>
                  <a:pathLst>
                    <a:path w="699" h="1267">
                      <a:moveTo>
                        <a:pt x="699" y="1267"/>
                      </a:moveTo>
                      <a:lnTo>
                        <a:pt x="0" y="1267"/>
                      </a:lnTo>
                      <a:lnTo>
                        <a:pt x="0" y="0"/>
                      </a:lnTo>
                      <a:lnTo>
                        <a:pt x="208" y="0"/>
                      </a:lnTo>
                      <a:lnTo>
                        <a:pt x="208" y="1089"/>
                      </a:lnTo>
                      <a:lnTo>
                        <a:pt x="699" y="1089"/>
                      </a:lnTo>
                      <a:lnTo>
                        <a:pt x="699" y="12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896118"/>
                  <a:endParaRPr lang="en-US" sz="1568">
                    <a:solidFill>
                      <a:prstClr val="black"/>
                    </a:solidFill>
                  </a:endParaRPr>
                </a:p>
              </p:txBody>
            </p:sp>
          </p:grpSp>
        </p:grpSp>
        <p:sp>
          <p:nvSpPr>
            <p:cNvPr id="137" name="Rectangle 136"/>
            <p:cNvSpPr/>
            <p:nvPr/>
          </p:nvSpPr>
          <p:spPr>
            <a:xfrm>
              <a:off x="7520166" y="4354538"/>
              <a:ext cx="3663772" cy="822960"/>
            </a:xfrm>
            <a:prstGeom prst="rect">
              <a:avLst/>
            </a:prstGeom>
            <a:noFill/>
            <a:ln w="3175">
              <a:noFill/>
            </a:ln>
          </p:spPr>
          <p:txBody>
            <a:bodyPr wrap="square" lIns="0" tIns="0" rIns="0" bIns="0" anchor="ctr">
              <a:noAutofit/>
            </a:bodyPr>
            <a:lstStyle/>
            <a:p>
              <a:pPr marL="0" lvl="1" defTabSz="913770" fontAlgn="base">
                <a:buClr>
                  <a:srgbClr val="68217A">
                    <a:lumMod val="50000"/>
                  </a:srgbClr>
                </a:buClr>
                <a:tabLst>
                  <a:tab pos="645523" algn="l"/>
                </a:tabLst>
              </a:pPr>
              <a:r>
                <a:rPr lang="en-IN" sz="2353" dirty="0">
                  <a:solidFill>
                    <a:srgbClr val="505050"/>
                  </a:solidFill>
                  <a:ea typeface="Segoe UI" pitchFamily="34" charset="0"/>
                  <a:cs typeface="Segoe UI Semibold" panose="020B0702040204020203" pitchFamily="34" charset="0"/>
                </a:rPr>
                <a:t>HBase, SQL Database, </a:t>
              </a:r>
              <a:br>
                <a:rPr lang="en-IN" sz="2353" dirty="0">
                  <a:solidFill>
                    <a:srgbClr val="505050"/>
                  </a:solidFill>
                  <a:ea typeface="Segoe UI" pitchFamily="34" charset="0"/>
                  <a:cs typeface="Segoe UI Semibold" panose="020B0702040204020203" pitchFamily="34" charset="0"/>
                </a:rPr>
              </a:br>
              <a:r>
                <a:rPr lang="en-IN" sz="2353" dirty="0">
                  <a:solidFill>
                    <a:srgbClr val="505050"/>
                  </a:solidFill>
                  <a:ea typeface="Segoe UI" pitchFamily="34" charset="0"/>
                  <a:cs typeface="Segoe UI Semibold" panose="020B0702040204020203" pitchFamily="34" charset="0"/>
                </a:rPr>
                <a:t>DocumentDB</a:t>
              </a:r>
            </a:p>
          </p:txBody>
        </p:sp>
        <p:cxnSp>
          <p:nvCxnSpPr>
            <p:cNvPr id="147" name="Straight Connector 146"/>
            <p:cNvCxnSpPr/>
            <p:nvPr/>
          </p:nvCxnSpPr>
          <p:spPr>
            <a:xfrm>
              <a:off x="7390345" y="4354538"/>
              <a:ext cx="0" cy="822960"/>
            </a:xfrm>
            <a:prstGeom prst="line">
              <a:avLst/>
            </a:prstGeom>
            <a:ln w="3175">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95254" name="Group 95253"/>
          <p:cNvGrpSpPr/>
          <p:nvPr/>
        </p:nvGrpSpPr>
        <p:grpSpPr>
          <a:xfrm>
            <a:off x="590884" y="5342313"/>
            <a:ext cx="2312437" cy="806782"/>
            <a:chOff x="5109789" y="5396129"/>
            <a:chExt cx="2358806" cy="822960"/>
          </a:xfrm>
        </p:grpSpPr>
        <p:sp>
          <p:nvSpPr>
            <p:cNvPr id="148" name="Rectangle 147"/>
            <p:cNvSpPr/>
            <p:nvPr/>
          </p:nvSpPr>
          <p:spPr>
            <a:xfrm>
              <a:off x="6088825" y="5396129"/>
              <a:ext cx="1379770" cy="822960"/>
            </a:xfrm>
            <a:prstGeom prst="rect">
              <a:avLst/>
            </a:prstGeom>
            <a:noFill/>
            <a:ln w="3175">
              <a:noFill/>
            </a:ln>
          </p:spPr>
          <p:txBody>
            <a:bodyPr wrap="square" lIns="0" tIns="0" rIns="0" bIns="0" anchor="ctr">
              <a:noAutofit/>
            </a:bodyPr>
            <a:lstStyle/>
            <a:p>
              <a:pPr marL="0" lvl="1" defTabSz="913770" fontAlgn="base">
                <a:buClr>
                  <a:srgbClr val="68217A">
                    <a:lumMod val="50000"/>
                  </a:srgbClr>
                </a:buClr>
                <a:tabLst>
                  <a:tab pos="645523" algn="l"/>
                </a:tabLst>
              </a:pPr>
              <a:r>
                <a:rPr lang="en-IN" sz="2353" dirty="0">
                  <a:solidFill>
                    <a:srgbClr val="505050"/>
                  </a:solidFill>
                  <a:ea typeface="Segoe UI" pitchFamily="34" charset="0"/>
                  <a:cs typeface="Segoe UI Semibold" panose="020B0702040204020203" pitchFamily="34" charset="0"/>
                </a:rPr>
                <a:t>Speed</a:t>
              </a:r>
            </a:p>
          </p:txBody>
        </p:sp>
        <p:cxnSp>
          <p:nvCxnSpPr>
            <p:cNvPr id="149" name="Straight Connector 148"/>
            <p:cNvCxnSpPr/>
            <p:nvPr/>
          </p:nvCxnSpPr>
          <p:spPr>
            <a:xfrm>
              <a:off x="5952070" y="5396129"/>
              <a:ext cx="0" cy="822960"/>
            </a:xfrm>
            <a:prstGeom prst="line">
              <a:avLst/>
            </a:prstGeom>
            <a:ln w="3175">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50" name="Freeform 149"/>
            <p:cNvSpPr/>
            <p:nvPr/>
          </p:nvSpPr>
          <p:spPr bwMode="auto">
            <a:xfrm>
              <a:off x="5109789" y="5498927"/>
              <a:ext cx="668364" cy="644698"/>
            </a:xfrm>
            <a:custGeom>
              <a:avLst/>
              <a:gdLst>
                <a:gd name="connsiteX0" fmla="*/ 2429334 w 4876571"/>
                <a:gd name="connsiteY0" fmla="*/ 16 h 4703898"/>
                <a:gd name="connsiteX1" fmla="*/ 4830334 w 4876571"/>
                <a:gd name="connsiteY1" fmla="*/ 1966713 h 4703898"/>
                <a:gd name="connsiteX2" fmla="*/ 3354879 w 4876571"/>
                <a:gd name="connsiteY2" fmla="*/ 4697231 h 4703898"/>
                <a:gd name="connsiteX3" fmla="*/ 2750529 w 4876571"/>
                <a:gd name="connsiteY3" fmla="*/ 3207660 h 4703898"/>
                <a:gd name="connsiteX4" fmla="*/ 3253157 w 4876571"/>
                <a:gd name="connsiteY4" fmla="*/ 2277481 h 4703898"/>
                <a:gd name="connsiteX5" fmla="*/ 2435232 w 4876571"/>
                <a:gd name="connsiteY5" fmla="*/ 1607506 h 4703898"/>
                <a:gd name="connsiteX6" fmla="*/ 1622247 w 4876571"/>
                <a:gd name="connsiteY6" fmla="*/ 2283467 h 4703898"/>
                <a:gd name="connsiteX7" fmla="*/ 2131690 w 4876571"/>
                <a:gd name="connsiteY7" fmla="*/ 3209931 h 4703898"/>
                <a:gd name="connsiteX8" fmla="*/ 1538291 w 4876571"/>
                <a:gd name="connsiteY8" fmla="*/ 4703898 h 4703898"/>
                <a:gd name="connsiteX9" fmla="*/ 42834 w 4876571"/>
                <a:gd name="connsiteY9" fmla="*/ 1984283 h 4703898"/>
                <a:gd name="connsiteX10" fmla="*/ 2429334 w 4876571"/>
                <a:gd name="connsiteY10" fmla="*/ 16 h 4703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76571" h="4703898">
                  <a:moveTo>
                    <a:pt x="2429334" y="16"/>
                  </a:moveTo>
                  <a:cubicBezTo>
                    <a:pt x="3597473" y="-4271"/>
                    <a:pt x="4604503" y="820603"/>
                    <a:pt x="4830334" y="1966713"/>
                  </a:cubicBezTo>
                  <a:cubicBezTo>
                    <a:pt x="5056165" y="3112823"/>
                    <a:pt x="4437327" y="4258060"/>
                    <a:pt x="3354879" y="4697231"/>
                  </a:cubicBezTo>
                  <a:lnTo>
                    <a:pt x="2750529" y="3207660"/>
                  </a:lnTo>
                  <a:cubicBezTo>
                    <a:pt x="3119276" y="3058052"/>
                    <a:pt x="3330089" y="2667915"/>
                    <a:pt x="3253157" y="2277481"/>
                  </a:cubicBezTo>
                  <a:cubicBezTo>
                    <a:pt x="3176225" y="1887047"/>
                    <a:pt x="2833170" y="1606045"/>
                    <a:pt x="2435232" y="1607506"/>
                  </a:cubicBezTo>
                  <a:cubicBezTo>
                    <a:pt x="2037294" y="1608966"/>
                    <a:pt x="1696310" y="1892479"/>
                    <a:pt x="1622247" y="2283467"/>
                  </a:cubicBezTo>
                  <a:cubicBezTo>
                    <a:pt x="1548183" y="2674455"/>
                    <a:pt x="1761854" y="3063034"/>
                    <a:pt x="2131690" y="3209931"/>
                  </a:cubicBezTo>
                  <a:lnTo>
                    <a:pt x="1538291" y="4703898"/>
                  </a:lnTo>
                  <a:cubicBezTo>
                    <a:pt x="452648" y="4272684"/>
                    <a:pt x="-174579" y="3132019"/>
                    <a:pt x="42834" y="1984283"/>
                  </a:cubicBezTo>
                  <a:cubicBezTo>
                    <a:pt x="260246" y="836547"/>
                    <a:pt x="1261195" y="4303"/>
                    <a:pt x="2429334" y="16"/>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dirty="0">
                <a:solidFill>
                  <a:srgbClr val="FFFFFF"/>
                </a:solidFill>
                <a:latin typeface="Segoe UI Light"/>
                <a:ea typeface="Segoe UI" pitchFamily="34" charset="0"/>
                <a:cs typeface="Segoe UI" pitchFamily="34" charset="0"/>
              </a:endParaRPr>
            </a:p>
          </p:txBody>
        </p:sp>
      </p:grpSp>
      <p:sp>
        <p:nvSpPr>
          <p:cNvPr id="67" name="Rectangle 66"/>
          <p:cNvSpPr/>
          <p:nvPr/>
        </p:nvSpPr>
        <p:spPr bwMode="auto">
          <a:xfrm>
            <a:off x="1" y="1187939"/>
            <a:ext cx="455994" cy="515444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dirty="0">
              <a:solidFill>
                <a:srgbClr val="FFFFFF"/>
              </a:solidFill>
              <a:latin typeface="Segoe UI Light"/>
              <a:ea typeface="Segoe UI" pitchFamily="34" charset="0"/>
              <a:cs typeface="Segoe UI" pitchFamily="34" charset="0"/>
            </a:endParaRPr>
          </a:p>
        </p:txBody>
      </p:sp>
      <p:sp>
        <p:nvSpPr>
          <p:cNvPr id="162" name="Rectangle 161"/>
          <p:cNvSpPr/>
          <p:nvPr/>
        </p:nvSpPr>
        <p:spPr bwMode="auto">
          <a:xfrm>
            <a:off x="11773358" y="1187939"/>
            <a:ext cx="418642" cy="515444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dirty="0">
              <a:solidFill>
                <a:srgbClr val="FFFFFF"/>
              </a:solidFill>
              <a:latin typeface="Segoe UI Light"/>
              <a:ea typeface="Segoe UI" pitchFamily="34" charset="0"/>
              <a:cs typeface="Segoe UI" pitchFamily="34" charset="0"/>
            </a:endParaRPr>
          </a:p>
        </p:txBody>
      </p:sp>
      <p:grpSp>
        <p:nvGrpSpPr>
          <p:cNvPr id="5" name="Group 4"/>
          <p:cNvGrpSpPr/>
          <p:nvPr/>
        </p:nvGrpSpPr>
        <p:grpSpPr>
          <a:xfrm>
            <a:off x="563782" y="3277644"/>
            <a:ext cx="5354793" cy="806782"/>
            <a:chOff x="575086" y="3342871"/>
            <a:chExt cx="5462168" cy="822960"/>
          </a:xfrm>
        </p:grpSpPr>
        <p:grpSp>
          <p:nvGrpSpPr>
            <p:cNvPr id="95262" name="Group 95261"/>
            <p:cNvGrpSpPr/>
            <p:nvPr/>
          </p:nvGrpSpPr>
          <p:grpSpPr>
            <a:xfrm>
              <a:off x="1446745" y="3342871"/>
              <a:ext cx="4590509" cy="822960"/>
              <a:chOff x="1446745" y="3342871"/>
              <a:chExt cx="4590509" cy="822960"/>
            </a:xfrm>
          </p:grpSpPr>
          <p:sp>
            <p:nvSpPr>
              <p:cNvPr id="138" name="Rectangle 137"/>
              <p:cNvSpPr/>
              <p:nvPr/>
            </p:nvSpPr>
            <p:spPr>
              <a:xfrm>
                <a:off x="1556694" y="3342871"/>
                <a:ext cx="4480560" cy="822960"/>
              </a:xfrm>
              <a:prstGeom prst="rect">
                <a:avLst/>
              </a:prstGeom>
              <a:noFill/>
              <a:ln w="3175">
                <a:noFill/>
              </a:ln>
            </p:spPr>
            <p:txBody>
              <a:bodyPr wrap="square" lIns="0" tIns="0" rIns="0" bIns="0" anchor="ctr">
                <a:noAutofit/>
              </a:bodyPr>
              <a:lstStyle/>
              <a:p>
                <a:pPr marL="0" lvl="1" defTabSz="913770" fontAlgn="base">
                  <a:buClr>
                    <a:srgbClr val="68217A">
                      <a:lumMod val="50000"/>
                    </a:srgbClr>
                  </a:buClr>
                  <a:tabLst>
                    <a:tab pos="645523" algn="l"/>
                  </a:tabLst>
                </a:pPr>
                <a:r>
                  <a:rPr lang="en-IN" sz="2353" dirty="0">
                    <a:solidFill>
                      <a:srgbClr val="505050"/>
                    </a:solidFill>
                    <a:ea typeface="Segoe UI" pitchFamily="34" charset="0"/>
                    <a:cs typeface="Segoe UI Semibold" panose="020B0702040204020203" pitchFamily="34" charset="0"/>
                  </a:rPr>
                  <a:t>Analyse millions of messages </a:t>
                </a:r>
                <a:br>
                  <a:rPr lang="en-IN" sz="2353" dirty="0">
                    <a:solidFill>
                      <a:srgbClr val="505050"/>
                    </a:solidFill>
                    <a:ea typeface="Segoe UI" pitchFamily="34" charset="0"/>
                    <a:cs typeface="Segoe UI Semibold" panose="020B0702040204020203" pitchFamily="34" charset="0"/>
                  </a:rPr>
                </a:br>
                <a:r>
                  <a:rPr lang="en-IN" sz="2353" dirty="0">
                    <a:solidFill>
                      <a:srgbClr val="505050"/>
                    </a:solidFill>
                    <a:ea typeface="Segoe UI" pitchFamily="34" charset="0"/>
                    <a:cs typeface="Segoe UI Semibold" panose="020B0702040204020203" pitchFamily="34" charset="0"/>
                  </a:rPr>
                  <a:t>per second</a:t>
                </a:r>
              </a:p>
            </p:txBody>
          </p:sp>
          <p:cxnSp>
            <p:nvCxnSpPr>
              <p:cNvPr id="142" name="Straight Connector 141"/>
              <p:cNvCxnSpPr/>
              <p:nvPr/>
            </p:nvCxnSpPr>
            <p:spPr>
              <a:xfrm>
                <a:off x="1446745" y="3342871"/>
                <a:ext cx="0" cy="822960"/>
              </a:xfrm>
              <a:prstGeom prst="line">
                <a:avLst/>
              </a:prstGeom>
              <a:ln w="3175">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68" name="Group 67"/>
            <p:cNvGrpSpPr/>
            <p:nvPr/>
          </p:nvGrpSpPr>
          <p:grpSpPr>
            <a:xfrm>
              <a:off x="575086" y="3384988"/>
              <a:ext cx="777240" cy="777240"/>
              <a:chOff x="4522208" y="2689683"/>
              <a:chExt cx="777240" cy="777240"/>
            </a:xfrm>
            <a:solidFill>
              <a:schemeClr val="accent3"/>
            </a:solidFill>
          </p:grpSpPr>
          <p:sp>
            <p:nvSpPr>
              <p:cNvPr id="69" name="Oval 37"/>
              <p:cNvSpPr/>
              <p:nvPr/>
            </p:nvSpPr>
            <p:spPr>
              <a:xfrm>
                <a:off x="4522208" y="2689683"/>
                <a:ext cx="777240" cy="777240"/>
              </a:xfrm>
              <a:custGeom>
                <a:avLst/>
                <a:gdLst/>
                <a:ahLst/>
                <a:cxnLst/>
                <a:rect l="l" t="t" r="r" b="b"/>
                <a:pathLst>
                  <a:path w="777240" h="777240">
                    <a:moveTo>
                      <a:pt x="388620" y="32004"/>
                    </a:moveTo>
                    <a:cubicBezTo>
                      <a:pt x="191666" y="32004"/>
                      <a:pt x="32004" y="191666"/>
                      <a:pt x="32004" y="388620"/>
                    </a:cubicBezTo>
                    <a:cubicBezTo>
                      <a:pt x="32004" y="585574"/>
                      <a:pt x="191666" y="745236"/>
                      <a:pt x="388620" y="745236"/>
                    </a:cubicBezTo>
                    <a:cubicBezTo>
                      <a:pt x="585574" y="745236"/>
                      <a:pt x="745236" y="585574"/>
                      <a:pt x="745236" y="388620"/>
                    </a:cubicBezTo>
                    <a:cubicBezTo>
                      <a:pt x="745236" y="191666"/>
                      <a:pt x="585574" y="32004"/>
                      <a:pt x="388620" y="32004"/>
                    </a:cubicBezTo>
                    <a:close/>
                    <a:moveTo>
                      <a:pt x="388620" y="0"/>
                    </a:moveTo>
                    <a:cubicBezTo>
                      <a:pt x="603249" y="0"/>
                      <a:pt x="777240" y="173991"/>
                      <a:pt x="777240" y="388620"/>
                    </a:cubicBezTo>
                    <a:cubicBezTo>
                      <a:pt x="777240" y="603249"/>
                      <a:pt x="603249" y="777240"/>
                      <a:pt x="388620" y="777240"/>
                    </a:cubicBezTo>
                    <a:cubicBezTo>
                      <a:pt x="173991" y="777240"/>
                      <a:pt x="0" y="603249"/>
                      <a:pt x="0" y="388620"/>
                    </a:cubicBezTo>
                    <a:cubicBezTo>
                      <a:pt x="0" y="173991"/>
                      <a:pt x="173991" y="0"/>
                      <a:pt x="38862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dirty="0">
                  <a:ln>
                    <a:solidFill>
                      <a:srgbClr val="000000">
                        <a:alpha val="0"/>
                      </a:srgbClr>
                    </a:solidFill>
                  </a:ln>
                  <a:solidFill>
                    <a:srgbClr val="FFFFFF"/>
                  </a:solidFill>
                </a:endParaRPr>
              </a:p>
            </p:txBody>
          </p:sp>
          <p:sp>
            <p:nvSpPr>
              <p:cNvPr id="70" name="Freeform 18"/>
              <p:cNvSpPr>
                <a:spLocks noEditPoints="1"/>
              </p:cNvSpPr>
              <p:nvPr/>
            </p:nvSpPr>
            <p:spPr bwMode="black">
              <a:xfrm rot="17995606">
                <a:off x="4628943" y="2860213"/>
                <a:ext cx="523130" cy="410780"/>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568" dirty="0">
                  <a:ln>
                    <a:solidFill>
                      <a:srgbClr val="000000">
                        <a:alpha val="0"/>
                      </a:srgbClr>
                    </a:solidFill>
                  </a:ln>
                  <a:solidFill>
                    <a:srgbClr val="000000"/>
                  </a:solidFill>
                </a:endParaRPr>
              </a:p>
            </p:txBody>
          </p:sp>
        </p:grpSp>
      </p:grpSp>
    </p:spTree>
    <p:extLst>
      <p:ext uri="{BB962C8B-B14F-4D97-AF65-F5344CB8AC3E}">
        <p14:creationId xmlns:p14="http://schemas.microsoft.com/office/powerpoint/2010/main" val="3526858185"/>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95260"/>
                                        </p:tgtEl>
                                        <p:attrNameLst>
                                          <p:attrName>style.visibility</p:attrName>
                                        </p:attrNameLst>
                                      </p:cBhvr>
                                      <p:to>
                                        <p:strVal val="visible"/>
                                      </p:to>
                                    </p:set>
                                    <p:anim calcmode="lin" valueType="num">
                                      <p:cBhvr additive="base">
                                        <p:cTn id="7" dur="500" fill="hold"/>
                                        <p:tgtEl>
                                          <p:spTgt spid="95260"/>
                                        </p:tgtEl>
                                        <p:attrNameLst>
                                          <p:attrName>ppt_x</p:attrName>
                                        </p:attrNameLst>
                                      </p:cBhvr>
                                      <p:tavLst>
                                        <p:tav tm="0">
                                          <p:val>
                                            <p:strVal val="0-#ppt_w/2"/>
                                          </p:val>
                                        </p:tav>
                                        <p:tav tm="100000">
                                          <p:val>
                                            <p:strVal val="#ppt_x"/>
                                          </p:val>
                                        </p:tav>
                                      </p:tavLst>
                                    </p:anim>
                                    <p:anim calcmode="lin" valueType="num">
                                      <p:cBhvr additive="base">
                                        <p:cTn id="8" dur="500" fill="hold"/>
                                        <p:tgtEl>
                                          <p:spTgt spid="95260"/>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95261"/>
                                        </p:tgtEl>
                                        <p:attrNameLst>
                                          <p:attrName>style.visibility</p:attrName>
                                        </p:attrNameLst>
                                      </p:cBhvr>
                                      <p:to>
                                        <p:strVal val="visible"/>
                                      </p:to>
                                    </p:set>
                                    <p:anim calcmode="lin" valueType="num">
                                      <p:cBhvr additive="base">
                                        <p:cTn id="13" dur="500" fill="hold"/>
                                        <p:tgtEl>
                                          <p:spTgt spid="95261"/>
                                        </p:tgtEl>
                                        <p:attrNameLst>
                                          <p:attrName>ppt_x</p:attrName>
                                        </p:attrNameLst>
                                      </p:cBhvr>
                                      <p:tavLst>
                                        <p:tav tm="0">
                                          <p:val>
                                            <p:strVal val="0-#ppt_w/2"/>
                                          </p:val>
                                        </p:tav>
                                        <p:tav tm="100000">
                                          <p:val>
                                            <p:strVal val="#ppt_x"/>
                                          </p:val>
                                        </p:tav>
                                      </p:tavLst>
                                    </p:anim>
                                    <p:anim calcmode="lin" valueType="num">
                                      <p:cBhvr additive="base">
                                        <p:cTn id="14" dur="500" fill="hold"/>
                                        <p:tgtEl>
                                          <p:spTgt spid="95261"/>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5"/>
                                        </p:tgtEl>
                                        <p:attrNameLst>
                                          <p:attrName>style.visibility</p:attrName>
                                        </p:attrNameLst>
                                      </p:cBhvr>
                                      <p:to>
                                        <p:strVal val="visible"/>
                                      </p:to>
                                    </p:set>
                                    <p:anim calcmode="lin" valueType="num">
                                      <p:cBhvr additive="base">
                                        <p:cTn id="19" dur="500" fill="hold"/>
                                        <p:tgtEl>
                                          <p:spTgt spid="5"/>
                                        </p:tgtEl>
                                        <p:attrNameLst>
                                          <p:attrName>ppt_x</p:attrName>
                                        </p:attrNameLst>
                                      </p:cBhvr>
                                      <p:tavLst>
                                        <p:tav tm="0">
                                          <p:val>
                                            <p:strVal val="0-#ppt_w/2"/>
                                          </p:val>
                                        </p:tav>
                                        <p:tav tm="100000">
                                          <p:val>
                                            <p:strVal val="#ppt_x"/>
                                          </p:val>
                                        </p:tav>
                                      </p:tavLst>
                                    </p:anim>
                                    <p:anim calcmode="lin" valueType="num">
                                      <p:cBhvr additive="base">
                                        <p:cTn id="20" dur="500" fill="hold"/>
                                        <p:tgtEl>
                                          <p:spTgt spid="5"/>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95263"/>
                                        </p:tgtEl>
                                        <p:attrNameLst>
                                          <p:attrName>style.visibility</p:attrName>
                                        </p:attrNameLst>
                                      </p:cBhvr>
                                      <p:to>
                                        <p:strVal val="visible"/>
                                      </p:to>
                                    </p:set>
                                    <p:anim calcmode="lin" valueType="num">
                                      <p:cBhvr additive="base">
                                        <p:cTn id="25" dur="500" fill="hold"/>
                                        <p:tgtEl>
                                          <p:spTgt spid="95263"/>
                                        </p:tgtEl>
                                        <p:attrNameLst>
                                          <p:attrName>ppt_x</p:attrName>
                                        </p:attrNameLst>
                                      </p:cBhvr>
                                      <p:tavLst>
                                        <p:tav tm="0">
                                          <p:val>
                                            <p:strVal val="0-#ppt_w/2"/>
                                          </p:val>
                                        </p:tav>
                                        <p:tav tm="100000">
                                          <p:val>
                                            <p:strVal val="#ppt_x"/>
                                          </p:val>
                                        </p:tav>
                                      </p:tavLst>
                                    </p:anim>
                                    <p:anim calcmode="lin" valueType="num">
                                      <p:cBhvr additive="base">
                                        <p:cTn id="26" dur="500" fill="hold"/>
                                        <p:tgtEl>
                                          <p:spTgt spid="95263"/>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95254"/>
                                        </p:tgtEl>
                                        <p:attrNameLst>
                                          <p:attrName>style.visibility</p:attrName>
                                        </p:attrNameLst>
                                      </p:cBhvr>
                                      <p:to>
                                        <p:strVal val="visible"/>
                                      </p:to>
                                    </p:set>
                                    <p:anim calcmode="lin" valueType="num">
                                      <p:cBhvr additive="base">
                                        <p:cTn id="31" dur="500" fill="hold"/>
                                        <p:tgtEl>
                                          <p:spTgt spid="95254"/>
                                        </p:tgtEl>
                                        <p:attrNameLst>
                                          <p:attrName>ppt_x</p:attrName>
                                        </p:attrNameLst>
                                      </p:cBhvr>
                                      <p:tavLst>
                                        <p:tav tm="0">
                                          <p:val>
                                            <p:strVal val="0-#ppt_w/2"/>
                                          </p:val>
                                        </p:tav>
                                        <p:tav tm="100000">
                                          <p:val>
                                            <p:strVal val="#ppt_x"/>
                                          </p:val>
                                        </p:tav>
                                      </p:tavLst>
                                    </p:anim>
                                    <p:anim calcmode="lin" valueType="num">
                                      <p:cBhvr additive="base">
                                        <p:cTn id="32" dur="500" fill="hold"/>
                                        <p:tgtEl>
                                          <p:spTgt spid="95254"/>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2" fill="hold" nodeType="clickEffect">
                                  <p:stCondLst>
                                    <p:cond delay="0"/>
                                  </p:stCondLst>
                                  <p:childTnLst>
                                    <p:set>
                                      <p:cBhvr>
                                        <p:cTn id="36" dur="1" fill="hold">
                                          <p:stCondLst>
                                            <p:cond delay="0"/>
                                          </p:stCondLst>
                                        </p:cTn>
                                        <p:tgtEl>
                                          <p:spTgt spid="95258"/>
                                        </p:tgtEl>
                                        <p:attrNameLst>
                                          <p:attrName>style.visibility</p:attrName>
                                        </p:attrNameLst>
                                      </p:cBhvr>
                                      <p:to>
                                        <p:strVal val="visible"/>
                                      </p:to>
                                    </p:set>
                                    <p:anim calcmode="lin" valueType="num">
                                      <p:cBhvr additive="base">
                                        <p:cTn id="37" dur="500" fill="hold"/>
                                        <p:tgtEl>
                                          <p:spTgt spid="95258"/>
                                        </p:tgtEl>
                                        <p:attrNameLst>
                                          <p:attrName>ppt_x</p:attrName>
                                        </p:attrNameLst>
                                      </p:cBhvr>
                                      <p:tavLst>
                                        <p:tav tm="0">
                                          <p:val>
                                            <p:strVal val="1+#ppt_w/2"/>
                                          </p:val>
                                        </p:tav>
                                        <p:tav tm="100000">
                                          <p:val>
                                            <p:strVal val="#ppt_x"/>
                                          </p:val>
                                        </p:tav>
                                      </p:tavLst>
                                    </p:anim>
                                    <p:anim calcmode="lin" valueType="num">
                                      <p:cBhvr additive="base">
                                        <p:cTn id="38" dur="500" fill="hold"/>
                                        <p:tgtEl>
                                          <p:spTgt spid="95258"/>
                                        </p:tgtEl>
                                        <p:attrNameLst>
                                          <p:attrName>ppt_y</p:attrName>
                                        </p:attrNameLst>
                                      </p:cBhvr>
                                      <p:tavLst>
                                        <p:tav tm="0">
                                          <p:val>
                                            <p:strVal val="#ppt_y"/>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2" fill="hold" nodeType="clickEffect">
                                  <p:stCondLst>
                                    <p:cond delay="0"/>
                                  </p:stCondLst>
                                  <p:childTnLst>
                                    <p:set>
                                      <p:cBhvr>
                                        <p:cTn id="42" dur="1" fill="hold">
                                          <p:stCondLst>
                                            <p:cond delay="0"/>
                                          </p:stCondLst>
                                        </p:cTn>
                                        <p:tgtEl>
                                          <p:spTgt spid="95257"/>
                                        </p:tgtEl>
                                        <p:attrNameLst>
                                          <p:attrName>style.visibility</p:attrName>
                                        </p:attrNameLst>
                                      </p:cBhvr>
                                      <p:to>
                                        <p:strVal val="visible"/>
                                      </p:to>
                                    </p:set>
                                    <p:anim calcmode="lin" valueType="num">
                                      <p:cBhvr additive="base">
                                        <p:cTn id="43" dur="500" fill="hold"/>
                                        <p:tgtEl>
                                          <p:spTgt spid="95257"/>
                                        </p:tgtEl>
                                        <p:attrNameLst>
                                          <p:attrName>ppt_x</p:attrName>
                                        </p:attrNameLst>
                                      </p:cBhvr>
                                      <p:tavLst>
                                        <p:tav tm="0">
                                          <p:val>
                                            <p:strVal val="1+#ppt_w/2"/>
                                          </p:val>
                                        </p:tav>
                                        <p:tav tm="100000">
                                          <p:val>
                                            <p:strVal val="#ppt_x"/>
                                          </p:val>
                                        </p:tav>
                                      </p:tavLst>
                                    </p:anim>
                                    <p:anim calcmode="lin" valueType="num">
                                      <p:cBhvr additive="base">
                                        <p:cTn id="44" dur="500" fill="hold"/>
                                        <p:tgtEl>
                                          <p:spTgt spid="95257"/>
                                        </p:tgtEl>
                                        <p:attrNameLst>
                                          <p:attrName>ppt_y</p:attrName>
                                        </p:attrNameLst>
                                      </p:cBhvr>
                                      <p:tavLst>
                                        <p:tav tm="0">
                                          <p:val>
                                            <p:strVal val="#ppt_y"/>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2" fill="hold" nodeType="clickEffect">
                                  <p:stCondLst>
                                    <p:cond delay="0"/>
                                  </p:stCondLst>
                                  <p:childTnLst>
                                    <p:set>
                                      <p:cBhvr>
                                        <p:cTn id="48" dur="1" fill="hold">
                                          <p:stCondLst>
                                            <p:cond delay="0"/>
                                          </p:stCondLst>
                                        </p:cTn>
                                        <p:tgtEl>
                                          <p:spTgt spid="95256"/>
                                        </p:tgtEl>
                                        <p:attrNameLst>
                                          <p:attrName>style.visibility</p:attrName>
                                        </p:attrNameLst>
                                      </p:cBhvr>
                                      <p:to>
                                        <p:strVal val="visible"/>
                                      </p:to>
                                    </p:set>
                                    <p:anim calcmode="lin" valueType="num">
                                      <p:cBhvr additive="base">
                                        <p:cTn id="49" dur="500" fill="hold"/>
                                        <p:tgtEl>
                                          <p:spTgt spid="95256"/>
                                        </p:tgtEl>
                                        <p:attrNameLst>
                                          <p:attrName>ppt_x</p:attrName>
                                        </p:attrNameLst>
                                      </p:cBhvr>
                                      <p:tavLst>
                                        <p:tav tm="0">
                                          <p:val>
                                            <p:strVal val="1+#ppt_w/2"/>
                                          </p:val>
                                        </p:tav>
                                        <p:tav tm="100000">
                                          <p:val>
                                            <p:strVal val="#ppt_x"/>
                                          </p:val>
                                        </p:tav>
                                      </p:tavLst>
                                    </p:anim>
                                    <p:anim calcmode="lin" valueType="num">
                                      <p:cBhvr additive="base">
                                        <p:cTn id="50" dur="500" fill="hold"/>
                                        <p:tgtEl>
                                          <p:spTgt spid="95256"/>
                                        </p:tgtEl>
                                        <p:attrNameLst>
                                          <p:attrName>ppt_y</p:attrName>
                                        </p:attrNameLst>
                                      </p:cBhvr>
                                      <p:tavLst>
                                        <p:tav tm="0">
                                          <p:val>
                                            <p:strVal val="#ppt_y"/>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2" presetClass="entr" presetSubtype="2" fill="hold" nodeType="clickEffect">
                                  <p:stCondLst>
                                    <p:cond delay="0"/>
                                  </p:stCondLst>
                                  <p:childTnLst>
                                    <p:set>
                                      <p:cBhvr>
                                        <p:cTn id="54" dur="1" fill="hold">
                                          <p:stCondLst>
                                            <p:cond delay="0"/>
                                          </p:stCondLst>
                                        </p:cTn>
                                        <p:tgtEl>
                                          <p:spTgt spid="95255"/>
                                        </p:tgtEl>
                                        <p:attrNameLst>
                                          <p:attrName>style.visibility</p:attrName>
                                        </p:attrNameLst>
                                      </p:cBhvr>
                                      <p:to>
                                        <p:strVal val="visible"/>
                                      </p:to>
                                    </p:set>
                                    <p:anim calcmode="lin" valueType="num">
                                      <p:cBhvr additive="base">
                                        <p:cTn id="55" dur="500" fill="hold"/>
                                        <p:tgtEl>
                                          <p:spTgt spid="95255"/>
                                        </p:tgtEl>
                                        <p:attrNameLst>
                                          <p:attrName>ppt_x</p:attrName>
                                        </p:attrNameLst>
                                      </p:cBhvr>
                                      <p:tavLst>
                                        <p:tav tm="0">
                                          <p:val>
                                            <p:strVal val="1+#ppt_w/2"/>
                                          </p:val>
                                        </p:tav>
                                        <p:tav tm="100000">
                                          <p:val>
                                            <p:strVal val="#ppt_x"/>
                                          </p:val>
                                        </p:tav>
                                      </p:tavLst>
                                    </p:anim>
                                    <p:anim calcmode="lin" valueType="num">
                                      <p:cBhvr additive="base">
                                        <p:cTn id="56" dur="500" fill="hold"/>
                                        <p:tgtEl>
                                          <p:spTgt spid="9525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sual Studio tooling</a:t>
            </a:r>
          </a:p>
        </p:txBody>
      </p:sp>
      <p:sp>
        <p:nvSpPr>
          <p:cNvPr id="3" name="Slide Number Placeholder 2"/>
          <p:cNvSpPr>
            <a:spLocks noGrp="1"/>
          </p:cNvSpPr>
          <p:nvPr>
            <p:ph type="sldNum" sz="quarter" idx="11"/>
          </p:nvPr>
        </p:nvSpPr>
        <p:spPr/>
        <p:txBody>
          <a:bodyPr/>
          <a:lstStyle/>
          <a:p>
            <a:pPr>
              <a:defRPr/>
            </a:pPr>
            <a:fld id="{F8A0AC42-AA1D-4944-8D96-660DE70C7E1B}" type="slidenum">
              <a:rPr/>
              <a:pPr>
                <a:defRPr/>
              </a:pPr>
              <a:t>81</a:t>
            </a:fld>
            <a:endParaRPr dirty="0"/>
          </a:p>
        </p:txBody>
      </p:sp>
      <p:pic>
        <p:nvPicPr>
          <p:cNvPr id="12"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71329" y="1887038"/>
            <a:ext cx="3805735" cy="3829083"/>
          </a:xfrm>
          <a:prstGeom prst="rect">
            <a:avLst/>
          </a:prstGeom>
        </p:spPr>
      </p:pic>
      <p:sp>
        <p:nvSpPr>
          <p:cNvPr id="13" name="Rectangle 12"/>
          <p:cNvSpPr/>
          <p:nvPr/>
        </p:nvSpPr>
        <p:spPr bwMode="auto">
          <a:xfrm>
            <a:off x="7326550" y="1292141"/>
            <a:ext cx="4447645" cy="4685443"/>
          </a:xfrm>
          <a:prstGeom prst="rect">
            <a:avLst/>
          </a:prstGeom>
          <a:solidFill>
            <a:schemeClr val="bg1">
              <a:alpha val="7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4" name="Content Placeholder 2"/>
          <p:cNvSpPr txBox="1">
            <a:spLocks/>
          </p:cNvSpPr>
          <p:nvPr/>
        </p:nvSpPr>
        <p:spPr bwMode="auto">
          <a:xfrm>
            <a:off x="467728" y="1760506"/>
            <a:ext cx="7635748" cy="42170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89642" tIns="44821" rIns="89642" bIns="44821" numCol="1" anchor="t" anchorCtr="0" compatLnSpc="1">
            <a:prstTxWarp prst="textNoShape">
              <a:avLst/>
            </a:prstTxWarp>
          </a:bodyPr>
          <a:lstStyle>
            <a:lvl1pPr marL="342900" indent="-342900" algn="l" defTabSz="931863" rtl="0" eaLnBrk="1" fontAlgn="base" hangingPunct="1">
              <a:lnSpc>
                <a:spcPct val="90000"/>
              </a:lnSpc>
              <a:spcBef>
                <a:spcPct val="20000"/>
              </a:spcBef>
              <a:spcAft>
                <a:spcPct val="0"/>
              </a:spcAft>
              <a:buSzPct val="90000"/>
              <a:buFont typeface="Arial" charset="0"/>
              <a:buChar char="•"/>
              <a:defRPr sz="4000" kern="1200">
                <a:solidFill>
                  <a:schemeClr val="tx2"/>
                </a:solidFill>
                <a:latin typeface="+mj-lt"/>
                <a:ea typeface="ＭＳ Ｐゴシック" charset="0"/>
                <a:cs typeface="ＭＳ Ｐゴシック" charset="0"/>
              </a:defRPr>
            </a:lvl1pPr>
            <a:lvl2pPr marL="584200" indent="-241300" algn="l" defTabSz="931863" rtl="0" eaLnBrk="1" fontAlgn="base" hangingPunct="1">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800100" indent="-228600" algn="l" defTabSz="931863"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700" indent="-228600" algn="l" defTabSz="931863"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300" indent="-228600" algn="l" defTabSz="931863"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784"/>
              </a:spcBef>
              <a:buNone/>
            </a:pPr>
            <a:endParaRPr lang="en-US" sz="2353" dirty="0">
              <a:solidFill>
                <a:srgbClr val="505050"/>
              </a:solidFill>
              <a:latin typeface="Segoe UI"/>
              <a:cs typeface="Segoe UI Semibold" panose="020B0702040204020203" pitchFamily="34" charset="0"/>
            </a:endParaRPr>
          </a:p>
          <a:p>
            <a:pPr marL="640080" lvl="1" indent="-457200">
              <a:lnSpc>
                <a:spcPct val="100000"/>
              </a:lnSpc>
              <a:spcBef>
                <a:spcPts val="196"/>
              </a:spcBef>
              <a:spcAft>
                <a:spcPts val="392"/>
              </a:spcAft>
              <a:buClr>
                <a:schemeClr val="accent3"/>
              </a:buClr>
              <a:buFont typeface="Wingdings" panose="05000000000000000000" pitchFamily="2" charset="2"/>
              <a:buChar char="v"/>
            </a:pPr>
            <a:r>
              <a:rPr lang="en-US" sz="2753" dirty="0">
                <a:solidFill>
                  <a:srgbClr val="505050"/>
                </a:solidFill>
                <a:latin typeface="+mj-lt"/>
              </a:rPr>
              <a:t>Create Storm projects from available template</a:t>
            </a:r>
          </a:p>
          <a:p>
            <a:pPr marL="640080" lvl="1" indent="-457200">
              <a:lnSpc>
                <a:spcPct val="100000"/>
              </a:lnSpc>
              <a:spcBef>
                <a:spcPts val="196"/>
              </a:spcBef>
              <a:spcAft>
                <a:spcPts val="392"/>
              </a:spcAft>
              <a:buClr>
                <a:schemeClr val="accent3"/>
              </a:buClr>
              <a:buFont typeface="Wingdings" panose="05000000000000000000" pitchFamily="2" charset="2"/>
              <a:buChar char="v"/>
            </a:pPr>
            <a:r>
              <a:rPr lang="en-US" sz="2753" dirty="0">
                <a:solidFill>
                  <a:srgbClr val="505050"/>
                </a:solidFill>
                <a:latin typeface="+mj-lt"/>
              </a:rPr>
              <a:t>Submit a topology with C# bolts/spouts </a:t>
            </a:r>
          </a:p>
          <a:p>
            <a:pPr marL="640080" lvl="1" indent="-457200">
              <a:lnSpc>
                <a:spcPct val="100000"/>
              </a:lnSpc>
              <a:spcBef>
                <a:spcPts val="196"/>
              </a:spcBef>
              <a:spcAft>
                <a:spcPts val="392"/>
              </a:spcAft>
              <a:buClr>
                <a:schemeClr val="accent3"/>
              </a:buClr>
              <a:buFont typeface="Wingdings" panose="05000000000000000000" pitchFamily="2" charset="2"/>
              <a:buChar char="v"/>
            </a:pPr>
            <a:r>
              <a:rPr lang="en-US" sz="2753" dirty="0">
                <a:solidFill>
                  <a:srgbClr val="505050"/>
                </a:solidFill>
                <a:latin typeface="+mj-lt"/>
              </a:rPr>
              <a:t>Submit Topologies containing Java spouts/bolts </a:t>
            </a:r>
          </a:p>
          <a:p>
            <a:pPr marL="640080" lvl="1" indent="-457200">
              <a:lnSpc>
                <a:spcPct val="100000"/>
              </a:lnSpc>
              <a:spcBef>
                <a:spcPts val="196"/>
              </a:spcBef>
              <a:spcAft>
                <a:spcPts val="392"/>
              </a:spcAft>
              <a:buClr>
                <a:schemeClr val="accent3"/>
              </a:buClr>
              <a:buFont typeface="Wingdings" panose="05000000000000000000" pitchFamily="2" charset="2"/>
              <a:buChar char="v"/>
            </a:pPr>
            <a:r>
              <a:rPr lang="en-US" sz="2753" dirty="0">
                <a:solidFill>
                  <a:srgbClr val="505050"/>
                </a:solidFill>
                <a:latin typeface="+mj-lt"/>
              </a:rPr>
              <a:t>Monitor Topologies within VS</a:t>
            </a:r>
          </a:p>
          <a:p>
            <a:pPr marL="640080" lvl="1" indent="-457200">
              <a:lnSpc>
                <a:spcPct val="100000"/>
              </a:lnSpc>
              <a:spcBef>
                <a:spcPts val="196"/>
              </a:spcBef>
              <a:spcAft>
                <a:spcPts val="392"/>
              </a:spcAft>
              <a:buClr>
                <a:schemeClr val="accent3"/>
              </a:buClr>
              <a:buFont typeface="Wingdings" panose="05000000000000000000" pitchFamily="2" charset="2"/>
              <a:buChar char="v"/>
            </a:pPr>
            <a:r>
              <a:rPr lang="en-US" sz="2753" dirty="0">
                <a:solidFill>
                  <a:srgbClr val="505050"/>
                </a:solidFill>
                <a:latin typeface="+mj-lt"/>
              </a:rPr>
              <a:t>Troubleshoot Topologies</a:t>
            </a:r>
          </a:p>
        </p:txBody>
      </p:sp>
      <p:sp>
        <p:nvSpPr>
          <p:cNvPr id="14" name="TextBox 13"/>
          <p:cNvSpPr txBox="1"/>
          <p:nvPr/>
        </p:nvSpPr>
        <p:spPr>
          <a:xfrm>
            <a:off x="467727" y="1308429"/>
            <a:ext cx="11311846" cy="435788"/>
          </a:xfrm>
          <a:prstGeom prst="rect">
            <a:avLst/>
          </a:prstGeom>
          <a:solidFill>
            <a:schemeClr val="accent3"/>
          </a:solidFill>
        </p:spPr>
        <p:txBody>
          <a:bodyPr wrap="square" lIns="182880" tIns="91440" rIns="182880" bIns="91440" rtlCol="0" anchor="ctr">
            <a:noAutofit/>
          </a:bodyPr>
          <a:lstStyle/>
          <a:p>
            <a:pPr algn="ctr">
              <a:lnSpc>
                <a:spcPct val="90000"/>
              </a:lnSpc>
              <a:spcAft>
                <a:spcPts val="600"/>
              </a:spcAft>
            </a:pPr>
            <a:r>
              <a:rPr lang="en-US" sz="2000" dirty="0">
                <a:solidFill>
                  <a:schemeClr val="bg1"/>
                </a:solidFill>
                <a:latin typeface="Segoe UI Semibold" panose="020B0702040204020203" pitchFamily="34" charset="0"/>
                <a:cs typeface="Segoe UI Semibold" panose="020B0702040204020203" pitchFamily="34" charset="0"/>
              </a:rPr>
              <a:t>You can develop and deploy Storm applications completely from within Visual Studio </a:t>
            </a:r>
          </a:p>
        </p:txBody>
      </p:sp>
    </p:spTree>
    <p:extLst>
      <p:ext uri="{BB962C8B-B14F-4D97-AF65-F5344CB8AC3E}">
        <p14:creationId xmlns:p14="http://schemas.microsoft.com/office/powerpoint/2010/main" val="2021275795"/>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animEffect transition="in" filter="fade">
                                      <p:cBhvr>
                                        <p:cTn id="7" dur="500"/>
                                        <p:tgtEl>
                                          <p:spTgt spid="4">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4">
                                            <p:txEl>
                                              <p:pRg st="2" end="2"/>
                                            </p:txEl>
                                          </p:spTgt>
                                        </p:tgtEl>
                                        <p:attrNameLst>
                                          <p:attrName>style.visibility</p:attrName>
                                        </p:attrNameLst>
                                      </p:cBhvr>
                                      <p:to>
                                        <p:strVal val="visible"/>
                                      </p:to>
                                    </p:set>
                                    <p:animEffect transition="in" filter="fade">
                                      <p:cBhvr>
                                        <p:cTn id="10" dur="500"/>
                                        <p:tgtEl>
                                          <p:spTgt spid="4">
                                            <p:txEl>
                                              <p:pRg st="2" end="2"/>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4">
                                            <p:txEl>
                                              <p:pRg st="3" end="3"/>
                                            </p:txEl>
                                          </p:spTgt>
                                        </p:tgtEl>
                                        <p:attrNameLst>
                                          <p:attrName>style.visibility</p:attrName>
                                        </p:attrNameLst>
                                      </p:cBhvr>
                                      <p:to>
                                        <p:strVal val="visible"/>
                                      </p:to>
                                    </p:set>
                                    <p:animEffect transition="in" filter="fade">
                                      <p:cBhvr>
                                        <p:cTn id="15" dur="500"/>
                                        <p:tgtEl>
                                          <p:spTgt spid="4">
                                            <p:txEl>
                                              <p:pRg st="3" end="3"/>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4">
                                            <p:txEl>
                                              <p:pRg st="4" end="4"/>
                                            </p:txEl>
                                          </p:spTgt>
                                        </p:tgtEl>
                                        <p:attrNameLst>
                                          <p:attrName>style.visibility</p:attrName>
                                        </p:attrNameLst>
                                      </p:cBhvr>
                                      <p:to>
                                        <p:strVal val="visible"/>
                                      </p:to>
                                    </p:set>
                                    <p:animEffect transition="in" filter="fade">
                                      <p:cBhvr>
                                        <p:cTn id="20" dur="500"/>
                                        <p:tgtEl>
                                          <p:spTgt spid="4">
                                            <p:txEl>
                                              <p:pRg st="4" end="4"/>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4">
                                            <p:txEl>
                                              <p:pRg st="5" end="5"/>
                                            </p:txEl>
                                          </p:spTgt>
                                        </p:tgtEl>
                                        <p:attrNameLst>
                                          <p:attrName>style.visibility</p:attrName>
                                        </p:attrNameLst>
                                      </p:cBhvr>
                                      <p:to>
                                        <p:strVal val="visible"/>
                                      </p:to>
                                    </p:set>
                                    <p:animEffect transition="in" filter="fade">
                                      <p:cBhvr>
                                        <p:cTn id="25" dur="500"/>
                                        <p:tgtEl>
                                          <p:spTgt spid="4">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2220686"/>
            <a:ext cx="9144000" cy="1101688"/>
          </a:xfrm>
          <a:solidFill>
            <a:schemeClr val="accent1">
              <a:alpha val="78000"/>
            </a:schemeClr>
          </a:solidFill>
        </p:spPr>
        <p:txBody>
          <a:bodyPr anchor="ctr"/>
          <a:lstStyle/>
          <a:p>
            <a:r>
              <a:rPr lang="en-US" dirty="0">
                <a:solidFill>
                  <a:schemeClr val="bg1"/>
                </a:solidFill>
              </a:rPr>
              <a:t>Apache Kafka on HDInsight</a:t>
            </a:r>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5729118"/>
            <a:ext cx="2518660" cy="1128882"/>
          </a:xfrm>
          <a:prstGeom prst="rect">
            <a:avLst/>
          </a:prstGeom>
        </p:spPr>
      </p:pic>
    </p:spTree>
    <p:extLst>
      <p:ext uri="{BB962C8B-B14F-4D97-AF65-F5344CB8AC3E}">
        <p14:creationId xmlns:p14="http://schemas.microsoft.com/office/powerpoint/2010/main" val="1857647348"/>
      </p:ext>
    </p:extLst>
  </p:cSld>
  <p:clrMapOvr>
    <a:masterClrMapping/>
  </p:clrMapOvr>
  <p:transition spd="med">
    <p:wipe dir="r"/>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TextBox 55"/>
          <p:cNvSpPr txBox="1"/>
          <p:nvPr/>
        </p:nvSpPr>
        <p:spPr>
          <a:xfrm>
            <a:off x="3067906" y="1978990"/>
            <a:ext cx="2554592" cy="3521183"/>
          </a:xfrm>
          <a:prstGeom prst="rect">
            <a:avLst/>
          </a:prstGeom>
          <a:solidFill>
            <a:schemeClr val="bg1">
              <a:lumMod val="95000"/>
            </a:schemeClr>
          </a:solidFill>
        </p:spPr>
        <p:txBody>
          <a:bodyPr wrap="none" lIns="179285" tIns="44821" rIns="179285" bIns="179285" rtlCol="0" anchor="t">
            <a:no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505050"/>
                </a:solidFill>
                <a:effectLst/>
                <a:uLnTx/>
                <a:uFillTx/>
                <a:latin typeface="Segoe UI Semibold" panose="020B0702040204020203" pitchFamily="34" charset="0"/>
                <a:cs typeface="Segoe UI Semibold" panose="020B0702040204020203" pitchFamily="34" charset="0"/>
              </a:rPr>
              <a:t>Event processing</a:t>
            </a:r>
          </a:p>
        </p:txBody>
      </p:sp>
      <p:sp>
        <p:nvSpPr>
          <p:cNvPr id="57" name="TextBox 56"/>
          <p:cNvSpPr txBox="1"/>
          <p:nvPr/>
        </p:nvSpPr>
        <p:spPr>
          <a:xfrm>
            <a:off x="6519994" y="1978990"/>
            <a:ext cx="2554592" cy="3521183"/>
          </a:xfrm>
          <a:prstGeom prst="rect">
            <a:avLst/>
          </a:prstGeom>
          <a:solidFill>
            <a:schemeClr val="bg1">
              <a:lumMod val="95000"/>
            </a:schemeClr>
          </a:solidFill>
        </p:spPr>
        <p:txBody>
          <a:bodyPr wrap="none" lIns="179285" tIns="44821" rIns="179285" bIns="179285" rtlCol="0" anchor="t">
            <a:no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505050"/>
                </a:solidFill>
                <a:effectLst/>
                <a:uLnTx/>
                <a:uFillTx/>
                <a:latin typeface="Segoe UI Semibold" panose="020B0702040204020203" pitchFamily="34" charset="0"/>
                <a:cs typeface="Segoe UI Semibold" panose="020B0702040204020203" pitchFamily="34" charset="0"/>
              </a:rPr>
              <a:t>Stream processing</a:t>
            </a:r>
          </a:p>
        </p:txBody>
      </p:sp>
      <p:sp>
        <p:nvSpPr>
          <p:cNvPr id="5" name="Title 4"/>
          <p:cNvSpPr>
            <a:spLocks noGrp="1"/>
          </p:cNvSpPr>
          <p:nvPr>
            <p:ph type="title"/>
          </p:nvPr>
        </p:nvSpPr>
        <p:spPr/>
        <p:txBody>
          <a:bodyPr/>
          <a:lstStyle/>
          <a:p>
            <a:r>
              <a:rPr lang="en-US" dirty="0"/>
              <a:t>Event ingestion patterns</a:t>
            </a:r>
          </a:p>
        </p:txBody>
      </p:sp>
      <p:sp>
        <p:nvSpPr>
          <p:cNvPr id="23" name="Freeform 34"/>
          <p:cNvSpPr>
            <a:spLocks noEditPoints="1"/>
          </p:cNvSpPr>
          <p:nvPr/>
        </p:nvSpPr>
        <p:spPr bwMode="auto">
          <a:xfrm>
            <a:off x="680618" y="2253018"/>
            <a:ext cx="601443" cy="475809"/>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chemeClr val="accent1"/>
          </a:solidFill>
          <a:ln>
            <a:noFill/>
          </a:ln>
        </p:spPr>
        <p:txBody>
          <a:bodyPr vert="horz" wrap="square" lIns="89604" tIns="44802" rIns="89604" bIns="44802" numCol="1" anchor="t" anchorCtr="0" compatLnSpc="1">
            <a:prstTxWarp prst="textNoShape">
              <a:avLst/>
            </a:prstTxWarp>
          </a:bodyPr>
          <a:lstStyle/>
          <a:p>
            <a:pPr marL="0" marR="0" lvl="0" indent="0" defTabSz="913956" eaLnBrk="1" fontAlgn="auto" latinLnBrk="0" hangingPunct="1">
              <a:lnSpc>
                <a:spcPct val="100000"/>
              </a:lnSpc>
              <a:spcBef>
                <a:spcPts val="0"/>
              </a:spcBef>
              <a:spcAft>
                <a:spcPts val="0"/>
              </a:spcAft>
              <a:buClrTx/>
              <a:buSzTx/>
              <a:buFontTx/>
              <a:buNone/>
              <a:tabLst/>
              <a:defRPr/>
            </a:pPr>
            <a:endParaRPr kumimoji="0" lang="en-US" sz="1766" b="0" i="0" u="none" strike="noStrike" kern="0" cap="none" spc="0" normalizeH="0" baseline="0" noProof="0">
              <a:ln>
                <a:noFill/>
              </a:ln>
              <a:gradFill>
                <a:gsLst>
                  <a:gs pos="1250">
                    <a:schemeClr val="tx1"/>
                  </a:gs>
                  <a:gs pos="100000">
                    <a:schemeClr val="tx1"/>
                  </a:gs>
                </a:gsLst>
                <a:lin ang="5400000" scaled="0"/>
              </a:gradFill>
              <a:effectLst/>
              <a:uLnTx/>
              <a:uFillTx/>
              <a:ea typeface="MS PGothic" panose="020B0600070205080204" pitchFamily="34" charset="-128"/>
            </a:endParaRPr>
          </a:p>
        </p:txBody>
      </p:sp>
      <p:sp>
        <p:nvSpPr>
          <p:cNvPr id="24" name="TextBox 23"/>
          <p:cNvSpPr txBox="1"/>
          <p:nvPr/>
        </p:nvSpPr>
        <p:spPr>
          <a:xfrm>
            <a:off x="277280" y="2737622"/>
            <a:ext cx="1408119" cy="307777"/>
          </a:xfrm>
          <a:prstGeom prst="rect">
            <a:avLst/>
          </a:prstGeom>
          <a:noFill/>
        </p:spPr>
        <p:txBody>
          <a:bodyPr wrap="square">
            <a:spAutoFit/>
          </a:bodyPr>
          <a:lstStyle>
            <a:defPPr>
              <a:defRPr lang="en-US"/>
            </a:defPPr>
            <a:lvl1pPr defTabSz="896214">
              <a:defRPr sz="1400" kern="0">
                <a:gradFill>
                  <a:gsLst>
                    <a:gs pos="1250">
                      <a:schemeClr val="tx1"/>
                    </a:gs>
                    <a:gs pos="100000">
                      <a:schemeClr val="tx1"/>
                    </a:gs>
                  </a:gsLst>
                  <a:lin ang="5400000" scaled="0"/>
                </a:gradFill>
                <a:cs typeface="Segoe UI Semilight" panose="020B0402040204020203" pitchFamily="34" charset="0"/>
              </a:defRPr>
            </a:lvl1pPr>
          </a:lstStyle>
          <a:p>
            <a:pPr marL="0" marR="0" lvl="0" indent="0" algn="ctr" defTabSz="896214"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1250">
                      <a:schemeClr val="tx1"/>
                    </a:gs>
                    <a:gs pos="100000">
                      <a:schemeClr val="tx1"/>
                    </a:gs>
                  </a:gsLst>
                  <a:lin ang="5400000" scaled="0"/>
                </a:gradFill>
                <a:effectLst/>
                <a:uLnTx/>
                <a:uFillTx/>
                <a:cs typeface="Segoe UI Semilight" panose="020B0402040204020203" pitchFamily="34" charset="0"/>
              </a:rPr>
              <a:t>Business apps</a:t>
            </a:r>
          </a:p>
        </p:txBody>
      </p:sp>
      <p:sp>
        <p:nvSpPr>
          <p:cNvPr id="25" name="TextBox 24"/>
          <p:cNvSpPr txBox="1"/>
          <p:nvPr/>
        </p:nvSpPr>
        <p:spPr>
          <a:xfrm>
            <a:off x="361094" y="4129963"/>
            <a:ext cx="1240491" cy="307777"/>
          </a:xfrm>
          <a:prstGeom prst="rect">
            <a:avLst/>
          </a:prstGeom>
          <a:noFill/>
        </p:spPr>
        <p:txBody>
          <a:bodyPr wrap="square">
            <a:spAutoFit/>
          </a:bodyPr>
          <a:lstStyle>
            <a:defPPr>
              <a:defRPr lang="en-US"/>
            </a:defPPr>
            <a:lvl1pPr defTabSz="896214">
              <a:defRPr sz="1400" kern="0">
                <a:gradFill>
                  <a:gsLst>
                    <a:gs pos="1250">
                      <a:schemeClr val="tx1"/>
                    </a:gs>
                    <a:gs pos="100000">
                      <a:schemeClr val="tx1"/>
                    </a:gs>
                  </a:gsLst>
                  <a:lin ang="5400000" scaled="0"/>
                </a:gradFill>
                <a:cs typeface="Segoe UI Semilight" panose="020B0402040204020203" pitchFamily="34" charset="0"/>
              </a:defRPr>
            </a:lvl1pPr>
          </a:lstStyle>
          <a:p>
            <a:pPr marL="0" marR="0" lvl="0" indent="0" algn="ctr" defTabSz="896214"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1250">
                      <a:schemeClr val="tx1"/>
                    </a:gs>
                    <a:gs pos="100000">
                      <a:schemeClr val="tx1"/>
                    </a:gs>
                  </a:gsLst>
                  <a:lin ang="5400000" scaled="0"/>
                </a:gradFill>
                <a:effectLst/>
                <a:uLnTx/>
                <a:uFillTx/>
                <a:cs typeface="Segoe UI Semilight" panose="020B0402040204020203" pitchFamily="34" charset="0"/>
              </a:rPr>
              <a:t>Custom apps</a:t>
            </a:r>
          </a:p>
        </p:txBody>
      </p:sp>
      <p:sp>
        <p:nvSpPr>
          <p:cNvPr id="26" name="Freeform 53"/>
          <p:cNvSpPr>
            <a:spLocks noEditPoints="1"/>
          </p:cNvSpPr>
          <p:nvPr/>
        </p:nvSpPr>
        <p:spPr bwMode="auto">
          <a:xfrm>
            <a:off x="759866" y="3501810"/>
            <a:ext cx="442946" cy="632180"/>
          </a:xfrm>
          <a:custGeom>
            <a:avLst/>
            <a:gdLst>
              <a:gd name="T0" fmla="*/ 1011 w 1280"/>
              <a:gd name="T1" fmla="*/ 1048 h 1827"/>
              <a:gd name="T2" fmla="*/ 958 w 1280"/>
              <a:gd name="T3" fmla="*/ 1013 h 1827"/>
              <a:gd name="T4" fmla="*/ 847 w 1280"/>
              <a:gd name="T5" fmla="*/ 961 h 1827"/>
              <a:gd name="T6" fmla="*/ 814 w 1280"/>
              <a:gd name="T7" fmla="*/ 965 h 1827"/>
              <a:gd name="T8" fmla="*/ 710 w 1280"/>
              <a:gd name="T9" fmla="*/ 572 h 1827"/>
              <a:gd name="T10" fmla="*/ 601 w 1280"/>
              <a:gd name="T11" fmla="*/ 594 h 1827"/>
              <a:gd name="T12" fmla="*/ 705 w 1280"/>
              <a:gd name="T13" fmla="*/ 1159 h 1827"/>
              <a:gd name="T14" fmla="*/ 663 w 1280"/>
              <a:gd name="T15" fmla="*/ 1238 h 1827"/>
              <a:gd name="T16" fmla="*/ 504 w 1280"/>
              <a:gd name="T17" fmla="*/ 1112 h 1827"/>
              <a:gd name="T18" fmla="*/ 348 w 1280"/>
              <a:gd name="T19" fmla="*/ 1032 h 1827"/>
              <a:gd name="T20" fmla="*/ 378 w 1280"/>
              <a:gd name="T21" fmla="*/ 1138 h 1827"/>
              <a:gd name="T22" fmla="*/ 416 w 1280"/>
              <a:gd name="T23" fmla="*/ 1245 h 1827"/>
              <a:gd name="T24" fmla="*/ 492 w 1280"/>
              <a:gd name="T25" fmla="*/ 1368 h 1827"/>
              <a:gd name="T26" fmla="*/ 729 w 1280"/>
              <a:gd name="T27" fmla="*/ 1659 h 1827"/>
              <a:gd name="T28" fmla="*/ 805 w 1280"/>
              <a:gd name="T29" fmla="*/ 1827 h 1827"/>
              <a:gd name="T30" fmla="*/ 1238 w 1280"/>
              <a:gd name="T31" fmla="*/ 1652 h 1827"/>
              <a:gd name="T32" fmla="*/ 1257 w 1280"/>
              <a:gd name="T33" fmla="*/ 1576 h 1827"/>
              <a:gd name="T34" fmla="*/ 1273 w 1280"/>
              <a:gd name="T35" fmla="*/ 1354 h 1827"/>
              <a:gd name="T36" fmla="*/ 1198 w 1280"/>
              <a:gd name="T37" fmla="*/ 1207 h 1827"/>
              <a:gd name="T38" fmla="*/ 1131 w 1280"/>
              <a:gd name="T39" fmla="*/ 1112 h 1827"/>
              <a:gd name="T40" fmla="*/ 826 w 1280"/>
              <a:gd name="T41" fmla="*/ 381 h 1827"/>
              <a:gd name="T42" fmla="*/ 442 w 1280"/>
              <a:gd name="T43" fmla="*/ 0 h 1827"/>
              <a:gd name="T44" fmla="*/ 826 w 1280"/>
              <a:gd name="T45" fmla="*/ 381 h 1827"/>
              <a:gd name="T46" fmla="*/ 386 w 1280"/>
              <a:gd name="T47" fmla="*/ 381 h 1827"/>
              <a:gd name="T48" fmla="*/ 0 w 1280"/>
              <a:gd name="T49" fmla="*/ 0 h 1827"/>
              <a:gd name="T50" fmla="*/ 386 w 1280"/>
              <a:gd name="T51" fmla="*/ 381 h 1827"/>
              <a:gd name="T52" fmla="*/ 594 w 1280"/>
              <a:gd name="T53" fmla="*/ 821 h 1827"/>
              <a:gd name="T54" fmla="*/ 442 w 1280"/>
              <a:gd name="T55" fmla="*/ 437 h 1827"/>
              <a:gd name="T56" fmla="*/ 826 w 1280"/>
              <a:gd name="T57" fmla="*/ 821 h 1827"/>
              <a:gd name="T58" fmla="*/ 755 w 1280"/>
              <a:gd name="T59" fmla="*/ 561 h 1827"/>
              <a:gd name="T60" fmla="*/ 755 w 1280"/>
              <a:gd name="T61" fmla="*/ 561 h 1827"/>
              <a:gd name="T62" fmla="*/ 636 w 1280"/>
              <a:gd name="T63" fmla="*/ 480 h 1827"/>
              <a:gd name="T64" fmla="*/ 554 w 1280"/>
              <a:gd name="T65" fmla="*/ 601 h 1827"/>
              <a:gd name="T66" fmla="*/ 594 w 1280"/>
              <a:gd name="T67" fmla="*/ 821 h 1827"/>
              <a:gd name="T68" fmla="*/ 0 w 1280"/>
              <a:gd name="T69" fmla="*/ 1261 h 1827"/>
              <a:gd name="T70" fmla="*/ 606 w 1280"/>
              <a:gd name="T71" fmla="*/ 880 h 1827"/>
              <a:gd name="T72" fmla="*/ 658 w 1280"/>
              <a:gd name="T73" fmla="*/ 1157 h 1827"/>
              <a:gd name="T74" fmla="*/ 658 w 1280"/>
              <a:gd name="T75" fmla="*/ 1159 h 1827"/>
              <a:gd name="T76" fmla="*/ 644 w 1280"/>
              <a:gd name="T77" fmla="*/ 1193 h 1827"/>
              <a:gd name="T78" fmla="*/ 608 w 1280"/>
              <a:gd name="T79" fmla="*/ 1178 h 1827"/>
              <a:gd name="T80" fmla="*/ 563 w 1280"/>
              <a:gd name="T81" fmla="*/ 1117 h 1827"/>
              <a:gd name="T82" fmla="*/ 532 w 1280"/>
              <a:gd name="T83" fmla="*/ 1067 h 1827"/>
              <a:gd name="T84" fmla="*/ 388 w 1280"/>
              <a:gd name="T85" fmla="*/ 972 h 1827"/>
              <a:gd name="T86" fmla="*/ 298 w 1280"/>
              <a:gd name="T87" fmla="*/ 1105 h 1827"/>
              <a:gd name="T88" fmla="*/ 336 w 1280"/>
              <a:gd name="T89" fmla="*/ 1157 h 1827"/>
              <a:gd name="T90" fmla="*/ 357 w 1280"/>
              <a:gd name="T91" fmla="*/ 1219 h 1827"/>
              <a:gd name="T92" fmla="*/ 386 w 1280"/>
              <a:gd name="T93" fmla="*/ 821 h 1827"/>
              <a:gd name="T94" fmla="*/ 0 w 1280"/>
              <a:gd name="T95" fmla="*/ 437 h 1827"/>
              <a:gd name="T96" fmla="*/ 386 w 1280"/>
              <a:gd name="T97" fmla="*/ 821 h 1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80" h="1827">
                <a:moveTo>
                  <a:pt x="1013" y="1048"/>
                </a:moveTo>
                <a:cubicBezTo>
                  <a:pt x="1011" y="1048"/>
                  <a:pt x="1011" y="1048"/>
                  <a:pt x="1011" y="1048"/>
                </a:cubicBezTo>
                <a:cubicBezTo>
                  <a:pt x="977" y="1046"/>
                  <a:pt x="977" y="1046"/>
                  <a:pt x="977" y="1046"/>
                </a:cubicBezTo>
                <a:cubicBezTo>
                  <a:pt x="958" y="1013"/>
                  <a:pt x="958" y="1013"/>
                  <a:pt x="958" y="1013"/>
                </a:cubicBezTo>
                <a:cubicBezTo>
                  <a:pt x="954" y="1008"/>
                  <a:pt x="951" y="1003"/>
                  <a:pt x="947" y="998"/>
                </a:cubicBezTo>
                <a:cubicBezTo>
                  <a:pt x="918" y="975"/>
                  <a:pt x="885" y="961"/>
                  <a:pt x="847" y="961"/>
                </a:cubicBezTo>
                <a:cubicBezTo>
                  <a:pt x="814" y="968"/>
                  <a:pt x="814" y="968"/>
                  <a:pt x="814" y="968"/>
                </a:cubicBezTo>
                <a:cubicBezTo>
                  <a:pt x="814" y="965"/>
                  <a:pt x="814" y="965"/>
                  <a:pt x="814" y="965"/>
                </a:cubicBezTo>
                <a:cubicBezTo>
                  <a:pt x="814" y="963"/>
                  <a:pt x="814" y="963"/>
                  <a:pt x="814" y="963"/>
                </a:cubicBezTo>
                <a:cubicBezTo>
                  <a:pt x="710" y="572"/>
                  <a:pt x="710" y="572"/>
                  <a:pt x="710" y="572"/>
                </a:cubicBezTo>
                <a:cubicBezTo>
                  <a:pt x="696" y="523"/>
                  <a:pt x="672" y="523"/>
                  <a:pt x="644" y="527"/>
                </a:cubicBezTo>
                <a:cubicBezTo>
                  <a:pt x="644" y="527"/>
                  <a:pt x="589" y="535"/>
                  <a:pt x="601" y="594"/>
                </a:cubicBezTo>
                <a:cubicBezTo>
                  <a:pt x="703" y="1140"/>
                  <a:pt x="703" y="1140"/>
                  <a:pt x="703" y="1140"/>
                </a:cubicBezTo>
                <a:cubicBezTo>
                  <a:pt x="703" y="1148"/>
                  <a:pt x="705" y="1152"/>
                  <a:pt x="705" y="1159"/>
                </a:cubicBezTo>
                <a:cubicBezTo>
                  <a:pt x="705" y="1183"/>
                  <a:pt x="696" y="1207"/>
                  <a:pt x="679" y="1226"/>
                </a:cubicBezTo>
                <a:cubicBezTo>
                  <a:pt x="674" y="1233"/>
                  <a:pt x="667" y="1238"/>
                  <a:pt x="663" y="1238"/>
                </a:cubicBezTo>
                <a:cubicBezTo>
                  <a:pt x="632" y="1242"/>
                  <a:pt x="603" y="1235"/>
                  <a:pt x="577" y="1216"/>
                </a:cubicBezTo>
                <a:cubicBezTo>
                  <a:pt x="547" y="1193"/>
                  <a:pt x="525" y="1143"/>
                  <a:pt x="504" y="1112"/>
                </a:cubicBezTo>
                <a:cubicBezTo>
                  <a:pt x="492" y="1093"/>
                  <a:pt x="483" y="1072"/>
                  <a:pt x="468" y="1055"/>
                </a:cubicBezTo>
                <a:cubicBezTo>
                  <a:pt x="440" y="1027"/>
                  <a:pt x="383" y="1003"/>
                  <a:pt x="348" y="1032"/>
                </a:cubicBezTo>
                <a:cubicBezTo>
                  <a:pt x="338" y="1041"/>
                  <a:pt x="326" y="1065"/>
                  <a:pt x="336" y="1077"/>
                </a:cubicBezTo>
                <a:cubicBezTo>
                  <a:pt x="350" y="1096"/>
                  <a:pt x="369" y="1117"/>
                  <a:pt x="378" y="1138"/>
                </a:cubicBezTo>
                <a:cubicBezTo>
                  <a:pt x="388" y="1155"/>
                  <a:pt x="393" y="1174"/>
                  <a:pt x="400" y="1193"/>
                </a:cubicBezTo>
                <a:cubicBezTo>
                  <a:pt x="404" y="1204"/>
                  <a:pt x="407" y="1235"/>
                  <a:pt x="416" y="1245"/>
                </a:cubicBezTo>
                <a:cubicBezTo>
                  <a:pt x="426" y="1254"/>
                  <a:pt x="435" y="1273"/>
                  <a:pt x="442" y="1285"/>
                </a:cubicBezTo>
                <a:cubicBezTo>
                  <a:pt x="459" y="1311"/>
                  <a:pt x="483" y="1339"/>
                  <a:pt x="492" y="1368"/>
                </a:cubicBezTo>
                <a:cubicBezTo>
                  <a:pt x="525" y="1415"/>
                  <a:pt x="539" y="1477"/>
                  <a:pt x="575" y="1522"/>
                </a:cubicBezTo>
                <a:cubicBezTo>
                  <a:pt x="620" y="1576"/>
                  <a:pt x="663" y="1628"/>
                  <a:pt x="729" y="1659"/>
                </a:cubicBezTo>
                <a:cubicBezTo>
                  <a:pt x="752" y="1673"/>
                  <a:pt x="769" y="1692"/>
                  <a:pt x="783" y="1713"/>
                </a:cubicBezTo>
                <a:cubicBezTo>
                  <a:pt x="805" y="1827"/>
                  <a:pt x="805" y="1827"/>
                  <a:pt x="805" y="1827"/>
                </a:cubicBezTo>
                <a:cubicBezTo>
                  <a:pt x="887" y="1813"/>
                  <a:pt x="1224" y="1756"/>
                  <a:pt x="1259" y="1749"/>
                </a:cubicBezTo>
                <a:cubicBezTo>
                  <a:pt x="1238" y="1652"/>
                  <a:pt x="1238" y="1652"/>
                  <a:pt x="1238" y="1652"/>
                </a:cubicBezTo>
                <a:cubicBezTo>
                  <a:pt x="1235" y="1649"/>
                  <a:pt x="1235" y="1649"/>
                  <a:pt x="1235" y="1649"/>
                </a:cubicBezTo>
                <a:cubicBezTo>
                  <a:pt x="1245" y="1626"/>
                  <a:pt x="1250" y="1600"/>
                  <a:pt x="1257" y="1576"/>
                </a:cubicBezTo>
                <a:cubicBezTo>
                  <a:pt x="1262" y="1555"/>
                  <a:pt x="1266" y="1536"/>
                  <a:pt x="1266" y="1514"/>
                </a:cubicBezTo>
                <a:cubicBezTo>
                  <a:pt x="1269" y="1462"/>
                  <a:pt x="1271" y="1408"/>
                  <a:pt x="1273" y="1354"/>
                </a:cubicBezTo>
                <a:cubicBezTo>
                  <a:pt x="1273" y="1344"/>
                  <a:pt x="1273" y="1335"/>
                  <a:pt x="1276" y="1325"/>
                </a:cubicBezTo>
                <a:cubicBezTo>
                  <a:pt x="1280" y="1294"/>
                  <a:pt x="1262" y="1211"/>
                  <a:pt x="1198" y="1207"/>
                </a:cubicBezTo>
                <a:cubicBezTo>
                  <a:pt x="1195" y="1207"/>
                  <a:pt x="1195" y="1207"/>
                  <a:pt x="1195" y="1204"/>
                </a:cubicBezTo>
                <a:cubicBezTo>
                  <a:pt x="1179" y="1171"/>
                  <a:pt x="1157" y="1140"/>
                  <a:pt x="1131" y="1112"/>
                </a:cubicBezTo>
                <a:cubicBezTo>
                  <a:pt x="1101" y="1079"/>
                  <a:pt x="1058" y="1055"/>
                  <a:pt x="1013" y="1048"/>
                </a:cubicBezTo>
                <a:close/>
                <a:moveTo>
                  <a:pt x="826" y="381"/>
                </a:moveTo>
                <a:cubicBezTo>
                  <a:pt x="442" y="381"/>
                  <a:pt x="442" y="381"/>
                  <a:pt x="442" y="381"/>
                </a:cubicBezTo>
                <a:cubicBezTo>
                  <a:pt x="442" y="0"/>
                  <a:pt x="442" y="0"/>
                  <a:pt x="442" y="0"/>
                </a:cubicBezTo>
                <a:cubicBezTo>
                  <a:pt x="826" y="0"/>
                  <a:pt x="826" y="0"/>
                  <a:pt x="826" y="0"/>
                </a:cubicBezTo>
                <a:cubicBezTo>
                  <a:pt x="826" y="381"/>
                  <a:pt x="826" y="381"/>
                  <a:pt x="826" y="381"/>
                </a:cubicBezTo>
                <a:cubicBezTo>
                  <a:pt x="826" y="381"/>
                  <a:pt x="826" y="381"/>
                  <a:pt x="826" y="381"/>
                </a:cubicBezTo>
                <a:close/>
                <a:moveTo>
                  <a:pt x="386" y="381"/>
                </a:moveTo>
                <a:cubicBezTo>
                  <a:pt x="0" y="381"/>
                  <a:pt x="0" y="381"/>
                  <a:pt x="0" y="381"/>
                </a:cubicBezTo>
                <a:cubicBezTo>
                  <a:pt x="0" y="0"/>
                  <a:pt x="0" y="0"/>
                  <a:pt x="0" y="0"/>
                </a:cubicBezTo>
                <a:cubicBezTo>
                  <a:pt x="386" y="0"/>
                  <a:pt x="386" y="0"/>
                  <a:pt x="386" y="0"/>
                </a:cubicBezTo>
                <a:cubicBezTo>
                  <a:pt x="386" y="381"/>
                  <a:pt x="386" y="381"/>
                  <a:pt x="386" y="381"/>
                </a:cubicBezTo>
                <a:cubicBezTo>
                  <a:pt x="386" y="381"/>
                  <a:pt x="386" y="381"/>
                  <a:pt x="386" y="381"/>
                </a:cubicBezTo>
                <a:close/>
                <a:moveTo>
                  <a:pt x="594" y="821"/>
                </a:moveTo>
                <a:cubicBezTo>
                  <a:pt x="442" y="821"/>
                  <a:pt x="442" y="821"/>
                  <a:pt x="442" y="821"/>
                </a:cubicBezTo>
                <a:cubicBezTo>
                  <a:pt x="442" y="437"/>
                  <a:pt x="442" y="437"/>
                  <a:pt x="442" y="437"/>
                </a:cubicBezTo>
                <a:cubicBezTo>
                  <a:pt x="826" y="437"/>
                  <a:pt x="826" y="437"/>
                  <a:pt x="826" y="437"/>
                </a:cubicBezTo>
                <a:cubicBezTo>
                  <a:pt x="826" y="821"/>
                  <a:pt x="826" y="821"/>
                  <a:pt x="826" y="821"/>
                </a:cubicBezTo>
                <a:cubicBezTo>
                  <a:pt x="826" y="821"/>
                  <a:pt x="826" y="821"/>
                  <a:pt x="826" y="821"/>
                </a:cubicBezTo>
                <a:cubicBezTo>
                  <a:pt x="755" y="561"/>
                  <a:pt x="755" y="561"/>
                  <a:pt x="755" y="561"/>
                </a:cubicBezTo>
                <a:cubicBezTo>
                  <a:pt x="755" y="561"/>
                  <a:pt x="755" y="561"/>
                  <a:pt x="755" y="561"/>
                </a:cubicBezTo>
                <a:cubicBezTo>
                  <a:pt x="755" y="561"/>
                  <a:pt x="755" y="561"/>
                  <a:pt x="755" y="561"/>
                </a:cubicBezTo>
                <a:cubicBezTo>
                  <a:pt x="736" y="492"/>
                  <a:pt x="693" y="478"/>
                  <a:pt x="663" y="478"/>
                </a:cubicBezTo>
                <a:cubicBezTo>
                  <a:pt x="653" y="478"/>
                  <a:pt x="644" y="478"/>
                  <a:pt x="636" y="480"/>
                </a:cubicBezTo>
                <a:cubicBezTo>
                  <a:pt x="627" y="482"/>
                  <a:pt x="591" y="490"/>
                  <a:pt x="570" y="520"/>
                </a:cubicBezTo>
                <a:cubicBezTo>
                  <a:pt x="558" y="537"/>
                  <a:pt x="547" y="563"/>
                  <a:pt x="554" y="601"/>
                </a:cubicBezTo>
                <a:cubicBezTo>
                  <a:pt x="594" y="821"/>
                  <a:pt x="594" y="821"/>
                  <a:pt x="594" y="821"/>
                </a:cubicBezTo>
                <a:cubicBezTo>
                  <a:pt x="594" y="821"/>
                  <a:pt x="594" y="821"/>
                  <a:pt x="594" y="821"/>
                </a:cubicBezTo>
                <a:close/>
                <a:moveTo>
                  <a:pt x="371" y="1261"/>
                </a:moveTo>
                <a:cubicBezTo>
                  <a:pt x="0" y="1261"/>
                  <a:pt x="0" y="1261"/>
                  <a:pt x="0" y="1261"/>
                </a:cubicBezTo>
                <a:cubicBezTo>
                  <a:pt x="0" y="880"/>
                  <a:pt x="0" y="880"/>
                  <a:pt x="0" y="880"/>
                </a:cubicBezTo>
                <a:cubicBezTo>
                  <a:pt x="606" y="880"/>
                  <a:pt x="606" y="880"/>
                  <a:pt x="606" y="880"/>
                </a:cubicBezTo>
                <a:cubicBezTo>
                  <a:pt x="655" y="1150"/>
                  <a:pt x="655" y="1150"/>
                  <a:pt x="655" y="1150"/>
                </a:cubicBezTo>
                <a:cubicBezTo>
                  <a:pt x="655" y="1152"/>
                  <a:pt x="658" y="1155"/>
                  <a:pt x="658" y="1157"/>
                </a:cubicBezTo>
                <a:cubicBezTo>
                  <a:pt x="658" y="1157"/>
                  <a:pt x="658" y="1157"/>
                  <a:pt x="658" y="1157"/>
                </a:cubicBezTo>
                <a:cubicBezTo>
                  <a:pt x="658" y="1159"/>
                  <a:pt x="658" y="1159"/>
                  <a:pt x="658" y="1159"/>
                </a:cubicBezTo>
                <a:cubicBezTo>
                  <a:pt x="658" y="1171"/>
                  <a:pt x="653" y="1181"/>
                  <a:pt x="646" y="1193"/>
                </a:cubicBezTo>
                <a:cubicBezTo>
                  <a:pt x="644" y="1193"/>
                  <a:pt x="644" y="1193"/>
                  <a:pt x="644" y="1193"/>
                </a:cubicBezTo>
                <a:cubicBezTo>
                  <a:pt x="632" y="1193"/>
                  <a:pt x="620" y="1188"/>
                  <a:pt x="608" y="1178"/>
                </a:cubicBezTo>
                <a:cubicBezTo>
                  <a:pt x="608" y="1178"/>
                  <a:pt x="608" y="1178"/>
                  <a:pt x="608" y="1178"/>
                </a:cubicBezTo>
                <a:cubicBezTo>
                  <a:pt x="608" y="1178"/>
                  <a:pt x="608" y="1178"/>
                  <a:pt x="608" y="1178"/>
                </a:cubicBezTo>
                <a:cubicBezTo>
                  <a:pt x="591" y="1167"/>
                  <a:pt x="577" y="1140"/>
                  <a:pt x="563" y="1117"/>
                </a:cubicBezTo>
                <a:cubicBezTo>
                  <a:pt x="556" y="1107"/>
                  <a:pt x="551" y="1096"/>
                  <a:pt x="544" y="1086"/>
                </a:cubicBezTo>
                <a:cubicBezTo>
                  <a:pt x="539" y="1079"/>
                  <a:pt x="537" y="1074"/>
                  <a:pt x="532" y="1067"/>
                </a:cubicBezTo>
                <a:cubicBezTo>
                  <a:pt x="525" y="1053"/>
                  <a:pt x="516" y="1036"/>
                  <a:pt x="502" y="1022"/>
                </a:cubicBezTo>
                <a:cubicBezTo>
                  <a:pt x="473" y="991"/>
                  <a:pt x="428" y="972"/>
                  <a:pt x="388" y="972"/>
                </a:cubicBezTo>
                <a:cubicBezTo>
                  <a:pt x="362" y="972"/>
                  <a:pt x="338" y="980"/>
                  <a:pt x="319" y="994"/>
                </a:cubicBezTo>
                <a:cubicBezTo>
                  <a:pt x="293" y="1017"/>
                  <a:pt x="270" y="1069"/>
                  <a:pt x="298" y="1105"/>
                </a:cubicBezTo>
                <a:cubicBezTo>
                  <a:pt x="303" y="1110"/>
                  <a:pt x="305" y="1114"/>
                  <a:pt x="310" y="1119"/>
                </a:cubicBezTo>
                <a:cubicBezTo>
                  <a:pt x="319" y="1133"/>
                  <a:pt x="331" y="1148"/>
                  <a:pt x="336" y="1157"/>
                </a:cubicBezTo>
                <a:cubicBezTo>
                  <a:pt x="343" y="1174"/>
                  <a:pt x="350" y="1193"/>
                  <a:pt x="355" y="1207"/>
                </a:cubicBezTo>
                <a:cubicBezTo>
                  <a:pt x="355" y="1209"/>
                  <a:pt x="357" y="1214"/>
                  <a:pt x="357" y="1219"/>
                </a:cubicBezTo>
                <a:cubicBezTo>
                  <a:pt x="359" y="1233"/>
                  <a:pt x="364" y="1247"/>
                  <a:pt x="371" y="1261"/>
                </a:cubicBezTo>
                <a:close/>
                <a:moveTo>
                  <a:pt x="386" y="821"/>
                </a:moveTo>
                <a:cubicBezTo>
                  <a:pt x="0" y="821"/>
                  <a:pt x="0" y="821"/>
                  <a:pt x="0" y="821"/>
                </a:cubicBezTo>
                <a:cubicBezTo>
                  <a:pt x="0" y="437"/>
                  <a:pt x="0" y="437"/>
                  <a:pt x="0" y="437"/>
                </a:cubicBezTo>
                <a:cubicBezTo>
                  <a:pt x="386" y="437"/>
                  <a:pt x="386" y="437"/>
                  <a:pt x="386" y="437"/>
                </a:cubicBezTo>
                <a:cubicBezTo>
                  <a:pt x="386" y="821"/>
                  <a:pt x="386" y="821"/>
                  <a:pt x="386" y="821"/>
                </a:cubicBezTo>
                <a:cubicBezTo>
                  <a:pt x="386" y="821"/>
                  <a:pt x="386" y="821"/>
                  <a:pt x="386" y="821"/>
                </a:cubicBezTo>
                <a:close/>
              </a:path>
            </a:pathLst>
          </a:custGeom>
          <a:solidFill>
            <a:schemeClr val="accent1"/>
          </a:solidFill>
          <a:ln>
            <a:noFill/>
          </a:ln>
        </p:spPr>
        <p:txBody>
          <a:bodyPr vert="horz" wrap="square" lIns="89604" tIns="44802" rIns="89604" bIns="44802" numCol="1" anchor="t" anchorCtr="0" compatLnSpc="1">
            <a:prstTxWarp prst="textNoShape">
              <a:avLst/>
            </a:prstTxWarp>
          </a:bodyPr>
          <a:lstStyle/>
          <a:p>
            <a:pPr marL="0" marR="0" lvl="0" indent="0" defTabSz="913956" eaLnBrk="1" fontAlgn="auto" latinLnBrk="0" hangingPunct="1">
              <a:lnSpc>
                <a:spcPct val="100000"/>
              </a:lnSpc>
              <a:spcBef>
                <a:spcPts val="0"/>
              </a:spcBef>
              <a:spcAft>
                <a:spcPts val="0"/>
              </a:spcAft>
              <a:buClrTx/>
              <a:buSzTx/>
              <a:buFontTx/>
              <a:buNone/>
              <a:tabLst/>
              <a:defRPr/>
            </a:pPr>
            <a:endParaRPr kumimoji="0" lang="en-US" sz="1766" b="0" i="0" u="none" strike="noStrike" kern="0" cap="none" spc="0" normalizeH="0" baseline="0" noProof="0">
              <a:ln>
                <a:noFill/>
              </a:ln>
              <a:gradFill>
                <a:gsLst>
                  <a:gs pos="1250">
                    <a:schemeClr val="tx1"/>
                  </a:gs>
                  <a:gs pos="100000">
                    <a:schemeClr val="tx1"/>
                  </a:gs>
                </a:gsLst>
                <a:lin ang="5400000" scaled="0"/>
              </a:gradFill>
              <a:effectLst/>
              <a:uLnTx/>
              <a:uFillTx/>
              <a:ea typeface="MS PGothic" panose="020B0600070205080204" pitchFamily="34" charset="-128"/>
            </a:endParaRPr>
          </a:p>
        </p:txBody>
      </p:sp>
      <p:sp>
        <p:nvSpPr>
          <p:cNvPr id="27" name="TextBox 26"/>
          <p:cNvSpPr txBox="1"/>
          <p:nvPr/>
        </p:nvSpPr>
        <p:spPr>
          <a:xfrm>
            <a:off x="412738" y="5389393"/>
            <a:ext cx="1137202" cy="523220"/>
          </a:xfrm>
          <a:prstGeom prst="rect">
            <a:avLst/>
          </a:prstGeom>
          <a:noFill/>
        </p:spPr>
        <p:txBody>
          <a:bodyPr wrap="square">
            <a:spAutoFit/>
          </a:bodyPr>
          <a:lstStyle>
            <a:defPPr>
              <a:defRPr lang="en-US"/>
            </a:defPPr>
            <a:lvl1pPr defTabSz="896214">
              <a:defRPr sz="1400" kern="0">
                <a:gradFill>
                  <a:gsLst>
                    <a:gs pos="1250">
                      <a:schemeClr val="tx1"/>
                    </a:gs>
                    <a:gs pos="100000">
                      <a:schemeClr val="tx1"/>
                    </a:gs>
                  </a:gsLst>
                  <a:lin ang="5400000" scaled="0"/>
                </a:gradFill>
                <a:cs typeface="Segoe UI Semilight" panose="020B0402040204020203" pitchFamily="34" charset="0"/>
              </a:defRPr>
            </a:lvl1pPr>
          </a:lstStyle>
          <a:p>
            <a:pPr marL="0" marR="0" lvl="0" indent="0" algn="ctr" defTabSz="896214"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1250">
                      <a:schemeClr val="tx1"/>
                    </a:gs>
                    <a:gs pos="100000">
                      <a:schemeClr val="tx1"/>
                    </a:gs>
                  </a:gsLst>
                  <a:lin ang="5400000" scaled="0"/>
                </a:gradFill>
                <a:effectLst/>
                <a:uLnTx/>
                <a:uFillTx/>
                <a:cs typeface="Segoe UI Semilight" panose="020B0402040204020203" pitchFamily="34" charset="0"/>
              </a:rPr>
              <a:t>Sensors </a:t>
            </a:r>
            <a:br>
              <a:rPr kumimoji="0" lang="en-US" sz="1400" b="0" i="0" u="none" strike="noStrike" kern="0" cap="none" spc="0" normalizeH="0" baseline="0" noProof="0" dirty="0">
                <a:ln>
                  <a:noFill/>
                </a:ln>
                <a:gradFill>
                  <a:gsLst>
                    <a:gs pos="1250">
                      <a:schemeClr val="tx1"/>
                    </a:gs>
                    <a:gs pos="100000">
                      <a:schemeClr val="tx1"/>
                    </a:gs>
                  </a:gsLst>
                  <a:lin ang="5400000" scaled="0"/>
                </a:gradFill>
                <a:effectLst/>
                <a:uLnTx/>
                <a:uFillTx/>
                <a:cs typeface="Segoe UI Semilight" panose="020B0402040204020203" pitchFamily="34" charset="0"/>
              </a:rPr>
            </a:br>
            <a:r>
              <a:rPr kumimoji="0" lang="en-US" sz="1400" b="0" i="0" u="none" strike="noStrike" kern="0" cap="none" spc="0" normalizeH="0" baseline="0" noProof="0" dirty="0">
                <a:ln>
                  <a:noFill/>
                </a:ln>
                <a:gradFill>
                  <a:gsLst>
                    <a:gs pos="1250">
                      <a:schemeClr val="tx1"/>
                    </a:gs>
                    <a:gs pos="100000">
                      <a:schemeClr val="tx1"/>
                    </a:gs>
                  </a:gsLst>
                  <a:lin ang="5400000" scaled="0"/>
                </a:gradFill>
                <a:effectLst/>
                <a:uLnTx/>
                <a:uFillTx/>
                <a:cs typeface="Segoe UI Semilight" panose="020B0402040204020203" pitchFamily="34" charset="0"/>
              </a:rPr>
              <a:t>and devices</a:t>
            </a:r>
          </a:p>
        </p:txBody>
      </p:sp>
      <p:sp>
        <p:nvSpPr>
          <p:cNvPr id="28" name="Freeform 16"/>
          <p:cNvSpPr>
            <a:spLocks noChangeAspect="1" noEditPoints="1"/>
          </p:cNvSpPr>
          <p:nvPr/>
        </p:nvSpPr>
        <p:spPr bwMode="auto">
          <a:xfrm>
            <a:off x="698615" y="4863329"/>
            <a:ext cx="565449" cy="519924"/>
          </a:xfrm>
          <a:custGeom>
            <a:avLst/>
            <a:gdLst>
              <a:gd name="T0" fmla="*/ 363 w 400"/>
              <a:gd name="T1" fmla="*/ 0 h 367"/>
              <a:gd name="T2" fmla="*/ 38 w 400"/>
              <a:gd name="T3" fmla="*/ 0 h 367"/>
              <a:gd name="T4" fmla="*/ 0 w 400"/>
              <a:gd name="T5" fmla="*/ 37 h 367"/>
              <a:gd name="T6" fmla="*/ 0 w 400"/>
              <a:gd name="T7" fmla="*/ 255 h 367"/>
              <a:gd name="T8" fmla="*/ 38 w 400"/>
              <a:gd name="T9" fmla="*/ 292 h 367"/>
              <a:gd name="T10" fmla="*/ 184 w 400"/>
              <a:gd name="T11" fmla="*/ 292 h 367"/>
              <a:gd name="T12" fmla="*/ 230 w 400"/>
              <a:gd name="T13" fmla="*/ 335 h 367"/>
              <a:gd name="T14" fmla="*/ 230 w 400"/>
              <a:gd name="T15" fmla="*/ 367 h 367"/>
              <a:gd name="T16" fmla="*/ 328 w 400"/>
              <a:gd name="T17" fmla="*/ 367 h 367"/>
              <a:gd name="T18" fmla="*/ 328 w 400"/>
              <a:gd name="T19" fmla="*/ 292 h 367"/>
              <a:gd name="T20" fmla="*/ 363 w 400"/>
              <a:gd name="T21" fmla="*/ 292 h 367"/>
              <a:gd name="T22" fmla="*/ 400 w 400"/>
              <a:gd name="T23" fmla="*/ 255 h 367"/>
              <a:gd name="T24" fmla="*/ 400 w 400"/>
              <a:gd name="T25" fmla="*/ 37 h 367"/>
              <a:gd name="T26" fmla="*/ 363 w 400"/>
              <a:gd name="T27" fmla="*/ 0 h 367"/>
              <a:gd name="T28" fmla="*/ 361 w 400"/>
              <a:gd name="T29" fmla="*/ 253 h 367"/>
              <a:gd name="T30" fmla="*/ 328 w 400"/>
              <a:gd name="T31" fmla="*/ 253 h 367"/>
              <a:gd name="T32" fmla="*/ 328 w 400"/>
              <a:gd name="T33" fmla="*/ 197 h 367"/>
              <a:gd name="T34" fmla="*/ 305 w 400"/>
              <a:gd name="T35" fmla="*/ 197 h 367"/>
              <a:gd name="T36" fmla="*/ 305 w 400"/>
              <a:gd name="T37" fmla="*/ 219 h 367"/>
              <a:gd name="T38" fmla="*/ 298 w 400"/>
              <a:gd name="T39" fmla="*/ 219 h 367"/>
              <a:gd name="T40" fmla="*/ 298 w 400"/>
              <a:gd name="T41" fmla="*/ 180 h 367"/>
              <a:gd name="T42" fmla="*/ 275 w 400"/>
              <a:gd name="T43" fmla="*/ 180 h 367"/>
              <a:gd name="T44" fmla="*/ 275 w 400"/>
              <a:gd name="T45" fmla="*/ 219 h 367"/>
              <a:gd name="T46" fmla="*/ 269 w 400"/>
              <a:gd name="T47" fmla="*/ 219 h 367"/>
              <a:gd name="T48" fmla="*/ 269 w 400"/>
              <a:gd name="T49" fmla="*/ 166 h 367"/>
              <a:gd name="T50" fmla="*/ 245 w 400"/>
              <a:gd name="T51" fmla="*/ 166 h 367"/>
              <a:gd name="T52" fmla="*/ 245 w 400"/>
              <a:gd name="T53" fmla="*/ 219 h 367"/>
              <a:gd name="T54" fmla="*/ 239 w 400"/>
              <a:gd name="T55" fmla="*/ 219 h 367"/>
              <a:gd name="T56" fmla="*/ 239 w 400"/>
              <a:gd name="T57" fmla="*/ 111 h 367"/>
              <a:gd name="T58" fmla="*/ 216 w 400"/>
              <a:gd name="T59" fmla="*/ 111 h 367"/>
              <a:gd name="T60" fmla="*/ 216 w 400"/>
              <a:gd name="T61" fmla="*/ 249 h 367"/>
              <a:gd name="T62" fmla="*/ 208 w 400"/>
              <a:gd name="T63" fmla="*/ 249 h 367"/>
              <a:gd name="T64" fmla="*/ 208 w 400"/>
              <a:gd name="T65" fmla="*/ 197 h 367"/>
              <a:gd name="T66" fmla="*/ 183 w 400"/>
              <a:gd name="T67" fmla="*/ 197 h 367"/>
              <a:gd name="T68" fmla="*/ 183 w 400"/>
              <a:gd name="T69" fmla="*/ 253 h 367"/>
              <a:gd name="T70" fmla="*/ 39 w 400"/>
              <a:gd name="T71" fmla="*/ 253 h 367"/>
              <a:gd name="T72" fmla="*/ 39 w 400"/>
              <a:gd name="T73" fmla="*/ 39 h 367"/>
              <a:gd name="T74" fmla="*/ 361 w 400"/>
              <a:gd name="T75" fmla="*/ 39 h 367"/>
              <a:gd name="T76" fmla="*/ 361 w 400"/>
              <a:gd name="T77" fmla="*/ 253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0" h="367">
                <a:moveTo>
                  <a:pt x="363" y="0"/>
                </a:moveTo>
                <a:cubicBezTo>
                  <a:pt x="38" y="0"/>
                  <a:pt x="38" y="0"/>
                  <a:pt x="38" y="0"/>
                </a:cubicBezTo>
                <a:cubicBezTo>
                  <a:pt x="17" y="0"/>
                  <a:pt x="0" y="16"/>
                  <a:pt x="0" y="37"/>
                </a:cubicBezTo>
                <a:cubicBezTo>
                  <a:pt x="0" y="255"/>
                  <a:pt x="0" y="255"/>
                  <a:pt x="0" y="255"/>
                </a:cubicBezTo>
                <a:cubicBezTo>
                  <a:pt x="0" y="275"/>
                  <a:pt x="17" y="292"/>
                  <a:pt x="38" y="292"/>
                </a:cubicBezTo>
                <a:cubicBezTo>
                  <a:pt x="184" y="292"/>
                  <a:pt x="184" y="292"/>
                  <a:pt x="184" y="292"/>
                </a:cubicBezTo>
                <a:cubicBezTo>
                  <a:pt x="191" y="310"/>
                  <a:pt x="230" y="335"/>
                  <a:pt x="230" y="335"/>
                </a:cubicBezTo>
                <a:cubicBezTo>
                  <a:pt x="230" y="367"/>
                  <a:pt x="230" y="367"/>
                  <a:pt x="230" y="367"/>
                </a:cubicBezTo>
                <a:cubicBezTo>
                  <a:pt x="328" y="367"/>
                  <a:pt x="328" y="367"/>
                  <a:pt x="328" y="367"/>
                </a:cubicBezTo>
                <a:cubicBezTo>
                  <a:pt x="328" y="292"/>
                  <a:pt x="328" y="292"/>
                  <a:pt x="328" y="292"/>
                </a:cubicBezTo>
                <a:cubicBezTo>
                  <a:pt x="363" y="292"/>
                  <a:pt x="363" y="292"/>
                  <a:pt x="363" y="292"/>
                </a:cubicBezTo>
                <a:cubicBezTo>
                  <a:pt x="384" y="292"/>
                  <a:pt x="400" y="275"/>
                  <a:pt x="400" y="255"/>
                </a:cubicBezTo>
                <a:cubicBezTo>
                  <a:pt x="400" y="37"/>
                  <a:pt x="400" y="37"/>
                  <a:pt x="400" y="37"/>
                </a:cubicBezTo>
                <a:cubicBezTo>
                  <a:pt x="400" y="16"/>
                  <a:pt x="384" y="0"/>
                  <a:pt x="363" y="0"/>
                </a:cubicBezTo>
                <a:close/>
                <a:moveTo>
                  <a:pt x="361" y="253"/>
                </a:moveTo>
                <a:cubicBezTo>
                  <a:pt x="328" y="253"/>
                  <a:pt x="328" y="253"/>
                  <a:pt x="328" y="253"/>
                </a:cubicBezTo>
                <a:cubicBezTo>
                  <a:pt x="328" y="197"/>
                  <a:pt x="328" y="197"/>
                  <a:pt x="328" y="197"/>
                </a:cubicBezTo>
                <a:cubicBezTo>
                  <a:pt x="328" y="181"/>
                  <a:pt x="305" y="181"/>
                  <a:pt x="305" y="197"/>
                </a:cubicBezTo>
                <a:cubicBezTo>
                  <a:pt x="305" y="219"/>
                  <a:pt x="305" y="219"/>
                  <a:pt x="305" y="219"/>
                </a:cubicBezTo>
                <a:cubicBezTo>
                  <a:pt x="305" y="222"/>
                  <a:pt x="298" y="222"/>
                  <a:pt x="298" y="219"/>
                </a:cubicBezTo>
                <a:cubicBezTo>
                  <a:pt x="298" y="180"/>
                  <a:pt x="298" y="180"/>
                  <a:pt x="298" y="180"/>
                </a:cubicBezTo>
                <a:cubicBezTo>
                  <a:pt x="298" y="165"/>
                  <a:pt x="275" y="165"/>
                  <a:pt x="275" y="180"/>
                </a:cubicBezTo>
                <a:cubicBezTo>
                  <a:pt x="275" y="219"/>
                  <a:pt x="275" y="219"/>
                  <a:pt x="275" y="219"/>
                </a:cubicBezTo>
                <a:cubicBezTo>
                  <a:pt x="275" y="222"/>
                  <a:pt x="269" y="222"/>
                  <a:pt x="269" y="219"/>
                </a:cubicBezTo>
                <a:cubicBezTo>
                  <a:pt x="269" y="166"/>
                  <a:pt x="269" y="166"/>
                  <a:pt x="269" y="166"/>
                </a:cubicBezTo>
                <a:cubicBezTo>
                  <a:pt x="269" y="150"/>
                  <a:pt x="245" y="150"/>
                  <a:pt x="245" y="166"/>
                </a:cubicBezTo>
                <a:cubicBezTo>
                  <a:pt x="245" y="219"/>
                  <a:pt x="245" y="219"/>
                  <a:pt x="245" y="219"/>
                </a:cubicBezTo>
                <a:cubicBezTo>
                  <a:pt x="245" y="222"/>
                  <a:pt x="239" y="222"/>
                  <a:pt x="239" y="219"/>
                </a:cubicBezTo>
                <a:cubicBezTo>
                  <a:pt x="239" y="111"/>
                  <a:pt x="239" y="111"/>
                  <a:pt x="239" y="111"/>
                </a:cubicBezTo>
                <a:cubicBezTo>
                  <a:pt x="239" y="96"/>
                  <a:pt x="216" y="96"/>
                  <a:pt x="216" y="111"/>
                </a:cubicBezTo>
                <a:cubicBezTo>
                  <a:pt x="216" y="249"/>
                  <a:pt x="216" y="249"/>
                  <a:pt x="216" y="249"/>
                </a:cubicBezTo>
                <a:cubicBezTo>
                  <a:pt x="216" y="252"/>
                  <a:pt x="208" y="252"/>
                  <a:pt x="208" y="249"/>
                </a:cubicBezTo>
                <a:cubicBezTo>
                  <a:pt x="208" y="197"/>
                  <a:pt x="208" y="197"/>
                  <a:pt x="208" y="197"/>
                </a:cubicBezTo>
                <a:cubicBezTo>
                  <a:pt x="208" y="178"/>
                  <a:pt x="183" y="179"/>
                  <a:pt x="183" y="197"/>
                </a:cubicBezTo>
                <a:cubicBezTo>
                  <a:pt x="183" y="253"/>
                  <a:pt x="183" y="253"/>
                  <a:pt x="183" y="253"/>
                </a:cubicBezTo>
                <a:cubicBezTo>
                  <a:pt x="39" y="253"/>
                  <a:pt x="39" y="253"/>
                  <a:pt x="39" y="253"/>
                </a:cubicBezTo>
                <a:cubicBezTo>
                  <a:pt x="39" y="39"/>
                  <a:pt x="39" y="39"/>
                  <a:pt x="39" y="39"/>
                </a:cubicBezTo>
                <a:cubicBezTo>
                  <a:pt x="361" y="39"/>
                  <a:pt x="361" y="39"/>
                  <a:pt x="361" y="39"/>
                </a:cubicBezTo>
                <a:cubicBezTo>
                  <a:pt x="361" y="253"/>
                  <a:pt x="361" y="253"/>
                  <a:pt x="361" y="253"/>
                </a:cubicBezTo>
                <a:close/>
              </a:path>
            </a:pathLst>
          </a:custGeom>
          <a:solidFill>
            <a:schemeClr val="accent1"/>
          </a:solidFill>
          <a:ln>
            <a:noFill/>
          </a:ln>
          <a:extLst/>
        </p:spPr>
        <p:txBody>
          <a:bodyPr vert="horz" wrap="square" lIns="89604" tIns="44802" rIns="89604" bIns="44802" numCol="1" anchor="t" anchorCtr="0" compatLnSpc="1">
            <a:prstTxWarp prst="textNoShape">
              <a:avLst/>
            </a:prstTxWarp>
          </a:bodyPr>
          <a:lstStyle/>
          <a:p>
            <a:pPr marL="0" marR="0" lvl="0" indent="0" defTabSz="913956" eaLnBrk="1" fontAlgn="auto" latinLnBrk="0" hangingPunct="1">
              <a:lnSpc>
                <a:spcPct val="100000"/>
              </a:lnSpc>
              <a:spcBef>
                <a:spcPts val="0"/>
              </a:spcBef>
              <a:spcAft>
                <a:spcPts val="0"/>
              </a:spcAft>
              <a:buClrTx/>
              <a:buSzTx/>
              <a:buFontTx/>
              <a:buNone/>
              <a:tabLst/>
              <a:defRPr/>
            </a:pPr>
            <a:endParaRPr kumimoji="0" lang="en-US" sz="1766" b="0" i="0" u="none" strike="noStrike" kern="0" cap="none" spc="0" normalizeH="0" baseline="0" noProof="0">
              <a:ln>
                <a:noFill/>
              </a:ln>
              <a:gradFill>
                <a:gsLst>
                  <a:gs pos="1250">
                    <a:schemeClr val="tx1"/>
                  </a:gs>
                  <a:gs pos="100000">
                    <a:schemeClr val="tx1"/>
                  </a:gs>
                </a:gsLst>
                <a:lin ang="5400000" scaled="0"/>
              </a:gradFill>
              <a:effectLst/>
              <a:uLnTx/>
              <a:uFillTx/>
              <a:ea typeface="MS PGothic" panose="020B0600070205080204" pitchFamily="34" charset="-128"/>
            </a:endParaRPr>
          </a:p>
        </p:txBody>
      </p:sp>
      <p:sp>
        <p:nvSpPr>
          <p:cNvPr id="34" name="Striped Right Arrow 33"/>
          <p:cNvSpPr/>
          <p:nvPr/>
        </p:nvSpPr>
        <p:spPr bwMode="auto">
          <a:xfrm>
            <a:off x="2161209" y="3575991"/>
            <a:ext cx="593228" cy="27698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spAutoFit/>
          </a:bodyPr>
          <a:lstStyle/>
          <a:p>
            <a:pPr marL="0" marR="0" lvl="0" indent="0" algn="ctr" defTabSz="913927"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tx2"/>
                </a:solidFill>
                <a:effectLst/>
                <a:uLnTx/>
                <a:uFillTx/>
              </a:rPr>
              <a:t>Events</a:t>
            </a:r>
          </a:p>
        </p:txBody>
      </p:sp>
      <p:sp>
        <p:nvSpPr>
          <p:cNvPr id="44" name="Striped Right Arrow 43"/>
          <p:cNvSpPr/>
          <p:nvPr/>
        </p:nvSpPr>
        <p:spPr bwMode="auto">
          <a:xfrm>
            <a:off x="5794566" y="3575991"/>
            <a:ext cx="593228" cy="27698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spAutoFit/>
          </a:bodyPr>
          <a:lstStyle/>
          <a:p>
            <a:pPr marL="0" marR="0" lvl="0" indent="0" algn="ctr" defTabSz="913927"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tx2"/>
                </a:solidFill>
                <a:effectLst/>
                <a:uLnTx/>
                <a:uFillTx/>
              </a:rPr>
              <a:t>Events</a:t>
            </a:r>
          </a:p>
        </p:txBody>
      </p:sp>
      <p:sp>
        <p:nvSpPr>
          <p:cNvPr id="39" name="Rectangle 38"/>
          <p:cNvSpPr/>
          <p:nvPr/>
        </p:nvSpPr>
        <p:spPr>
          <a:xfrm>
            <a:off x="7544522" y="2661770"/>
            <a:ext cx="1436419" cy="523220"/>
          </a:xfrm>
          <a:prstGeom prst="rect">
            <a:avLst/>
          </a:prstGeom>
        </p:spPr>
        <p:txBody>
          <a:bodyPr wrap="none">
            <a:spAutoFit/>
          </a:bodyPr>
          <a:lstStyle/>
          <a:p>
            <a:pPr marL="0" marR="0" lvl="0" indent="0" defTabSz="896156" eaLnBrk="1" fontAlgn="auto" latinLnBrk="0" hangingPunct="1">
              <a:lnSpc>
                <a:spcPct val="100000"/>
              </a:lnSpc>
              <a:spcBef>
                <a:spcPts val="0"/>
              </a:spcBef>
              <a:spcAft>
                <a:spcPts val="0"/>
              </a:spcAft>
              <a:buClrTx/>
              <a:buSzTx/>
              <a:buFontTx/>
              <a:buNone/>
              <a:tabLst/>
              <a:defRPr/>
            </a:pPr>
            <a:r>
              <a:rPr kumimoji="0" lang="en-US" sz="1400" b="0" i="0" u="none" strike="noStrike" kern="0" cap="none" spc="-29" normalizeH="0" baseline="0" noProof="0" dirty="0">
                <a:ln>
                  <a:noFill/>
                </a:ln>
                <a:gradFill>
                  <a:gsLst>
                    <a:gs pos="1250">
                      <a:schemeClr val="tx1"/>
                    </a:gs>
                    <a:gs pos="100000">
                      <a:schemeClr val="tx1"/>
                    </a:gs>
                  </a:gsLst>
                  <a:lin ang="5400000" scaled="0"/>
                </a:gradFill>
                <a:effectLst/>
                <a:uLnTx/>
                <a:uFillTx/>
                <a:ea typeface="MS PGothic" panose="020B0600070205080204" pitchFamily="34" charset="-128"/>
                <a:cs typeface="Segoe UI Semilight" panose="020B0402040204020203" pitchFamily="34" charset="0"/>
              </a:rPr>
              <a:t>Azure </a:t>
            </a:r>
          </a:p>
          <a:p>
            <a:pPr marL="0" marR="0" lvl="0" indent="0" defTabSz="896156" eaLnBrk="1" fontAlgn="auto" latinLnBrk="0" hangingPunct="1">
              <a:lnSpc>
                <a:spcPct val="100000"/>
              </a:lnSpc>
              <a:spcBef>
                <a:spcPts val="0"/>
              </a:spcBef>
              <a:spcAft>
                <a:spcPts val="0"/>
              </a:spcAft>
              <a:buClrTx/>
              <a:buSzTx/>
              <a:buFontTx/>
              <a:buNone/>
              <a:tabLst/>
              <a:defRPr/>
            </a:pPr>
            <a:r>
              <a:rPr kumimoji="0" lang="en-US" sz="1400" b="0" i="0" u="none" strike="noStrike" kern="0" cap="none" spc="-29" normalizeH="0" baseline="0" noProof="0" dirty="0">
                <a:ln>
                  <a:noFill/>
                </a:ln>
                <a:gradFill>
                  <a:gsLst>
                    <a:gs pos="1250">
                      <a:schemeClr val="tx1"/>
                    </a:gs>
                    <a:gs pos="100000">
                      <a:schemeClr val="tx1"/>
                    </a:gs>
                  </a:gsLst>
                  <a:lin ang="5400000" scaled="0"/>
                </a:gradFill>
                <a:effectLst/>
                <a:uLnTx/>
                <a:uFillTx/>
                <a:ea typeface="MS PGothic" panose="020B0600070205080204" pitchFamily="34" charset="-128"/>
                <a:cs typeface="Segoe UI Semilight" panose="020B0402040204020203" pitchFamily="34" charset="0"/>
              </a:rPr>
              <a:t>Stream Analytics</a:t>
            </a:r>
          </a:p>
        </p:txBody>
      </p:sp>
      <p:sp>
        <p:nvSpPr>
          <p:cNvPr id="41" name="Rectangle 40"/>
          <p:cNvSpPr/>
          <p:nvPr/>
        </p:nvSpPr>
        <p:spPr>
          <a:xfrm>
            <a:off x="7544522" y="4618850"/>
            <a:ext cx="1504228" cy="523220"/>
          </a:xfrm>
          <a:prstGeom prst="rect">
            <a:avLst/>
          </a:prstGeom>
        </p:spPr>
        <p:txBody>
          <a:bodyPr wrap="square">
            <a:spAutoFit/>
          </a:bodyPr>
          <a:lstStyle/>
          <a:p>
            <a:pPr marL="0" marR="0" lvl="0" indent="0" defTabSz="896156" eaLnBrk="1" fontAlgn="auto" latinLnBrk="0" hangingPunct="1">
              <a:lnSpc>
                <a:spcPct val="100000"/>
              </a:lnSpc>
              <a:spcBef>
                <a:spcPts val="0"/>
              </a:spcBef>
              <a:spcAft>
                <a:spcPts val="0"/>
              </a:spcAft>
              <a:buClrTx/>
              <a:buSzTx/>
              <a:buFontTx/>
              <a:buNone/>
              <a:tabLst/>
              <a:defRPr/>
            </a:pPr>
            <a:r>
              <a:rPr kumimoji="0" lang="en-US" sz="1400" b="0" i="0" u="none" strike="noStrike" kern="0" cap="none" spc="-29" normalizeH="0" baseline="0" noProof="0" dirty="0">
                <a:ln>
                  <a:noFill/>
                </a:ln>
                <a:gradFill>
                  <a:gsLst>
                    <a:gs pos="1250">
                      <a:schemeClr val="tx1"/>
                    </a:gs>
                    <a:gs pos="100000">
                      <a:schemeClr val="tx1"/>
                    </a:gs>
                  </a:gsLst>
                  <a:lin ang="5400000" scaled="0"/>
                </a:gradFill>
                <a:effectLst/>
                <a:uLnTx/>
                <a:uFillTx/>
                <a:ea typeface="MS PGothic" panose="020B0600070205080204" pitchFamily="34" charset="-128"/>
                <a:cs typeface="Segoe UI Semilight" panose="020B0402040204020203" pitchFamily="34" charset="0"/>
              </a:rPr>
              <a:t>Spark</a:t>
            </a:r>
            <a:r>
              <a:rPr kumimoji="0" lang="en-US" sz="1400" b="1" i="0" u="none" strike="noStrike" kern="0" cap="none" spc="-29" normalizeH="0" baseline="0" noProof="0" dirty="0">
                <a:ln>
                  <a:noFill/>
                </a:ln>
                <a:gradFill>
                  <a:gsLst>
                    <a:gs pos="1250">
                      <a:schemeClr val="tx1"/>
                    </a:gs>
                    <a:gs pos="100000">
                      <a:schemeClr val="tx1"/>
                    </a:gs>
                  </a:gsLst>
                  <a:lin ang="5400000" scaled="0"/>
                </a:gradFill>
                <a:effectLst/>
                <a:uLnTx/>
                <a:uFillTx/>
                <a:ea typeface="MS PGothic" panose="020B0600070205080204" pitchFamily="34" charset="-128"/>
                <a:cs typeface="Segoe UI Semilight" panose="020B0402040204020203" pitchFamily="34" charset="0"/>
              </a:rPr>
              <a:t/>
            </a:r>
            <a:br>
              <a:rPr kumimoji="0" lang="en-US" sz="1400" b="1" i="0" u="none" strike="noStrike" kern="0" cap="none" spc="-29" normalizeH="0" baseline="0" noProof="0" dirty="0">
                <a:ln>
                  <a:noFill/>
                </a:ln>
                <a:gradFill>
                  <a:gsLst>
                    <a:gs pos="1250">
                      <a:schemeClr val="tx1"/>
                    </a:gs>
                    <a:gs pos="100000">
                      <a:schemeClr val="tx1"/>
                    </a:gs>
                  </a:gsLst>
                  <a:lin ang="5400000" scaled="0"/>
                </a:gradFill>
                <a:effectLst/>
                <a:uLnTx/>
                <a:uFillTx/>
                <a:ea typeface="MS PGothic" panose="020B0600070205080204" pitchFamily="34" charset="-128"/>
                <a:cs typeface="Segoe UI Semilight" panose="020B0402040204020203" pitchFamily="34" charset="0"/>
              </a:rPr>
            </a:br>
            <a:r>
              <a:rPr kumimoji="0" lang="en-US" sz="1400" b="0" i="0" u="none" strike="noStrike" kern="0" cap="none" spc="-29" normalizeH="0" baseline="0" noProof="0" dirty="0">
                <a:ln>
                  <a:noFill/>
                </a:ln>
                <a:gradFill>
                  <a:gsLst>
                    <a:gs pos="1250">
                      <a:schemeClr val="tx1"/>
                    </a:gs>
                    <a:gs pos="100000">
                      <a:schemeClr val="tx1"/>
                    </a:gs>
                  </a:gsLst>
                  <a:lin ang="5400000" scaled="0"/>
                </a:gradFill>
                <a:effectLst/>
                <a:uLnTx/>
                <a:uFillTx/>
                <a:ea typeface="MS PGothic" panose="020B0600070205080204" pitchFamily="34" charset="-128"/>
                <a:cs typeface="Segoe UI Semilight" panose="020B0402040204020203" pitchFamily="34" charset="0"/>
              </a:rPr>
              <a:t>Streaming</a:t>
            </a:r>
          </a:p>
        </p:txBody>
      </p:sp>
      <p:sp>
        <p:nvSpPr>
          <p:cNvPr id="31" name="Rectangle 30"/>
          <p:cNvSpPr/>
          <p:nvPr/>
        </p:nvSpPr>
        <p:spPr>
          <a:xfrm>
            <a:off x="4110077" y="2839436"/>
            <a:ext cx="1143979" cy="523220"/>
          </a:xfrm>
          <a:prstGeom prst="rect">
            <a:avLst/>
          </a:prstGeom>
          <a:noFill/>
        </p:spPr>
        <p:txBody>
          <a:bodyPr wrap="square">
            <a:spAutoFit/>
          </a:bodyPr>
          <a:lstStyle/>
          <a:p>
            <a:pPr marL="0" marR="0" lvl="0" indent="0" defTabSz="896214"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1250">
                      <a:schemeClr val="tx1"/>
                    </a:gs>
                    <a:gs pos="100000">
                      <a:schemeClr val="tx1"/>
                    </a:gs>
                  </a:gsLst>
                  <a:lin ang="5400000" scaled="0"/>
                </a:gradFill>
                <a:effectLst/>
                <a:uLnTx/>
                <a:uFillTx/>
                <a:cs typeface="Segoe UI Semilight" panose="020B0402040204020203" pitchFamily="34" charset="0"/>
              </a:rPr>
              <a:t>Azure Event Hubs</a:t>
            </a:r>
            <a:endParaRPr kumimoji="0" lang="en-US" sz="1400" b="0" i="0" u="none" strike="noStrike" kern="0" cap="none" spc="0" normalizeH="0" baseline="0" noProof="0" dirty="0">
              <a:ln>
                <a:noFill/>
              </a:ln>
              <a:gradFill>
                <a:gsLst>
                  <a:gs pos="1250">
                    <a:schemeClr val="tx1"/>
                  </a:gs>
                  <a:gs pos="100000">
                    <a:schemeClr val="tx1"/>
                  </a:gs>
                </a:gsLst>
                <a:lin ang="5400000" scaled="0"/>
              </a:gradFill>
              <a:effectLst/>
              <a:uLnTx/>
              <a:uFillTx/>
            </a:endParaRPr>
          </a:p>
        </p:txBody>
      </p:sp>
      <p:sp>
        <p:nvSpPr>
          <p:cNvPr id="35" name="Rectangle 34"/>
          <p:cNvSpPr/>
          <p:nvPr/>
        </p:nvSpPr>
        <p:spPr>
          <a:xfrm>
            <a:off x="4110077" y="4333163"/>
            <a:ext cx="1245854" cy="523220"/>
          </a:xfrm>
          <a:prstGeom prst="rect">
            <a:avLst/>
          </a:prstGeom>
          <a:noFill/>
        </p:spPr>
        <p:txBody>
          <a:bodyPr wrap="square">
            <a:spAutoFit/>
          </a:bodyPr>
          <a:lstStyle/>
          <a:p>
            <a:pPr marL="0" marR="0" lvl="0" indent="0" defTabSz="896214"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gradFill>
                  <a:gsLst>
                    <a:gs pos="1250">
                      <a:schemeClr val="tx1"/>
                    </a:gs>
                    <a:gs pos="100000">
                      <a:schemeClr val="tx1"/>
                    </a:gs>
                  </a:gsLst>
                  <a:lin ang="5400000" scaled="0"/>
                </a:gradFill>
                <a:effectLst/>
                <a:uLnTx/>
                <a:uFillTx/>
                <a:cs typeface="Segoe UI Semilight" panose="020B0402040204020203" pitchFamily="34" charset="0"/>
              </a:rPr>
              <a:t>HDInsight</a:t>
            </a:r>
          </a:p>
          <a:p>
            <a:pPr marL="0" marR="0" lvl="0" indent="0" defTabSz="896214"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gradFill>
                  <a:gsLst>
                    <a:gs pos="1250">
                      <a:schemeClr val="tx1"/>
                    </a:gs>
                    <a:gs pos="100000">
                      <a:schemeClr val="tx1"/>
                    </a:gs>
                  </a:gsLst>
                  <a:lin ang="5400000" scaled="0"/>
                </a:gradFill>
                <a:effectLst/>
                <a:uLnTx/>
                <a:uFillTx/>
                <a:cs typeface="Segoe UI Semilight" panose="020B0402040204020203" pitchFamily="34" charset="0"/>
              </a:rPr>
              <a:t>Kafka</a:t>
            </a:r>
            <a:endParaRPr kumimoji="0" lang="en-US" sz="1400" b="1" i="0" u="none" strike="noStrike" kern="0" cap="none" spc="0" normalizeH="0" baseline="0" noProof="0" dirty="0">
              <a:ln>
                <a:noFill/>
              </a:ln>
              <a:gradFill>
                <a:gsLst>
                  <a:gs pos="1250">
                    <a:schemeClr val="tx1"/>
                  </a:gs>
                  <a:gs pos="100000">
                    <a:schemeClr val="tx1"/>
                  </a:gs>
                </a:gsLst>
                <a:lin ang="5400000" scaled="0"/>
              </a:gradFill>
              <a:effectLst/>
              <a:uLnTx/>
              <a:uFillTx/>
            </a:endParaRPr>
          </a:p>
        </p:txBody>
      </p:sp>
      <p:sp>
        <p:nvSpPr>
          <p:cNvPr id="9" name="TextBox 8"/>
          <p:cNvSpPr txBox="1"/>
          <p:nvPr/>
        </p:nvSpPr>
        <p:spPr>
          <a:xfrm>
            <a:off x="10578091" y="4968161"/>
            <a:ext cx="788936" cy="286232"/>
          </a:xfrm>
          <a:prstGeom prst="rect">
            <a:avLst/>
          </a:prstGeom>
          <a:noFill/>
        </p:spPr>
        <p:txBody>
          <a:bodyPr wrap="square" lIns="91440" tIns="45720" rIns="91440" bIns="45720" rtlCol="0">
            <a:spAutoFit/>
          </a:bodyPr>
          <a:lstStyle/>
          <a:p>
            <a:pPr marL="0" marR="0" lvl="0" indent="0" algn="ctr" defTabSz="914225"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dirty="0">
                <a:ln>
                  <a:noFill/>
                </a:ln>
                <a:gradFill>
                  <a:gsLst>
                    <a:gs pos="1250">
                      <a:schemeClr val="tx1"/>
                    </a:gs>
                    <a:gs pos="100000">
                      <a:schemeClr val="tx1"/>
                    </a:gs>
                  </a:gsLst>
                  <a:lin ang="5400000" scaled="0"/>
                </a:gradFill>
                <a:effectLst/>
                <a:uLnTx/>
                <a:uFillTx/>
              </a:rPr>
              <a:t>ADLS</a:t>
            </a:r>
          </a:p>
        </p:txBody>
      </p:sp>
      <p:sp>
        <p:nvSpPr>
          <p:cNvPr id="93" name="Striped Right Arrow 43"/>
          <p:cNvSpPr/>
          <p:nvPr/>
        </p:nvSpPr>
        <p:spPr bwMode="auto">
          <a:xfrm>
            <a:off x="9253666" y="3575991"/>
            <a:ext cx="593228" cy="27698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spAutoFit/>
          </a:bodyPr>
          <a:lstStyle/>
          <a:p>
            <a:pPr marL="0" marR="0" lvl="0" indent="0" algn="ctr" defTabSz="913927"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tx2"/>
                </a:solidFill>
                <a:effectLst/>
                <a:uLnTx/>
                <a:uFillTx/>
              </a:rPr>
              <a:t>Events</a:t>
            </a:r>
          </a:p>
        </p:txBody>
      </p:sp>
      <p:sp>
        <p:nvSpPr>
          <p:cNvPr id="100" name="TextBox 99"/>
          <p:cNvSpPr txBox="1"/>
          <p:nvPr/>
        </p:nvSpPr>
        <p:spPr>
          <a:xfrm>
            <a:off x="10524263" y="3235570"/>
            <a:ext cx="896592" cy="286232"/>
          </a:xfrm>
          <a:prstGeom prst="rect">
            <a:avLst/>
          </a:prstGeom>
          <a:noFill/>
        </p:spPr>
        <p:txBody>
          <a:bodyPr wrap="square" lIns="91440" tIns="45720" rIns="91440" bIns="45720" rtlCol="0">
            <a:spAutoFit/>
          </a:bodyPr>
          <a:lstStyle/>
          <a:p>
            <a:pPr marL="0" marR="0" lvl="0" indent="0" algn="ctr" defTabSz="914225"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dirty="0">
                <a:ln>
                  <a:noFill/>
                </a:ln>
                <a:gradFill>
                  <a:gsLst>
                    <a:gs pos="1250">
                      <a:schemeClr val="tx1"/>
                    </a:gs>
                    <a:gs pos="100000">
                      <a:schemeClr val="tx1"/>
                    </a:gs>
                  </a:gsLst>
                  <a:lin ang="5400000" scaled="0"/>
                </a:gradFill>
                <a:effectLst/>
                <a:uLnTx/>
                <a:uFillTx/>
              </a:rPr>
              <a:t>Power BI</a:t>
            </a:r>
          </a:p>
        </p:txBody>
      </p:sp>
      <p:sp>
        <p:nvSpPr>
          <p:cNvPr id="48" name="Freeform 5"/>
          <p:cNvSpPr>
            <a:spLocks noEditPoints="1"/>
          </p:cNvSpPr>
          <p:nvPr/>
        </p:nvSpPr>
        <p:spPr bwMode="auto">
          <a:xfrm>
            <a:off x="10625972" y="4352604"/>
            <a:ext cx="693174" cy="545523"/>
          </a:xfrm>
          <a:custGeom>
            <a:avLst/>
            <a:gdLst>
              <a:gd name="T0" fmla="*/ 3752 w 5983"/>
              <a:gd name="T1" fmla="*/ 2549 h 4697"/>
              <a:gd name="T2" fmla="*/ 2693 w 5983"/>
              <a:gd name="T3" fmla="*/ 4063 h 4697"/>
              <a:gd name="T4" fmla="*/ 2651 w 5983"/>
              <a:gd name="T5" fmla="*/ 4087 h 4697"/>
              <a:gd name="T6" fmla="*/ 2627 w 5983"/>
              <a:gd name="T7" fmla="*/ 4081 h 4697"/>
              <a:gd name="T8" fmla="*/ 2603 w 5983"/>
              <a:gd name="T9" fmla="*/ 4021 h 4697"/>
              <a:gd name="T10" fmla="*/ 2878 w 5983"/>
              <a:gd name="T11" fmla="*/ 3117 h 4697"/>
              <a:gd name="T12" fmla="*/ 2262 w 5983"/>
              <a:gd name="T13" fmla="*/ 3117 h 4697"/>
              <a:gd name="T14" fmla="*/ 2214 w 5983"/>
              <a:gd name="T15" fmla="*/ 3087 h 4697"/>
              <a:gd name="T16" fmla="*/ 2220 w 5983"/>
              <a:gd name="T17" fmla="*/ 3034 h 4697"/>
              <a:gd name="T18" fmla="*/ 3249 w 5983"/>
              <a:gd name="T19" fmla="*/ 1538 h 4697"/>
              <a:gd name="T20" fmla="*/ 3291 w 5983"/>
              <a:gd name="T21" fmla="*/ 1514 h 4697"/>
              <a:gd name="T22" fmla="*/ 3315 w 5983"/>
              <a:gd name="T23" fmla="*/ 1520 h 4697"/>
              <a:gd name="T24" fmla="*/ 3339 w 5983"/>
              <a:gd name="T25" fmla="*/ 1580 h 4697"/>
              <a:gd name="T26" fmla="*/ 3075 w 5983"/>
              <a:gd name="T27" fmla="*/ 2465 h 4697"/>
              <a:gd name="T28" fmla="*/ 3710 w 5983"/>
              <a:gd name="T29" fmla="*/ 2465 h 4697"/>
              <a:gd name="T30" fmla="*/ 3763 w 5983"/>
              <a:gd name="T31" fmla="*/ 2519 h 4697"/>
              <a:gd name="T32" fmla="*/ 3752 w 5983"/>
              <a:gd name="T33" fmla="*/ 2549 h 4697"/>
              <a:gd name="T34" fmla="*/ 5750 w 5983"/>
              <a:gd name="T35" fmla="*/ 754 h 4697"/>
              <a:gd name="T36" fmla="*/ 0 w 5983"/>
              <a:gd name="T37" fmla="*/ 754 h 4697"/>
              <a:gd name="T38" fmla="*/ 0 w 5983"/>
              <a:gd name="T39" fmla="*/ 4326 h 4697"/>
              <a:gd name="T40" fmla="*/ 371 w 5983"/>
              <a:gd name="T41" fmla="*/ 4697 h 4697"/>
              <a:gd name="T42" fmla="*/ 5612 w 5983"/>
              <a:gd name="T43" fmla="*/ 4697 h 4697"/>
              <a:gd name="T44" fmla="*/ 5983 w 5983"/>
              <a:gd name="T45" fmla="*/ 4326 h 4697"/>
              <a:gd name="T46" fmla="*/ 5983 w 5983"/>
              <a:gd name="T47" fmla="*/ 1095 h 4697"/>
              <a:gd name="T48" fmla="*/ 5750 w 5983"/>
              <a:gd name="T49" fmla="*/ 754 h 4697"/>
              <a:gd name="T50" fmla="*/ 3536 w 5983"/>
              <a:gd name="T51" fmla="*/ 485 h 4697"/>
              <a:gd name="T52" fmla="*/ 3363 w 5983"/>
              <a:gd name="T53" fmla="*/ 186 h 4697"/>
              <a:gd name="T54" fmla="*/ 3040 w 5983"/>
              <a:gd name="T55" fmla="*/ 0 h 4697"/>
              <a:gd name="T56" fmla="*/ 371 w 5983"/>
              <a:gd name="T57" fmla="*/ 0 h 4697"/>
              <a:gd name="T58" fmla="*/ 0 w 5983"/>
              <a:gd name="T59" fmla="*/ 371 h 4697"/>
              <a:gd name="T60" fmla="*/ 0 w 5983"/>
              <a:gd name="T61" fmla="*/ 563 h 4697"/>
              <a:gd name="T62" fmla="*/ 3602 w 5983"/>
              <a:gd name="T63" fmla="*/ 563 h 4697"/>
              <a:gd name="T64" fmla="*/ 3536 w 5983"/>
              <a:gd name="T65" fmla="*/ 485 h 4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83" h="4697">
                <a:moveTo>
                  <a:pt x="3752" y="2549"/>
                </a:moveTo>
                <a:lnTo>
                  <a:pt x="2693" y="4063"/>
                </a:lnTo>
                <a:cubicBezTo>
                  <a:pt x="2681" y="4075"/>
                  <a:pt x="2669" y="4087"/>
                  <a:pt x="2651" y="4087"/>
                </a:cubicBezTo>
                <a:cubicBezTo>
                  <a:pt x="2645" y="4087"/>
                  <a:pt x="2633" y="4087"/>
                  <a:pt x="2627" y="4081"/>
                </a:cubicBezTo>
                <a:cubicBezTo>
                  <a:pt x="2603" y="4069"/>
                  <a:pt x="2591" y="4045"/>
                  <a:pt x="2603" y="4021"/>
                </a:cubicBezTo>
                <a:lnTo>
                  <a:pt x="2878" y="3117"/>
                </a:lnTo>
                <a:lnTo>
                  <a:pt x="2262" y="3117"/>
                </a:lnTo>
                <a:cubicBezTo>
                  <a:pt x="2244" y="3117"/>
                  <a:pt x="2226" y="3105"/>
                  <a:pt x="2214" y="3087"/>
                </a:cubicBezTo>
                <a:cubicBezTo>
                  <a:pt x="2208" y="3070"/>
                  <a:pt x="2208" y="3052"/>
                  <a:pt x="2220" y="3034"/>
                </a:cubicBezTo>
                <a:lnTo>
                  <a:pt x="3249" y="1538"/>
                </a:lnTo>
                <a:cubicBezTo>
                  <a:pt x="3261" y="1526"/>
                  <a:pt x="3273" y="1514"/>
                  <a:pt x="3291" y="1514"/>
                </a:cubicBezTo>
                <a:cubicBezTo>
                  <a:pt x="3297" y="1514"/>
                  <a:pt x="3303" y="1514"/>
                  <a:pt x="3315" y="1520"/>
                </a:cubicBezTo>
                <a:cubicBezTo>
                  <a:pt x="3339" y="1532"/>
                  <a:pt x="3351" y="1556"/>
                  <a:pt x="3339" y="1580"/>
                </a:cubicBezTo>
                <a:lnTo>
                  <a:pt x="3075" y="2465"/>
                </a:lnTo>
                <a:lnTo>
                  <a:pt x="3710" y="2465"/>
                </a:lnTo>
                <a:cubicBezTo>
                  <a:pt x="3740" y="2465"/>
                  <a:pt x="3763" y="2489"/>
                  <a:pt x="3763" y="2519"/>
                </a:cubicBezTo>
                <a:cubicBezTo>
                  <a:pt x="3763" y="2531"/>
                  <a:pt x="3758" y="2537"/>
                  <a:pt x="3752" y="2549"/>
                </a:cubicBezTo>
                <a:close/>
                <a:moveTo>
                  <a:pt x="5750" y="754"/>
                </a:moveTo>
                <a:lnTo>
                  <a:pt x="0" y="754"/>
                </a:lnTo>
                <a:lnTo>
                  <a:pt x="0" y="4326"/>
                </a:lnTo>
                <a:cubicBezTo>
                  <a:pt x="0" y="4529"/>
                  <a:pt x="168" y="4697"/>
                  <a:pt x="371" y="4697"/>
                </a:cubicBezTo>
                <a:lnTo>
                  <a:pt x="5612" y="4697"/>
                </a:lnTo>
                <a:cubicBezTo>
                  <a:pt x="5816" y="4697"/>
                  <a:pt x="5983" y="4529"/>
                  <a:pt x="5983" y="4326"/>
                </a:cubicBezTo>
                <a:lnTo>
                  <a:pt x="5983" y="1095"/>
                </a:lnTo>
                <a:cubicBezTo>
                  <a:pt x="5983" y="946"/>
                  <a:pt x="5887" y="814"/>
                  <a:pt x="5750" y="754"/>
                </a:cubicBezTo>
                <a:close/>
                <a:moveTo>
                  <a:pt x="3536" y="485"/>
                </a:moveTo>
                <a:lnTo>
                  <a:pt x="3363" y="186"/>
                </a:lnTo>
                <a:cubicBezTo>
                  <a:pt x="3297" y="72"/>
                  <a:pt x="3171" y="0"/>
                  <a:pt x="3040" y="0"/>
                </a:cubicBezTo>
                <a:lnTo>
                  <a:pt x="371" y="0"/>
                </a:lnTo>
                <a:cubicBezTo>
                  <a:pt x="168" y="0"/>
                  <a:pt x="0" y="168"/>
                  <a:pt x="0" y="371"/>
                </a:cubicBezTo>
                <a:lnTo>
                  <a:pt x="0" y="563"/>
                </a:lnTo>
                <a:lnTo>
                  <a:pt x="3602" y="563"/>
                </a:lnTo>
                <a:cubicBezTo>
                  <a:pt x="3572" y="545"/>
                  <a:pt x="3554" y="515"/>
                  <a:pt x="3536" y="485"/>
                </a:cubicBezTo>
                <a:close/>
              </a:path>
            </a:pathLst>
          </a:custGeom>
          <a:solidFill>
            <a:schemeClr val="accent1"/>
          </a:solidFill>
          <a:ln w="0">
            <a:noFill/>
            <a:prstDash val="solid"/>
            <a:round/>
            <a:headEnd/>
            <a:tailEnd/>
          </a:ln>
        </p:spPr>
        <p:txBody>
          <a:bodyPr vert="horz" wrap="square" lIns="74702" tIns="37351" rIns="74702" bIns="37351" numCol="1" anchor="t" anchorCtr="0" compatLnSpc="1">
            <a:prstTxWarp prst="textNoShape">
              <a:avLst/>
            </a:prstTxWarp>
          </a:bodyPr>
          <a:lstStyle/>
          <a:p>
            <a:pPr marL="0" marR="0" lvl="0" indent="0" defTabSz="89635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prstClr val="white"/>
              </a:solidFill>
              <a:effectLst/>
              <a:uLnTx/>
              <a:uFillTx/>
            </a:endParaRPr>
          </a:p>
        </p:txBody>
      </p:sp>
      <p:sp>
        <p:nvSpPr>
          <p:cNvPr id="49" name="Freeform 271"/>
          <p:cNvSpPr/>
          <p:nvPr/>
        </p:nvSpPr>
        <p:spPr>
          <a:xfrm>
            <a:off x="10646410" y="2692505"/>
            <a:ext cx="652299" cy="492485"/>
          </a:xfrm>
          <a:custGeom>
            <a:avLst/>
            <a:gdLst>
              <a:gd name="connsiteX0" fmla="*/ 1765758 w 7620000"/>
              <a:gd name="connsiteY0" fmla="*/ 3905250 h 5753101"/>
              <a:gd name="connsiteX1" fmla="*/ 2193023 w 7620000"/>
              <a:gd name="connsiteY1" fmla="*/ 4332515 h 5753101"/>
              <a:gd name="connsiteX2" fmla="*/ 2193022 w 7620000"/>
              <a:gd name="connsiteY2" fmla="*/ 5325836 h 5753101"/>
              <a:gd name="connsiteX3" fmla="*/ 1765757 w 7620000"/>
              <a:gd name="connsiteY3" fmla="*/ 5753101 h 5753101"/>
              <a:gd name="connsiteX4" fmla="*/ 1765758 w 7620000"/>
              <a:gd name="connsiteY4" fmla="*/ 5753100 h 5753101"/>
              <a:gd name="connsiteX5" fmla="*/ 1338493 w 7620000"/>
              <a:gd name="connsiteY5" fmla="*/ 5325835 h 5753101"/>
              <a:gd name="connsiteX6" fmla="*/ 1338493 w 7620000"/>
              <a:gd name="connsiteY6" fmla="*/ 4332515 h 5753101"/>
              <a:gd name="connsiteX7" fmla="*/ 1765758 w 7620000"/>
              <a:gd name="connsiteY7" fmla="*/ 3905250 h 5753101"/>
              <a:gd name="connsiteX8" fmla="*/ 4501698 w 7620000"/>
              <a:gd name="connsiteY8" fmla="*/ 2990850 h 5753101"/>
              <a:gd name="connsiteX9" fmla="*/ 4928963 w 7620000"/>
              <a:gd name="connsiteY9" fmla="*/ 3418115 h 5753101"/>
              <a:gd name="connsiteX10" fmla="*/ 4928962 w 7620000"/>
              <a:gd name="connsiteY10" fmla="*/ 5325836 h 5753101"/>
              <a:gd name="connsiteX11" fmla="*/ 4501697 w 7620000"/>
              <a:gd name="connsiteY11" fmla="*/ 5753101 h 5753101"/>
              <a:gd name="connsiteX12" fmla="*/ 4501698 w 7620000"/>
              <a:gd name="connsiteY12" fmla="*/ 5753100 h 5753101"/>
              <a:gd name="connsiteX13" fmla="*/ 4074433 w 7620000"/>
              <a:gd name="connsiteY13" fmla="*/ 5325835 h 5753101"/>
              <a:gd name="connsiteX14" fmla="*/ 4074433 w 7620000"/>
              <a:gd name="connsiteY14" fmla="*/ 3418115 h 5753101"/>
              <a:gd name="connsiteX15" fmla="*/ 4501698 w 7620000"/>
              <a:gd name="connsiteY15" fmla="*/ 2990850 h 5753101"/>
              <a:gd name="connsiteX16" fmla="*/ 3133728 w 7620000"/>
              <a:gd name="connsiteY16" fmla="*/ 2352675 h 5753101"/>
              <a:gd name="connsiteX17" fmla="*/ 3560993 w 7620000"/>
              <a:gd name="connsiteY17" fmla="*/ 2779940 h 5753101"/>
              <a:gd name="connsiteX18" fmla="*/ 3560992 w 7620000"/>
              <a:gd name="connsiteY18" fmla="*/ 5325836 h 5753101"/>
              <a:gd name="connsiteX19" fmla="*/ 3133727 w 7620000"/>
              <a:gd name="connsiteY19" fmla="*/ 5753101 h 5753101"/>
              <a:gd name="connsiteX20" fmla="*/ 3133728 w 7620000"/>
              <a:gd name="connsiteY20" fmla="*/ 5753100 h 5753101"/>
              <a:gd name="connsiteX21" fmla="*/ 2706463 w 7620000"/>
              <a:gd name="connsiteY21" fmla="*/ 5325835 h 5753101"/>
              <a:gd name="connsiteX22" fmla="*/ 2706463 w 7620000"/>
              <a:gd name="connsiteY22" fmla="*/ 2779940 h 5753101"/>
              <a:gd name="connsiteX23" fmla="*/ 3133728 w 7620000"/>
              <a:gd name="connsiteY23" fmla="*/ 2352675 h 5753101"/>
              <a:gd name="connsiteX24" fmla="*/ 5846990 w 7620000"/>
              <a:gd name="connsiteY24" fmla="*/ 1247321 h 5753101"/>
              <a:gd name="connsiteX25" fmla="*/ 6274255 w 7620000"/>
              <a:gd name="connsiteY25" fmla="*/ 1674586 h 5753101"/>
              <a:gd name="connsiteX26" fmla="*/ 6274254 w 7620000"/>
              <a:gd name="connsiteY26" fmla="*/ 5325836 h 5753101"/>
              <a:gd name="connsiteX27" fmla="*/ 5846989 w 7620000"/>
              <a:gd name="connsiteY27" fmla="*/ 5753101 h 5753101"/>
              <a:gd name="connsiteX28" fmla="*/ 5846990 w 7620000"/>
              <a:gd name="connsiteY28" fmla="*/ 5753100 h 5753101"/>
              <a:gd name="connsiteX29" fmla="*/ 5419725 w 7620000"/>
              <a:gd name="connsiteY29" fmla="*/ 5325835 h 5753101"/>
              <a:gd name="connsiteX30" fmla="*/ 5419725 w 7620000"/>
              <a:gd name="connsiteY30" fmla="*/ 1674586 h 5753101"/>
              <a:gd name="connsiteX31" fmla="*/ 5846990 w 7620000"/>
              <a:gd name="connsiteY31" fmla="*/ 1247321 h 5753101"/>
              <a:gd name="connsiteX32" fmla="*/ 946184 w 7620000"/>
              <a:gd name="connsiteY32" fmla="*/ 0 h 5753101"/>
              <a:gd name="connsiteX33" fmla="*/ 6673816 w 7620000"/>
              <a:gd name="connsiteY33" fmla="*/ 0 h 5753101"/>
              <a:gd name="connsiteX34" fmla="*/ 7620000 w 7620000"/>
              <a:gd name="connsiteY34" fmla="*/ 946185 h 5753101"/>
              <a:gd name="connsiteX35" fmla="*/ 7620000 w 7620000"/>
              <a:gd name="connsiteY35" fmla="*/ 3987766 h 5753101"/>
              <a:gd name="connsiteX36" fmla="*/ 6673816 w 7620000"/>
              <a:gd name="connsiteY36" fmla="*/ 4933950 h 5753101"/>
              <a:gd name="connsiteX37" fmla="*/ 6572250 w 7620000"/>
              <a:gd name="connsiteY37" fmla="*/ 4933950 h 5753101"/>
              <a:gd name="connsiteX38" fmla="*/ 6572250 w 7620000"/>
              <a:gd name="connsiteY38" fmla="*/ 4613702 h 5753101"/>
              <a:gd name="connsiteX39" fmla="*/ 6711353 w 7620000"/>
              <a:gd name="connsiteY39" fmla="*/ 4613702 h 5753101"/>
              <a:gd name="connsiteX40" fmla="*/ 7324725 w 7620000"/>
              <a:gd name="connsiteY40" fmla="*/ 4000330 h 5753101"/>
              <a:gd name="connsiteX41" fmla="*/ 7324725 w 7620000"/>
              <a:gd name="connsiteY41" fmla="*/ 918172 h 5753101"/>
              <a:gd name="connsiteX42" fmla="*/ 6711353 w 7620000"/>
              <a:gd name="connsiteY42" fmla="*/ 304800 h 5753101"/>
              <a:gd name="connsiteX43" fmla="*/ 937223 w 7620000"/>
              <a:gd name="connsiteY43" fmla="*/ 304800 h 5753101"/>
              <a:gd name="connsiteX44" fmla="*/ 323850 w 7620000"/>
              <a:gd name="connsiteY44" fmla="*/ 918172 h 5753101"/>
              <a:gd name="connsiteX45" fmla="*/ 323850 w 7620000"/>
              <a:gd name="connsiteY45" fmla="*/ 4000330 h 5753101"/>
              <a:gd name="connsiteX46" fmla="*/ 937223 w 7620000"/>
              <a:gd name="connsiteY46" fmla="*/ 4613702 h 5753101"/>
              <a:gd name="connsiteX47" fmla="*/ 1076325 w 7620000"/>
              <a:gd name="connsiteY47" fmla="*/ 4613702 h 5753101"/>
              <a:gd name="connsiteX48" fmla="*/ 1076325 w 7620000"/>
              <a:gd name="connsiteY48" fmla="*/ 4933950 h 5753101"/>
              <a:gd name="connsiteX49" fmla="*/ 946184 w 7620000"/>
              <a:gd name="connsiteY49" fmla="*/ 4933950 h 5753101"/>
              <a:gd name="connsiteX50" fmla="*/ 0 w 7620000"/>
              <a:gd name="connsiteY50" fmla="*/ 3987766 h 5753101"/>
              <a:gd name="connsiteX51" fmla="*/ 0 w 7620000"/>
              <a:gd name="connsiteY51" fmla="*/ 946185 h 5753101"/>
              <a:gd name="connsiteX52" fmla="*/ 946184 w 7620000"/>
              <a:gd name="connsiteY52" fmla="*/ 0 h 5753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620000" h="5753101">
                <a:moveTo>
                  <a:pt x="1765758" y="3905250"/>
                </a:moveTo>
                <a:cubicBezTo>
                  <a:pt x="2001730" y="3905250"/>
                  <a:pt x="2193023" y="4096543"/>
                  <a:pt x="2193023" y="4332515"/>
                </a:cubicBezTo>
                <a:cubicBezTo>
                  <a:pt x="2193023" y="4663622"/>
                  <a:pt x="2193022" y="4994729"/>
                  <a:pt x="2193022" y="5325836"/>
                </a:cubicBezTo>
                <a:cubicBezTo>
                  <a:pt x="2193022" y="5561808"/>
                  <a:pt x="2001729" y="5753101"/>
                  <a:pt x="1765757" y="5753101"/>
                </a:cubicBezTo>
                <a:lnTo>
                  <a:pt x="1765758" y="5753100"/>
                </a:lnTo>
                <a:cubicBezTo>
                  <a:pt x="1529786" y="5753100"/>
                  <a:pt x="1338493" y="5561807"/>
                  <a:pt x="1338493" y="5325835"/>
                </a:cubicBezTo>
                <a:lnTo>
                  <a:pt x="1338493" y="4332515"/>
                </a:lnTo>
                <a:cubicBezTo>
                  <a:pt x="1338493" y="4096543"/>
                  <a:pt x="1529786" y="3905250"/>
                  <a:pt x="1765758" y="3905250"/>
                </a:cubicBezTo>
                <a:close/>
                <a:moveTo>
                  <a:pt x="4501698" y="2990850"/>
                </a:moveTo>
                <a:cubicBezTo>
                  <a:pt x="4737670" y="2990850"/>
                  <a:pt x="4928963" y="3182143"/>
                  <a:pt x="4928963" y="3418115"/>
                </a:cubicBezTo>
                <a:cubicBezTo>
                  <a:pt x="4928963" y="4054022"/>
                  <a:pt x="4928962" y="4689929"/>
                  <a:pt x="4928962" y="5325836"/>
                </a:cubicBezTo>
                <a:cubicBezTo>
                  <a:pt x="4928962" y="5561808"/>
                  <a:pt x="4737669" y="5753101"/>
                  <a:pt x="4501697" y="5753101"/>
                </a:cubicBezTo>
                <a:lnTo>
                  <a:pt x="4501698" y="5753100"/>
                </a:lnTo>
                <a:cubicBezTo>
                  <a:pt x="4265726" y="5753100"/>
                  <a:pt x="4074433" y="5561807"/>
                  <a:pt x="4074433" y="5325835"/>
                </a:cubicBezTo>
                <a:lnTo>
                  <a:pt x="4074433" y="3418115"/>
                </a:lnTo>
                <a:cubicBezTo>
                  <a:pt x="4074433" y="3182143"/>
                  <a:pt x="4265726" y="2990850"/>
                  <a:pt x="4501698" y="2990850"/>
                </a:cubicBezTo>
                <a:close/>
                <a:moveTo>
                  <a:pt x="3133728" y="2352675"/>
                </a:moveTo>
                <a:cubicBezTo>
                  <a:pt x="3369700" y="2352675"/>
                  <a:pt x="3560993" y="2543968"/>
                  <a:pt x="3560993" y="2779940"/>
                </a:cubicBezTo>
                <a:cubicBezTo>
                  <a:pt x="3560993" y="3628572"/>
                  <a:pt x="3560992" y="4477204"/>
                  <a:pt x="3560992" y="5325836"/>
                </a:cubicBezTo>
                <a:cubicBezTo>
                  <a:pt x="3560992" y="5561808"/>
                  <a:pt x="3369699" y="5753101"/>
                  <a:pt x="3133727" y="5753101"/>
                </a:cubicBezTo>
                <a:lnTo>
                  <a:pt x="3133728" y="5753100"/>
                </a:lnTo>
                <a:cubicBezTo>
                  <a:pt x="2897756" y="5753100"/>
                  <a:pt x="2706463" y="5561807"/>
                  <a:pt x="2706463" y="5325835"/>
                </a:cubicBezTo>
                <a:lnTo>
                  <a:pt x="2706463" y="2779940"/>
                </a:lnTo>
                <a:cubicBezTo>
                  <a:pt x="2706463" y="2543968"/>
                  <a:pt x="2897756" y="2352675"/>
                  <a:pt x="3133728" y="2352675"/>
                </a:cubicBezTo>
                <a:close/>
                <a:moveTo>
                  <a:pt x="5846990" y="1247321"/>
                </a:moveTo>
                <a:cubicBezTo>
                  <a:pt x="6082962" y="1247321"/>
                  <a:pt x="6274255" y="1438614"/>
                  <a:pt x="6274255" y="1674586"/>
                </a:cubicBezTo>
                <a:cubicBezTo>
                  <a:pt x="6274255" y="2891669"/>
                  <a:pt x="6274254" y="4108753"/>
                  <a:pt x="6274254" y="5325836"/>
                </a:cubicBezTo>
                <a:cubicBezTo>
                  <a:pt x="6274254" y="5561808"/>
                  <a:pt x="6082961" y="5753101"/>
                  <a:pt x="5846989" y="5753101"/>
                </a:cubicBezTo>
                <a:lnTo>
                  <a:pt x="5846990" y="5753100"/>
                </a:lnTo>
                <a:cubicBezTo>
                  <a:pt x="5611018" y="5753100"/>
                  <a:pt x="5419725" y="5561807"/>
                  <a:pt x="5419725" y="5325835"/>
                </a:cubicBezTo>
                <a:lnTo>
                  <a:pt x="5419725" y="1674586"/>
                </a:lnTo>
                <a:cubicBezTo>
                  <a:pt x="5419725" y="1438614"/>
                  <a:pt x="5611018" y="1247321"/>
                  <a:pt x="5846990" y="1247321"/>
                </a:cubicBezTo>
                <a:close/>
                <a:moveTo>
                  <a:pt x="946184" y="0"/>
                </a:moveTo>
                <a:lnTo>
                  <a:pt x="6673816" y="0"/>
                </a:lnTo>
                <a:cubicBezTo>
                  <a:pt x="7196379" y="0"/>
                  <a:pt x="7620000" y="423621"/>
                  <a:pt x="7620000" y="946185"/>
                </a:cubicBezTo>
                <a:lnTo>
                  <a:pt x="7620000" y="3987766"/>
                </a:lnTo>
                <a:cubicBezTo>
                  <a:pt x="7620000" y="4510329"/>
                  <a:pt x="7196379" y="4933950"/>
                  <a:pt x="6673816" y="4933950"/>
                </a:cubicBezTo>
                <a:lnTo>
                  <a:pt x="6572250" y="4933950"/>
                </a:lnTo>
                <a:lnTo>
                  <a:pt x="6572250" y="4613702"/>
                </a:lnTo>
                <a:lnTo>
                  <a:pt x="6711353" y="4613702"/>
                </a:lnTo>
                <a:cubicBezTo>
                  <a:pt x="7050109" y="4613702"/>
                  <a:pt x="7324725" y="4339086"/>
                  <a:pt x="7324725" y="4000330"/>
                </a:cubicBezTo>
                <a:lnTo>
                  <a:pt x="7324725" y="918172"/>
                </a:lnTo>
                <a:cubicBezTo>
                  <a:pt x="7324725" y="579416"/>
                  <a:pt x="7050109" y="304800"/>
                  <a:pt x="6711353" y="304800"/>
                </a:cubicBezTo>
                <a:lnTo>
                  <a:pt x="937223" y="304800"/>
                </a:lnTo>
                <a:cubicBezTo>
                  <a:pt x="598466" y="304800"/>
                  <a:pt x="323850" y="579416"/>
                  <a:pt x="323850" y="918172"/>
                </a:cubicBezTo>
                <a:lnTo>
                  <a:pt x="323850" y="4000330"/>
                </a:lnTo>
                <a:cubicBezTo>
                  <a:pt x="323850" y="4339086"/>
                  <a:pt x="598466" y="4613702"/>
                  <a:pt x="937223" y="4613702"/>
                </a:cubicBezTo>
                <a:lnTo>
                  <a:pt x="1076325" y="4613702"/>
                </a:lnTo>
                <a:lnTo>
                  <a:pt x="1076325" y="4933950"/>
                </a:lnTo>
                <a:lnTo>
                  <a:pt x="946184" y="4933950"/>
                </a:lnTo>
                <a:cubicBezTo>
                  <a:pt x="423621" y="4933950"/>
                  <a:pt x="0" y="4510329"/>
                  <a:pt x="0" y="3987766"/>
                </a:cubicBezTo>
                <a:lnTo>
                  <a:pt x="0" y="946185"/>
                </a:lnTo>
                <a:cubicBezTo>
                  <a:pt x="0" y="423621"/>
                  <a:pt x="423621" y="0"/>
                  <a:pt x="946184" y="0"/>
                </a:cubicBezTo>
                <a:close/>
              </a:path>
            </a:pathLst>
          </a:custGeom>
          <a:solidFill>
            <a:schemeClr val="accent1"/>
          </a:solidFill>
          <a:ln w="342900" cap="sq">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0" name="Freeform 189"/>
          <p:cNvSpPr/>
          <p:nvPr/>
        </p:nvSpPr>
        <p:spPr bwMode="auto">
          <a:xfrm>
            <a:off x="6890025" y="2705650"/>
            <a:ext cx="560852" cy="435460"/>
          </a:xfrm>
          <a:custGeom>
            <a:avLst/>
            <a:gdLst>
              <a:gd name="connsiteX0" fmla="*/ 2872895 w 6005359"/>
              <a:gd name="connsiteY0" fmla="*/ 2451096 h 4662711"/>
              <a:gd name="connsiteX1" fmla="*/ 3517361 w 6005359"/>
              <a:gd name="connsiteY1" fmla="*/ 2725050 h 4662711"/>
              <a:gd name="connsiteX2" fmla="*/ 3369823 w 6005359"/>
              <a:gd name="connsiteY2" fmla="*/ 2908295 h 4662711"/>
              <a:gd name="connsiteX3" fmla="*/ 2856088 w 6005359"/>
              <a:gd name="connsiteY3" fmla="*/ 2685137 h 4662711"/>
              <a:gd name="connsiteX4" fmla="*/ 1259622 w 6005359"/>
              <a:gd name="connsiteY4" fmla="*/ 3419922 h 4662711"/>
              <a:gd name="connsiteX5" fmla="*/ 25456 w 6005359"/>
              <a:gd name="connsiteY5" fmla="*/ 2842979 h 4662711"/>
              <a:gd name="connsiteX6" fmla="*/ 169704 w 6005359"/>
              <a:gd name="connsiteY6" fmla="*/ 2663366 h 4662711"/>
              <a:gd name="connsiteX7" fmla="*/ 1274016 w 6005359"/>
              <a:gd name="connsiteY7" fmla="*/ 3178623 h 4662711"/>
              <a:gd name="connsiteX8" fmla="*/ 2872895 w 6005359"/>
              <a:gd name="connsiteY8" fmla="*/ 2451096 h 4662711"/>
              <a:gd name="connsiteX9" fmla="*/ 2902933 w 6005359"/>
              <a:gd name="connsiteY9" fmla="*/ 1845126 h 4662711"/>
              <a:gd name="connsiteX10" fmla="*/ 3806450 w 6005359"/>
              <a:gd name="connsiteY10" fmla="*/ 2293252 h 4662711"/>
              <a:gd name="connsiteX11" fmla="*/ 3661306 w 6005359"/>
              <a:gd name="connsiteY11" fmla="*/ 2494639 h 4662711"/>
              <a:gd name="connsiteX12" fmla="*/ 2873905 w 6005359"/>
              <a:gd name="connsiteY12" fmla="*/ 2115453 h 4662711"/>
              <a:gd name="connsiteX13" fmla="*/ 1340834 w 6005359"/>
              <a:gd name="connsiteY13" fmla="*/ 2813953 h 4662711"/>
              <a:gd name="connsiteX14" fmla="*/ 433692 w 6005359"/>
              <a:gd name="connsiteY14" fmla="*/ 2485566 h 4662711"/>
              <a:gd name="connsiteX15" fmla="*/ 379264 w 6005359"/>
              <a:gd name="connsiteY15" fmla="*/ 2189838 h 4662711"/>
              <a:gd name="connsiteX16" fmla="*/ 593346 w 6005359"/>
              <a:gd name="connsiteY16" fmla="*/ 2264227 h 4662711"/>
              <a:gd name="connsiteX17" fmla="*/ 1333576 w 6005359"/>
              <a:gd name="connsiteY17" fmla="*/ 2556324 h 4662711"/>
              <a:gd name="connsiteX18" fmla="*/ 2902933 w 6005359"/>
              <a:gd name="connsiteY18" fmla="*/ 1845126 h 4662711"/>
              <a:gd name="connsiteX19" fmla="*/ 2939216 w 6005359"/>
              <a:gd name="connsiteY19" fmla="*/ 1244596 h 4662711"/>
              <a:gd name="connsiteX20" fmla="*/ 4006017 w 6005359"/>
              <a:gd name="connsiteY20" fmla="*/ 1705423 h 4662711"/>
              <a:gd name="connsiteX21" fmla="*/ 4136647 w 6005359"/>
              <a:gd name="connsiteY21" fmla="*/ 1883224 h 4662711"/>
              <a:gd name="connsiteX22" fmla="*/ 4136646 w 6005359"/>
              <a:gd name="connsiteY22" fmla="*/ 1883224 h 4662711"/>
              <a:gd name="connsiteX23" fmla="*/ 3995131 w 6005359"/>
              <a:gd name="connsiteY23" fmla="*/ 2024739 h 4662711"/>
              <a:gd name="connsiteX24" fmla="*/ 2928331 w 6005359"/>
              <a:gd name="connsiteY24" fmla="*/ 1509481 h 4662711"/>
              <a:gd name="connsiteX25" fmla="*/ 1244674 w 6005359"/>
              <a:gd name="connsiteY25" fmla="*/ 2264224 h 4662711"/>
              <a:gd name="connsiteX26" fmla="*/ 740304 w 6005359"/>
              <a:gd name="connsiteY26" fmla="*/ 2062837 h 4662711"/>
              <a:gd name="connsiteX27" fmla="*/ 693133 w 6005359"/>
              <a:gd name="connsiteY27" fmla="*/ 1788881 h 4662711"/>
              <a:gd name="connsiteX28" fmla="*/ 909029 w 6005359"/>
              <a:gd name="connsiteY28" fmla="*/ 1826984 h 4662711"/>
              <a:gd name="connsiteX29" fmla="*/ 1201131 w 6005359"/>
              <a:gd name="connsiteY29" fmla="*/ 1970310 h 4662711"/>
              <a:gd name="connsiteX30" fmla="*/ 2939216 w 6005359"/>
              <a:gd name="connsiteY30" fmla="*/ 1244596 h 4662711"/>
              <a:gd name="connsiteX31" fmla="*/ 3405494 w 6005359"/>
              <a:gd name="connsiteY31" fmla="*/ 0 h 4662711"/>
              <a:gd name="connsiteX32" fmla="*/ 3942516 w 6005359"/>
              <a:gd name="connsiteY32" fmla="*/ 0 h 4662711"/>
              <a:gd name="connsiteX33" fmla="*/ 4175075 w 6005359"/>
              <a:gd name="connsiteY33" fmla="*/ 638390 h 4662711"/>
              <a:gd name="connsiteX34" fmla="*/ 4176609 w 6005359"/>
              <a:gd name="connsiteY34" fmla="*/ 638764 h 4662711"/>
              <a:gd name="connsiteX35" fmla="*/ 4494947 w 6005359"/>
              <a:gd name="connsiteY35" fmla="*/ 768026 h 4662711"/>
              <a:gd name="connsiteX36" fmla="*/ 4515854 w 6005359"/>
              <a:gd name="connsiteY36" fmla="*/ 780380 h 4662711"/>
              <a:gd name="connsiteX37" fmla="*/ 5132655 w 6005359"/>
              <a:gd name="connsiteY37" fmla="*/ 492973 h 4662711"/>
              <a:gd name="connsiteX38" fmla="*/ 5512387 w 6005359"/>
              <a:gd name="connsiteY38" fmla="*/ 872705 h 4662711"/>
              <a:gd name="connsiteX39" fmla="*/ 5224980 w 6005359"/>
              <a:gd name="connsiteY39" fmla="*/ 1489506 h 4662711"/>
              <a:gd name="connsiteX40" fmla="*/ 5237334 w 6005359"/>
              <a:gd name="connsiteY40" fmla="*/ 1510412 h 4662711"/>
              <a:gd name="connsiteX41" fmla="*/ 5366595 w 6005359"/>
              <a:gd name="connsiteY41" fmla="*/ 1828751 h 4662711"/>
              <a:gd name="connsiteX42" fmla="*/ 5366970 w 6005359"/>
              <a:gd name="connsiteY42" fmla="*/ 1830287 h 4662711"/>
              <a:gd name="connsiteX43" fmla="*/ 6005359 w 6005359"/>
              <a:gd name="connsiteY43" fmla="*/ 2062845 h 4662711"/>
              <a:gd name="connsiteX44" fmla="*/ 6005359 w 6005359"/>
              <a:gd name="connsiteY44" fmla="*/ 2599867 h 4662711"/>
              <a:gd name="connsiteX45" fmla="*/ 5366970 w 6005359"/>
              <a:gd name="connsiteY45" fmla="*/ 2832426 h 4662711"/>
              <a:gd name="connsiteX46" fmla="*/ 5366595 w 6005359"/>
              <a:gd name="connsiteY46" fmla="*/ 2833962 h 4662711"/>
              <a:gd name="connsiteX47" fmla="*/ 5237334 w 6005359"/>
              <a:gd name="connsiteY47" fmla="*/ 3152300 h 4662711"/>
              <a:gd name="connsiteX48" fmla="*/ 5224981 w 6005359"/>
              <a:gd name="connsiteY48" fmla="*/ 3173204 h 4662711"/>
              <a:gd name="connsiteX49" fmla="*/ 5512389 w 6005359"/>
              <a:gd name="connsiteY49" fmla="*/ 3790005 h 4662711"/>
              <a:gd name="connsiteX50" fmla="*/ 5132657 w 6005359"/>
              <a:gd name="connsiteY50" fmla="*/ 4169737 h 4662711"/>
              <a:gd name="connsiteX51" fmla="*/ 4515857 w 6005359"/>
              <a:gd name="connsiteY51" fmla="*/ 3882331 h 4662711"/>
              <a:gd name="connsiteX52" fmla="*/ 4494947 w 6005359"/>
              <a:gd name="connsiteY52" fmla="*/ 3894687 h 4662711"/>
              <a:gd name="connsiteX53" fmla="*/ 4176609 w 6005359"/>
              <a:gd name="connsiteY53" fmla="*/ 4023948 h 4662711"/>
              <a:gd name="connsiteX54" fmla="*/ 4175075 w 6005359"/>
              <a:gd name="connsiteY54" fmla="*/ 4024322 h 4662711"/>
              <a:gd name="connsiteX55" fmla="*/ 3942517 w 6005359"/>
              <a:gd name="connsiteY55" fmla="*/ 4662711 h 4662711"/>
              <a:gd name="connsiteX56" fmla="*/ 3405495 w 6005359"/>
              <a:gd name="connsiteY56" fmla="*/ 4662711 h 4662711"/>
              <a:gd name="connsiteX57" fmla="*/ 3172937 w 6005359"/>
              <a:gd name="connsiteY57" fmla="*/ 4024324 h 4662711"/>
              <a:gd name="connsiteX58" fmla="*/ 3171398 w 6005359"/>
              <a:gd name="connsiteY58" fmla="*/ 4023948 h 4662711"/>
              <a:gd name="connsiteX59" fmla="*/ 2853060 w 6005359"/>
              <a:gd name="connsiteY59" fmla="*/ 3894687 h 4662711"/>
              <a:gd name="connsiteX60" fmla="*/ 2832154 w 6005359"/>
              <a:gd name="connsiteY60" fmla="*/ 3882333 h 4662711"/>
              <a:gd name="connsiteX61" fmla="*/ 2215353 w 6005359"/>
              <a:gd name="connsiteY61" fmla="*/ 4169740 h 4662711"/>
              <a:gd name="connsiteX62" fmla="*/ 1835621 w 6005359"/>
              <a:gd name="connsiteY62" fmla="*/ 3790008 h 4662711"/>
              <a:gd name="connsiteX63" fmla="*/ 1926018 w 6005359"/>
              <a:gd name="connsiteY63" fmla="*/ 3596008 h 4662711"/>
              <a:gd name="connsiteX64" fmla="*/ 3047624 w 6005359"/>
              <a:gd name="connsiteY64" fmla="*/ 2952993 h 4662711"/>
              <a:gd name="connsiteX65" fmla="*/ 4298131 w 6005359"/>
              <a:gd name="connsiteY65" fmla="*/ 2955483 h 4662711"/>
              <a:gd name="connsiteX66" fmla="*/ 4298131 w 6005359"/>
              <a:gd name="connsiteY66" fmla="*/ 1707228 h 4662711"/>
              <a:gd name="connsiteX67" fmla="*/ 4084475 w 6005359"/>
              <a:gd name="connsiteY67" fmla="*/ 1549691 h 4662711"/>
              <a:gd name="connsiteX68" fmla="*/ 2017033 w 6005359"/>
              <a:gd name="connsiteY68" fmla="*/ 1262028 h 4662711"/>
              <a:gd name="connsiteX69" fmla="*/ 1835621 w 6005359"/>
              <a:gd name="connsiteY69" fmla="*/ 872703 h 4662711"/>
              <a:gd name="connsiteX70" fmla="*/ 2215353 w 6005359"/>
              <a:gd name="connsiteY70" fmla="*/ 492971 h 4662711"/>
              <a:gd name="connsiteX71" fmla="*/ 2832155 w 6005359"/>
              <a:gd name="connsiteY71" fmla="*/ 780379 h 4662711"/>
              <a:gd name="connsiteX72" fmla="*/ 2853060 w 6005359"/>
              <a:gd name="connsiteY72" fmla="*/ 768026 h 4662711"/>
              <a:gd name="connsiteX73" fmla="*/ 3171398 w 6005359"/>
              <a:gd name="connsiteY73" fmla="*/ 638765 h 4662711"/>
              <a:gd name="connsiteX74" fmla="*/ 3172935 w 6005359"/>
              <a:gd name="connsiteY74" fmla="*/ 638389 h 4662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6005359" h="4662711">
                <a:moveTo>
                  <a:pt x="2872895" y="2451096"/>
                </a:moveTo>
                <a:cubicBezTo>
                  <a:pt x="3254059" y="2453876"/>
                  <a:pt x="3458125" y="2632521"/>
                  <a:pt x="3517361" y="2725050"/>
                </a:cubicBezTo>
                <a:cubicBezTo>
                  <a:pt x="3576596" y="2817579"/>
                  <a:pt x="3480035" y="2914947"/>
                  <a:pt x="3369823" y="2908295"/>
                </a:cubicBezTo>
                <a:cubicBezTo>
                  <a:pt x="3259611" y="2901643"/>
                  <a:pt x="3117388" y="2686742"/>
                  <a:pt x="2856088" y="2685137"/>
                </a:cubicBezTo>
                <a:cubicBezTo>
                  <a:pt x="2560630" y="2683322"/>
                  <a:pt x="2095973" y="3434610"/>
                  <a:pt x="1259622" y="3419922"/>
                </a:cubicBezTo>
                <a:cubicBezTo>
                  <a:pt x="480502" y="3406239"/>
                  <a:pt x="112766" y="2952743"/>
                  <a:pt x="25456" y="2842979"/>
                </a:cubicBezTo>
                <a:cubicBezTo>
                  <a:pt x="-61854" y="2733215"/>
                  <a:pt x="97681" y="2600167"/>
                  <a:pt x="169704" y="2663366"/>
                </a:cubicBezTo>
                <a:cubicBezTo>
                  <a:pt x="320141" y="2795373"/>
                  <a:pt x="822086" y="3184094"/>
                  <a:pt x="1274016" y="3178623"/>
                </a:cubicBezTo>
                <a:cubicBezTo>
                  <a:pt x="2098292" y="3168645"/>
                  <a:pt x="2291644" y="2446857"/>
                  <a:pt x="2872895" y="2451096"/>
                </a:cubicBezTo>
                <a:close/>
                <a:moveTo>
                  <a:pt x="2902933" y="1845126"/>
                </a:moveTo>
                <a:cubicBezTo>
                  <a:pt x="3334590" y="1864811"/>
                  <a:pt x="3723598" y="2161414"/>
                  <a:pt x="3806450" y="2293252"/>
                </a:cubicBezTo>
                <a:cubicBezTo>
                  <a:pt x="3889302" y="2425090"/>
                  <a:pt x="3735087" y="2540600"/>
                  <a:pt x="3661306" y="2494639"/>
                </a:cubicBezTo>
                <a:cubicBezTo>
                  <a:pt x="3587525" y="2448678"/>
                  <a:pt x="3373136" y="2152948"/>
                  <a:pt x="2873905" y="2115453"/>
                </a:cubicBezTo>
                <a:cubicBezTo>
                  <a:pt x="2374674" y="2077958"/>
                  <a:pt x="1907194" y="2826654"/>
                  <a:pt x="1340834" y="2813953"/>
                </a:cubicBezTo>
                <a:cubicBezTo>
                  <a:pt x="774474" y="2801252"/>
                  <a:pt x="581254" y="2602285"/>
                  <a:pt x="433692" y="2485566"/>
                </a:cubicBezTo>
                <a:cubicBezTo>
                  <a:pt x="286130" y="2368847"/>
                  <a:pt x="310926" y="2226728"/>
                  <a:pt x="379264" y="2189838"/>
                </a:cubicBezTo>
                <a:cubicBezTo>
                  <a:pt x="447602" y="2152948"/>
                  <a:pt x="506866" y="2155975"/>
                  <a:pt x="593346" y="2264227"/>
                </a:cubicBezTo>
                <a:cubicBezTo>
                  <a:pt x="679826" y="2372479"/>
                  <a:pt x="942447" y="2564601"/>
                  <a:pt x="1333576" y="2556324"/>
                </a:cubicBezTo>
                <a:cubicBezTo>
                  <a:pt x="1890863" y="2544531"/>
                  <a:pt x="2274378" y="1816462"/>
                  <a:pt x="2902933" y="1845126"/>
                </a:cubicBezTo>
                <a:close/>
                <a:moveTo>
                  <a:pt x="2939216" y="1244596"/>
                </a:moveTo>
                <a:cubicBezTo>
                  <a:pt x="3431559" y="1268032"/>
                  <a:pt x="3674386" y="1455591"/>
                  <a:pt x="4006017" y="1705423"/>
                </a:cubicBezTo>
                <a:cubicBezTo>
                  <a:pt x="4109574" y="1783437"/>
                  <a:pt x="4136647" y="1805067"/>
                  <a:pt x="4136647" y="1883224"/>
                </a:cubicBezTo>
                <a:lnTo>
                  <a:pt x="4136646" y="1883224"/>
                </a:lnTo>
                <a:cubicBezTo>
                  <a:pt x="4136646" y="1961381"/>
                  <a:pt x="4073288" y="2024739"/>
                  <a:pt x="3995131" y="2024739"/>
                </a:cubicBezTo>
                <a:cubicBezTo>
                  <a:pt x="3793140" y="2061630"/>
                  <a:pt x="3633483" y="1545767"/>
                  <a:pt x="2928331" y="1509481"/>
                </a:cubicBezTo>
                <a:cubicBezTo>
                  <a:pt x="2223179" y="1473195"/>
                  <a:pt x="1809671" y="2256756"/>
                  <a:pt x="1244674" y="2264224"/>
                </a:cubicBezTo>
                <a:cubicBezTo>
                  <a:pt x="969105" y="2267866"/>
                  <a:pt x="832228" y="2142061"/>
                  <a:pt x="740304" y="2062837"/>
                </a:cubicBezTo>
                <a:cubicBezTo>
                  <a:pt x="648381" y="1983613"/>
                  <a:pt x="612398" y="1857218"/>
                  <a:pt x="693133" y="1788881"/>
                </a:cubicBezTo>
                <a:cubicBezTo>
                  <a:pt x="773868" y="1720544"/>
                  <a:pt x="824363" y="1744131"/>
                  <a:pt x="909029" y="1826984"/>
                </a:cubicBezTo>
                <a:cubicBezTo>
                  <a:pt x="993695" y="1909837"/>
                  <a:pt x="1009740" y="1973989"/>
                  <a:pt x="1201131" y="1970310"/>
                </a:cubicBezTo>
                <a:cubicBezTo>
                  <a:pt x="1806386" y="1958674"/>
                  <a:pt x="2015759" y="1200638"/>
                  <a:pt x="2939216" y="1244596"/>
                </a:cubicBezTo>
                <a:close/>
                <a:moveTo>
                  <a:pt x="3405494" y="0"/>
                </a:moveTo>
                <a:lnTo>
                  <a:pt x="3942516" y="0"/>
                </a:lnTo>
                <a:lnTo>
                  <a:pt x="4175075" y="638390"/>
                </a:lnTo>
                <a:lnTo>
                  <a:pt x="4176609" y="638764"/>
                </a:lnTo>
                <a:cubicBezTo>
                  <a:pt x="4285789" y="671080"/>
                  <a:pt x="4392460" y="714167"/>
                  <a:pt x="4494947" y="768026"/>
                </a:cubicBezTo>
                <a:lnTo>
                  <a:pt x="4515854" y="780380"/>
                </a:lnTo>
                <a:lnTo>
                  <a:pt x="5132655" y="492973"/>
                </a:lnTo>
                <a:lnTo>
                  <a:pt x="5512387" y="872705"/>
                </a:lnTo>
                <a:lnTo>
                  <a:pt x="5224980" y="1489506"/>
                </a:lnTo>
                <a:lnTo>
                  <a:pt x="5237334" y="1510412"/>
                </a:lnTo>
                <a:cubicBezTo>
                  <a:pt x="5291193" y="1612900"/>
                  <a:pt x="5334280" y="1719571"/>
                  <a:pt x="5366595" y="1828751"/>
                </a:cubicBezTo>
                <a:lnTo>
                  <a:pt x="5366970" y="1830287"/>
                </a:lnTo>
                <a:lnTo>
                  <a:pt x="6005359" y="2062845"/>
                </a:lnTo>
                <a:lnTo>
                  <a:pt x="6005359" y="2599867"/>
                </a:lnTo>
                <a:lnTo>
                  <a:pt x="5366970" y="2832426"/>
                </a:lnTo>
                <a:lnTo>
                  <a:pt x="5366595" y="2833962"/>
                </a:lnTo>
                <a:cubicBezTo>
                  <a:pt x="5334280" y="2943142"/>
                  <a:pt x="5291193" y="3049813"/>
                  <a:pt x="5237334" y="3152300"/>
                </a:cubicBezTo>
                <a:lnTo>
                  <a:pt x="5224981" y="3173204"/>
                </a:lnTo>
                <a:lnTo>
                  <a:pt x="5512389" y="3790005"/>
                </a:lnTo>
                <a:lnTo>
                  <a:pt x="5132657" y="4169737"/>
                </a:lnTo>
                <a:lnTo>
                  <a:pt x="4515857" y="3882331"/>
                </a:lnTo>
                <a:lnTo>
                  <a:pt x="4494947" y="3894687"/>
                </a:lnTo>
                <a:cubicBezTo>
                  <a:pt x="4392460" y="3948546"/>
                  <a:pt x="4285789" y="3991632"/>
                  <a:pt x="4176609" y="4023948"/>
                </a:cubicBezTo>
                <a:lnTo>
                  <a:pt x="4175075" y="4024322"/>
                </a:lnTo>
                <a:lnTo>
                  <a:pt x="3942517" y="4662711"/>
                </a:lnTo>
                <a:lnTo>
                  <a:pt x="3405495" y="4662711"/>
                </a:lnTo>
                <a:lnTo>
                  <a:pt x="3172937" y="4024324"/>
                </a:lnTo>
                <a:lnTo>
                  <a:pt x="3171398" y="4023948"/>
                </a:lnTo>
                <a:cubicBezTo>
                  <a:pt x="3062218" y="3991633"/>
                  <a:pt x="2955547" y="3948545"/>
                  <a:pt x="2853060" y="3894687"/>
                </a:cubicBezTo>
                <a:lnTo>
                  <a:pt x="2832154" y="3882333"/>
                </a:lnTo>
                <a:lnTo>
                  <a:pt x="2215353" y="4169740"/>
                </a:lnTo>
                <a:lnTo>
                  <a:pt x="1835621" y="3790008"/>
                </a:lnTo>
                <a:lnTo>
                  <a:pt x="1926018" y="3596008"/>
                </a:lnTo>
                <a:cubicBezTo>
                  <a:pt x="2426887" y="3519556"/>
                  <a:pt x="2593926" y="3116531"/>
                  <a:pt x="3047624" y="2952993"/>
                </a:cubicBezTo>
                <a:cubicBezTo>
                  <a:pt x="3413947" y="3346982"/>
                  <a:pt x="4089713" y="3163111"/>
                  <a:pt x="4298131" y="2955483"/>
                </a:cubicBezTo>
                <a:cubicBezTo>
                  <a:pt x="4642827" y="2610787"/>
                  <a:pt x="4642827" y="2051924"/>
                  <a:pt x="4298131" y="1707228"/>
                </a:cubicBezTo>
                <a:cubicBezTo>
                  <a:pt x="4233501" y="1642598"/>
                  <a:pt x="4161341" y="1590085"/>
                  <a:pt x="4084475" y="1549691"/>
                </a:cubicBezTo>
                <a:cubicBezTo>
                  <a:pt x="3707385" y="1101832"/>
                  <a:pt x="2971066" y="875316"/>
                  <a:pt x="2017033" y="1262028"/>
                </a:cubicBezTo>
                <a:lnTo>
                  <a:pt x="1835621" y="872703"/>
                </a:lnTo>
                <a:lnTo>
                  <a:pt x="2215353" y="492971"/>
                </a:lnTo>
                <a:lnTo>
                  <a:pt x="2832155" y="780379"/>
                </a:lnTo>
                <a:lnTo>
                  <a:pt x="2853060" y="768026"/>
                </a:lnTo>
                <a:cubicBezTo>
                  <a:pt x="2955547" y="714167"/>
                  <a:pt x="3062218" y="671080"/>
                  <a:pt x="3171398" y="638765"/>
                </a:cubicBezTo>
                <a:lnTo>
                  <a:pt x="3172935" y="638389"/>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tx1"/>
              </a:solidFill>
              <a:effectLst/>
              <a:uLnTx/>
              <a:uFillTx/>
              <a:latin typeface="+mj-lt"/>
              <a:ea typeface="Segoe UI" pitchFamily="34" charset="0"/>
              <a:cs typeface="Segoe UI" pitchFamily="34" charset="0"/>
            </a:endParaRPr>
          </a:p>
        </p:txBody>
      </p:sp>
      <p:sp>
        <p:nvSpPr>
          <p:cNvPr id="51" name="Freeform 142"/>
          <p:cNvSpPr/>
          <p:nvPr/>
        </p:nvSpPr>
        <p:spPr>
          <a:xfrm>
            <a:off x="3569228" y="2874843"/>
            <a:ext cx="437688" cy="452406"/>
          </a:xfrm>
          <a:custGeom>
            <a:avLst/>
            <a:gdLst>
              <a:gd name="connsiteX0" fmla="*/ 2007579 w 2309448"/>
              <a:gd name="connsiteY0" fmla="*/ 1828800 h 2387112"/>
              <a:gd name="connsiteX1" fmla="*/ 2309448 w 2309448"/>
              <a:gd name="connsiteY1" fmla="*/ 1828800 h 2387112"/>
              <a:gd name="connsiteX2" fmla="*/ 2309448 w 2309448"/>
              <a:gd name="connsiteY2" fmla="*/ 2387111 h 2387112"/>
              <a:gd name="connsiteX3" fmla="*/ 2309447 w 2309448"/>
              <a:gd name="connsiteY3" fmla="*/ 2387111 h 2387112"/>
              <a:gd name="connsiteX4" fmla="*/ 0 w 2309448"/>
              <a:gd name="connsiteY4" fmla="*/ 2387112 h 2387112"/>
              <a:gd name="connsiteX5" fmla="*/ 0 w 2309448"/>
              <a:gd name="connsiteY5" fmla="*/ 2387111 h 2387112"/>
              <a:gd name="connsiteX6" fmla="*/ 0 w 2309448"/>
              <a:gd name="connsiteY6" fmla="*/ 1828801 h 2387112"/>
              <a:gd name="connsiteX7" fmla="*/ 301869 w 2309448"/>
              <a:gd name="connsiteY7" fmla="*/ 1828801 h 2387112"/>
              <a:gd name="connsiteX8" fmla="*/ 301869 w 2309448"/>
              <a:gd name="connsiteY8" fmla="*/ 2085242 h 2387112"/>
              <a:gd name="connsiteX9" fmla="*/ 2007579 w 2309448"/>
              <a:gd name="connsiteY9" fmla="*/ 2085242 h 2387112"/>
              <a:gd name="connsiteX10" fmla="*/ 495301 w 2309448"/>
              <a:gd name="connsiteY10" fmla="*/ 1538655 h 2387112"/>
              <a:gd name="connsiteX11" fmla="*/ 858717 w 2309448"/>
              <a:gd name="connsiteY11" fmla="*/ 1538655 h 2387112"/>
              <a:gd name="connsiteX12" fmla="*/ 858717 w 2309448"/>
              <a:gd name="connsiteY12" fmla="*/ 1818541 h 2387112"/>
              <a:gd name="connsiteX13" fmla="*/ 495301 w 2309448"/>
              <a:gd name="connsiteY13" fmla="*/ 1818541 h 2387112"/>
              <a:gd name="connsiteX14" fmla="*/ 1060094 w 2309448"/>
              <a:gd name="connsiteY14" fmla="*/ 1296134 h 2387112"/>
              <a:gd name="connsiteX15" fmla="*/ 1423510 w 2309448"/>
              <a:gd name="connsiteY15" fmla="*/ 1296134 h 2387112"/>
              <a:gd name="connsiteX16" fmla="*/ 1423510 w 2309448"/>
              <a:gd name="connsiteY16" fmla="*/ 1576020 h 2387112"/>
              <a:gd name="connsiteX17" fmla="*/ 1060094 w 2309448"/>
              <a:gd name="connsiteY17" fmla="*/ 1576020 h 2387112"/>
              <a:gd name="connsiteX18" fmla="*/ 1624886 w 2309448"/>
              <a:gd name="connsiteY18" fmla="*/ 1053613 h 2387112"/>
              <a:gd name="connsiteX19" fmla="*/ 1988302 w 2309448"/>
              <a:gd name="connsiteY19" fmla="*/ 1053613 h 2387112"/>
              <a:gd name="connsiteX20" fmla="*/ 1988302 w 2309448"/>
              <a:gd name="connsiteY20" fmla="*/ 1333499 h 2387112"/>
              <a:gd name="connsiteX21" fmla="*/ 1624886 w 2309448"/>
              <a:gd name="connsiteY21" fmla="*/ 1333499 h 2387112"/>
              <a:gd name="connsiteX22" fmla="*/ 495301 w 2309448"/>
              <a:gd name="connsiteY22" fmla="*/ 1053613 h 2387112"/>
              <a:gd name="connsiteX23" fmla="*/ 858717 w 2309448"/>
              <a:gd name="connsiteY23" fmla="*/ 1053613 h 2387112"/>
              <a:gd name="connsiteX24" fmla="*/ 858717 w 2309448"/>
              <a:gd name="connsiteY24" fmla="*/ 1333499 h 2387112"/>
              <a:gd name="connsiteX25" fmla="*/ 495301 w 2309448"/>
              <a:gd name="connsiteY25" fmla="*/ 1333499 h 2387112"/>
              <a:gd name="connsiteX26" fmla="*/ 1060094 w 2309448"/>
              <a:gd name="connsiteY26" fmla="*/ 811092 h 2387112"/>
              <a:gd name="connsiteX27" fmla="*/ 1423510 w 2309448"/>
              <a:gd name="connsiteY27" fmla="*/ 811092 h 2387112"/>
              <a:gd name="connsiteX28" fmla="*/ 1423510 w 2309448"/>
              <a:gd name="connsiteY28" fmla="*/ 1090978 h 2387112"/>
              <a:gd name="connsiteX29" fmla="*/ 1060094 w 2309448"/>
              <a:gd name="connsiteY29" fmla="*/ 1090978 h 2387112"/>
              <a:gd name="connsiteX30" fmla="*/ 495301 w 2309448"/>
              <a:gd name="connsiteY30" fmla="*/ 568571 h 2387112"/>
              <a:gd name="connsiteX31" fmla="*/ 858717 w 2309448"/>
              <a:gd name="connsiteY31" fmla="*/ 568571 h 2387112"/>
              <a:gd name="connsiteX32" fmla="*/ 858717 w 2309448"/>
              <a:gd name="connsiteY32" fmla="*/ 848457 h 2387112"/>
              <a:gd name="connsiteX33" fmla="*/ 495301 w 2309448"/>
              <a:gd name="connsiteY33" fmla="*/ 848457 h 2387112"/>
              <a:gd name="connsiteX34" fmla="*/ 2309448 w 2309448"/>
              <a:gd name="connsiteY34" fmla="*/ 0 h 2387112"/>
              <a:gd name="connsiteX35" fmla="*/ 2309448 w 2309448"/>
              <a:gd name="connsiteY35" fmla="*/ 1 h 2387112"/>
              <a:gd name="connsiteX36" fmla="*/ 2309448 w 2309448"/>
              <a:gd name="connsiteY36" fmla="*/ 558311 h 2387112"/>
              <a:gd name="connsiteX37" fmla="*/ 2007579 w 2309448"/>
              <a:gd name="connsiteY37" fmla="*/ 558311 h 2387112"/>
              <a:gd name="connsiteX38" fmla="*/ 2007579 w 2309448"/>
              <a:gd name="connsiteY38" fmla="*/ 301870 h 2387112"/>
              <a:gd name="connsiteX39" fmla="*/ 301869 w 2309448"/>
              <a:gd name="connsiteY39" fmla="*/ 301870 h 2387112"/>
              <a:gd name="connsiteX40" fmla="*/ 301869 w 2309448"/>
              <a:gd name="connsiteY40" fmla="*/ 558312 h 2387112"/>
              <a:gd name="connsiteX41" fmla="*/ 0 w 2309448"/>
              <a:gd name="connsiteY41" fmla="*/ 558312 h 2387112"/>
              <a:gd name="connsiteX42" fmla="*/ 0 w 2309448"/>
              <a:gd name="connsiteY42" fmla="*/ 1 h 2387112"/>
              <a:gd name="connsiteX43" fmla="*/ 1 w 2309448"/>
              <a:gd name="connsiteY43" fmla="*/ 1 h 2387112"/>
              <a:gd name="connsiteX44" fmla="*/ 2309448 w 2309448"/>
              <a:gd name="connsiteY44" fmla="*/ 0 h 2387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2309448" h="2387112">
                <a:moveTo>
                  <a:pt x="2007579" y="1828800"/>
                </a:moveTo>
                <a:lnTo>
                  <a:pt x="2309448" y="1828800"/>
                </a:lnTo>
                <a:lnTo>
                  <a:pt x="2309448" y="2387111"/>
                </a:lnTo>
                <a:lnTo>
                  <a:pt x="2309447" y="2387111"/>
                </a:lnTo>
                <a:cubicBezTo>
                  <a:pt x="1539631" y="2387111"/>
                  <a:pt x="769816" y="2387112"/>
                  <a:pt x="0" y="2387112"/>
                </a:cubicBezTo>
                <a:lnTo>
                  <a:pt x="0" y="2387111"/>
                </a:lnTo>
                <a:lnTo>
                  <a:pt x="0" y="1828801"/>
                </a:lnTo>
                <a:lnTo>
                  <a:pt x="301869" y="1828801"/>
                </a:lnTo>
                <a:lnTo>
                  <a:pt x="301869" y="2085242"/>
                </a:lnTo>
                <a:lnTo>
                  <a:pt x="2007579" y="2085242"/>
                </a:lnTo>
                <a:close/>
                <a:moveTo>
                  <a:pt x="495301" y="1538655"/>
                </a:moveTo>
                <a:lnTo>
                  <a:pt x="858717" y="1538655"/>
                </a:lnTo>
                <a:lnTo>
                  <a:pt x="858717" y="1818541"/>
                </a:lnTo>
                <a:lnTo>
                  <a:pt x="495301" y="1818541"/>
                </a:lnTo>
                <a:close/>
                <a:moveTo>
                  <a:pt x="1060094" y="1296134"/>
                </a:moveTo>
                <a:lnTo>
                  <a:pt x="1423510" y="1296134"/>
                </a:lnTo>
                <a:lnTo>
                  <a:pt x="1423510" y="1576020"/>
                </a:lnTo>
                <a:lnTo>
                  <a:pt x="1060094" y="1576020"/>
                </a:lnTo>
                <a:close/>
                <a:moveTo>
                  <a:pt x="1624886" y="1053613"/>
                </a:moveTo>
                <a:lnTo>
                  <a:pt x="1988302" y="1053613"/>
                </a:lnTo>
                <a:lnTo>
                  <a:pt x="1988302" y="1333499"/>
                </a:lnTo>
                <a:lnTo>
                  <a:pt x="1624886" y="1333499"/>
                </a:lnTo>
                <a:close/>
                <a:moveTo>
                  <a:pt x="495301" y="1053613"/>
                </a:moveTo>
                <a:lnTo>
                  <a:pt x="858717" y="1053613"/>
                </a:lnTo>
                <a:lnTo>
                  <a:pt x="858717" y="1333499"/>
                </a:lnTo>
                <a:lnTo>
                  <a:pt x="495301" y="1333499"/>
                </a:lnTo>
                <a:close/>
                <a:moveTo>
                  <a:pt x="1060094" y="811092"/>
                </a:moveTo>
                <a:lnTo>
                  <a:pt x="1423510" y="811092"/>
                </a:lnTo>
                <a:lnTo>
                  <a:pt x="1423510" y="1090978"/>
                </a:lnTo>
                <a:lnTo>
                  <a:pt x="1060094" y="1090978"/>
                </a:lnTo>
                <a:close/>
                <a:moveTo>
                  <a:pt x="495301" y="568571"/>
                </a:moveTo>
                <a:lnTo>
                  <a:pt x="858717" y="568571"/>
                </a:lnTo>
                <a:lnTo>
                  <a:pt x="858717" y="848457"/>
                </a:lnTo>
                <a:lnTo>
                  <a:pt x="495301" y="848457"/>
                </a:lnTo>
                <a:close/>
                <a:moveTo>
                  <a:pt x="2309448" y="0"/>
                </a:moveTo>
                <a:lnTo>
                  <a:pt x="2309448" y="1"/>
                </a:lnTo>
                <a:lnTo>
                  <a:pt x="2309448" y="558311"/>
                </a:lnTo>
                <a:lnTo>
                  <a:pt x="2007579" y="558311"/>
                </a:lnTo>
                <a:lnTo>
                  <a:pt x="2007579" y="301870"/>
                </a:lnTo>
                <a:lnTo>
                  <a:pt x="301869" y="301870"/>
                </a:lnTo>
                <a:lnTo>
                  <a:pt x="301869" y="558312"/>
                </a:lnTo>
                <a:lnTo>
                  <a:pt x="0" y="558312"/>
                </a:lnTo>
                <a:lnTo>
                  <a:pt x="0" y="1"/>
                </a:lnTo>
                <a:lnTo>
                  <a:pt x="1" y="1"/>
                </a:lnTo>
                <a:cubicBezTo>
                  <a:pt x="769817" y="1"/>
                  <a:pt x="1539632" y="0"/>
                  <a:pt x="2309448"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636149" y="4352604"/>
            <a:ext cx="313741" cy="503779"/>
          </a:xfrm>
          <a:prstGeom prst="rect">
            <a:avLst/>
          </a:prstGeom>
        </p:spPr>
      </p:pic>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868401" y="4676412"/>
            <a:ext cx="604102" cy="319106"/>
          </a:xfrm>
          <a:prstGeom prst="rect">
            <a:avLst/>
          </a:prstGeom>
        </p:spPr>
      </p:pic>
      <p:pic>
        <p:nvPicPr>
          <p:cNvPr id="10" name="Picture 9"/>
          <p:cNvPicPr>
            <a:picLocks noChangeAspect="1"/>
          </p:cNvPicPr>
          <p:nvPr/>
        </p:nvPicPr>
        <p:blipFill rotWithShape="1">
          <a:blip r:embed="rId5" cstate="print">
            <a:extLst>
              <a:ext uri="{28A0092B-C50C-407E-A947-70E740481C1C}">
                <a14:useLocalDpi xmlns:a14="http://schemas.microsoft.com/office/drawing/2010/main" val="0"/>
              </a:ext>
            </a:extLst>
          </a:blip>
          <a:srcRect r="59384"/>
          <a:stretch/>
        </p:blipFill>
        <p:spPr>
          <a:xfrm>
            <a:off x="7001730" y="3754211"/>
            <a:ext cx="343952" cy="309098"/>
          </a:xfrm>
          <a:prstGeom prst="rect">
            <a:avLst/>
          </a:prstGeom>
        </p:spPr>
      </p:pic>
      <p:sp>
        <p:nvSpPr>
          <p:cNvPr id="58" name="Rectangle 57"/>
          <p:cNvSpPr/>
          <p:nvPr/>
        </p:nvSpPr>
        <p:spPr>
          <a:xfrm>
            <a:off x="7544522" y="3712964"/>
            <a:ext cx="645369" cy="307777"/>
          </a:xfrm>
          <a:prstGeom prst="rect">
            <a:avLst/>
          </a:prstGeom>
        </p:spPr>
        <p:txBody>
          <a:bodyPr wrap="none">
            <a:spAutoFit/>
          </a:bodyPr>
          <a:lstStyle/>
          <a:p>
            <a:pPr marL="0" marR="0" lvl="0" indent="0" defTabSz="896156" eaLnBrk="1" fontAlgn="auto" latinLnBrk="0" hangingPunct="1">
              <a:lnSpc>
                <a:spcPct val="100000"/>
              </a:lnSpc>
              <a:spcBef>
                <a:spcPts val="0"/>
              </a:spcBef>
              <a:spcAft>
                <a:spcPts val="0"/>
              </a:spcAft>
              <a:buClrTx/>
              <a:buSzTx/>
              <a:buFontTx/>
              <a:buNone/>
              <a:tabLst/>
              <a:defRPr/>
            </a:pPr>
            <a:r>
              <a:rPr kumimoji="0" lang="en-US" sz="1400" b="0" i="0" u="none" strike="noStrike" kern="0" cap="none" spc="-29" normalizeH="0" baseline="0" noProof="0" dirty="0">
                <a:ln>
                  <a:noFill/>
                </a:ln>
                <a:gradFill>
                  <a:gsLst>
                    <a:gs pos="1250">
                      <a:schemeClr val="tx1"/>
                    </a:gs>
                    <a:gs pos="100000">
                      <a:schemeClr val="tx1"/>
                    </a:gs>
                  </a:gsLst>
                  <a:lin ang="5400000" scaled="0"/>
                </a:gradFill>
                <a:effectLst/>
                <a:uLnTx/>
                <a:uFillTx/>
                <a:ea typeface="MS PGothic" panose="020B0600070205080204" pitchFamily="34" charset="-128"/>
                <a:cs typeface="Segoe UI Semilight" panose="020B0402040204020203" pitchFamily="34" charset="0"/>
              </a:rPr>
              <a:t>Storm</a:t>
            </a:r>
          </a:p>
        </p:txBody>
      </p:sp>
      <p:cxnSp>
        <p:nvCxnSpPr>
          <p:cNvPr id="59" name="Straight Arrow Connector 58"/>
          <p:cNvCxnSpPr/>
          <p:nvPr/>
        </p:nvCxnSpPr>
        <p:spPr>
          <a:xfrm>
            <a:off x="1465943" y="3871883"/>
            <a:ext cx="1601963" cy="0"/>
          </a:xfrm>
          <a:prstGeom prst="straightConnector1">
            <a:avLst/>
          </a:prstGeom>
          <a:ln w="19050">
            <a:solidFill>
              <a:schemeClr val="bg1">
                <a:lumMod val="75000"/>
              </a:schemeClr>
            </a:solidFill>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p:nvPr/>
        </p:nvCxnSpPr>
        <p:spPr>
          <a:xfrm>
            <a:off x="5624286" y="3871883"/>
            <a:ext cx="895708" cy="0"/>
          </a:xfrm>
          <a:prstGeom prst="straightConnector1">
            <a:avLst/>
          </a:prstGeom>
          <a:ln w="19050">
            <a:solidFill>
              <a:schemeClr val="bg1">
                <a:lumMod val="75000"/>
              </a:schemeClr>
            </a:solidFill>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a:off x="9074586" y="3865948"/>
            <a:ext cx="909988" cy="0"/>
          </a:xfrm>
          <a:prstGeom prst="straightConnector1">
            <a:avLst/>
          </a:prstGeom>
          <a:ln w="19050">
            <a:solidFill>
              <a:schemeClr val="bg1">
                <a:lumMod val="75000"/>
              </a:schemeClr>
            </a:solidFill>
            <a:headEnd type="none"/>
            <a:tailEnd type="none" w="med" len="sm"/>
          </a:ln>
        </p:spPr>
        <p:style>
          <a:lnRef idx="1">
            <a:schemeClr val="accent1"/>
          </a:lnRef>
          <a:fillRef idx="0">
            <a:schemeClr val="accent1"/>
          </a:fillRef>
          <a:effectRef idx="0">
            <a:schemeClr val="accent1"/>
          </a:effectRef>
          <a:fontRef idx="minor">
            <a:schemeClr val="tx1"/>
          </a:fontRef>
        </p:style>
      </p:cxnSp>
      <p:cxnSp>
        <p:nvCxnSpPr>
          <p:cNvPr id="15" name="Connector: Elbow 14"/>
          <p:cNvCxnSpPr/>
          <p:nvPr/>
        </p:nvCxnSpPr>
        <p:spPr>
          <a:xfrm rot="10800000" flipH="1">
            <a:off x="10365540" y="2923381"/>
            <a:ext cx="88374" cy="1784806"/>
          </a:xfrm>
          <a:prstGeom prst="bentConnector3">
            <a:avLst>
              <a:gd name="adj1" fmla="val -424686"/>
            </a:avLst>
          </a:prstGeom>
          <a:ln w="19050">
            <a:solidFill>
              <a:schemeClr val="bg1">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049" name="Connector: Elbow 2048"/>
          <p:cNvCxnSpPr>
            <a:stCxn id="25" idx="3"/>
            <a:endCxn id="27" idx="3"/>
          </p:cNvCxnSpPr>
          <p:nvPr/>
        </p:nvCxnSpPr>
        <p:spPr>
          <a:xfrm flipH="1">
            <a:off x="1473289" y="2634343"/>
            <a:ext cx="62698" cy="2471058"/>
          </a:xfrm>
          <a:prstGeom prst="bentConnector3">
            <a:avLst>
              <a:gd name="adj1" fmla="val -442637"/>
            </a:avLst>
          </a:prstGeom>
          <a:ln w="190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4068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wipe(left)">
                                      <p:cBhvr>
                                        <p:cTn id="7" dur="500"/>
                                        <p:tgtEl>
                                          <p:spTgt spid="34"/>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44"/>
                                        </p:tgtEl>
                                        <p:attrNameLst>
                                          <p:attrName>style.visibility</p:attrName>
                                        </p:attrNameLst>
                                      </p:cBhvr>
                                      <p:to>
                                        <p:strVal val="visible"/>
                                      </p:to>
                                    </p:set>
                                    <p:animEffect transition="in" filter="wipe(left)">
                                      <p:cBhvr>
                                        <p:cTn id="12" dur="500"/>
                                        <p:tgtEl>
                                          <p:spTgt spid="44"/>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grpId="0" nodeType="clickEffect">
                                  <p:stCondLst>
                                    <p:cond delay="0"/>
                                  </p:stCondLst>
                                  <p:childTnLst>
                                    <p:set>
                                      <p:cBhvr>
                                        <p:cTn id="16" dur="1" fill="hold">
                                          <p:stCondLst>
                                            <p:cond delay="0"/>
                                          </p:stCondLst>
                                        </p:cTn>
                                        <p:tgtEl>
                                          <p:spTgt spid="100"/>
                                        </p:tgtEl>
                                        <p:attrNameLst>
                                          <p:attrName>style.visibility</p:attrName>
                                        </p:attrNameLst>
                                      </p:cBhvr>
                                      <p:to>
                                        <p:strVal val="visible"/>
                                      </p:to>
                                    </p:set>
                                    <p:animEffect transition="in" filter="wipe(down)">
                                      <p:cBhvr>
                                        <p:cTn id="17" dur="500"/>
                                        <p:tgtEl>
                                          <p:spTgt spid="100"/>
                                        </p:tgtEl>
                                      </p:cBhvr>
                                    </p:animEffect>
                                  </p:childTnLst>
                                </p:cTn>
                              </p:par>
                              <p:par>
                                <p:cTn id="18" presetID="22" presetClass="entr" presetSubtype="8" fill="hold" grpId="0" nodeType="withEffect">
                                  <p:stCondLst>
                                    <p:cond delay="0"/>
                                  </p:stCondLst>
                                  <p:childTnLst>
                                    <p:set>
                                      <p:cBhvr>
                                        <p:cTn id="19" dur="1" fill="hold">
                                          <p:stCondLst>
                                            <p:cond delay="0"/>
                                          </p:stCondLst>
                                        </p:cTn>
                                        <p:tgtEl>
                                          <p:spTgt spid="93"/>
                                        </p:tgtEl>
                                        <p:attrNameLst>
                                          <p:attrName>style.visibility</p:attrName>
                                        </p:attrNameLst>
                                      </p:cBhvr>
                                      <p:to>
                                        <p:strVal val="visible"/>
                                      </p:to>
                                    </p:set>
                                    <p:animEffect transition="in" filter="wipe(left)">
                                      <p:cBhvr>
                                        <p:cTn id="20" dur="500"/>
                                        <p:tgtEl>
                                          <p:spTgt spid="93"/>
                                        </p:tgtEl>
                                      </p:cBhvr>
                                    </p:animEffect>
                                  </p:childTnLst>
                                </p:cTn>
                              </p:par>
                              <p:par>
                                <p:cTn id="21" presetID="22" presetClass="entr" presetSubtype="4" fill="hold" grpId="0" nodeType="with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wipe(down)">
                                      <p:cBhvr>
                                        <p:cTn id="23" dur="500"/>
                                        <p:tgtEl>
                                          <p:spTgt spid="9"/>
                                        </p:tgtEl>
                                      </p:cBhvr>
                                    </p:animEffect>
                                  </p:childTnLst>
                                </p:cTn>
                              </p:par>
                            </p:childTnLst>
                          </p:cTn>
                        </p:par>
                        <p:par>
                          <p:cTn id="24" fill="hold">
                            <p:stCondLst>
                              <p:cond delay="500"/>
                            </p:stCondLst>
                            <p:childTnLst>
                              <p:par>
                                <p:cTn id="25" presetID="22" presetClass="entr" presetSubtype="8" fill="hold" nodeType="afterEffect">
                                  <p:stCondLst>
                                    <p:cond delay="0"/>
                                  </p:stCondLst>
                                  <p:childTnLst>
                                    <p:set>
                                      <p:cBhvr>
                                        <p:cTn id="26" dur="1" fill="hold">
                                          <p:stCondLst>
                                            <p:cond delay="0"/>
                                          </p:stCondLst>
                                        </p:cTn>
                                        <p:tgtEl>
                                          <p:spTgt spid="59"/>
                                        </p:tgtEl>
                                        <p:attrNameLst>
                                          <p:attrName>style.visibility</p:attrName>
                                        </p:attrNameLst>
                                      </p:cBhvr>
                                      <p:to>
                                        <p:strVal val="visible"/>
                                      </p:to>
                                    </p:set>
                                    <p:animEffect transition="in" filter="wipe(left)">
                                      <p:cBhvr>
                                        <p:cTn id="27" dur="500"/>
                                        <p:tgtEl>
                                          <p:spTgt spid="59"/>
                                        </p:tgtEl>
                                      </p:cBhvr>
                                    </p:animEffect>
                                  </p:childTnLst>
                                </p:cTn>
                              </p:par>
                            </p:childTnLst>
                          </p:cTn>
                        </p:par>
                        <p:par>
                          <p:cTn id="28" fill="hold">
                            <p:stCondLst>
                              <p:cond delay="1000"/>
                            </p:stCondLst>
                            <p:childTnLst>
                              <p:par>
                                <p:cTn id="29" presetID="22" presetClass="entr" presetSubtype="8" fill="hold" nodeType="afterEffect">
                                  <p:stCondLst>
                                    <p:cond delay="0"/>
                                  </p:stCondLst>
                                  <p:childTnLst>
                                    <p:set>
                                      <p:cBhvr>
                                        <p:cTn id="30" dur="1" fill="hold">
                                          <p:stCondLst>
                                            <p:cond delay="0"/>
                                          </p:stCondLst>
                                        </p:cTn>
                                        <p:tgtEl>
                                          <p:spTgt spid="61"/>
                                        </p:tgtEl>
                                        <p:attrNameLst>
                                          <p:attrName>style.visibility</p:attrName>
                                        </p:attrNameLst>
                                      </p:cBhvr>
                                      <p:to>
                                        <p:strVal val="visible"/>
                                      </p:to>
                                    </p:set>
                                    <p:animEffect transition="in" filter="wipe(left)">
                                      <p:cBhvr>
                                        <p:cTn id="31" dur="500"/>
                                        <p:tgtEl>
                                          <p:spTgt spid="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p:bldP spid="44" grpId="0"/>
      <p:bldP spid="9" grpId="0"/>
      <p:bldP spid="93" grpId="0"/>
      <p:bldP spid="100" grpId="0"/>
    </p:bld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What is Apache Kafka?</a:t>
            </a:r>
            <a:endParaRPr lang="en-US" dirty="0"/>
          </a:p>
        </p:txBody>
      </p:sp>
      <p:sp>
        <p:nvSpPr>
          <p:cNvPr id="3" name="Content Placeholder 2"/>
          <p:cNvSpPr>
            <a:spLocks noGrp="1"/>
          </p:cNvSpPr>
          <p:nvPr>
            <p:ph type="body" sz="quarter" idx="11"/>
          </p:nvPr>
        </p:nvSpPr>
        <p:spPr>
          <a:xfrm>
            <a:off x="5220357" y="1283301"/>
            <a:ext cx="6613577" cy="2033314"/>
          </a:xfrm>
        </p:spPr>
        <p:txBody>
          <a:bodyPr/>
          <a:lstStyle/>
          <a:p>
            <a:pPr lvl="1" indent="-285750">
              <a:spcBef>
                <a:spcPts val="1200"/>
              </a:spcBef>
            </a:pPr>
            <a:r>
              <a:rPr lang="en-US" sz="2000" dirty="0">
                <a:solidFill>
                  <a:schemeClr val="tx1"/>
                </a:solidFill>
              </a:rPr>
              <a:t>Apache Kafka is a High throughput, low-latency message queueing service</a:t>
            </a:r>
          </a:p>
          <a:p>
            <a:pPr lvl="1" indent="-285750">
              <a:spcBef>
                <a:spcPts val="1200"/>
              </a:spcBef>
            </a:pPr>
            <a:r>
              <a:rPr lang="en-US" sz="2000" dirty="0">
                <a:solidFill>
                  <a:schemeClr val="tx1"/>
                </a:solidFill>
              </a:rPr>
              <a:t>Developed at LinkedIn, now a project part of Apache</a:t>
            </a:r>
          </a:p>
          <a:p>
            <a:pPr lvl="1" indent="-285750">
              <a:spcBef>
                <a:spcPts val="1200"/>
              </a:spcBef>
            </a:pPr>
            <a:r>
              <a:rPr lang="en-US" sz="2000" dirty="0">
                <a:solidFill>
                  <a:schemeClr val="tx1"/>
                </a:solidFill>
              </a:rPr>
              <a:t>It uses a simple Publish-Subscribe messaging model. Much like Dish subscribers </a:t>
            </a:r>
          </a:p>
          <a:p>
            <a:pPr lvl="1" indent="-285750">
              <a:spcBef>
                <a:spcPts val="1200"/>
              </a:spcBef>
            </a:pPr>
            <a:r>
              <a:rPr lang="en-US" sz="2000" dirty="0">
                <a:solidFill>
                  <a:schemeClr val="tx1"/>
                </a:solidFill>
              </a:rPr>
              <a:t>The architecture is very robust and scalable. Data is partitioned, replicated across the whole cluster</a:t>
            </a:r>
          </a:p>
          <a:p>
            <a:pPr lvl="1" indent="-285750">
              <a:spcBef>
                <a:spcPts val="1200"/>
              </a:spcBef>
            </a:pPr>
            <a:r>
              <a:rPr lang="en-US" sz="2000" dirty="0">
                <a:solidFill>
                  <a:schemeClr val="tx1"/>
                </a:solidFill>
              </a:rPr>
              <a:t>It scales linearly as throughput needs increase. Just add more storage</a:t>
            </a:r>
          </a:p>
          <a:p>
            <a:pPr lvl="1" indent="-285750">
              <a:spcBef>
                <a:spcPts val="1200"/>
              </a:spcBef>
            </a:pPr>
            <a:r>
              <a:rPr lang="en-US" sz="2000" dirty="0">
                <a:solidFill>
                  <a:schemeClr val="tx1"/>
                </a:solidFill>
              </a:rPr>
              <a:t>It is often used to build real-time ingestion pipelines</a:t>
            </a:r>
          </a:p>
        </p:txBody>
      </p:sp>
    </p:spTree>
    <p:extLst>
      <p:ext uri="{BB962C8B-B14F-4D97-AF65-F5344CB8AC3E}">
        <p14:creationId xmlns:p14="http://schemas.microsoft.com/office/powerpoint/2010/main" val="1001130099"/>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8927" y="286381"/>
            <a:ext cx="11653523" cy="927940"/>
          </a:xfrm>
        </p:spPr>
        <p:txBody>
          <a:bodyPr/>
          <a:lstStyle/>
          <a:p>
            <a:r>
              <a:rPr lang="en-US" dirty="0"/>
              <a:t>Kafka Architecture</a:t>
            </a:r>
          </a:p>
        </p:txBody>
      </p:sp>
      <p:sp>
        <p:nvSpPr>
          <p:cNvPr id="9" name="TextBox 8"/>
          <p:cNvSpPr txBox="1"/>
          <p:nvPr/>
        </p:nvSpPr>
        <p:spPr>
          <a:xfrm>
            <a:off x="4716416" y="1884280"/>
            <a:ext cx="2554592" cy="4175430"/>
          </a:xfrm>
          <a:prstGeom prst="rect">
            <a:avLst/>
          </a:prstGeom>
          <a:solidFill>
            <a:schemeClr val="bg1">
              <a:lumMod val="95000"/>
            </a:schemeClr>
          </a:solidFill>
        </p:spPr>
        <p:txBody>
          <a:bodyPr wrap="none" lIns="179285" tIns="44821" rIns="179285" bIns="179285" rtlCol="0" anchor="t">
            <a:no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505050"/>
                </a:solidFill>
                <a:effectLst/>
                <a:uLnTx/>
                <a:uFillTx/>
                <a:latin typeface="Segoe UI Semibold" panose="020B0702040204020203" pitchFamily="34" charset="0"/>
                <a:cs typeface="Segoe UI Semibold" panose="020B0702040204020203" pitchFamily="34" charset="0"/>
              </a:rPr>
              <a:t>Kafka ecosystem</a:t>
            </a:r>
          </a:p>
        </p:txBody>
      </p:sp>
      <p:grpSp>
        <p:nvGrpSpPr>
          <p:cNvPr id="17" name="Group 16"/>
          <p:cNvGrpSpPr/>
          <p:nvPr/>
        </p:nvGrpSpPr>
        <p:grpSpPr>
          <a:xfrm>
            <a:off x="883970" y="2500709"/>
            <a:ext cx="1885094" cy="2659443"/>
            <a:chOff x="618620" y="2318957"/>
            <a:chExt cx="1885094" cy="2659443"/>
          </a:xfrm>
        </p:grpSpPr>
        <p:sp>
          <p:nvSpPr>
            <p:cNvPr id="8" name="TextBox 7"/>
            <p:cNvSpPr txBox="1"/>
            <p:nvPr/>
          </p:nvSpPr>
          <p:spPr>
            <a:xfrm>
              <a:off x="618620" y="2318957"/>
              <a:ext cx="1885094" cy="2659443"/>
            </a:xfrm>
            <a:prstGeom prst="rect">
              <a:avLst/>
            </a:prstGeom>
            <a:solidFill>
              <a:schemeClr val="bg1">
                <a:lumMod val="95000"/>
              </a:schemeClr>
            </a:solidFill>
          </p:spPr>
          <p:txBody>
            <a:bodyPr wrap="none" lIns="179285" tIns="44821" rIns="179285" bIns="179285" rtlCol="0" anchor="t">
              <a:noAutofit/>
            </a:bodyP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bold" panose="020B0702040204020203" pitchFamily="34" charset="0"/>
                <a:cs typeface="Segoe UI Semibold" panose="020B0702040204020203" pitchFamily="34" charset="0"/>
              </a:endParaRPr>
            </a:p>
          </p:txBody>
        </p:sp>
        <p:sp>
          <p:nvSpPr>
            <p:cNvPr id="3" name="Rectangle 2"/>
            <p:cNvSpPr/>
            <p:nvPr/>
          </p:nvSpPr>
          <p:spPr bwMode="auto">
            <a:xfrm>
              <a:off x="832538" y="2514600"/>
              <a:ext cx="1436915" cy="50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solidFill>
                    <a:schemeClr val="bg1"/>
                  </a:solidFill>
                  <a:effectLst/>
                  <a:uLnTx/>
                  <a:uFillTx/>
                  <a:latin typeface="Segoe UI Semilight" panose="020B0402040204020203" pitchFamily="34" charset="0"/>
                  <a:ea typeface="Segoe UI" pitchFamily="34" charset="0"/>
                  <a:cs typeface="Segoe UI Semilight" panose="020B0402040204020203" pitchFamily="34" charset="0"/>
                </a:rPr>
                <a:t>Producer 1</a:t>
              </a:r>
            </a:p>
          </p:txBody>
        </p:sp>
        <p:sp>
          <p:nvSpPr>
            <p:cNvPr id="11" name="Rectangle 10"/>
            <p:cNvSpPr/>
            <p:nvPr/>
          </p:nvSpPr>
          <p:spPr bwMode="auto">
            <a:xfrm>
              <a:off x="832537" y="3359142"/>
              <a:ext cx="1436915" cy="50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solidFill>
                    <a:schemeClr val="bg1"/>
                  </a:solidFill>
                  <a:effectLst/>
                  <a:uLnTx/>
                  <a:uFillTx/>
                  <a:latin typeface="Segoe UI Semilight" panose="020B0402040204020203" pitchFamily="34" charset="0"/>
                  <a:ea typeface="Segoe UI" pitchFamily="34" charset="0"/>
                  <a:cs typeface="Segoe UI Semilight" panose="020B0402040204020203" pitchFamily="34" charset="0"/>
                </a:rPr>
                <a:t>Producer 2</a:t>
              </a:r>
            </a:p>
          </p:txBody>
        </p:sp>
        <p:sp>
          <p:nvSpPr>
            <p:cNvPr id="12" name="Rectangle 11"/>
            <p:cNvSpPr/>
            <p:nvPr/>
          </p:nvSpPr>
          <p:spPr bwMode="auto">
            <a:xfrm>
              <a:off x="832536" y="4203684"/>
              <a:ext cx="1436915" cy="50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solidFill>
                    <a:schemeClr val="bg1"/>
                  </a:solidFill>
                  <a:effectLst/>
                  <a:uLnTx/>
                  <a:uFillTx/>
                  <a:latin typeface="Segoe UI Semilight" panose="020B0402040204020203" pitchFamily="34" charset="0"/>
                  <a:ea typeface="Segoe UI" pitchFamily="34" charset="0"/>
                  <a:cs typeface="Segoe UI Semilight" panose="020B0402040204020203" pitchFamily="34" charset="0"/>
                </a:rPr>
                <a:t>Producer 3</a:t>
              </a:r>
            </a:p>
          </p:txBody>
        </p:sp>
      </p:grpSp>
      <p:grpSp>
        <p:nvGrpSpPr>
          <p:cNvPr id="16" name="Group 15"/>
          <p:cNvGrpSpPr/>
          <p:nvPr/>
        </p:nvGrpSpPr>
        <p:grpSpPr>
          <a:xfrm>
            <a:off x="9218361" y="2097938"/>
            <a:ext cx="2024768" cy="3062214"/>
            <a:chOff x="8603318" y="2318958"/>
            <a:chExt cx="2024768" cy="3062214"/>
          </a:xfrm>
        </p:grpSpPr>
        <p:sp>
          <p:nvSpPr>
            <p:cNvPr id="10" name="TextBox 9"/>
            <p:cNvSpPr txBox="1"/>
            <p:nvPr/>
          </p:nvSpPr>
          <p:spPr>
            <a:xfrm>
              <a:off x="8603318" y="2318958"/>
              <a:ext cx="2024768" cy="3062214"/>
            </a:xfrm>
            <a:prstGeom prst="rect">
              <a:avLst/>
            </a:prstGeom>
            <a:solidFill>
              <a:schemeClr val="bg1">
                <a:lumMod val="95000"/>
              </a:schemeClr>
            </a:solidFill>
          </p:spPr>
          <p:txBody>
            <a:bodyPr wrap="none" lIns="179285" tIns="44821" rIns="179285" bIns="179285" rtlCol="0" anchor="t">
              <a:no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505050"/>
                  </a:solidFill>
                  <a:effectLst/>
                  <a:uLnTx/>
                  <a:uFillTx/>
                  <a:latin typeface="Segoe UI Semibold" panose="020B0702040204020203" pitchFamily="34" charset="0"/>
                  <a:cs typeface="Segoe UI Semibold" panose="020B0702040204020203" pitchFamily="34" charset="0"/>
                </a:rPr>
                <a:t>Consumer group</a:t>
              </a:r>
            </a:p>
          </p:txBody>
        </p:sp>
        <p:sp>
          <p:nvSpPr>
            <p:cNvPr id="13" name="Rectangle 12"/>
            <p:cNvSpPr/>
            <p:nvPr/>
          </p:nvSpPr>
          <p:spPr bwMode="auto">
            <a:xfrm>
              <a:off x="8914026" y="2846563"/>
              <a:ext cx="1436915" cy="50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solidFill>
                    <a:schemeClr val="bg1"/>
                  </a:solidFill>
                  <a:effectLst/>
                  <a:uLnTx/>
                  <a:uFillTx/>
                  <a:latin typeface="Segoe UI Semilight" panose="020B0402040204020203" pitchFamily="34" charset="0"/>
                  <a:ea typeface="Segoe UI" pitchFamily="34" charset="0"/>
                  <a:cs typeface="Segoe UI Semilight" panose="020B0402040204020203" pitchFamily="34" charset="0"/>
                </a:rPr>
                <a:t>Consumer 1</a:t>
              </a:r>
            </a:p>
          </p:txBody>
        </p:sp>
        <p:sp>
          <p:nvSpPr>
            <p:cNvPr id="14" name="Rectangle 13"/>
            <p:cNvSpPr/>
            <p:nvPr/>
          </p:nvSpPr>
          <p:spPr bwMode="auto">
            <a:xfrm>
              <a:off x="8914025" y="3691105"/>
              <a:ext cx="1436915" cy="50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solidFill>
                    <a:schemeClr val="bg1"/>
                  </a:solidFill>
                  <a:effectLst/>
                  <a:uLnTx/>
                  <a:uFillTx/>
                  <a:latin typeface="Segoe UI Semilight" panose="020B0402040204020203" pitchFamily="34" charset="0"/>
                  <a:ea typeface="Segoe UI" pitchFamily="34" charset="0"/>
                  <a:cs typeface="Segoe UI Semilight" panose="020B0402040204020203" pitchFamily="34" charset="0"/>
                </a:rPr>
                <a:t>Consumer 2</a:t>
              </a:r>
            </a:p>
          </p:txBody>
        </p:sp>
        <p:sp>
          <p:nvSpPr>
            <p:cNvPr id="15" name="Rectangle 14"/>
            <p:cNvSpPr/>
            <p:nvPr/>
          </p:nvSpPr>
          <p:spPr bwMode="auto">
            <a:xfrm>
              <a:off x="8914024" y="4535647"/>
              <a:ext cx="1436915" cy="50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solidFill>
                    <a:schemeClr val="bg1"/>
                  </a:solidFill>
                  <a:effectLst/>
                  <a:uLnTx/>
                  <a:uFillTx/>
                  <a:latin typeface="Segoe UI Semilight" panose="020B0402040204020203" pitchFamily="34" charset="0"/>
                  <a:ea typeface="Segoe UI" pitchFamily="34" charset="0"/>
                  <a:cs typeface="Segoe UI Semilight" panose="020B0402040204020203" pitchFamily="34" charset="0"/>
                </a:rPr>
                <a:t>Consumer 3</a:t>
              </a:r>
            </a:p>
          </p:txBody>
        </p:sp>
      </p:grpSp>
      <p:grpSp>
        <p:nvGrpSpPr>
          <p:cNvPr id="18" name="Group 17"/>
          <p:cNvGrpSpPr/>
          <p:nvPr/>
        </p:nvGrpSpPr>
        <p:grpSpPr>
          <a:xfrm>
            <a:off x="5089381" y="2322281"/>
            <a:ext cx="1885094" cy="2837871"/>
            <a:chOff x="618620" y="2140529"/>
            <a:chExt cx="1885094" cy="2837871"/>
          </a:xfrm>
        </p:grpSpPr>
        <p:sp>
          <p:nvSpPr>
            <p:cNvPr id="19" name="TextBox 18"/>
            <p:cNvSpPr txBox="1"/>
            <p:nvPr/>
          </p:nvSpPr>
          <p:spPr>
            <a:xfrm>
              <a:off x="618620" y="2140529"/>
              <a:ext cx="1885094" cy="2837871"/>
            </a:xfrm>
            <a:prstGeom prst="rect">
              <a:avLst/>
            </a:prstGeom>
            <a:solidFill>
              <a:schemeClr val="bg1"/>
            </a:solidFill>
            <a:ln>
              <a:solidFill>
                <a:schemeClr val="bg2"/>
              </a:solidFill>
            </a:ln>
          </p:spPr>
          <p:txBody>
            <a:bodyPr wrap="none" lIns="179285" tIns="44821" rIns="179285" bIns="179285" rtlCol="0" anchor="t">
              <a:no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700" b="0" i="0" u="none" strike="noStrike" kern="0" cap="none" spc="0" normalizeH="0" baseline="0" noProof="0" dirty="0">
                  <a:ln>
                    <a:noFill/>
                  </a:ln>
                  <a:solidFill>
                    <a:srgbClr val="505050"/>
                  </a:solidFill>
                  <a:effectLst/>
                  <a:uLnTx/>
                  <a:uFillTx/>
                  <a:latin typeface="Segoe UI Semibold" panose="020B0702040204020203" pitchFamily="34" charset="0"/>
                  <a:cs typeface="Segoe UI Semibold" panose="020B0702040204020203" pitchFamily="34" charset="0"/>
                </a:rPr>
                <a:t>Kafka cluster</a:t>
              </a:r>
            </a:p>
          </p:txBody>
        </p:sp>
        <p:sp>
          <p:nvSpPr>
            <p:cNvPr id="20" name="Rectangle 19"/>
            <p:cNvSpPr/>
            <p:nvPr/>
          </p:nvSpPr>
          <p:spPr bwMode="auto">
            <a:xfrm>
              <a:off x="832538" y="2514600"/>
              <a:ext cx="1436915" cy="50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solidFill>
                    <a:schemeClr val="bg1"/>
                  </a:solidFill>
                  <a:effectLst/>
                  <a:uLnTx/>
                  <a:uFillTx/>
                  <a:latin typeface="Segoe UI Semilight" panose="020B0402040204020203" pitchFamily="34" charset="0"/>
                  <a:ea typeface="Segoe UI" pitchFamily="34" charset="0"/>
                  <a:cs typeface="Segoe UI Semilight" panose="020B0402040204020203" pitchFamily="34" charset="0"/>
                </a:rPr>
                <a:t>Broker 1</a:t>
              </a:r>
            </a:p>
          </p:txBody>
        </p:sp>
        <p:sp>
          <p:nvSpPr>
            <p:cNvPr id="21" name="Rectangle 20"/>
            <p:cNvSpPr/>
            <p:nvPr/>
          </p:nvSpPr>
          <p:spPr bwMode="auto">
            <a:xfrm>
              <a:off x="832537" y="3359142"/>
              <a:ext cx="1436915" cy="50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solidFill>
                    <a:schemeClr val="bg1"/>
                  </a:solidFill>
                  <a:effectLst/>
                  <a:uLnTx/>
                  <a:uFillTx/>
                  <a:latin typeface="Segoe UI Semilight" panose="020B0402040204020203" pitchFamily="34" charset="0"/>
                  <a:ea typeface="Segoe UI" pitchFamily="34" charset="0"/>
                  <a:cs typeface="Segoe UI Semilight" panose="020B0402040204020203" pitchFamily="34" charset="0"/>
                </a:rPr>
                <a:t>Broker 2</a:t>
              </a:r>
            </a:p>
          </p:txBody>
        </p:sp>
        <p:sp>
          <p:nvSpPr>
            <p:cNvPr id="22" name="Rectangle 21"/>
            <p:cNvSpPr/>
            <p:nvPr/>
          </p:nvSpPr>
          <p:spPr bwMode="auto">
            <a:xfrm>
              <a:off x="832536" y="4203684"/>
              <a:ext cx="1436915" cy="50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solidFill>
                    <a:schemeClr val="bg1"/>
                  </a:solidFill>
                  <a:effectLst/>
                  <a:uLnTx/>
                  <a:uFillTx/>
                  <a:latin typeface="Segoe UI Semilight" panose="020B0402040204020203" pitchFamily="34" charset="0"/>
                  <a:ea typeface="Segoe UI" pitchFamily="34" charset="0"/>
                  <a:cs typeface="Segoe UI Semilight" panose="020B0402040204020203" pitchFamily="34" charset="0"/>
                </a:rPr>
                <a:t>Broker 3</a:t>
              </a:r>
            </a:p>
          </p:txBody>
        </p:sp>
      </p:grpSp>
      <p:sp>
        <p:nvSpPr>
          <p:cNvPr id="23" name="Rectangle 22"/>
          <p:cNvSpPr/>
          <p:nvPr/>
        </p:nvSpPr>
        <p:spPr bwMode="auto">
          <a:xfrm>
            <a:off x="5313470" y="5355795"/>
            <a:ext cx="1436915" cy="50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err="1">
                <a:ln>
                  <a:noFill/>
                </a:ln>
                <a:solidFill>
                  <a:schemeClr val="bg1"/>
                </a:solidFill>
                <a:effectLst/>
                <a:uLnTx/>
                <a:uFillTx/>
                <a:latin typeface="Segoe UI Semilight" panose="020B0402040204020203" pitchFamily="34" charset="0"/>
                <a:ea typeface="Segoe UI" pitchFamily="34" charset="0"/>
                <a:cs typeface="Segoe UI Semilight" panose="020B0402040204020203" pitchFamily="34" charset="0"/>
              </a:rPr>
              <a:t>ZooKeeper</a:t>
            </a:r>
            <a:endParaRPr kumimoji="0" lang="en-US" sz="1600" b="0" i="0" u="none" strike="noStrike" kern="0" cap="none" spc="0" normalizeH="0" baseline="0" noProof="0" dirty="0">
              <a:ln>
                <a:noFill/>
              </a:ln>
              <a:solidFill>
                <a:schemeClr val="bg1"/>
              </a:solidFill>
              <a:effectLst/>
              <a:uLnTx/>
              <a:uFillTx/>
              <a:latin typeface="Segoe UI Semilight" panose="020B0402040204020203" pitchFamily="34" charset="0"/>
              <a:ea typeface="Segoe UI" pitchFamily="34" charset="0"/>
              <a:cs typeface="Segoe UI Semilight" panose="020B0402040204020203" pitchFamily="34" charset="0"/>
            </a:endParaRPr>
          </a:p>
        </p:txBody>
      </p:sp>
      <p:cxnSp>
        <p:nvCxnSpPr>
          <p:cNvPr id="24" name="Straight Arrow Connector 23"/>
          <p:cNvCxnSpPr/>
          <p:nvPr/>
        </p:nvCxnSpPr>
        <p:spPr>
          <a:xfrm>
            <a:off x="2769064" y="3830431"/>
            <a:ext cx="1947352" cy="0"/>
          </a:xfrm>
          <a:prstGeom prst="straightConnector1">
            <a:avLst/>
          </a:prstGeom>
          <a:ln w="19050">
            <a:solidFill>
              <a:schemeClr val="bg1">
                <a:lumMod val="65000"/>
              </a:schemeClr>
            </a:solidFill>
            <a:prstDash val="solid"/>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flipH="1">
            <a:off x="7271008" y="3830430"/>
            <a:ext cx="1947353" cy="0"/>
          </a:xfrm>
          <a:prstGeom prst="straightConnector1">
            <a:avLst/>
          </a:prstGeom>
          <a:ln w="19050">
            <a:solidFill>
              <a:schemeClr val="bg1">
                <a:lumMod val="65000"/>
              </a:schemeClr>
            </a:solidFill>
            <a:prstDash val="solid"/>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a:stCxn id="19" idx="2"/>
            <a:endCxn id="23" idx="0"/>
          </p:cNvCxnSpPr>
          <p:nvPr/>
        </p:nvCxnSpPr>
        <p:spPr>
          <a:xfrm>
            <a:off x="6031928" y="5160152"/>
            <a:ext cx="0" cy="195643"/>
          </a:xfrm>
          <a:prstGeom prst="straightConnector1">
            <a:avLst/>
          </a:prstGeom>
          <a:ln w="19050">
            <a:solidFill>
              <a:schemeClr val="bg1">
                <a:lumMod val="65000"/>
              </a:schemeClr>
            </a:solidFill>
            <a:prstDash val="solid"/>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stCxn id="8" idx="3"/>
            <a:endCxn id="23" idx="1"/>
          </p:cNvCxnSpPr>
          <p:nvPr/>
        </p:nvCxnSpPr>
        <p:spPr>
          <a:xfrm>
            <a:off x="2769064" y="3830431"/>
            <a:ext cx="2544406" cy="1779364"/>
          </a:xfrm>
          <a:prstGeom prst="straightConnector1">
            <a:avLst/>
          </a:prstGeom>
          <a:ln w="19050">
            <a:solidFill>
              <a:schemeClr val="bg1">
                <a:lumMod val="65000"/>
              </a:schemeClr>
            </a:solidFill>
            <a:prstDash val="sysDot"/>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endCxn id="23" idx="3"/>
          </p:cNvCxnSpPr>
          <p:nvPr/>
        </p:nvCxnSpPr>
        <p:spPr>
          <a:xfrm flipH="1">
            <a:off x="6750385" y="3850047"/>
            <a:ext cx="2467975" cy="1759748"/>
          </a:xfrm>
          <a:prstGeom prst="straightConnector1">
            <a:avLst/>
          </a:prstGeom>
          <a:ln w="19050">
            <a:solidFill>
              <a:schemeClr val="bg1">
                <a:lumMod val="65000"/>
              </a:schemeClr>
            </a:solidFill>
            <a:prstDash val="sysDot"/>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39" name="Striped Right Arrow 33"/>
          <p:cNvSpPr/>
          <p:nvPr/>
        </p:nvSpPr>
        <p:spPr bwMode="auto">
          <a:xfrm>
            <a:off x="3393053" y="3533829"/>
            <a:ext cx="699374" cy="27698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spAutoFit/>
          </a:bodyPr>
          <a:lstStyle/>
          <a:p>
            <a:pPr marL="0" marR="0" lvl="0" indent="0" algn="ctr" defTabSz="913927"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tx2"/>
                </a:solidFill>
                <a:effectLst/>
                <a:uLnTx/>
                <a:uFillTx/>
              </a:rPr>
              <a:t>Push </a:t>
            </a:r>
            <a:r>
              <a:rPr kumimoji="0" lang="en-US" sz="1200" b="0" i="0" u="none" strike="noStrike" kern="0" cap="none" spc="0" normalizeH="0" baseline="0" noProof="0" dirty="0" err="1">
                <a:ln>
                  <a:noFill/>
                </a:ln>
                <a:solidFill>
                  <a:schemeClr val="tx2"/>
                </a:solidFill>
                <a:effectLst/>
                <a:uLnTx/>
                <a:uFillTx/>
              </a:rPr>
              <a:t>msg</a:t>
            </a:r>
            <a:endParaRPr kumimoji="0" lang="en-US" sz="1200" b="0" i="0" u="none" strike="noStrike" kern="0" cap="none" spc="0" normalizeH="0" baseline="0" noProof="0" dirty="0">
              <a:ln>
                <a:noFill/>
              </a:ln>
              <a:solidFill>
                <a:schemeClr val="tx2"/>
              </a:solidFill>
              <a:effectLst/>
              <a:uLnTx/>
              <a:uFillTx/>
            </a:endParaRPr>
          </a:p>
        </p:txBody>
      </p:sp>
      <p:sp>
        <p:nvSpPr>
          <p:cNvPr id="40" name="Striped Right Arrow 33"/>
          <p:cNvSpPr/>
          <p:nvPr/>
        </p:nvSpPr>
        <p:spPr bwMode="auto">
          <a:xfrm>
            <a:off x="7894997" y="3533829"/>
            <a:ext cx="699374" cy="27698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spAutoFit/>
          </a:bodyPr>
          <a:lstStyle/>
          <a:p>
            <a:pPr marL="0" marR="0" lvl="0" indent="0" algn="ctr" defTabSz="913927"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tx2"/>
                </a:solidFill>
                <a:effectLst/>
                <a:uLnTx/>
                <a:uFillTx/>
              </a:rPr>
              <a:t>Pull </a:t>
            </a:r>
            <a:r>
              <a:rPr kumimoji="0" lang="en-US" sz="1200" b="0" i="0" u="none" strike="noStrike" kern="0" cap="none" spc="0" normalizeH="0" baseline="0" noProof="0" dirty="0" err="1">
                <a:ln>
                  <a:noFill/>
                </a:ln>
                <a:solidFill>
                  <a:schemeClr val="tx2"/>
                </a:solidFill>
                <a:effectLst/>
                <a:uLnTx/>
                <a:uFillTx/>
              </a:rPr>
              <a:t>msg</a:t>
            </a:r>
            <a:endParaRPr kumimoji="0" lang="en-US" sz="1200" b="0" i="0" u="none" strike="noStrike" kern="0" cap="none" spc="0" normalizeH="0" baseline="0" noProof="0" dirty="0">
              <a:ln>
                <a:noFill/>
              </a:ln>
              <a:solidFill>
                <a:schemeClr val="tx2"/>
              </a:solidFill>
              <a:effectLst/>
              <a:uLnTx/>
              <a:uFillTx/>
            </a:endParaRPr>
          </a:p>
        </p:txBody>
      </p:sp>
      <p:sp>
        <p:nvSpPr>
          <p:cNvPr id="41" name="Striped Right Arrow 33"/>
          <p:cNvSpPr/>
          <p:nvPr/>
        </p:nvSpPr>
        <p:spPr bwMode="auto">
          <a:xfrm>
            <a:off x="3393053" y="4782362"/>
            <a:ext cx="699374" cy="46165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spAutoFit/>
          </a:bodyPr>
          <a:lstStyle/>
          <a:p>
            <a:pPr marL="0" marR="0" lvl="0" indent="0" algn="ctr" defTabSz="913927"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tx2"/>
                </a:solidFill>
                <a:effectLst/>
                <a:uLnTx/>
                <a:uFillTx/>
              </a:rPr>
              <a:t>Get Kafka broker ID</a:t>
            </a:r>
          </a:p>
        </p:txBody>
      </p:sp>
      <p:sp>
        <p:nvSpPr>
          <p:cNvPr id="42" name="Striped Right Arrow 33"/>
          <p:cNvSpPr/>
          <p:nvPr/>
        </p:nvSpPr>
        <p:spPr bwMode="auto">
          <a:xfrm>
            <a:off x="7894997" y="4782362"/>
            <a:ext cx="699374" cy="46165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spAutoFit/>
          </a:bodyPr>
          <a:lstStyle/>
          <a:p>
            <a:pPr marL="0" marR="0" lvl="0" indent="0" algn="ctr" defTabSz="913927"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tx2"/>
                </a:solidFill>
                <a:effectLst/>
                <a:uLnTx/>
                <a:uFillTx/>
              </a:rPr>
              <a:t>Update offset</a:t>
            </a:r>
          </a:p>
        </p:txBody>
      </p:sp>
      <p:grpSp>
        <p:nvGrpSpPr>
          <p:cNvPr id="37" name="Group 36"/>
          <p:cNvGrpSpPr/>
          <p:nvPr/>
        </p:nvGrpSpPr>
        <p:grpSpPr>
          <a:xfrm>
            <a:off x="9126009" y="228005"/>
            <a:ext cx="1139839" cy="1760756"/>
            <a:chOff x="9573570" y="176349"/>
            <a:chExt cx="1099293" cy="1698123"/>
          </a:xfrm>
        </p:grpSpPr>
        <p:pic>
          <p:nvPicPr>
            <p:cNvPr id="38" name="Picture 3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614804" y="235207"/>
              <a:ext cx="1016827" cy="1632733"/>
            </a:xfrm>
            <a:prstGeom prst="rect">
              <a:avLst/>
            </a:prstGeom>
          </p:spPr>
        </p:pic>
        <p:sp>
          <p:nvSpPr>
            <p:cNvPr id="43" name="Rectangle 42"/>
            <p:cNvSpPr/>
            <p:nvPr/>
          </p:nvSpPr>
          <p:spPr bwMode="auto">
            <a:xfrm>
              <a:off x="9573570" y="176349"/>
              <a:ext cx="1099293" cy="1698123"/>
            </a:xfrm>
            <a:prstGeom prst="rect">
              <a:avLst/>
            </a:prstGeom>
            <a:solidFill>
              <a:schemeClr val="bg1">
                <a:alpha val="9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spTree>
    <p:extLst>
      <p:ext uri="{BB962C8B-B14F-4D97-AF65-F5344CB8AC3E}">
        <p14:creationId xmlns:p14="http://schemas.microsoft.com/office/powerpoint/2010/main" val="3015428882"/>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wipe(left)">
                                      <p:cBhvr>
                                        <p:cTn id="7" dur="500"/>
                                        <p:tgtEl>
                                          <p:spTgt spid="24"/>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28"/>
                                        </p:tgtEl>
                                        <p:attrNameLst>
                                          <p:attrName>style.visibility</p:attrName>
                                        </p:attrNameLst>
                                      </p:cBhvr>
                                      <p:to>
                                        <p:strVal val="visible"/>
                                      </p:to>
                                    </p:set>
                                    <p:animEffect transition="in" filter="wipe(left)">
                                      <p:cBhvr>
                                        <p:cTn id="12" dur="500"/>
                                        <p:tgtEl>
                                          <p:spTgt spid="28"/>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30"/>
                                        </p:tgtEl>
                                        <p:attrNameLst>
                                          <p:attrName>style.visibility</p:attrName>
                                        </p:attrNameLst>
                                      </p:cBhvr>
                                      <p:to>
                                        <p:strVal val="visible"/>
                                      </p:to>
                                    </p:set>
                                    <p:animEffect transition="in" filter="wipe(left)">
                                      <p:cBhvr>
                                        <p:cTn id="17" dur="500"/>
                                        <p:tgtEl>
                                          <p:spTgt spid="30"/>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33"/>
                                        </p:tgtEl>
                                        <p:attrNameLst>
                                          <p:attrName>style.visibility</p:attrName>
                                        </p:attrNameLst>
                                      </p:cBhvr>
                                      <p:to>
                                        <p:strVal val="visible"/>
                                      </p:to>
                                    </p:set>
                                    <p:animEffect transition="in" filter="wipe(left)">
                                      <p:cBhvr>
                                        <p:cTn id="22" dur="500"/>
                                        <p:tgtEl>
                                          <p:spTgt spid="33"/>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nodeType="clickEffect">
                                  <p:stCondLst>
                                    <p:cond delay="0"/>
                                  </p:stCondLst>
                                  <p:childTnLst>
                                    <p:set>
                                      <p:cBhvr>
                                        <p:cTn id="26" dur="1" fill="hold">
                                          <p:stCondLst>
                                            <p:cond delay="0"/>
                                          </p:stCondLst>
                                        </p:cTn>
                                        <p:tgtEl>
                                          <p:spTgt spid="34"/>
                                        </p:tgtEl>
                                        <p:attrNameLst>
                                          <p:attrName>style.visibility</p:attrName>
                                        </p:attrNameLst>
                                      </p:cBhvr>
                                      <p:to>
                                        <p:strVal val="visible"/>
                                      </p:to>
                                    </p:set>
                                    <p:animEffect transition="in" filter="wipe(left)">
                                      <p:cBhvr>
                                        <p:cTn id="27" dur="500"/>
                                        <p:tgtEl>
                                          <p:spTgt spid="34"/>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grpId="0" nodeType="clickEffect">
                                  <p:stCondLst>
                                    <p:cond delay="0"/>
                                  </p:stCondLst>
                                  <p:childTnLst>
                                    <p:set>
                                      <p:cBhvr>
                                        <p:cTn id="31" dur="1" fill="hold">
                                          <p:stCondLst>
                                            <p:cond delay="0"/>
                                          </p:stCondLst>
                                        </p:cTn>
                                        <p:tgtEl>
                                          <p:spTgt spid="39"/>
                                        </p:tgtEl>
                                        <p:attrNameLst>
                                          <p:attrName>style.visibility</p:attrName>
                                        </p:attrNameLst>
                                      </p:cBhvr>
                                      <p:to>
                                        <p:strVal val="visible"/>
                                      </p:to>
                                    </p:set>
                                    <p:animEffect transition="in" filter="wipe(left)">
                                      <p:cBhvr>
                                        <p:cTn id="32" dur="500"/>
                                        <p:tgtEl>
                                          <p:spTgt spid="39"/>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8" fill="hold" grpId="0" nodeType="clickEffect">
                                  <p:stCondLst>
                                    <p:cond delay="0"/>
                                  </p:stCondLst>
                                  <p:childTnLst>
                                    <p:set>
                                      <p:cBhvr>
                                        <p:cTn id="36" dur="1" fill="hold">
                                          <p:stCondLst>
                                            <p:cond delay="0"/>
                                          </p:stCondLst>
                                        </p:cTn>
                                        <p:tgtEl>
                                          <p:spTgt spid="40"/>
                                        </p:tgtEl>
                                        <p:attrNameLst>
                                          <p:attrName>style.visibility</p:attrName>
                                        </p:attrNameLst>
                                      </p:cBhvr>
                                      <p:to>
                                        <p:strVal val="visible"/>
                                      </p:to>
                                    </p:set>
                                    <p:animEffect transition="in" filter="wipe(left)">
                                      <p:cBhvr>
                                        <p:cTn id="37" dur="500"/>
                                        <p:tgtEl>
                                          <p:spTgt spid="40"/>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8" fill="hold" grpId="0" nodeType="clickEffect">
                                  <p:stCondLst>
                                    <p:cond delay="0"/>
                                  </p:stCondLst>
                                  <p:childTnLst>
                                    <p:set>
                                      <p:cBhvr>
                                        <p:cTn id="41" dur="1" fill="hold">
                                          <p:stCondLst>
                                            <p:cond delay="0"/>
                                          </p:stCondLst>
                                        </p:cTn>
                                        <p:tgtEl>
                                          <p:spTgt spid="41"/>
                                        </p:tgtEl>
                                        <p:attrNameLst>
                                          <p:attrName>style.visibility</p:attrName>
                                        </p:attrNameLst>
                                      </p:cBhvr>
                                      <p:to>
                                        <p:strVal val="visible"/>
                                      </p:to>
                                    </p:set>
                                    <p:animEffect transition="in" filter="wipe(left)">
                                      <p:cBhvr>
                                        <p:cTn id="42" dur="500"/>
                                        <p:tgtEl>
                                          <p:spTgt spid="41"/>
                                        </p:tgtEl>
                                      </p:cBhvr>
                                    </p:animEffect>
                                  </p:childTnLst>
                                </p:cTn>
                              </p:par>
                            </p:childTnLst>
                          </p:cTn>
                        </p:par>
                      </p:childTnLst>
                    </p:cTn>
                  </p:par>
                  <p:par>
                    <p:cTn id="43" fill="hold">
                      <p:stCondLst>
                        <p:cond delay="indefinite"/>
                      </p:stCondLst>
                      <p:childTnLst>
                        <p:par>
                          <p:cTn id="44" fill="hold">
                            <p:stCondLst>
                              <p:cond delay="0"/>
                            </p:stCondLst>
                            <p:childTnLst>
                              <p:par>
                                <p:cTn id="45" presetID="22" presetClass="entr" presetSubtype="8" fill="hold" grpId="0" nodeType="clickEffect">
                                  <p:stCondLst>
                                    <p:cond delay="0"/>
                                  </p:stCondLst>
                                  <p:childTnLst>
                                    <p:set>
                                      <p:cBhvr>
                                        <p:cTn id="46" dur="1" fill="hold">
                                          <p:stCondLst>
                                            <p:cond delay="0"/>
                                          </p:stCondLst>
                                        </p:cTn>
                                        <p:tgtEl>
                                          <p:spTgt spid="42"/>
                                        </p:tgtEl>
                                        <p:attrNameLst>
                                          <p:attrName>style.visibility</p:attrName>
                                        </p:attrNameLst>
                                      </p:cBhvr>
                                      <p:to>
                                        <p:strVal val="visible"/>
                                      </p:to>
                                    </p:set>
                                    <p:animEffect transition="in" filter="wipe(left)">
                                      <p:cBhvr>
                                        <p:cTn id="47" dur="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0" grpId="0"/>
      <p:bldP spid="41" grpId="0"/>
      <p:bldP spid="42" grpId="0"/>
    </p:bld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Kafka Architecture</a:t>
            </a:r>
          </a:p>
        </p:txBody>
      </p:sp>
      <p:sp>
        <p:nvSpPr>
          <p:cNvPr id="8" name="TextBox 7"/>
          <p:cNvSpPr txBox="1"/>
          <p:nvPr/>
        </p:nvSpPr>
        <p:spPr>
          <a:xfrm>
            <a:off x="3124584" y="1890191"/>
            <a:ext cx="2554592" cy="4175430"/>
          </a:xfrm>
          <a:prstGeom prst="rect">
            <a:avLst/>
          </a:prstGeom>
          <a:solidFill>
            <a:schemeClr val="bg1">
              <a:lumMod val="95000"/>
            </a:schemeClr>
          </a:solidFill>
        </p:spPr>
        <p:txBody>
          <a:bodyPr wrap="none" lIns="179285" tIns="44821" rIns="179285" bIns="179285" rtlCol="0" anchor="t">
            <a:no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505050"/>
                </a:solidFill>
                <a:effectLst/>
                <a:uLnTx/>
                <a:uFillTx/>
                <a:latin typeface="Segoe UI Semibold" panose="020B0702040204020203" pitchFamily="34" charset="0"/>
                <a:cs typeface="Segoe UI Semibold" panose="020B0702040204020203" pitchFamily="34" charset="0"/>
              </a:rPr>
              <a:t>Topics</a:t>
            </a:r>
          </a:p>
        </p:txBody>
      </p:sp>
      <p:grpSp>
        <p:nvGrpSpPr>
          <p:cNvPr id="21" name="Group 20"/>
          <p:cNvGrpSpPr/>
          <p:nvPr/>
        </p:nvGrpSpPr>
        <p:grpSpPr>
          <a:xfrm>
            <a:off x="579170" y="2820583"/>
            <a:ext cx="1885094" cy="2659443"/>
            <a:chOff x="618620" y="2729314"/>
            <a:chExt cx="1885094" cy="2659443"/>
          </a:xfrm>
        </p:grpSpPr>
        <p:sp>
          <p:nvSpPr>
            <p:cNvPr id="10" name="TextBox 9"/>
            <p:cNvSpPr txBox="1"/>
            <p:nvPr/>
          </p:nvSpPr>
          <p:spPr>
            <a:xfrm>
              <a:off x="618620" y="2729314"/>
              <a:ext cx="1885094" cy="2659443"/>
            </a:xfrm>
            <a:prstGeom prst="rect">
              <a:avLst/>
            </a:prstGeom>
            <a:solidFill>
              <a:schemeClr val="bg1">
                <a:lumMod val="95000"/>
              </a:schemeClr>
            </a:solidFill>
          </p:spPr>
          <p:txBody>
            <a:bodyPr wrap="none" lIns="179285" tIns="44821" rIns="179285" bIns="179285" rtlCol="0" anchor="t">
              <a:noAutofit/>
            </a:bodyP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bold" panose="020B0702040204020203" pitchFamily="34" charset="0"/>
                <a:cs typeface="Segoe UI Semibold" panose="020B0702040204020203" pitchFamily="34" charset="0"/>
              </a:endParaRPr>
            </a:p>
          </p:txBody>
        </p:sp>
        <p:sp>
          <p:nvSpPr>
            <p:cNvPr id="11" name="Rectangle 10"/>
            <p:cNvSpPr/>
            <p:nvPr/>
          </p:nvSpPr>
          <p:spPr bwMode="auto">
            <a:xfrm>
              <a:off x="832538" y="3268914"/>
              <a:ext cx="1436915" cy="50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solidFill>
                    <a:schemeClr val="bg1"/>
                  </a:solidFill>
                  <a:effectLst/>
                  <a:uLnTx/>
                  <a:uFillTx/>
                  <a:latin typeface="Segoe UI Semilight" panose="020B0402040204020203" pitchFamily="34" charset="0"/>
                  <a:ea typeface="Segoe UI" pitchFamily="34" charset="0"/>
                  <a:cs typeface="Segoe UI Semilight" panose="020B0402040204020203" pitchFamily="34" charset="0"/>
                </a:rPr>
                <a:t>Producer 1</a:t>
              </a:r>
            </a:p>
          </p:txBody>
        </p:sp>
        <p:sp>
          <p:nvSpPr>
            <p:cNvPr id="13" name="Rectangle 12"/>
            <p:cNvSpPr/>
            <p:nvPr/>
          </p:nvSpPr>
          <p:spPr bwMode="auto">
            <a:xfrm>
              <a:off x="832536" y="4341157"/>
              <a:ext cx="1436915" cy="50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solidFill>
                    <a:schemeClr val="bg1"/>
                  </a:solidFill>
                  <a:effectLst/>
                  <a:uLnTx/>
                  <a:uFillTx/>
                  <a:latin typeface="Segoe UI Semilight" panose="020B0402040204020203" pitchFamily="34" charset="0"/>
                  <a:ea typeface="Segoe UI" pitchFamily="34" charset="0"/>
                  <a:cs typeface="Segoe UI Semilight" panose="020B0402040204020203" pitchFamily="34" charset="0"/>
                </a:rPr>
                <a:t>Producer 2</a:t>
              </a:r>
            </a:p>
          </p:txBody>
        </p:sp>
      </p:grpSp>
      <p:sp>
        <p:nvSpPr>
          <p:cNvPr id="15" name="TextBox 14"/>
          <p:cNvSpPr txBox="1"/>
          <p:nvPr/>
        </p:nvSpPr>
        <p:spPr>
          <a:xfrm>
            <a:off x="6339496" y="1890191"/>
            <a:ext cx="2554592" cy="4175430"/>
          </a:xfrm>
          <a:prstGeom prst="rect">
            <a:avLst/>
          </a:prstGeom>
          <a:solidFill>
            <a:schemeClr val="bg1">
              <a:lumMod val="95000"/>
            </a:schemeClr>
          </a:solidFill>
        </p:spPr>
        <p:txBody>
          <a:bodyPr wrap="none" lIns="179285" tIns="44821" rIns="179285" bIns="179285" rtlCol="0" anchor="t">
            <a:no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505050"/>
                </a:solidFill>
                <a:effectLst/>
                <a:uLnTx/>
                <a:uFillTx/>
                <a:latin typeface="Segoe UI Semibold" panose="020B0702040204020203" pitchFamily="34" charset="0"/>
                <a:cs typeface="Segoe UI Semibold" panose="020B0702040204020203" pitchFamily="34" charset="0"/>
              </a:rPr>
              <a:t>Kafka brokers</a:t>
            </a:r>
          </a:p>
        </p:txBody>
      </p:sp>
      <p:grpSp>
        <p:nvGrpSpPr>
          <p:cNvPr id="16" name="Group 15"/>
          <p:cNvGrpSpPr/>
          <p:nvPr/>
        </p:nvGrpSpPr>
        <p:grpSpPr>
          <a:xfrm>
            <a:off x="9554407" y="2637853"/>
            <a:ext cx="2024768" cy="3062214"/>
            <a:chOff x="8603318" y="2318958"/>
            <a:chExt cx="2024768" cy="3062214"/>
          </a:xfrm>
        </p:grpSpPr>
        <p:sp>
          <p:nvSpPr>
            <p:cNvPr id="17" name="TextBox 16"/>
            <p:cNvSpPr txBox="1"/>
            <p:nvPr/>
          </p:nvSpPr>
          <p:spPr>
            <a:xfrm>
              <a:off x="8603318" y="2318958"/>
              <a:ext cx="2024768" cy="3062214"/>
            </a:xfrm>
            <a:prstGeom prst="rect">
              <a:avLst/>
            </a:prstGeom>
            <a:solidFill>
              <a:schemeClr val="bg1">
                <a:lumMod val="95000"/>
              </a:schemeClr>
            </a:solidFill>
          </p:spPr>
          <p:txBody>
            <a:bodyPr wrap="none" lIns="179285" tIns="44821" rIns="179285" bIns="179285" rtlCol="0" anchor="t">
              <a:no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505050"/>
                  </a:solidFill>
                  <a:effectLst/>
                  <a:uLnTx/>
                  <a:uFillTx/>
                  <a:latin typeface="Segoe UI Semibold" panose="020B0702040204020203" pitchFamily="34" charset="0"/>
                  <a:cs typeface="Segoe UI Semibold" panose="020B0702040204020203" pitchFamily="34" charset="0"/>
                </a:rPr>
                <a:t>Consumer group</a:t>
              </a:r>
            </a:p>
          </p:txBody>
        </p:sp>
        <p:sp>
          <p:nvSpPr>
            <p:cNvPr id="18" name="Rectangle 17"/>
            <p:cNvSpPr/>
            <p:nvPr/>
          </p:nvSpPr>
          <p:spPr bwMode="auto">
            <a:xfrm>
              <a:off x="8914026" y="2846563"/>
              <a:ext cx="1436915" cy="50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solidFill>
                    <a:schemeClr val="bg1"/>
                  </a:solidFill>
                  <a:effectLst/>
                  <a:uLnTx/>
                  <a:uFillTx/>
                  <a:latin typeface="Segoe UI Semilight" panose="020B0402040204020203" pitchFamily="34" charset="0"/>
                  <a:ea typeface="Segoe UI" pitchFamily="34" charset="0"/>
                  <a:cs typeface="Segoe UI Semilight" panose="020B0402040204020203" pitchFamily="34" charset="0"/>
                </a:rPr>
                <a:t>Consumer 1</a:t>
              </a:r>
            </a:p>
          </p:txBody>
        </p:sp>
        <p:sp>
          <p:nvSpPr>
            <p:cNvPr id="19" name="Rectangle 18"/>
            <p:cNvSpPr/>
            <p:nvPr/>
          </p:nvSpPr>
          <p:spPr bwMode="auto">
            <a:xfrm>
              <a:off x="8914025" y="3691105"/>
              <a:ext cx="1436915" cy="50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solidFill>
                    <a:schemeClr val="bg1"/>
                  </a:solidFill>
                  <a:effectLst/>
                  <a:uLnTx/>
                  <a:uFillTx/>
                  <a:latin typeface="Segoe UI Semilight" panose="020B0402040204020203" pitchFamily="34" charset="0"/>
                  <a:ea typeface="Segoe UI" pitchFamily="34" charset="0"/>
                  <a:cs typeface="Segoe UI Semilight" panose="020B0402040204020203" pitchFamily="34" charset="0"/>
                </a:rPr>
                <a:t>Consumer 2</a:t>
              </a:r>
            </a:p>
          </p:txBody>
        </p:sp>
        <p:sp>
          <p:nvSpPr>
            <p:cNvPr id="20" name="Rectangle 19"/>
            <p:cNvSpPr/>
            <p:nvPr/>
          </p:nvSpPr>
          <p:spPr bwMode="auto">
            <a:xfrm>
              <a:off x="8914024" y="4535647"/>
              <a:ext cx="1436915" cy="50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solidFill>
                    <a:schemeClr val="bg1"/>
                  </a:solidFill>
                  <a:effectLst/>
                  <a:uLnTx/>
                  <a:uFillTx/>
                  <a:latin typeface="Segoe UI Semilight" panose="020B0402040204020203" pitchFamily="34" charset="0"/>
                  <a:ea typeface="Segoe UI" pitchFamily="34" charset="0"/>
                  <a:cs typeface="Segoe UI Semilight" panose="020B0402040204020203" pitchFamily="34" charset="0"/>
                </a:rPr>
                <a:t>Consumer 3</a:t>
              </a:r>
            </a:p>
          </p:txBody>
        </p:sp>
      </p:grpSp>
      <p:sp>
        <p:nvSpPr>
          <p:cNvPr id="24" name="Rectangle 23"/>
          <p:cNvSpPr/>
          <p:nvPr/>
        </p:nvSpPr>
        <p:spPr bwMode="auto">
          <a:xfrm>
            <a:off x="6898335" y="2713732"/>
            <a:ext cx="1436915" cy="70498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solidFill>
                  <a:schemeClr val="bg1"/>
                </a:solidFill>
                <a:effectLst/>
                <a:uLnTx/>
                <a:uFillTx/>
                <a:ea typeface="Segoe UI" pitchFamily="34" charset="0"/>
                <a:cs typeface="Segoe UI Semilight" panose="020B0402040204020203" pitchFamily="34" charset="0"/>
              </a:rPr>
              <a:t>Server 1</a:t>
            </a:r>
          </a:p>
        </p:txBody>
      </p:sp>
      <p:sp>
        <p:nvSpPr>
          <p:cNvPr id="25" name="Rectangle 24"/>
          <p:cNvSpPr/>
          <p:nvPr/>
        </p:nvSpPr>
        <p:spPr bwMode="auto">
          <a:xfrm>
            <a:off x="6898335" y="3887549"/>
            <a:ext cx="1436915" cy="70498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solidFill>
                  <a:schemeClr val="bg1"/>
                </a:solidFill>
                <a:effectLst/>
                <a:uLnTx/>
                <a:uFillTx/>
                <a:ea typeface="Segoe UI" pitchFamily="34" charset="0"/>
                <a:cs typeface="Segoe UI Semilight" panose="020B0402040204020203" pitchFamily="34" charset="0"/>
              </a:rPr>
              <a:t>Server 2</a:t>
            </a:r>
          </a:p>
        </p:txBody>
      </p:sp>
      <p:sp>
        <p:nvSpPr>
          <p:cNvPr id="26" name="Rectangle 25"/>
          <p:cNvSpPr/>
          <p:nvPr/>
        </p:nvSpPr>
        <p:spPr bwMode="auto">
          <a:xfrm>
            <a:off x="6898335" y="5061366"/>
            <a:ext cx="1436915" cy="70498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solidFill>
                  <a:schemeClr val="bg1"/>
                </a:solidFill>
                <a:effectLst/>
                <a:uLnTx/>
                <a:uFillTx/>
                <a:ea typeface="Segoe UI" pitchFamily="34" charset="0"/>
                <a:cs typeface="Segoe UI Semilight" panose="020B0402040204020203" pitchFamily="34" charset="0"/>
              </a:rPr>
              <a:t>Server 3</a:t>
            </a:r>
          </a:p>
        </p:txBody>
      </p:sp>
      <p:cxnSp>
        <p:nvCxnSpPr>
          <p:cNvPr id="27" name="Straight Arrow Connector 26"/>
          <p:cNvCxnSpPr>
            <a:stCxn id="26" idx="3"/>
            <a:endCxn id="20" idx="1"/>
          </p:cNvCxnSpPr>
          <p:nvPr/>
        </p:nvCxnSpPr>
        <p:spPr>
          <a:xfrm flipV="1">
            <a:off x="8335250" y="5108542"/>
            <a:ext cx="1529863" cy="305317"/>
          </a:xfrm>
          <a:prstGeom prst="straightConnector1">
            <a:avLst/>
          </a:prstGeom>
          <a:ln w="19050">
            <a:solidFill>
              <a:schemeClr val="bg1">
                <a:lumMod val="65000"/>
              </a:schemeClr>
            </a:solidFill>
            <a:prstDash val="sysDot"/>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a:stCxn id="24" idx="3"/>
            <a:endCxn id="18" idx="1"/>
          </p:cNvCxnSpPr>
          <p:nvPr/>
        </p:nvCxnSpPr>
        <p:spPr>
          <a:xfrm>
            <a:off x="8335250" y="3066225"/>
            <a:ext cx="1529865" cy="353233"/>
          </a:xfrm>
          <a:prstGeom prst="straightConnector1">
            <a:avLst/>
          </a:prstGeom>
          <a:ln w="19050">
            <a:solidFill>
              <a:schemeClr val="bg1">
                <a:lumMod val="65000"/>
              </a:schemeClr>
            </a:solidFill>
            <a:prstDash val="sysDot"/>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a:stCxn id="25" idx="3"/>
            <a:endCxn id="19" idx="1"/>
          </p:cNvCxnSpPr>
          <p:nvPr/>
        </p:nvCxnSpPr>
        <p:spPr>
          <a:xfrm>
            <a:off x="8335250" y="4240042"/>
            <a:ext cx="1529864" cy="23958"/>
          </a:xfrm>
          <a:prstGeom prst="straightConnector1">
            <a:avLst/>
          </a:prstGeom>
          <a:ln w="19050">
            <a:solidFill>
              <a:schemeClr val="bg1">
                <a:lumMod val="65000"/>
              </a:schemeClr>
            </a:solidFill>
            <a:prstDash val="sysDot"/>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37" name="Freeform 70"/>
          <p:cNvSpPr>
            <a:spLocks noChangeAspect="1"/>
          </p:cNvSpPr>
          <p:nvPr/>
        </p:nvSpPr>
        <p:spPr bwMode="black">
          <a:xfrm>
            <a:off x="9068784" y="2938082"/>
            <a:ext cx="310816" cy="221300"/>
          </a:xfrm>
          <a:custGeom>
            <a:avLst/>
            <a:gdLst>
              <a:gd name="connsiteX0" fmla="*/ 444931 w 444931"/>
              <a:gd name="connsiteY0" fmla="*/ 85811 h 316789"/>
              <a:gd name="connsiteX1" fmla="*/ 444931 w 444931"/>
              <a:gd name="connsiteY1" fmla="*/ 316789 h 316789"/>
              <a:gd name="connsiteX2" fmla="*/ 0 w 444931"/>
              <a:gd name="connsiteY2" fmla="*/ 316789 h 316789"/>
              <a:gd name="connsiteX3" fmla="*/ 0 w 444931"/>
              <a:gd name="connsiteY3" fmla="*/ 90868 h 316789"/>
              <a:gd name="connsiteX4" fmla="*/ 216980 w 444931"/>
              <a:gd name="connsiteY4" fmla="*/ 211312 h 316789"/>
              <a:gd name="connsiteX5" fmla="*/ 217910 w 444931"/>
              <a:gd name="connsiteY5" fmla="*/ 209638 h 316789"/>
              <a:gd name="connsiteX6" fmla="*/ 218839 w 444931"/>
              <a:gd name="connsiteY6" fmla="*/ 211313 h 316789"/>
              <a:gd name="connsiteX7" fmla="*/ 0 w 444931"/>
              <a:gd name="connsiteY7" fmla="*/ 0 h 316789"/>
              <a:gd name="connsiteX8" fmla="*/ 444931 w 444931"/>
              <a:gd name="connsiteY8" fmla="*/ 0 h 316789"/>
              <a:gd name="connsiteX9" fmla="*/ 444931 w 444931"/>
              <a:gd name="connsiteY9" fmla="*/ 33520 h 316789"/>
              <a:gd name="connsiteX10" fmla="*/ 217910 w 444931"/>
              <a:gd name="connsiteY10" fmla="*/ 159538 h 316789"/>
              <a:gd name="connsiteX11" fmla="*/ 0 w 444931"/>
              <a:gd name="connsiteY11" fmla="*/ 38578 h 316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44931" h="316789">
                <a:moveTo>
                  <a:pt x="444931" y="85811"/>
                </a:moveTo>
                <a:lnTo>
                  <a:pt x="444931" y="316789"/>
                </a:lnTo>
                <a:lnTo>
                  <a:pt x="0" y="316789"/>
                </a:lnTo>
                <a:lnTo>
                  <a:pt x="0" y="90868"/>
                </a:lnTo>
                <a:lnTo>
                  <a:pt x="216980" y="211312"/>
                </a:lnTo>
                <a:lnTo>
                  <a:pt x="217910" y="209638"/>
                </a:lnTo>
                <a:lnTo>
                  <a:pt x="218839" y="211313"/>
                </a:lnTo>
                <a:close/>
                <a:moveTo>
                  <a:pt x="0" y="0"/>
                </a:moveTo>
                <a:lnTo>
                  <a:pt x="444931" y="0"/>
                </a:lnTo>
                <a:lnTo>
                  <a:pt x="444931" y="33520"/>
                </a:lnTo>
                <a:lnTo>
                  <a:pt x="217910" y="159538"/>
                </a:lnTo>
                <a:lnTo>
                  <a:pt x="0" y="38578"/>
                </a:ln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 name="Freeform 70"/>
          <p:cNvSpPr>
            <a:spLocks noChangeAspect="1"/>
          </p:cNvSpPr>
          <p:nvPr/>
        </p:nvSpPr>
        <p:spPr bwMode="black">
          <a:xfrm>
            <a:off x="9068784" y="3926182"/>
            <a:ext cx="310816" cy="221300"/>
          </a:xfrm>
          <a:custGeom>
            <a:avLst/>
            <a:gdLst>
              <a:gd name="connsiteX0" fmla="*/ 444931 w 444931"/>
              <a:gd name="connsiteY0" fmla="*/ 85811 h 316789"/>
              <a:gd name="connsiteX1" fmla="*/ 444931 w 444931"/>
              <a:gd name="connsiteY1" fmla="*/ 316789 h 316789"/>
              <a:gd name="connsiteX2" fmla="*/ 0 w 444931"/>
              <a:gd name="connsiteY2" fmla="*/ 316789 h 316789"/>
              <a:gd name="connsiteX3" fmla="*/ 0 w 444931"/>
              <a:gd name="connsiteY3" fmla="*/ 90868 h 316789"/>
              <a:gd name="connsiteX4" fmla="*/ 216980 w 444931"/>
              <a:gd name="connsiteY4" fmla="*/ 211312 h 316789"/>
              <a:gd name="connsiteX5" fmla="*/ 217910 w 444931"/>
              <a:gd name="connsiteY5" fmla="*/ 209638 h 316789"/>
              <a:gd name="connsiteX6" fmla="*/ 218839 w 444931"/>
              <a:gd name="connsiteY6" fmla="*/ 211313 h 316789"/>
              <a:gd name="connsiteX7" fmla="*/ 0 w 444931"/>
              <a:gd name="connsiteY7" fmla="*/ 0 h 316789"/>
              <a:gd name="connsiteX8" fmla="*/ 444931 w 444931"/>
              <a:gd name="connsiteY8" fmla="*/ 0 h 316789"/>
              <a:gd name="connsiteX9" fmla="*/ 444931 w 444931"/>
              <a:gd name="connsiteY9" fmla="*/ 33520 h 316789"/>
              <a:gd name="connsiteX10" fmla="*/ 217910 w 444931"/>
              <a:gd name="connsiteY10" fmla="*/ 159538 h 316789"/>
              <a:gd name="connsiteX11" fmla="*/ 0 w 444931"/>
              <a:gd name="connsiteY11" fmla="*/ 38578 h 316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44931" h="316789">
                <a:moveTo>
                  <a:pt x="444931" y="85811"/>
                </a:moveTo>
                <a:lnTo>
                  <a:pt x="444931" y="316789"/>
                </a:lnTo>
                <a:lnTo>
                  <a:pt x="0" y="316789"/>
                </a:lnTo>
                <a:lnTo>
                  <a:pt x="0" y="90868"/>
                </a:lnTo>
                <a:lnTo>
                  <a:pt x="216980" y="211312"/>
                </a:lnTo>
                <a:lnTo>
                  <a:pt x="217910" y="209638"/>
                </a:lnTo>
                <a:lnTo>
                  <a:pt x="218839" y="211313"/>
                </a:lnTo>
                <a:close/>
                <a:moveTo>
                  <a:pt x="0" y="0"/>
                </a:moveTo>
                <a:lnTo>
                  <a:pt x="444931" y="0"/>
                </a:lnTo>
                <a:lnTo>
                  <a:pt x="444931" y="33520"/>
                </a:lnTo>
                <a:lnTo>
                  <a:pt x="217910" y="159538"/>
                </a:lnTo>
                <a:lnTo>
                  <a:pt x="0" y="38578"/>
                </a:ln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 name="Freeform 70"/>
          <p:cNvSpPr>
            <a:spLocks noChangeAspect="1"/>
          </p:cNvSpPr>
          <p:nvPr/>
        </p:nvSpPr>
        <p:spPr bwMode="black">
          <a:xfrm>
            <a:off x="9068784" y="4887242"/>
            <a:ext cx="310816" cy="221300"/>
          </a:xfrm>
          <a:custGeom>
            <a:avLst/>
            <a:gdLst>
              <a:gd name="connsiteX0" fmla="*/ 444931 w 444931"/>
              <a:gd name="connsiteY0" fmla="*/ 85811 h 316789"/>
              <a:gd name="connsiteX1" fmla="*/ 444931 w 444931"/>
              <a:gd name="connsiteY1" fmla="*/ 316789 h 316789"/>
              <a:gd name="connsiteX2" fmla="*/ 0 w 444931"/>
              <a:gd name="connsiteY2" fmla="*/ 316789 h 316789"/>
              <a:gd name="connsiteX3" fmla="*/ 0 w 444931"/>
              <a:gd name="connsiteY3" fmla="*/ 90868 h 316789"/>
              <a:gd name="connsiteX4" fmla="*/ 216980 w 444931"/>
              <a:gd name="connsiteY4" fmla="*/ 211312 h 316789"/>
              <a:gd name="connsiteX5" fmla="*/ 217910 w 444931"/>
              <a:gd name="connsiteY5" fmla="*/ 209638 h 316789"/>
              <a:gd name="connsiteX6" fmla="*/ 218839 w 444931"/>
              <a:gd name="connsiteY6" fmla="*/ 211313 h 316789"/>
              <a:gd name="connsiteX7" fmla="*/ 0 w 444931"/>
              <a:gd name="connsiteY7" fmla="*/ 0 h 316789"/>
              <a:gd name="connsiteX8" fmla="*/ 444931 w 444931"/>
              <a:gd name="connsiteY8" fmla="*/ 0 h 316789"/>
              <a:gd name="connsiteX9" fmla="*/ 444931 w 444931"/>
              <a:gd name="connsiteY9" fmla="*/ 33520 h 316789"/>
              <a:gd name="connsiteX10" fmla="*/ 217910 w 444931"/>
              <a:gd name="connsiteY10" fmla="*/ 159538 h 316789"/>
              <a:gd name="connsiteX11" fmla="*/ 0 w 444931"/>
              <a:gd name="connsiteY11" fmla="*/ 38578 h 316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44931" h="316789">
                <a:moveTo>
                  <a:pt x="444931" y="85811"/>
                </a:moveTo>
                <a:lnTo>
                  <a:pt x="444931" y="316789"/>
                </a:lnTo>
                <a:lnTo>
                  <a:pt x="0" y="316789"/>
                </a:lnTo>
                <a:lnTo>
                  <a:pt x="0" y="90868"/>
                </a:lnTo>
                <a:lnTo>
                  <a:pt x="216980" y="211312"/>
                </a:lnTo>
                <a:lnTo>
                  <a:pt x="217910" y="209638"/>
                </a:lnTo>
                <a:lnTo>
                  <a:pt x="218839" y="211313"/>
                </a:lnTo>
                <a:close/>
                <a:moveTo>
                  <a:pt x="0" y="0"/>
                </a:moveTo>
                <a:lnTo>
                  <a:pt x="444931" y="0"/>
                </a:lnTo>
                <a:lnTo>
                  <a:pt x="444931" y="33520"/>
                </a:lnTo>
                <a:lnTo>
                  <a:pt x="217910" y="159538"/>
                </a:lnTo>
                <a:lnTo>
                  <a:pt x="0" y="38578"/>
                </a:ln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 name="Freeform 70"/>
          <p:cNvSpPr>
            <a:spLocks noChangeAspect="1"/>
          </p:cNvSpPr>
          <p:nvPr/>
        </p:nvSpPr>
        <p:spPr bwMode="black">
          <a:xfrm>
            <a:off x="2642493" y="3033691"/>
            <a:ext cx="310816" cy="221300"/>
          </a:xfrm>
          <a:custGeom>
            <a:avLst/>
            <a:gdLst>
              <a:gd name="connsiteX0" fmla="*/ 444931 w 444931"/>
              <a:gd name="connsiteY0" fmla="*/ 85811 h 316789"/>
              <a:gd name="connsiteX1" fmla="*/ 444931 w 444931"/>
              <a:gd name="connsiteY1" fmla="*/ 316789 h 316789"/>
              <a:gd name="connsiteX2" fmla="*/ 0 w 444931"/>
              <a:gd name="connsiteY2" fmla="*/ 316789 h 316789"/>
              <a:gd name="connsiteX3" fmla="*/ 0 w 444931"/>
              <a:gd name="connsiteY3" fmla="*/ 90868 h 316789"/>
              <a:gd name="connsiteX4" fmla="*/ 216980 w 444931"/>
              <a:gd name="connsiteY4" fmla="*/ 211312 h 316789"/>
              <a:gd name="connsiteX5" fmla="*/ 217910 w 444931"/>
              <a:gd name="connsiteY5" fmla="*/ 209638 h 316789"/>
              <a:gd name="connsiteX6" fmla="*/ 218839 w 444931"/>
              <a:gd name="connsiteY6" fmla="*/ 211313 h 316789"/>
              <a:gd name="connsiteX7" fmla="*/ 0 w 444931"/>
              <a:gd name="connsiteY7" fmla="*/ 0 h 316789"/>
              <a:gd name="connsiteX8" fmla="*/ 444931 w 444931"/>
              <a:gd name="connsiteY8" fmla="*/ 0 h 316789"/>
              <a:gd name="connsiteX9" fmla="*/ 444931 w 444931"/>
              <a:gd name="connsiteY9" fmla="*/ 33520 h 316789"/>
              <a:gd name="connsiteX10" fmla="*/ 217910 w 444931"/>
              <a:gd name="connsiteY10" fmla="*/ 159538 h 316789"/>
              <a:gd name="connsiteX11" fmla="*/ 0 w 444931"/>
              <a:gd name="connsiteY11" fmla="*/ 38578 h 316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44931" h="316789">
                <a:moveTo>
                  <a:pt x="444931" y="85811"/>
                </a:moveTo>
                <a:lnTo>
                  <a:pt x="444931" y="316789"/>
                </a:lnTo>
                <a:lnTo>
                  <a:pt x="0" y="316789"/>
                </a:lnTo>
                <a:lnTo>
                  <a:pt x="0" y="90868"/>
                </a:lnTo>
                <a:lnTo>
                  <a:pt x="216980" y="211312"/>
                </a:lnTo>
                <a:lnTo>
                  <a:pt x="217910" y="209638"/>
                </a:lnTo>
                <a:lnTo>
                  <a:pt x="218839" y="211313"/>
                </a:lnTo>
                <a:close/>
                <a:moveTo>
                  <a:pt x="0" y="0"/>
                </a:moveTo>
                <a:lnTo>
                  <a:pt x="444931" y="0"/>
                </a:lnTo>
                <a:lnTo>
                  <a:pt x="444931" y="33520"/>
                </a:lnTo>
                <a:lnTo>
                  <a:pt x="217910" y="159538"/>
                </a:lnTo>
                <a:lnTo>
                  <a:pt x="0" y="38578"/>
                </a:ln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 name="Freeform 70"/>
          <p:cNvSpPr>
            <a:spLocks noChangeAspect="1"/>
          </p:cNvSpPr>
          <p:nvPr/>
        </p:nvSpPr>
        <p:spPr bwMode="black">
          <a:xfrm>
            <a:off x="2642493" y="3976411"/>
            <a:ext cx="310816" cy="221300"/>
          </a:xfrm>
          <a:custGeom>
            <a:avLst/>
            <a:gdLst>
              <a:gd name="connsiteX0" fmla="*/ 444931 w 444931"/>
              <a:gd name="connsiteY0" fmla="*/ 85811 h 316789"/>
              <a:gd name="connsiteX1" fmla="*/ 444931 w 444931"/>
              <a:gd name="connsiteY1" fmla="*/ 316789 h 316789"/>
              <a:gd name="connsiteX2" fmla="*/ 0 w 444931"/>
              <a:gd name="connsiteY2" fmla="*/ 316789 h 316789"/>
              <a:gd name="connsiteX3" fmla="*/ 0 w 444931"/>
              <a:gd name="connsiteY3" fmla="*/ 90868 h 316789"/>
              <a:gd name="connsiteX4" fmla="*/ 216980 w 444931"/>
              <a:gd name="connsiteY4" fmla="*/ 211312 h 316789"/>
              <a:gd name="connsiteX5" fmla="*/ 217910 w 444931"/>
              <a:gd name="connsiteY5" fmla="*/ 209638 h 316789"/>
              <a:gd name="connsiteX6" fmla="*/ 218839 w 444931"/>
              <a:gd name="connsiteY6" fmla="*/ 211313 h 316789"/>
              <a:gd name="connsiteX7" fmla="*/ 0 w 444931"/>
              <a:gd name="connsiteY7" fmla="*/ 0 h 316789"/>
              <a:gd name="connsiteX8" fmla="*/ 444931 w 444931"/>
              <a:gd name="connsiteY8" fmla="*/ 0 h 316789"/>
              <a:gd name="connsiteX9" fmla="*/ 444931 w 444931"/>
              <a:gd name="connsiteY9" fmla="*/ 33520 h 316789"/>
              <a:gd name="connsiteX10" fmla="*/ 217910 w 444931"/>
              <a:gd name="connsiteY10" fmla="*/ 159538 h 316789"/>
              <a:gd name="connsiteX11" fmla="*/ 0 w 444931"/>
              <a:gd name="connsiteY11" fmla="*/ 38578 h 316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44931" h="316789">
                <a:moveTo>
                  <a:pt x="444931" y="85811"/>
                </a:moveTo>
                <a:lnTo>
                  <a:pt x="444931" y="316789"/>
                </a:lnTo>
                <a:lnTo>
                  <a:pt x="0" y="316789"/>
                </a:lnTo>
                <a:lnTo>
                  <a:pt x="0" y="90868"/>
                </a:lnTo>
                <a:lnTo>
                  <a:pt x="216980" y="211312"/>
                </a:lnTo>
                <a:lnTo>
                  <a:pt x="217910" y="209638"/>
                </a:lnTo>
                <a:lnTo>
                  <a:pt x="218839" y="211313"/>
                </a:lnTo>
                <a:close/>
                <a:moveTo>
                  <a:pt x="0" y="0"/>
                </a:moveTo>
                <a:lnTo>
                  <a:pt x="444931" y="0"/>
                </a:lnTo>
                <a:lnTo>
                  <a:pt x="444931" y="33520"/>
                </a:lnTo>
                <a:lnTo>
                  <a:pt x="217910" y="159538"/>
                </a:lnTo>
                <a:lnTo>
                  <a:pt x="0" y="38578"/>
                </a:ln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Freeform 70"/>
          <p:cNvSpPr>
            <a:spLocks noChangeAspect="1"/>
          </p:cNvSpPr>
          <p:nvPr/>
        </p:nvSpPr>
        <p:spPr bwMode="black">
          <a:xfrm>
            <a:off x="2642493" y="5108542"/>
            <a:ext cx="310816" cy="221300"/>
          </a:xfrm>
          <a:custGeom>
            <a:avLst/>
            <a:gdLst>
              <a:gd name="connsiteX0" fmla="*/ 444931 w 444931"/>
              <a:gd name="connsiteY0" fmla="*/ 85811 h 316789"/>
              <a:gd name="connsiteX1" fmla="*/ 444931 w 444931"/>
              <a:gd name="connsiteY1" fmla="*/ 316789 h 316789"/>
              <a:gd name="connsiteX2" fmla="*/ 0 w 444931"/>
              <a:gd name="connsiteY2" fmla="*/ 316789 h 316789"/>
              <a:gd name="connsiteX3" fmla="*/ 0 w 444931"/>
              <a:gd name="connsiteY3" fmla="*/ 90868 h 316789"/>
              <a:gd name="connsiteX4" fmla="*/ 216980 w 444931"/>
              <a:gd name="connsiteY4" fmla="*/ 211312 h 316789"/>
              <a:gd name="connsiteX5" fmla="*/ 217910 w 444931"/>
              <a:gd name="connsiteY5" fmla="*/ 209638 h 316789"/>
              <a:gd name="connsiteX6" fmla="*/ 218839 w 444931"/>
              <a:gd name="connsiteY6" fmla="*/ 211313 h 316789"/>
              <a:gd name="connsiteX7" fmla="*/ 0 w 444931"/>
              <a:gd name="connsiteY7" fmla="*/ 0 h 316789"/>
              <a:gd name="connsiteX8" fmla="*/ 444931 w 444931"/>
              <a:gd name="connsiteY8" fmla="*/ 0 h 316789"/>
              <a:gd name="connsiteX9" fmla="*/ 444931 w 444931"/>
              <a:gd name="connsiteY9" fmla="*/ 33520 h 316789"/>
              <a:gd name="connsiteX10" fmla="*/ 217910 w 444931"/>
              <a:gd name="connsiteY10" fmla="*/ 159538 h 316789"/>
              <a:gd name="connsiteX11" fmla="*/ 0 w 444931"/>
              <a:gd name="connsiteY11" fmla="*/ 38578 h 316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44931" h="316789">
                <a:moveTo>
                  <a:pt x="444931" y="85811"/>
                </a:moveTo>
                <a:lnTo>
                  <a:pt x="444931" y="316789"/>
                </a:lnTo>
                <a:lnTo>
                  <a:pt x="0" y="316789"/>
                </a:lnTo>
                <a:lnTo>
                  <a:pt x="0" y="90868"/>
                </a:lnTo>
                <a:lnTo>
                  <a:pt x="216980" y="211312"/>
                </a:lnTo>
                <a:lnTo>
                  <a:pt x="217910" y="209638"/>
                </a:lnTo>
                <a:lnTo>
                  <a:pt x="218839" y="211313"/>
                </a:lnTo>
                <a:close/>
                <a:moveTo>
                  <a:pt x="0" y="0"/>
                </a:moveTo>
                <a:lnTo>
                  <a:pt x="444931" y="0"/>
                </a:lnTo>
                <a:lnTo>
                  <a:pt x="444931" y="33520"/>
                </a:lnTo>
                <a:lnTo>
                  <a:pt x="217910" y="159538"/>
                </a:lnTo>
                <a:lnTo>
                  <a:pt x="0" y="38578"/>
                </a:ln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43" name="Straight Arrow Connector 42"/>
          <p:cNvCxnSpPr>
            <a:stCxn id="11" idx="3"/>
            <a:endCxn id="49" idx="4"/>
          </p:cNvCxnSpPr>
          <p:nvPr/>
        </p:nvCxnSpPr>
        <p:spPr>
          <a:xfrm flipV="1">
            <a:off x="2230003" y="3046220"/>
            <a:ext cx="1453420" cy="567963"/>
          </a:xfrm>
          <a:prstGeom prst="straightConnector1">
            <a:avLst/>
          </a:prstGeom>
          <a:ln w="19050">
            <a:solidFill>
              <a:schemeClr val="bg1">
                <a:lumMod val="65000"/>
              </a:schemeClr>
            </a:solidFill>
            <a:prstDash val="sysDot"/>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a:stCxn id="11" idx="3"/>
            <a:endCxn id="50" idx="4"/>
          </p:cNvCxnSpPr>
          <p:nvPr/>
        </p:nvCxnSpPr>
        <p:spPr>
          <a:xfrm>
            <a:off x="2230003" y="3614183"/>
            <a:ext cx="1453420" cy="607087"/>
          </a:xfrm>
          <a:prstGeom prst="straightConnector1">
            <a:avLst/>
          </a:prstGeom>
          <a:ln w="19050">
            <a:solidFill>
              <a:schemeClr val="bg1">
                <a:lumMod val="65000"/>
              </a:schemeClr>
            </a:solidFill>
            <a:prstDash val="sysDot"/>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a:stCxn id="13" idx="3"/>
            <a:endCxn id="51" idx="4"/>
          </p:cNvCxnSpPr>
          <p:nvPr/>
        </p:nvCxnSpPr>
        <p:spPr>
          <a:xfrm>
            <a:off x="2230001" y="4686426"/>
            <a:ext cx="1453422" cy="709895"/>
          </a:xfrm>
          <a:prstGeom prst="straightConnector1">
            <a:avLst/>
          </a:prstGeom>
          <a:ln w="19050">
            <a:solidFill>
              <a:schemeClr val="bg1">
                <a:lumMod val="65000"/>
              </a:schemeClr>
            </a:solidFill>
            <a:prstDash val="sysDot"/>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49" name="Flowchart: Direct Access Storage 48"/>
          <p:cNvSpPr/>
          <p:nvPr/>
        </p:nvSpPr>
        <p:spPr bwMode="auto">
          <a:xfrm flipH="1">
            <a:off x="3683423" y="2801820"/>
            <a:ext cx="1436914" cy="488800"/>
          </a:xfrm>
          <a:prstGeom prst="flowChartMagneticDrum">
            <a:avLst/>
          </a:prstGeom>
          <a:solidFill>
            <a:schemeClr val="accent1"/>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solidFill>
                  <a:schemeClr val="bg1"/>
                </a:solidFill>
                <a:effectLst/>
                <a:uLnTx/>
                <a:uFillTx/>
                <a:ea typeface="Segoe UI" pitchFamily="34" charset="0"/>
                <a:cs typeface="Segoe UI" pitchFamily="34" charset="0"/>
              </a:rPr>
              <a:t>0 1</a:t>
            </a:r>
          </a:p>
        </p:txBody>
      </p:sp>
      <p:sp>
        <p:nvSpPr>
          <p:cNvPr id="50" name="Flowchart: Direct Access Storage 49"/>
          <p:cNvSpPr/>
          <p:nvPr/>
        </p:nvSpPr>
        <p:spPr bwMode="auto">
          <a:xfrm flipH="1">
            <a:off x="3683423" y="3976870"/>
            <a:ext cx="1436914" cy="488800"/>
          </a:xfrm>
          <a:prstGeom prst="flowChartMagneticDrum">
            <a:avLst/>
          </a:prstGeom>
          <a:solidFill>
            <a:schemeClr val="accent1"/>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solidFill>
                  <a:schemeClr val="bg1"/>
                </a:solidFill>
                <a:effectLst/>
                <a:uLnTx/>
                <a:uFillTx/>
                <a:ea typeface="Segoe UI" pitchFamily="34" charset="0"/>
                <a:cs typeface="Segoe UI" pitchFamily="34" charset="0"/>
              </a:rPr>
              <a:t>0 1 2 3</a:t>
            </a:r>
          </a:p>
        </p:txBody>
      </p:sp>
      <p:sp>
        <p:nvSpPr>
          <p:cNvPr id="51" name="Flowchart: Direct Access Storage 50"/>
          <p:cNvSpPr/>
          <p:nvPr/>
        </p:nvSpPr>
        <p:spPr bwMode="auto">
          <a:xfrm flipH="1">
            <a:off x="3683423" y="5151921"/>
            <a:ext cx="1436914" cy="488800"/>
          </a:xfrm>
          <a:prstGeom prst="flowChartMagneticDrum">
            <a:avLst/>
          </a:prstGeom>
          <a:solidFill>
            <a:schemeClr val="accent1"/>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solidFill>
                  <a:schemeClr val="bg1"/>
                </a:solidFill>
                <a:effectLst/>
                <a:uLnTx/>
                <a:uFillTx/>
                <a:ea typeface="Segoe UI" pitchFamily="34" charset="0"/>
                <a:cs typeface="Segoe UI" pitchFamily="34" charset="0"/>
              </a:rPr>
              <a:t>0</a:t>
            </a:r>
          </a:p>
        </p:txBody>
      </p:sp>
      <p:cxnSp>
        <p:nvCxnSpPr>
          <p:cNvPr id="59" name="Straight Arrow Connector 58"/>
          <p:cNvCxnSpPr>
            <a:stCxn id="49" idx="1"/>
            <a:endCxn id="24" idx="1"/>
          </p:cNvCxnSpPr>
          <p:nvPr/>
        </p:nvCxnSpPr>
        <p:spPr>
          <a:xfrm>
            <a:off x="5120337" y="3046220"/>
            <a:ext cx="1777998" cy="20005"/>
          </a:xfrm>
          <a:prstGeom prst="straightConnector1">
            <a:avLst/>
          </a:prstGeom>
          <a:ln w="19050">
            <a:solidFill>
              <a:schemeClr val="bg1">
                <a:lumMod val="65000"/>
              </a:schemeClr>
            </a:solidFill>
            <a:prstDash val="sysDot"/>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a:stCxn id="50" idx="1"/>
            <a:endCxn id="25" idx="1"/>
          </p:cNvCxnSpPr>
          <p:nvPr/>
        </p:nvCxnSpPr>
        <p:spPr>
          <a:xfrm>
            <a:off x="5120337" y="4221270"/>
            <a:ext cx="1777998" cy="18772"/>
          </a:xfrm>
          <a:prstGeom prst="straightConnector1">
            <a:avLst/>
          </a:prstGeom>
          <a:ln w="19050">
            <a:solidFill>
              <a:schemeClr val="bg1">
                <a:lumMod val="65000"/>
              </a:schemeClr>
            </a:solidFill>
            <a:prstDash val="sysDot"/>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a:stCxn id="51" idx="1"/>
            <a:endCxn id="26" idx="1"/>
          </p:cNvCxnSpPr>
          <p:nvPr/>
        </p:nvCxnSpPr>
        <p:spPr>
          <a:xfrm>
            <a:off x="5120337" y="5396321"/>
            <a:ext cx="1777998" cy="17538"/>
          </a:xfrm>
          <a:prstGeom prst="straightConnector1">
            <a:avLst/>
          </a:prstGeom>
          <a:ln w="19050">
            <a:solidFill>
              <a:schemeClr val="bg1">
                <a:lumMod val="65000"/>
              </a:schemeClr>
            </a:solidFill>
            <a:prstDash val="sysDot"/>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68" name="Striped Right Arrow 33"/>
          <p:cNvSpPr/>
          <p:nvPr/>
        </p:nvSpPr>
        <p:spPr bwMode="auto">
          <a:xfrm>
            <a:off x="2464264" y="2513886"/>
            <a:ext cx="699374" cy="46165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spAutoFit/>
          </a:bodyPr>
          <a:lstStyle/>
          <a:p>
            <a:pPr marL="0" marR="0" lvl="0" indent="0" algn="ctr" defTabSz="913927"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tx2"/>
                </a:solidFill>
                <a:effectLst/>
                <a:uLnTx/>
                <a:uFillTx/>
              </a:rPr>
              <a:t>Write data</a:t>
            </a:r>
          </a:p>
        </p:txBody>
      </p:sp>
      <p:sp>
        <p:nvSpPr>
          <p:cNvPr id="69" name="Striped Right Arrow 33"/>
          <p:cNvSpPr/>
          <p:nvPr/>
        </p:nvSpPr>
        <p:spPr bwMode="auto">
          <a:xfrm>
            <a:off x="8987239" y="2445577"/>
            <a:ext cx="479101" cy="46165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spAutoFit/>
          </a:bodyPr>
          <a:lstStyle/>
          <a:p>
            <a:pPr marL="0" marR="0" lvl="0" indent="0" algn="ctr" defTabSz="913927"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tx2"/>
                </a:solidFill>
                <a:effectLst/>
                <a:uLnTx/>
                <a:uFillTx/>
              </a:rPr>
              <a:t>Read data</a:t>
            </a:r>
          </a:p>
        </p:txBody>
      </p:sp>
      <p:sp>
        <p:nvSpPr>
          <p:cNvPr id="76" name="Striped Right Arrow 33"/>
          <p:cNvSpPr/>
          <p:nvPr/>
        </p:nvSpPr>
        <p:spPr bwMode="auto">
          <a:xfrm>
            <a:off x="7267105" y="2346693"/>
            <a:ext cx="699374" cy="33854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spAutoFit/>
          </a:bodyPr>
          <a:lstStyle/>
          <a:p>
            <a:pPr marL="0" marR="0" lvl="0" indent="0" algn="ctr" defTabSz="913927"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rgbClr val="505050"/>
                </a:solidFill>
                <a:effectLst/>
                <a:uLnTx/>
                <a:uFillTx/>
                <a:latin typeface="Segoe UI Semibold" panose="020B0702040204020203" pitchFamily="34" charset="0"/>
                <a:cs typeface="Segoe UI Semibold" panose="020B0702040204020203" pitchFamily="34" charset="0"/>
              </a:rPr>
              <a:t>Leader</a:t>
            </a:r>
          </a:p>
        </p:txBody>
      </p:sp>
      <p:sp>
        <p:nvSpPr>
          <p:cNvPr id="77" name="Striped Right Arrow 33"/>
          <p:cNvSpPr/>
          <p:nvPr/>
        </p:nvSpPr>
        <p:spPr bwMode="auto">
          <a:xfrm>
            <a:off x="7203042" y="3522090"/>
            <a:ext cx="827501" cy="33854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spAutoFit/>
          </a:bodyPr>
          <a:lstStyle/>
          <a:p>
            <a:pPr marL="0" marR="0" lvl="0" indent="0" algn="ctr" defTabSz="913927"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rgbClr val="505050"/>
                </a:solidFill>
                <a:effectLst/>
                <a:uLnTx/>
                <a:uFillTx/>
                <a:latin typeface="Segoe UI Semibold" panose="020B0702040204020203" pitchFamily="34" charset="0"/>
                <a:cs typeface="Segoe UI Semibold" panose="020B0702040204020203" pitchFamily="34" charset="0"/>
              </a:rPr>
              <a:t>Follower</a:t>
            </a:r>
          </a:p>
        </p:txBody>
      </p:sp>
      <p:sp>
        <p:nvSpPr>
          <p:cNvPr id="78" name="Striped Right Arrow 33"/>
          <p:cNvSpPr/>
          <p:nvPr/>
        </p:nvSpPr>
        <p:spPr bwMode="auto">
          <a:xfrm>
            <a:off x="7203042" y="4704063"/>
            <a:ext cx="827501" cy="33854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spAutoFit/>
          </a:bodyPr>
          <a:lstStyle/>
          <a:p>
            <a:pPr marL="0" marR="0" lvl="0" indent="0" algn="ctr" defTabSz="913927"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rgbClr val="505050"/>
                </a:solidFill>
                <a:effectLst/>
                <a:uLnTx/>
                <a:uFillTx/>
                <a:latin typeface="Segoe UI Semibold" panose="020B0702040204020203" pitchFamily="34" charset="0"/>
                <a:cs typeface="Segoe UI Semibold" panose="020B0702040204020203" pitchFamily="34" charset="0"/>
              </a:rPr>
              <a:t>Follower</a:t>
            </a:r>
          </a:p>
        </p:txBody>
      </p:sp>
      <p:sp>
        <p:nvSpPr>
          <p:cNvPr id="79" name="Flowchart: Direct Access Storage 78"/>
          <p:cNvSpPr/>
          <p:nvPr/>
        </p:nvSpPr>
        <p:spPr bwMode="auto">
          <a:xfrm flipH="1">
            <a:off x="6981519" y="3062223"/>
            <a:ext cx="488267" cy="262068"/>
          </a:xfrm>
          <a:prstGeom prst="flowChartMagneticDrum">
            <a:avLst/>
          </a:prstGeom>
          <a:solidFill>
            <a:schemeClr val="bg1">
              <a:lumMod val="95000"/>
            </a:schemeClr>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1"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tx1"/>
                </a:solidFill>
                <a:effectLst/>
                <a:uLnTx/>
                <a:uFillTx/>
                <a:ea typeface="Segoe UI" pitchFamily="34" charset="0"/>
                <a:cs typeface="Segoe UI" pitchFamily="34" charset="0"/>
              </a:rPr>
              <a:t>P1</a:t>
            </a:r>
          </a:p>
        </p:txBody>
      </p:sp>
      <p:sp>
        <p:nvSpPr>
          <p:cNvPr id="81" name="Flowchart: Direct Access Storage 80"/>
          <p:cNvSpPr/>
          <p:nvPr/>
        </p:nvSpPr>
        <p:spPr bwMode="auto">
          <a:xfrm flipH="1">
            <a:off x="6978290" y="4235430"/>
            <a:ext cx="488267" cy="262068"/>
          </a:xfrm>
          <a:prstGeom prst="flowChartMagneticDrum">
            <a:avLst/>
          </a:prstGeom>
          <a:solidFill>
            <a:schemeClr val="bg1">
              <a:lumMod val="95000"/>
            </a:schemeClr>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1"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tx1"/>
                </a:solidFill>
                <a:effectLst/>
                <a:uLnTx/>
                <a:uFillTx/>
                <a:ea typeface="Segoe UI" pitchFamily="34" charset="0"/>
                <a:cs typeface="Segoe UI" pitchFamily="34" charset="0"/>
              </a:rPr>
              <a:t>P2</a:t>
            </a:r>
          </a:p>
        </p:txBody>
      </p:sp>
      <p:sp>
        <p:nvSpPr>
          <p:cNvPr id="82" name="Flowchart: Direct Access Storage 81"/>
          <p:cNvSpPr/>
          <p:nvPr/>
        </p:nvSpPr>
        <p:spPr bwMode="auto">
          <a:xfrm flipH="1">
            <a:off x="6975061" y="5418366"/>
            <a:ext cx="488267" cy="262068"/>
          </a:xfrm>
          <a:prstGeom prst="flowChartMagneticDrum">
            <a:avLst/>
          </a:prstGeom>
          <a:solidFill>
            <a:schemeClr val="bg1">
              <a:lumMod val="95000"/>
            </a:schemeClr>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1"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tx1"/>
                </a:solidFill>
                <a:effectLst/>
                <a:uLnTx/>
                <a:uFillTx/>
                <a:ea typeface="Segoe UI" pitchFamily="34" charset="0"/>
                <a:cs typeface="Segoe UI" pitchFamily="34" charset="0"/>
              </a:rPr>
              <a:t>P3</a:t>
            </a:r>
          </a:p>
        </p:txBody>
      </p:sp>
      <p:sp>
        <p:nvSpPr>
          <p:cNvPr id="83" name="Rectangle 82"/>
          <p:cNvSpPr/>
          <p:nvPr/>
        </p:nvSpPr>
        <p:spPr bwMode="auto">
          <a:xfrm flipH="1">
            <a:off x="7552970" y="3063992"/>
            <a:ext cx="698946" cy="258532"/>
          </a:xfrm>
          <a:prstGeom prst="rect">
            <a:avLst/>
          </a:prstGeom>
          <a:solidFill>
            <a:schemeClr val="bg1">
              <a:lumMod val="95000"/>
            </a:schemeClr>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 tIns="45720" rIns="18288" bIns="45720" numCol="1" spcCol="0" rtlCol="0" fromWordArt="0" anchor="ctr" anchorCtr="1" forceAA="0" compatLnSpc="1">
            <a:prstTxWarp prst="textNoShape">
              <a:avLst/>
            </a:prstTxWarp>
            <a:sp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tx1"/>
                </a:solidFill>
                <a:effectLst/>
                <a:uLnTx/>
                <a:uFillTx/>
                <a:ea typeface="Segoe UI" pitchFamily="34" charset="0"/>
                <a:cs typeface="Segoe UI" pitchFamily="34" charset="0"/>
              </a:rPr>
              <a:t>Replica 1</a:t>
            </a:r>
          </a:p>
        </p:txBody>
      </p:sp>
      <p:sp>
        <p:nvSpPr>
          <p:cNvPr id="84" name="Rectangle 83"/>
          <p:cNvSpPr/>
          <p:nvPr/>
        </p:nvSpPr>
        <p:spPr bwMode="auto">
          <a:xfrm flipH="1">
            <a:off x="7548901" y="4237199"/>
            <a:ext cx="698946" cy="258532"/>
          </a:xfrm>
          <a:prstGeom prst="rect">
            <a:avLst/>
          </a:prstGeom>
          <a:solidFill>
            <a:schemeClr val="bg1">
              <a:lumMod val="95000"/>
            </a:schemeClr>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 tIns="45720" rIns="18288" bIns="45720" numCol="1" spcCol="0" rtlCol="0" fromWordArt="0" anchor="ctr" anchorCtr="1" forceAA="0" compatLnSpc="1">
            <a:prstTxWarp prst="textNoShape">
              <a:avLst/>
            </a:prstTxWarp>
            <a:sp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tx1"/>
                </a:solidFill>
                <a:effectLst/>
                <a:uLnTx/>
                <a:uFillTx/>
                <a:ea typeface="Segoe UI" pitchFamily="34" charset="0"/>
                <a:cs typeface="Segoe UI" pitchFamily="34" charset="0"/>
              </a:rPr>
              <a:t>Replica 2</a:t>
            </a:r>
          </a:p>
        </p:txBody>
      </p:sp>
      <p:sp>
        <p:nvSpPr>
          <p:cNvPr id="85" name="Rectangle 84"/>
          <p:cNvSpPr/>
          <p:nvPr/>
        </p:nvSpPr>
        <p:spPr bwMode="auto">
          <a:xfrm flipH="1">
            <a:off x="7544832" y="5420135"/>
            <a:ext cx="698946" cy="258532"/>
          </a:xfrm>
          <a:prstGeom prst="rect">
            <a:avLst/>
          </a:prstGeom>
          <a:solidFill>
            <a:schemeClr val="bg1">
              <a:lumMod val="95000"/>
            </a:schemeClr>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 tIns="45720" rIns="18288" bIns="45720" numCol="1" spcCol="0" rtlCol="0" fromWordArt="0" anchor="ctr" anchorCtr="1" forceAA="0" compatLnSpc="1">
            <a:prstTxWarp prst="textNoShape">
              <a:avLst/>
            </a:prstTxWarp>
            <a:sp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tx1"/>
                </a:solidFill>
                <a:effectLst/>
                <a:uLnTx/>
                <a:uFillTx/>
                <a:ea typeface="Segoe UI" pitchFamily="34" charset="0"/>
                <a:cs typeface="Segoe UI" pitchFamily="34" charset="0"/>
              </a:rPr>
              <a:t>Replica 3</a:t>
            </a:r>
          </a:p>
        </p:txBody>
      </p:sp>
      <p:grpSp>
        <p:nvGrpSpPr>
          <p:cNvPr id="52" name="Group 51"/>
          <p:cNvGrpSpPr/>
          <p:nvPr/>
        </p:nvGrpSpPr>
        <p:grpSpPr>
          <a:xfrm>
            <a:off x="9126011" y="228005"/>
            <a:ext cx="1139839" cy="1760756"/>
            <a:chOff x="9573572" y="176349"/>
            <a:chExt cx="1099293" cy="1698123"/>
          </a:xfrm>
        </p:grpSpPr>
        <p:pic>
          <p:nvPicPr>
            <p:cNvPr id="53" name="Picture 5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614804" y="235207"/>
              <a:ext cx="1016827" cy="1632733"/>
            </a:xfrm>
            <a:prstGeom prst="rect">
              <a:avLst/>
            </a:prstGeom>
          </p:spPr>
        </p:pic>
        <p:sp>
          <p:nvSpPr>
            <p:cNvPr id="54" name="Rectangle 53"/>
            <p:cNvSpPr/>
            <p:nvPr/>
          </p:nvSpPr>
          <p:spPr bwMode="auto">
            <a:xfrm>
              <a:off x="9573572" y="176349"/>
              <a:ext cx="1099293" cy="1698123"/>
            </a:xfrm>
            <a:prstGeom prst="rect">
              <a:avLst/>
            </a:prstGeom>
            <a:solidFill>
              <a:schemeClr val="bg1">
                <a:alpha val="9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spTree>
    <p:extLst>
      <p:ext uri="{BB962C8B-B14F-4D97-AF65-F5344CB8AC3E}">
        <p14:creationId xmlns:p14="http://schemas.microsoft.com/office/powerpoint/2010/main" val="1174330425"/>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left)">
                                      <p:cBhvr>
                                        <p:cTn id="7" dur="500"/>
                                        <p:tgtEl>
                                          <p:spTgt spid="27"/>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30"/>
                                        </p:tgtEl>
                                        <p:attrNameLst>
                                          <p:attrName>style.visibility</p:attrName>
                                        </p:attrNameLst>
                                      </p:cBhvr>
                                      <p:to>
                                        <p:strVal val="visible"/>
                                      </p:to>
                                    </p:set>
                                    <p:animEffect transition="in" filter="wipe(left)">
                                      <p:cBhvr>
                                        <p:cTn id="12" dur="500"/>
                                        <p:tgtEl>
                                          <p:spTgt spid="30"/>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31"/>
                                        </p:tgtEl>
                                        <p:attrNameLst>
                                          <p:attrName>style.visibility</p:attrName>
                                        </p:attrNameLst>
                                      </p:cBhvr>
                                      <p:to>
                                        <p:strVal val="visible"/>
                                      </p:to>
                                    </p:set>
                                    <p:animEffect transition="in" filter="wipe(left)">
                                      <p:cBhvr>
                                        <p:cTn id="17" dur="500"/>
                                        <p:tgtEl>
                                          <p:spTgt spid="31"/>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43"/>
                                        </p:tgtEl>
                                        <p:attrNameLst>
                                          <p:attrName>style.visibility</p:attrName>
                                        </p:attrNameLst>
                                      </p:cBhvr>
                                      <p:to>
                                        <p:strVal val="visible"/>
                                      </p:to>
                                    </p:set>
                                    <p:animEffect transition="in" filter="wipe(left)">
                                      <p:cBhvr>
                                        <p:cTn id="22" dur="500"/>
                                        <p:tgtEl>
                                          <p:spTgt spid="43"/>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nodeType="clickEffect">
                                  <p:stCondLst>
                                    <p:cond delay="0"/>
                                  </p:stCondLst>
                                  <p:childTnLst>
                                    <p:set>
                                      <p:cBhvr>
                                        <p:cTn id="26" dur="1" fill="hold">
                                          <p:stCondLst>
                                            <p:cond delay="0"/>
                                          </p:stCondLst>
                                        </p:cTn>
                                        <p:tgtEl>
                                          <p:spTgt spid="44"/>
                                        </p:tgtEl>
                                        <p:attrNameLst>
                                          <p:attrName>style.visibility</p:attrName>
                                        </p:attrNameLst>
                                      </p:cBhvr>
                                      <p:to>
                                        <p:strVal val="visible"/>
                                      </p:to>
                                    </p:set>
                                    <p:animEffect transition="in" filter="wipe(left)">
                                      <p:cBhvr>
                                        <p:cTn id="27" dur="500"/>
                                        <p:tgtEl>
                                          <p:spTgt spid="44"/>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nodeType="clickEffect">
                                  <p:stCondLst>
                                    <p:cond delay="0"/>
                                  </p:stCondLst>
                                  <p:childTnLst>
                                    <p:set>
                                      <p:cBhvr>
                                        <p:cTn id="31" dur="1" fill="hold">
                                          <p:stCondLst>
                                            <p:cond delay="0"/>
                                          </p:stCondLst>
                                        </p:cTn>
                                        <p:tgtEl>
                                          <p:spTgt spid="45"/>
                                        </p:tgtEl>
                                        <p:attrNameLst>
                                          <p:attrName>style.visibility</p:attrName>
                                        </p:attrNameLst>
                                      </p:cBhvr>
                                      <p:to>
                                        <p:strVal val="visible"/>
                                      </p:to>
                                    </p:set>
                                    <p:animEffect transition="in" filter="wipe(left)">
                                      <p:cBhvr>
                                        <p:cTn id="32" dur="500"/>
                                        <p:tgtEl>
                                          <p:spTgt spid="45"/>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8" fill="hold" nodeType="clickEffect">
                                  <p:stCondLst>
                                    <p:cond delay="0"/>
                                  </p:stCondLst>
                                  <p:childTnLst>
                                    <p:set>
                                      <p:cBhvr>
                                        <p:cTn id="36" dur="1" fill="hold">
                                          <p:stCondLst>
                                            <p:cond delay="0"/>
                                          </p:stCondLst>
                                        </p:cTn>
                                        <p:tgtEl>
                                          <p:spTgt spid="59"/>
                                        </p:tgtEl>
                                        <p:attrNameLst>
                                          <p:attrName>style.visibility</p:attrName>
                                        </p:attrNameLst>
                                      </p:cBhvr>
                                      <p:to>
                                        <p:strVal val="visible"/>
                                      </p:to>
                                    </p:set>
                                    <p:animEffect transition="in" filter="wipe(left)">
                                      <p:cBhvr>
                                        <p:cTn id="37" dur="500"/>
                                        <p:tgtEl>
                                          <p:spTgt spid="59"/>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8" fill="hold" nodeType="clickEffect">
                                  <p:stCondLst>
                                    <p:cond delay="0"/>
                                  </p:stCondLst>
                                  <p:childTnLst>
                                    <p:set>
                                      <p:cBhvr>
                                        <p:cTn id="41" dur="1" fill="hold">
                                          <p:stCondLst>
                                            <p:cond delay="0"/>
                                          </p:stCondLst>
                                        </p:cTn>
                                        <p:tgtEl>
                                          <p:spTgt spid="60"/>
                                        </p:tgtEl>
                                        <p:attrNameLst>
                                          <p:attrName>style.visibility</p:attrName>
                                        </p:attrNameLst>
                                      </p:cBhvr>
                                      <p:to>
                                        <p:strVal val="visible"/>
                                      </p:to>
                                    </p:set>
                                    <p:animEffect transition="in" filter="wipe(left)">
                                      <p:cBhvr>
                                        <p:cTn id="42" dur="500"/>
                                        <p:tgtEl>
                                          <p:spTgt spid="60"/>
                                        </p:tgtEl>
                                      </p:cBhvr>
                                    </p:animEffect>
                                  </p:childTnLst>
                                </p:cTn>
                              </p:par>
                            </p:childTnLst>
                          </p:cTn>
                        </p:par>
                      </p:childTnLst>
                    </p:cTn>
                  </p:par>
                  <p:par>
                    <p:cTn id="43" fill="hold">
                      <p:stCondLst>
                        <p:cond delay="indefinite"/>
                      </p:stCondLst>
                      <p:childTnLst>
                        <p:par>
                          <p:cTn id="44" fill="hold">
                            <p:stCondLst>
                              <p:cond delay="0"/>
                            </p:stCondLst>
                            <p:childTnLst>
                              <p:par>
                                <p:cTn id="45" presetID="22" presetClass="entr" presetSubtype="8" fill="hold" nodeType="clickEffect">
                                  <p:stCondLst>
                                    <p:cond delay="0"/>
                                  </p:stCondLst>
                                  <p:childTnLst>
                                    <p:set>
                                      <p:cBhvr>
                                        <p:cTn id="46" dur="1" fill="hold">
                                          <p:stCondLst>
                                            <p:cond delay="0"/>
                                          </p:stCondLst>
                                        </p:cTn>
                                        <p:tgtEl>
                                          <p:spTgt spid="61"/>
                                        </p:tgtEl>
                                        <p:attrNameLst>
                                          <p:attrName>style.visibility</p:attrName>
                                        </p:attrNameLst>
                                      </p:cBhvr>
                                      <p:to>
                                        <p:strVal val="visible"/>
                                      </p:to>
                                    </p:set>
                                    <p:animEffect transition="in" filter="wipe(left)">
                                      <p:cBhvr>
                                        <p:cTn id="47" dur="500"/>
                                        <p:tgtEl>
                                          <p:spTgt spid="61"/>
                                        </p:tgtEl>
                                      </p:cBhvr>
                                    </p:animEffect>
                                  </p:childTnLst>
                                </p:cTn>
                              </p:par>
                            </p:childTnLst>
                          </p:cTn>
                        </p:par>
                      </p:childTnLst>
                    </p:cTn>
                  </p:par>
                  <p:par>
                    <p:cTn id="48" fill="hold">
                      <p:stCondLst>
                        <p:cond delay="indefinite"/>
                      </p:stCondLst>
                      <p:childTnLst>
                        <p:par>
                          <p:cTn id="49" fill="hold">
                            <p:stCondLst>
                              <p:cond delay="0"/>
                            </p:stCondLst>
                            <p:childTnLst>
                              <p:par>
                                <p:cTn id="50" presetID="22" presetClass="entr" presetSubtype="8" fill="hold" grpId="0" nodeType="clickEffect">
                                  <p:stCondLst>
                                    <p:cond delay="0"/>
                                  </p:stCondLst>
                                  <p:childTnLst>
                                    <p:set>
                                      <p:cBhvr>
                                        <p:cTn id="51" dur="1" fill="hold">
                                          <p:stCondLst>
                                            <p:cond delay="0"/>
                                          </p:stCondLst>
                                        </p:cTn>
                                        <p:tgtEl>
                                          <p:spTgt spid="68"/>
                                        </p:tgtEl>
                                        <p:attrNameLst>
                                          <p:attrName>style.visibility</p:attrName>
                                        </p:attrNameLst>
                                      </p:cBhvr>
                                      <p:to>
                                        <p:strVal val="visible"/>
                                      </p:to>
                                    </p:set>
                                    <p:animEffect transition="in" filter="wipe(left)">
                                      <p:cBhvr>
                                        <p:cTn id="52" dur="500"/>
                                        <p:tgtEl>
                                          <p:spTgt spid="68"/>
                                        </p:tgtEl>
                                      </p:cBhvr>
                                    </p:animEffect>
                                  </p:childTnLst>
                                </p:cTn>
                              </p:par>
                            </p:childTnLst>
                          </p:cTn>
                        </p:par>
                      </p:childTnLst>
                    </p:cTn>
                  </p:par>
                  <p:par>
                    <p:cTn id="53" fill="hold">
                      <p:stCondLst>
                        <p:cond delay="indefinite"/>
                      </p:stCondLst>
                      <p:childTnLst>
                        <p:par>
                          <p:cTn id="54" fill="hold">
                            <p:stCondLst>
                              <p:cond delay="0"/>
                            </p:stCondLst>
                            <p:childTnLst>
                              <p:par>
                                <p:cTn id="55" presetID="22" presetClass="entr" presetSubtype="8" fill="hold" grpId="0" nodeType="clickEffect">
                                  <p:stCondLst>
                                    <p:cond delay="0"/>
                                  </p:stCondLst>
                                  <p:childTnLst>
                                    <p:set>
                                      <p:cBhvr>
                                        <p:cTn id="56" dur="1" fill="hold">
                                          <p:stCondLst>
                                            <p:cond delay="0"/>
                                          </p:stCondLst>
                                        </p:cTn>
                                        <p:tgtEl>
                                          <p:spTgt spid="69"/>
                                        </p:tgtEl>
                                        <p:attrNameLst>
                                          <p:attrName>style.visibility</p:attrName>
                                        </p:attrNameLst>
                                      </p:cBhvr>
                                      <p:to>
                                        <p:strVal val="visible"/>
                                      </p:to>
                                    </p:set>
                                    <p:animEffect transition="in" filter="wipe(left)">
                                      <p:cBhvr>
                                        <p:cTn id="57" dur="500"/>
                                        <p:tgtEl>
                                          <p:spTgt spid="69"/>
                                        </p:tgtEl>
                                      </p:cBhvr>
                                    </p:animEffect>
                                  </p:childTnLst>
                                </p:cTn>
                              </p:par>
                            </p:childTnLst>
                          </p:cTn>
                        </p:par>
                      </p:childTnLst>
                    </p:cTn>
                  </p:par>
                  <p:par>
                    <p:cTn id="58" fill="hold">
                      <p:stCondLst>
                        <p:cond delay="indefinite"/>
                      </p:stCondLst>
                      <p:childTnLst>
                        <p:par>
                          <p:cTn id="59" fill="hold">
                            <p:stCondLst>
                              <p:cond delay="0"/>
                            </p:stCondLst>
                            <p:childTnLst>
                              <p:par>
                                <p:cTn id="60" presetID="22" presetClass="entr" presetSubtype="8" fill="hold" grpId="0" nodeType="clickEffect">
                                  <p:stCondLst>
                                    <p:cond delay="0"/>
                                  </p:stCondLst>
                                  <p:childTnLst>
                                    <p:set>
                                      <p:cBhvr>
                                        <p:cTn id="61" dur="1" fill="hold">
                                          <p:stCondLst>
                                            <p:cond delay="0"/>
                                          </p:stCondLst>
                                        </p:cTn>
                                        <p:tgtEl>
                                          <p:spTgt spid="76"/>
                                        </p:tgtEl>
                                        <p:attrNameLst>
                                          <p:attrName>style.visibility</p:attrName>
                                        </p:attrNameLst>
                                      </p:cBhvr>
                                      <p:to>
                                        <p:strVal val="visible"/>
                                      </p:to>
                                    </p:set>
                                    <p:animEffect transition="in" filter="wipe(left)">
                                      <p:cBhvr>
                                        <p:cTn id="62" dur="500"/>
                                        <p:tgtEl>
                                          <p:spTgt spid="76"/>
                                        </p:tgtEl>
                                      </p:cBhvr>
                                    </p:animEffect>
                                  </p:childTnLst>
                                </p:cTn>
                              </p:par>
                            </p:childTnLst>
                          </p:cTn>
                        </p:par>
                      </p:childTnLst>
                    </p:cTn>
                  </p:par>
                  <p:par>
                    <p:cTn id="63" fill="hold">
                      <p:stCondLst>
                        <p:cond delay="indefinite"/>
                      </p:stCondLst>
                      <p:childTnLst>
                        <p:par>
                          <p:cTn id="64" fill="hold">
                            <p:stCondLst>
                              <p:cond delay="0"/>
                            </p:stCondLst>
                            <p:childTnLst>
                              <p:par>
                                <p:cTn id="65" presetID="22" presetClass="entr" presetSubtype="8" fill="hold" grpId="0" nodeType="clickEffect">
                                  <p:stCondLst>
                                    <p:cond delay="0"/>
                                  </p:stCondLst>
                                  <p:childTnLst>
                                    <p:set>
                                      <p:cBhvr>
                                        <p:cTn id="66" dur="1" fill="hold">
                                          <p:stCondLst>
                                            <p:cond delay="0"/>
                                          </p:stCondLst>
                                        </p:cTn>
                                        <p:tgtEl>
                                          <p:spTgt spid="77"/>
                                        </p:tgtEl>
                                        <p:attrNameLst>
                                          <p:attrName>style.visibility</p:attrName>
                                        </p:attrNameLst>
                                      </p:cBhvr>
                                      <p:to>
                                        <p:strVal val="visible"/>
                                      </p:to>
                                    </p:set>
                                    <p:animEffect transition="in" filter="wipe(left)">
                                      <p:cBhvr>
                                        <p:cTn id="67" dur="500"/>
                                        <p:tgtEl>
                                          <p:spTgt spid="77"/>
                                        </p:tgtEl>
                                      </p:cBhvr>
                                    </p:animEffect>
                                  </p:childTnLst>
                                </p:cTn>
                              </p:par>
                            </p:childTnLst>
                          </p:cTn>
                        </p:par>
                      </p:childTnLst>
                    </p:cTn>
                  </p:par>
                  <p:par>
                    <p:cTn id="68" fill="hold">
                      <p:stCondLst>
                        <p:cond delay="indefinite"/>
                      </p:stCondLst>
                      <p:childTnLst>
                        <p:par>
                          <p:cTn id="69" fill="hold">
                            <p:stCondLst>
                              <p:cond delay="0"/>
                            </p:stCondLst>
                            <p:childTnLst>
                              <p:par>
                                <p:cTn id="70" presetID="22" presetClass="entr" presetSubtype="8" fill="hold" grpId="0" nodeType="clickEffect">
                                  <p:stCondLst>
                                    <p:cond delay="0"/>
                                  </p:stCondLst>
                                  <p:childTnLst>
                                    <p:set>
                                      <p:cBhvr>
                                        <p:cTn id="71" dur="1" fill="hold">
                                          <p:stCondLst>
                                            <p:cond delay="0"/>
                                          </p:stCondLst>
                                        </p:cTn>
                                        <p:tgtEl>
                                          <p:spTgt spid="78"/>
                                        </p:tgtEl>
                                        <p:attrNameLst>
                                          <p:attrName>style.visibility</p:attrName>
                                        </p:attrNameLst>
                                      </p:cBhvr>
                                      <p:to>
                                        <p:strVal val="visible"/>
                                      </p:to>
                                    </p:set>
                                    <p:animEffect transition="in" filter="wipe(left)">
                                      <p:cBhvr>
                                        <p:cTn id="72" dur="500"/>
                                        <p:tgtEl>
                                          <p:spTgt spid="7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p:bldP spid="69" grpId="0"/>
      <p:bldP spid="76" grpId="0"/>
      <p:bldP spid="77" grpId="0"/>
      <p:bldP spid="78" grpId="0"/>
    </p:bld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Why HDInsight Kafka</a:t>
            </a:r>
            <a:endParaRPr lang="en-US" dirty="0"/>
          </a:p>
        </p:txBody>
      </p:sp>
      <p:sp>
        <p:nvSpPr>
          <p:cNvPr id="3" name="Content Placeholder 2"/>
          <p:cNvSpPr>
            <a:spLocks noGrp="1"/>
          </p:cNvSpPr>
          <p:nvPr>
            <p:ph type="body" sz="quarter" idx="11"/>
          </p:nvPr>
        </p:nvSpPr>
        <p:spPr/>
        <p:txBody>
          <a:bodyPr/>
          <a:lstStyle/>
          <a:p>
            <a:pPr marL="0" indent="0">
              <a:buNone/>
            </a:pPr>
            <a:r>
              <a:rPr lang="en-US" dirty="0"/>
              <a:t>How should business intelligence owners think about building data architectures?</a:t>
            </a:r>
          </a:p>
          <a:p>
            <a:pPr marL="0" indent="0">
              <a:buNone/>
            </a:pPr>
            <a:r>
              <a:rPr lang="en-US" dirty="0"/>
              <a:t/>
            </a:r>
            <a:br>
              <a:rPr lang="en-US" dirty="0"/>
            </a:br>
            <a:r>
              <a:rPr lang="en-US" dirty="0"/>
              <a:t>Where does HDInsight fit in to this?</a:t>
            </a:r>
          </a:p>
          <a:p>
            <a:pPr marL="0" indent="0">
              <a:buNone/>
            </a:pPr>
            <a:r>
              <a:rPr lang="en-US" dirty="0"/>
              <a:t/>
            </a:r>
            <a:br>
              <a:rPr lang="en-US" dirty="0"/>
            </a:br>
            <a:r>
              <a:rPr lang="en-US" dirty="0"/>
              <a:t>Where does Kafka fit in, and how should I use it?</a:t>
            </a:r>
          </a:p>
        </p:txBody>
      </p:sp>
    </p:spTree>
    <p:extLst>
      <p:ext uri="{BB962C8B-B14F-4D97-AF65-F5344CB8AC3E}">
        <p14:creationId xmlns:p14="http://schemas.microsoft.com/office/powerpoint/2010/main" val="1128860515"/>
      </p:ext>
    </p:extLst>
  </p:cSld>
  <p:clrMapOvr>
    <a:masterClrMapping/>
  </p:clrMapOvr>
  <p:transition>
    <p:fade/>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p:txBody>
          <a:bodyPr/>
          <a:lstStyle/>
          <a:p>
            <a:r>
              <a:rPr lang="en-US" dirty="0"/>
              <a:t>Kafka on HDI benefits</a:t>
            </a:r>
          </a:p>
        </p:txBody>
      </p:sp>
      <p:sp>
        <p:nvSpPr>
          <p:cNvPr id="3" name="Content Placeholder 2"/>
          <p:cNvSpPr>
            <a:spLocks noGrp="1"/>
          </p:cNvSpPr>
          <p:nvPr>
            <p:ph type="body" sz="quarter" idx="11"/>
          </p:nvPr>
        </p:nvSpPr>
        <p:spPr>
          <a:xfrm>
            <a:off x="5220357" y="1283301"/>
            <a:ext cx="6849723" cy="4401205"/>
          </a:xfrm>
        </p:spPr>
        <p:txBody>
          <a:bodyPr wrap="square">
            <a:spAutoFit/>
          </a:bodyPr>
          <a:lstStyle/>
          <a:p>
            <a:pPr marL="0" indent="0">
              <a:buNone/>
            </a:pPr>
            <a:r>
              <a:rPr lang="en-US" dirty="0"/>
              <a:t>Reduced cost of ownership</a:t>
            </a:r>
          </a:p>
          <a:p>
            <a:pPr lvl="1" indent="-285750">
              <a:spcBef>
                <a:spcPts val="1200"/>
              </a:spcBef>
            </a:pPr>
            <a:r>
              <a:rPr lang="en-US" sz="2000" dirty="0">
                <a:solidFill>
                  <a:schemeClr val="tx1"/>
                </a:solidFill>
              </a:rPr>
              <a:t>HDInsight is a fully managed service with 99.9% SLA.</a:t>
            </a:r>
            <a:br>
              <a:rPr lang="en-US" sz="2000" dirty="0">
                <a:solidFill>
                  <a:schemeClr val="tx1"/>
                </a:solidFill>
              </a:rPr>
            </a:br>
            <a:r>
              <a:rPr lang="en-US" sz="2000" dirty="0">
                <a:solidFill>
                  <a:schemeClr val="tx1"/>
                </a:solidFill>
              </a:rPr>
              <a:t>We provide a SLA for the end to end service, not just VM instances. This greatly reduces the cost to implement, configure, and monitor Kafka components.</a:t>
            </a:r>
            <a:br>
              <a:rPr lang="en-US" sz="2000" dirty="0">
                <a:solidFill>
                  <a:schemeClr val="tx1"/>
                </a:solidFill>
              </a:rPr>
            </a:br>
            <a:r>
              <a:rPr lang="en-US" sz="2000" dirty="0">
                <a:solidFill>
                  <a:schemeClr val="tx1"/>
                </a:solidFill>
              </a:rPr>
              <a:t>63% lower TCO than on-premises. IDC study “The Business Value and TCO Advantage of Apache Hadoop in the Cloud with Microsoft Azure HDInsight”</a:t>
            </a:r>
          </a:p>
          <a:p>
            <a:pPr lvl="1" indent="-285750">
              <a:spcBef>
                <a:spcPts val="1200"/>
              </a:spcBef>
            </a:pPr>
            <a:r>
              <a:rPr lang="en-US" sz="2000" dirty="0">
                <a:solidFill>
                  <a:schemeClr val="tx1"/>
                </a:solidFill>
              </a:rPr>
              <a:t>Broker Management, ensure they are always running</a:t>
            </a:r>
          </a:p>
          <a:p>
            <a:pPr lvl="1" indent="-285750">
              <a:spcBef>
                <a:spcPts val="1200"/>
              </a:spcBef>
            </a:pPr>
            <a:r>
              <a:rPr lang="en-US" sz="2000" dirty="0">
                <a:solidFill>
                  <a:schemeClr val="tx1"/>
                </a:solidFill>
              </a:rPr>
              <a:t>Rack awareness for Kafka</a:t>
            </a:r>
          </a:p>
          <a:p>
            <a:pPr lvl="1" indent="-285750">
              <a:spcBef>
                <a:spcPts val="1200"/>
              </a:spcBef>
            </a:pPr>
            <a:r>
              <a:rPr lang="en-US" sz="2000" dirty="0">
                <a:solidFill>
                  <a:schemeClr val="tx1"/>
                </a:solidFill>
              </a:rPr>
              <a:t>Installation, configuration, and certification of</a:t>
            </a:r>
            <a:br>
              <a:rPr lang="en-US" sz="2000" dirty="0">
                <a:solidFill>
                  <a:schemeClr val="tx1"/>
                </a:solidFill>
              </a:rPr>
            </a:br>
            <a:r>
              <a:rPr lang="en-US" sz="2000" dirty="0">
                <a:solidFill>
                  <a:schemeClr val="tx1"/>
                </a:solidFill>
              </a:rPr>
              <a:t>open source components</a:t>
            </a:r>
          </a:p>
        </p:txBody>
      </p:sp>
    </p:spTree>
    <p:extLst>
      <p:ext uri="{BB962C8B-B14F-4D97-AF65-F5344CB8AC3E}">
        <p14:creationId xmlns:p14="http://schemas.microsoft.com/office/powerpoint/2010/main" val="1655589400"/>
      </p:ext>
    </p:extLst>
  </p:cSld>
  <p:clrMapOvr>
    <a:masterClrMapping/>
  </p:clrMapOvr>
  <p:transition>
    <p:fade/>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p:txBody>
          <a:bodyPr/>
          <a:lstStyle/>
          <a:p>
            <a:r>
              <a:rPr lang="en-US" dirty="0"/>
              <a:t>Kafka on HDI benefits</a:t>
            </a:r>
          </a:p>
        </p:txBody>
      </p:sp>
      <p:sp>
        <p:nvSpPr>
          <p:cNvPr id="3" name="Content Placeholder 2"/>
          <p:cNvSpPr>
            <a:spLocks noGrp="1"/>
          </p:cNvSpPr>
          <p:nvPr>
            <p:ph type="body" sz="quarter" idx="11"/>
          </p:nvPr>
        </p:nvSpPr>
        <p:spPr>
          <a:xfrm>
            <a:off x="5220357" y="1283301"/>
            <a:ext cx="6782957" cy="3139321"/>
          </a:xfrm>
        </p:spPr>
        <p:txBody>
          <a:bodyPr wrap="square">
            <a:spAutoFit/>
          </a:bodyPr>
          <a:lstStyle/>
          <a:p>
            <a:pPr marL="0" indent="0">
              <a:buNone/>
            </a:pPr>
            <a:r>
              <a:rPr lang="en-US" dirty="0"/>
              <a:t>Security &amp; Compliance</a:t>
            </a:r>
          </a:p>
          <a:p>
            <a:pPr lvl="1" indent="-285750">
              <a:spcBef>
                <a:spcPts val="1200"/>
              </a:spcBef>
            </a:pPr>
            <a:r>
              <a:rPr lang="en-US" sz="2000" dirty="0">
                <a:solidFill>
                  <a:schemeClr val="tx1"/>
                </a:solidFill>
              </a:rPr>
              <a:t>HDInsight is an enterprise level service built on Azure. </a:t>
            </a:r>
          </a:p>
          <a:p>
            <a:pPr lvl="1" indent="-285750">
              <a:spcBef>
                <a:spcPts val="1200"/>
              </a:spcBef>
            </a:pPr>
            <a:r>
              <a:rPr lang="en-US" sz="2000" dirty="0">
                <a:solidFill>
                  <a:schemeClr val="tx1"/>
                </a:solidFill>
              </a:rPr>
              <a:t>Every customer benefits from the compliance features that Azure has to offer. </a:t>
            </a:r>
          </a:p>
          <a:p>
            <a:pPr lvl="1" indent="-285750">
              <a:spcBef>
                <a:spcPts val="1200"/>
              </a:spcBef>
            </a:pPr>
            <a:r>
              <a:rPr lang="en-US" sz="2000" dirty="0">
                <a:solidFill>
                  <a:schemeClr val="tx1"/>
                </a:solidFill>
              </a:rPr>
              <a:t>In addition to this, HDInsight has introduced new security features such as HIPAA compliance, Active Directory authentication, SSH based access, Apache Ranger support, and </a:t>
            </a:r>
            <a:r>
              <a:rPr lang="en-US" sz="2000" dirty="0">
                <a:solidFill>
                  <a:schemeClr val="tx1"/>
                </a:solidFill>
                <a:hlinkClick r:id="rId2"/>
              </a:rPr>
              <a:t>more</a:t>
            </a:r>
            <a:r>
              <a:rPr lang="en-US" sz="2000" dirty="0">
                <a:solidFill>
                  <a:schemeClr val="tx1"/>
                </a:solidFill>
              </a:rPr>
              <a:t>.</a:t>
            </a:r>
          </a:p>
        </p:txBody>
      </p:sp>
    </p:spTree>
    <p:extLst>
      <p:ext uri="{BB962C8B-B14F-4D97-AF65-F5344CB8AC3E}">
        <p14:creationId xmlns:p14="http://schemas.microsoft.com/office/powerpoint/2010/main" val="2426664205"/>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DFS – What is it?</a:t>
            </a:r>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9</a:t>
            </a:fld>
            <a:endParaRPr lang="en-US" dirty="0"/>
          </a:p>
        </p:txBody>
      </p:sp>
      <p:sp>
        <p:nvSpPr>
          <p:cNvPr id="4" name="TextBox 3"/>
          <p:cNvSpPr txBox="1"/>
          <p:nvPr/>
        </p:nvSpPr>
        <p:spPr>
          <a:xfrm>
            <a:off x="470848" y="1305233"/>
            <a:ext cx="11209875" cy="671052"/>
          </a:xfrm>
          <a:prstGeom prst="rect">
            <a:avLst/>
          </a:prstGeom>
          <a:solidFill>
            <a:schemeClr val="accent3"/>
          </a:solidFill>
        </p:spPr>
        <p:txBody>
          <a:bodyPr wrap="none" lIns="182880" tIns="146304" rIns="182880" bIns="146304" rtlCol="0">
            <a:noAutofit/>
          </a:bodyPr>
          <a:lstStyle/>
          <a:p>
            <a:pPr algn="ctr">
              <a:lnSpc>
                <a:spcPct val="90000"/>
              </a:lnSpc>
              <a:spcAft>
                <a:spcPts val="600"/>
              </a:spcAft>
            </a:pPr>
            <a:r>
              <a:rPr lang="en-US" sz="2000" dirty="0">
                <a:solidFill>
                  <a:schemeClr val="bg1"/>
                </a:solidFill>
                <a:latin typeface="Segoe UI Semibold" panose="020B0702040204020203" pitchFamily="34" charset="0"/>
                <a:cs typeface="Segoe UI Semibold" panose="020B0702040204020203" pitchFamily="34" charset="0"/>
              </a:rPr>
              <a:t>A scalable, reliable and highly distributed file system to store structured and unstructured data</a:t>
            </a:r>
          </a:p>
        </p:txBody>
      </p:sp>
      <p:sp>
        <p:nvSpPr>
          <p:cNvPr id="5" name="TextBox 4"/>
          <p:cNvSpPr txBox="1"/>
          <p:nvPr/>
        </p:nvSpPr>
        <p:spPr>
          <a:xfrm>
            <a:off x="374910" y="1973082"/>
            <a:ext cx="8060206" cy="4053149"/>
          </a:xfrm>
          <a:prstGeom prst="rect">
            <a:avLst/>
          </a:prstGeom>
          <a:noFill/>
        </p:spPr>
        <p:txBody>
          <a:bodyPr wrap="square" lIns="182880" tIns="146304" rIns="182880" bIns="146304" rtlCol="0">
            <a:noAutofit/>
          </a:bodyPr>
          <a:lstStyle/>
          <a:p>
            <a:pPr marL="285750" indent="-285750">
              <a:lnSpc>
                <a:spcPts val="2200"/>
              </a:lnSpc>
              <a:spcAft>
                <a:spcPts val="600"/>
              </a:spcAft>
              <a:buClr>
                <a:schemeClr val="accent3"/>
              </a:buClr>
              <a:buSzPct val="75000"/>
              <a:buFont typeface="Wingdings" panose="05000000000000000000" pitchFamily="2" charset="2"/>
              <a:buChar char="v"/>
            </a:pPr>
            <a:r>
              <a:rPr lang="en-US" dirty="0">
                <a:solidFill>
                  <a:schemeClr val="tx1">
                    <a:lumMod val="65000"/>
                    <a:lumOff val="35000"/>
                  </a:schemeClr>
                </a:solidFill>
              </a:rPr>
              <a:t>A open-source Apache Project</a:t>
            </a:r>
          </a:p>
          <a:p>
            <a:pPr marL="285750" indent="-285750">
              <a:lnSpc>
                <a:spcPts val="2200"/>
              </a:lnSpc>
              <a:spcAft>
                <a:spcPts val="600"/>
              </a:spcAft>
              <a:buClr>
                <a:schemeClr val="accent3"/>
              </a:buClr>
              <a:buSzPct val="75000"/>
              <a:buFont typeface="Wingdings" panose="05000000000000000000" pitchFamily="2" charset="2"/>
              <a:buChar char="v"/>
            </a:pPr>
            <a:r>
              <a:rPr lang="en-US" dirty="0">
                <a:solidFill>
                  <a:schemeClr val="tx1">
                    <a:lumMod val="65000"/>
                    <a:lumOff val="35000"/>
                  </a:schemeClr>
                </a:solidFill>
              </a:rPr>
              <a:t>Optimized for high throughput of data access rather than low latency of data access.</a:t>
            </a:r>
          </a:p>
          <a:p>
            <a:pPr marL="285750" indent="-285750">
              <a:lnSpc>
                <a:spcPts val="2200"/>
              </a:lnSpc>
              <a:spcAft>
                <a:spcPts val="600"/>
              </a:spcAft>
              <a:buClr>
                <a:schemeClr val="accent3"/>
              </a:buClr>
              <a:buSzPct val="75000"/>
              <a:buFont typeface="Wingdings" panose="05000000000000000000" pitchFamily="2" charset="2"/>
              <a:buChar char="v"/>
            </a:pPr>
            <a:r>
              <a:rPr lang="en-US" dirty="0">
                <a:solidFill>
                  <a:schemeClr val="tx1">
                    <a:lumMod val="65000"/>
                    <a:lumOff val="35000"/>
                  </a:schemeClr>
                </a:solidFill>
              </a:rPr>
              <a:t>Data is organized into files and directories</a:t>
            </a:r>
          </a:p>
          <a:p>
            <a:pPr marL="285750" indent="-285750">
              <a:lnSpc>
                <a:spcPts val="2200"/>
              </a:lnSpc>
              <a:spcAft>
                <a:spcPts val="600"/>
              </a:spcAft>
              <a:buClr>
                <a:schemeClr val="accent3"/>
              </a:buClr>
              <a:buSzPct val="75000"/>
              <a:buFont typeface="Wingdings" panose="05000000000000000000" pitchFamily="2" charset="2"/>
              <a:buChar char="v"/>
            </a:pPr>
            <a:r>
              <a:rPr lang="en-US" dirty="0">
                <a:solidFill>
                  <a:schemeClr val="tx1">
                    <a:lumMod val="65000"/>
                    <a:lumOff val="35000"/>
                  </a:schemeClr>
                </a:solidFill>
              </a:rPr>
              <a:t>Files are divided into uniform size block and divided across cluster nodes</a:t>
            </a:r>
          </a:p>
          <a:p>
            <a:pPr marL="285750" indent="-285750">
              <a:lnSpc>
                <a:spcPts val="2200"/>
              </a:lnSpc>
              <a:spcAft>
                <a:spcPts val="600"/>
              </a:spcAft>
              <a:buClr>
                <a:schemeClr val="accent3"/>
              </a:buClr>
              <a:buSzPct val="75000"/>
              <a:buFont typeface="Wingdings" panose="05000000000000000000" pitchFamily="2" charset="2"/>
              <a:buChar char="v"/>
            </a:pPr>
            <a:r>
              <a:rPr lang="en-US" dirty="0">
                <a:solidFill>
                  <a:schemeClr val="tx1">
                    <a:lumMod val="65000"/>
                    <a:lumOff val="35000"/>
                  </a:schemeClr>
                </a:solidFill>
              </a:rPr>
              <a:t>Data blocks are re-balanced (using different models)</a:t>
            </a:r>
          </a:p>
          <a:p>
            <a:pPr marL="285750" indent="-285750">
              <a:lnSpc>
                <a:spcPts val="2200"/>
              </a:lnSpc>
              <a:spcAft>
                <a:spcPts val="600"/>
              </a:spcAft>
              <a:buClr>
                <a:schemeClr val="accent3"/>
              </a:buClr>
              <a:buSzPct val="75000"/>
              <a:buFont typeface="Wingdings" panose="05000000000000000000" pitchFamily="2" charset="2"/>
              <a:buChar char="v"/>
            </a:pPr>
            <a:r>
              <a:rPr lang="en-US" dirty="0">
                <a:solidFill>
                  <a:schemeClr val="tx1">
                    <a:lumMod val="65000"/>
                    <a:lumOff val="35000"/>
                  </a:schemeClr>
                </a:solidFill>
              </a:rPr>
              <a:t>Block placement is exposed to application so that computation can be place close to the data (enables the “Move the Computation to the Data” philosophy”)</a:t>
            </a:r>
          </a:p>
          <a:p>
            <a:pPr marL="285750" indent="-285750">
              <a:lnSpc>
                <a:spcPts val="2200"/>
              </a:lnSpc>
              <a:spcAft>
                <a:spcPts val="600"/>
              </a:spcAft>
              <a:buClr>
                <a:schemeClr val="accent3"/>
              </a:buClr>
              <a:buSzPct val="75000"/>
              <a:buFont typeface="Wingdings" panose="05000000000000000000" pitchFamily="2" charset="2"/>
              <a:buChar char="v"/>
            </a:pPr>
            <a:r>
              <a:rPr lang="en-US" dirty="0">
                <a:solidFill>
                  <a:schemeClr val="tx1">
                    <a:lumMod val="65000"/>
                    <a:lumOff val="35000"/>
                  </a:schemeClr>
                </a:solidFill>
              </a:rPr>
              <a:t>Blocks are replicated (default 3) to handle failures and for performance</a:t>
            </a:r>
          </a:p>
          <a:p>
            <a:pPr marL="285750" indent="-285750">
              <a:lnSpc>
                <a:spcPts val="2200"/>
              </a:lnSpc>
              <a:spcAft>
                <a:spcPts val="600"/>
              </a:spcAft>
              <a:buClr>
                <a:schemeClr val="accent3"/>
              </a:buClr>
              <a:buSzPct val="75000"/>
              <a:buFont typeface="Wingdings" panose="05000000000000000000" pitchFamily="2" charset="2"/>
              <a:buChar char="v"/>
            </a:pPr>
            <a:r>
              <a:rPr lang="en-US" dirty="0">
                <a:solidFill>
                  <a:schemeClr val="tx1">
                    <a:lumMod val="65000"/>
                    <a:lumOff val="35000"/>
                  </a:schemeClr>
                </a:solidFill>
              </a:rPr>
              <a:t>Checksums for corruption detection and recovery</a:t>
            </a:r>
          </a:p>
          <a:p>
            <a:pPr marL="285750" indent="-285750">
              <a:lnSpc>
                <a:spcPts val="2200"/>
              </a:lnSpc>
              <a:spcAft>
                <a:spcPts val="600"/>
              </a:spcAft>
              <a:buClr>
                <a:schemeClr val="accent3"/>
              </a:buClr>
              <a:buSzPct val="75000"/>
              <a:buFont typeface="Wingdings" panose="05000000000000000000" pitchFamily="2" charset="2"/>
              <a:buChar char="v"/>
            </a:pPr>
            <a:r>
              <a:rPr lang="en-US" dirty="0">
                <a:solidFill>
                  <a:schemeClr val="tx1">
                    <a:lumMod val="65000"/>
                    <a:lumOff val="35000"/>
                  </a:schemeClr>
                </a:solidFill>
              </a:rPr>
              <a:t>POSIX-style permissions and access control model</a:t>
            </a:r>
          </a:p>
          <a:p>
            <a:pPr>
              <a:lnSpc>
                <a:spcPct val="90000"/>
              </a:lnSpc>
              <a:spcAft>
                <a:spcPts val="600"/>
              </a:spcAft>
              <a:buClr>
                <a:schemeClr val="accent3"/>
              </a:buClr>
              <a:buSzPct val="75000"/>
            </a:pPr>
            <a:endParaRPr lang="en-US" dirty="0">
              <a:solidFill>
                <a:schemeClr val="tx1">
                  <a:lumMod val="85000"/>
                  <a:lumOff val="15000"/>
                </a:schemeClr>
              </a:solidFill>
            </a:endParaRPr>
          </a:p>
        </p:txBody>
      </p:sp>
      <p:pic>
        <p:nvPicPr>
          <p:cNvPr id="27650" name="Picture 2" descr="https://hadoop4manish.files.wordpress.com/2015/09/hdfs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592065" y="2477191"/>
            <a:ext cx="3048000" cy="30480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21816516"/>
      </p:ext>
    </p:extLst>
  </p:cSld>
  <p:clrMapOvr>
    <a:masterClrMapping/>
  </p:clrMapOvr>
  <p:transition spd="med">
    <p:fade/>
  </p:transition>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p:txBody>
          <a:bodyPr/>
          <a:lstStyle/>
          <a:p>
            <a:r>
              <a:rPr lang="en-US" dirty="0"/>
              <a:t>Kafka on HDI benefits</a:t>
            </a:r>
          </a:p>
        </p:txBody>
      </p:sp>
      <p:sp>
        <p:nvSpPr>
          <p:cNvPr id="3" name="Content Placeholder 2"/>
          <p:cNvSpPr>
            <a:spLocks noGrp="1"/>
          </p:cNvSpPr>
          <p:nvPr>
            <p:ph type="body" sz="quarter" idx="11"/>
          </p:nvPr>
        </p:nvSpPr>
        <p:spPr>
          <a:xfrm>
            <a:off x="5220357" y="1283301"/>
            <a:ext cx="6553001" cy="4167295"/>
          </a:xfrm>
        </p:spPr>
        <p:txBody>
          <a:bodyPr>
            <a:spAutoFit/>
          </a:bodyPr>
          <a:lstStyle/>
          <a:p>
            <a:pPr marL="0" indent="0">
              <a:spcBef>
                <a:spcPts val="1200"/>
              </a:spcBef>
              <a:buNone/>
            </a:pPr>
            <a:r>
              <a:rPr lang="en-US" dirty="0"/>
              <a:t>Enterprise grade Alerting</a:t>
            </a:r>
            <a:br>
              <a:rPr lang="en-US" dirty="0"/>
            </a:br>
            <a:r>
              <a:rPr lang="en-US" dirty="0"/>
              <a:t>and Monitoring</a:t>
            </a:r>
          </a:p>
          <a:p>
            <a:pPr marL="0" indent="0">
              <a:spcBef>
                <a:spcPts val="1200"/>
              </a:spcBef>
              <a:buNone/>
            </a:pPr>
            <a:r>
              <a:rPr lang="en-US" sz="2000" dirty="0">
                <a:solidFill>
                  <a:schemeClr val="tx1"/>
                </a:solidFill>
                <a:latin typeface="+mn-lt"/>
              </a:rPr>
              <a:t>HDInsight Kafka has native integration with Azure Operations Management Suite (OMS) </a:t>
            </a:r>
          </a:p>
          <a:p>
            <a:pPr lvl="1" indent="-285750">
              <a:spcBef>
                <a:spcPts val="1200"/>
              </a:spcBef>
            </a:pPr>
            <a:r>
              <a:rPr lang="en-US" sz="2000" dirty="0">
                <a:solidFill>
                  <a:schemeClr val="tx1"/>
                </a:solidFill>
              </a:rPr>
              <a:t>Monitor all of your resources from the Azure Portal</a:t>
            </a:r>
          </a:p>
          <a:p>
            <a:pPr lvl="1" indent="-285750">
              <a:spcBef>
                <a:spcPts val="1200"/>
              </a:spcBef>
            </a:pPr>
            <a:r>
              <a:rPr lang="en-US" sz="2000" dirty="0">
                <a:solidFill>
                  <a:schemeClr val="tx1"/>
                </a:solidFill>
              </a:rPr>
              <a:t>Collect, search, analyze Hadoop Logs + JMX Metrics</a:t>
            </a:r>
          </a:p>
          <a:p>
            <a:pPr lvl="1" indent="-285750">
              <a:spcBef>
                <a:spcPts val="1200"/>
              </a:spcBef>
            </a:pPr>
            <a:r>
              <a:rPr lang="en-US" sz="2000" dirty="0">
                <a:solidFill>
                  <a:schemeClr val="tx1"/>
                </a:solidFill>
              </a:rPr>
              <a:t>Set alerts, take predictive actions with Azure Automation Runbooks</a:t>
            </a:r>
          </a:p>
          <a:p>
            <a:pPr lvl="1" indent="-285750">
              <a:spcBef>
                <a:spcPts val="1200"/>
              </a:spcBef>
            </a:pPr>
            <a:r>
              <a:rPr lang="en-US" sz="2000" dirty="0">
                <a:solidFill>
                  <a:schemeClr val="tx1"/>
                </a:solidFill>
              </a:rPr>
              <a:t>Leverage pre-built visualizations, or build custom ones to fit your business needs</a:t>
            </a:r>
          </a:p>
        </p:txBody>
      </p:sp>
    </p:spTree>
    <p:extLst>
      <p:ext uri="{BB962C8B-B14F-4D97-AF65-F5344CB8AC3E}">
        <p14:creationId xmlns:p14="http://schemas.microsoft.com/office/powerpoint/2010/main" val="2687440871"/>
      </p:ext>
    </p:extLst>
  </p:cSld>
  <p:clrMapOvr>
    <a:masterClrMapping/>
  </p:clrMapOvr>
  <p:transition>
    <p:fade/>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DInsight Kafka availability</a:t>
            </a:r>
          </a:p>
        </p:txBody>
      </p:sp>
      <p:sp>
        <p:nvSpPr>
          <p:cNvPr id="3" name="Content Placeholder 2"/>
          <p:cNvSpPr>
            <a:spLocks noGrp="1"/>
          </p:cNvSpPr>
          <p:nvPr>
            <p:ph type="body" sz="quarter" idx="11"/>
          </p:nvPr>
        </p:nvSpPr>
        <p:spPr>
          <a:xfrm>
            <a:off x="5220357" y="1283301"/>
            <a:ext cx="6553001" cy="3391698"/>
          </a:xfrm>
        </p:spPr>
        <p:txBody>
          <a:bodyPr>
            <a:spAutoFit/>
          </a:bodyPr>
          <a:lstStyle/>
          <a:p>
            <a:pPr marL="0" indent="0">
              <a:spcBef>
                <a:spcPts val="2400"/>
              </a:spcBef>
              <a:buNone/>
            </a:pPr>
            <a:r>
              <a:rPr lang="en-US" sz="3200" dirty="0"/>
              <a:t>Currently incubating</a:t>
            </a:r>
            <a:endParaRPr lang="en-US" dirty="0"/>
          </a:p>
          <a:p>
            <a:pPr marL="0" indent="0">
              <a:spcBef>
                <a:spcPts val="2400"/>
              </a:spcBef>
              <a:buNone/>
            </a:pPr>
            <a:r>
              <a:rPr lang="en-US" sz="3200" dirty="0"/>
              <a:t>Limited Preview Mid-November</a:t>
            </a:r>
            <a:endParaRPr lang="en-US" dirty="0"/>
          </a:p>
          <a:p>
            <a:pPr marL="0" indent="0">
              <a:spcBef>
                <a:spcPts val="2400"/>
              </a:spcBef>
              <a:buNone/>
            </a:pPr>
            <a:r>
              <a:rPr lang="en-US" sz="3200" dirty="0"/>
              <a:t>Public Preview Mid-February, General Availability shortly after</a:t>
            </a:r>
          </a:p>
          <a:p>
            <a:pPr lvl="1" indent="-285750">
              <a:spcBef>
                <a:spcPts val="1200"/>
              </a:spcBef>
            </a:pPr>
            <a:r>
              <a:rPr lang="en-US" sz="2000" dirty="0">
                <a:solidFill>
                  <a:schemeClr val="tx1"/>
                </a:solidFill>
              </a:rPr>
              <a:t>Public Preview will feature significant cost reductions as workloads scale.</a:t>
            </a:r>
          </a:p>
        </p:txBody>
      </p:sp>
    </p:spTree>
    <p:extLst>
      <p:ext uri="{BB962C8B-B14F-4D97-AF65-F5344CB8AC3E}">
        <p14:creationId xmlns:p14="http://schemas.microsoft.com/office/powerpoint/2010/main" val="2640593323"/>
      </p:ext>
    </p:extLst>
  </p:cSld>
  <p:clrMapOvr>
    <a:masterClrMapping/>
  </p:clrMapOvr>
  <p:transition>
    <p:fade/>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nablement</a:t>
            </a:r>
          </a:p>
        </p:txBody>
      </p:sp>
      <p:sp>
        <p:nvSpPr>
          <p:cNvPr id="6" name="Rectangle 5"/>
          <p:cNvSpPr/>
          <p:nvPr/>
        </p:nvSpPr>
        <p:spPr bwMode="auto">
          <a:xfrm>
            <a:off x="6138358" y="1350137"/>
            <a:ext cx="1764792" cy="5074482"/>
          </a:xfrm>
          <a:prstGeom prst="rect">
            <a:avLst/>
          </a:prstGeom>
          <a:solidFill>
            <a:schemeClr val="bg1">
              <a:lumMod val="95000"/>
            </a:schemeClr>
          </a:solidFill>
        </p:spPr>
        <p:txBody>
          <a:bodyPr wrap="square" lIns="91440" tIns="44821" rIns="91440" bIns="179285" rtlCol="0" anchor="t">
            <a:no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505050"/>
                </a:solidFill>
                <a:effectLst/>
                <a:uLnTx/>
                <a:uFillTx/>
                <a:latin typeface="Segoe UI Semibold" panose="020B0702040204020203" pitchFamily="34" charset="0"/>
                <a:cs typeface="Segoe UI Semibold" panose="020B0702040204020203" pitchFamily="34" charset="0"/>
              </a:rPr>
              <a:t>Transformation</a:t>
            </a:r>
          </a:p>
        </p:txBody>
      </p:sp>
      <p:sp>
        <p:nvSpPr>
          <p:cNvPr id="9" name="Rectangle 8"/>
          <p:cNvSpPr/>
          <p:nvPr/>
        </p:nvSpPr>
        <p:spPr bwMode="auto">
          <a:xfrm>
            <a:off x="2328626" y="1350137"/>
            <a:ext cx="1764792" cy="5074482"/>
          </a:xfrm>
          <a:prstGeom prst="rect">
            <a:avLst/>
          </a:prstGeom>
          <a:solidFill>
            <a:schemeClr val="bg1">
              <a:lumMod val="95000"/>
            </a:schemeClr>
          </a:solidFill>
        </p:spPr>
        <p:txBody>
          <a:bodyPr wrap="square" lIns="91440" tIns="44821" rIns="91440" bIns="179285" rtlCol="0" anchor="t">
            <a:no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505050"/>
                </a:solidFill>
                <a:effectLst/>
                <a:uLnTx/>
                <a:uFillTx/>
                <a:latin typeface="Segoe UI Semibold" panose="020B0702040204020203" pitchFamily="34" charset="0"/>
                <a:cs typeface="Segoe UI Semibold" panose="020B0702040204020203" pitchFamily="34" charset="0"/>
              </a:rPr>
              <a:t>Collection</a:t>
            </a:r>
          </a:p>
        </p:txBody>
      </p:sp>
      <p:sp>
        <p:nvSpPr>
          <p:cNvPr id="12" name="Rectangle 11"/>
          <p:cNvSpPr/>
          <p:nvPr/>
        </p:nvSpPr>
        <p:spPr bwMode="auto">
          <a:xfrm>
            <a:off x="9948091" y="1348892"/>
            <a:ext cx="1764792" cy="5074482"/>
          </a:xfrm>
          <a:prstGeom prst="rect">
            <a:avLst/>
          </a:prstGeom>
          <a:solidFill>
            <a:schemeClr val="bg1">
              <a:lumMod val="95000"/>
            </a:schemeClr>
          </a:solidFill>
        </p:spPr>
        <p:txBody>
          <a:bodyPr wrap="square" lIns="91440" tIns="44821" rIns="91440" bIns="179285" rtlCol="0" anchor="t">
            <a:no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505050"/>
                </a:solidFill>
                <a:effectLst/>
                <a:uLnTx/>
                <a:uFillTx/>
                <a:latin typeface="Segoe UI Semibold" panose="020B0702040204020203" pitchFamily="34" charset="0"/>
                <a:cs typeface="Segoe UI Semibold" panose="020B0702040204020203" pitchFamily="34" charset="0"/>
              </a:rPr>
              <a:t>Presentation and action</a:t>
            </a:r>
          </a:p>
        </p:txBody>
      </p:sp>
      <p:sp>
        <p:nvSpPr>
          <p:cNvPr id="16" name="Rectangle 15"/>
          <p:cNvSpPr/>
          <p:nvPr/>
        </p:nvSpPr>
        <p:spPr bwMode="auto">
          <a:xfrm>
            <a:off x="4233492" y="1350137"/>
            <a:ext cx="1764792" cy="5074482"/>
          </a:xfrm>
          <a:prstGeom prst="rect">
            <a:avLst/>
          </a:prstGeom>
          <a:solidFill>
            <a:schemeClr val="bg1">
              <a:lumMod val="95000"/>
            </a:schemeClr>
          </a:solidFill>
        </p:spPr>
        <p:txBody>
          <a:bodyPr wrap="square" lIns="91440" tIns="44821" rIns="91440" bIns="179285" rtlCol="0" anchor="t">
            <a:no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505050"/>
                </a:solidFill>
                <a:effectLst/>
                <a:uLnTx/>
                <a:uFillTx/>
                <a:latin typeface="Segoe UI Semibold" panose="020B0702040204020203" pitchFamily="34" charset="0"/>
                <a:cs typeface="Segoe UI Semibold" panose="020B0702040204020203" pitchFamily="34" charset="0"/>
              </a:rPr>
              <a:t>Event queuing system</a:t>
            </a:r>
          </a:p>
        </p:txBody>
      </p:sp>
      <p:sp>
        <p:nvSpPr>
          <p:cNvPr id="19" name="Rectangle 18"/>
          <p:cNvSpPr/>
          <p:nvPr/>
        </p:nvSpPr>
        <p:spPr bwMode="auto">
          <a:xfrm>
            <a:off x="8043224" y="1348892"/>
            <a:ext cx="1764792" cy="5074482"/>
          </a:xfrm>
          <a:prstGeom prst="rect">
            <a:avLst/>
          </a:prstGeom>
          <a:solidFill>
            <a:schemeClr val="bg1">
              <a:lumMod val="95000"/>
            </a:schemeClr>
          </a:solidFill>
        </p:spPr>
        <p:txBody>
          <a:bodyPr wrap="square" lIns="91440" tIns="44821" rIns="91440" bIns="179285" rtlCol="0" anchor="t">
            <a:no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505050"/>
                </a:solidFill>
                <a:effectLst/>
                <a:uLnTx/>
                <a:uFillTx/>
                <a:latin typeface="Segoe UI Semibold" panose="020B0702040204020203" pitchFamily="34" charset="0"/>
                <a:cs typeface="Segoe UI Semibold" panose="020B0702040204020203" pitchFamily="34" charset="0"/>
              </a:rPr>
              <a:t>Long-term storage</a:t>
            </a:r>
          </a:p>
        </p:txBody>
      </p:sp>
      <p:grpSp>
        <p:nvGrpSpPr>
          <p:cNvPr id="206" name="Group 205"/>
          <p:cNvGrpSpPr/>
          <p:nvPr/>
        </p:nvGrpSpPr>
        <p:grpSpPr>
          <a:xfrm>
            <a:off x="10213942" y="3209298"/>
            <a:ext cx="1233090" cy="686435"/>
            <a:chOff x="10248685" y="3349803"/>
            <a:chExt cx="1233090" cy="686435"/>
          </a:xfrm>
        </p:grpSpPr>
        <p:sp>
          <p:nvSpPr>
            <p:cNvPr id="50" name="Freeform 8"/>
            <p:cNvSpPr>
              <a:spLocks noChangeAspect="1" noEditPoints="1"/>
            </p:cNvSpPr>
            <p:nvPr/>
          </p:nvSpPr>
          <p:spPr bwMode="black">
            <a:xfrm>
              <a:off x="10648143" y="3349803"/>
              <a:ext cx="434176" cy="434062"/>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chemeClr val="accent1"/>
            </a:solidFill>
            <a:ln>
              <a:noFill/>
            </a:ln>
          </p:spPr>
          <p:txBody>
            <a:bodyPr vert="horz" wrap="square" lIns="80664" tIns="40332" rIns="80664" bIns="40332"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567" b="0" i="0" u="none" strike="noStrike" kern="0" cap="none" spc="0" normalizeH="0" baseline="0" noProof="0" dirty="0">
                <a:ln>
                  <a:noFill/>
                </a:ln>
                <a:solidFill>
                  <a:srgbClr val="000000"/>
                </a:solidFill>
                <a:effectLst/>
                <a:uLnTx/>
                <a:uFillTx/>
              </a:endParaRPr>
            </a:p>
          </p:txBody>
        </p:sp>
        <p:sp>
          <p:nvSpPr>
            <p:cNvPr id="51" name="TextBox 50"/>
            <p:cNvSpPr txBox="1"/>
            <p:nvPr/>
          </p:nvSpPr>
          <p:spPr>
            <a:xfrm>
              <a:off x="10248685" y="3851572"/>
              <a:ext cx="1233090" cy="184666"/>
            </a:xfrm>
            <a:prstGeom prst="rect">
              <a:avLst/>
            </a:prstGeom>
            <a:noFill/>
          </p:spPr>
          <p:txBody>
            <a:bodyPr wrap="squar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marL="0" marR="0" lvl="0" indent="0" defTabSz="914367" eaLnBrk="1" fontAlgn="auto" latinLnBrk="0" hangingPunct="1">
                <a:lnSpc>
                  <a:spcPct val="100000"/>
                </a:lnSpc>
                <a:spcBef>
                  <a:spcPts val="0"/>
                </a:spcBef>
                <a:spcAft>
                  <a:spcPts val="600"/>
                </a:spcAft>
                <a:buClrTx/>
                <a:buSzTx/>
                <a:buFontTx/>
                <a:buNone/>
                <a:tabLst/>
                <a:defRPr/>
              </a:pPr>
              <a:r>
                <a:rPr kumimoji="0" lang="en-US" sz="1200" b="0" i="0" u="none" strike="noStrike" kern="0" cap="none" spc="0" normalizeH="0" baseline="0" noProof="0" dirty="0">
                  <a:ln>
                    <a:noFill/>
                  </a:ln>
                  <a:solidFill>
                    <a:srgbClr val="505050"/>
                  </a:solidFill>
                  <a:effectLst/>
                  <a:uLnTx/>
                  <a:uFillTx/>
                  <a:latin typeface="+mn-lt"/>
                </a:rPr>
                <a:t>Search and query</a:t>
              </a:r>
            </a:p>
          </p:txBody>
        </p:sp>
      </p:grpSp>
      <p:grpSp>
        <p:nvGrpSpPr>
          <p:cNvPr id="207" name="Group 206"/>
          <p:cNvGrpSpPr/>
          <p:nvPr/>
        </p:nvGrpSpPr>
        <p:grpSpPr>
          <a:xfrm>
            <a:off x="10271256" y="2134477"/>
            <a:ext cx="1118462" cy="789786"/>
            <a:chOff x="10305998" y="2274982"/>
            <a:chExt cx="1118462" cy="789786"/>
          </a:xfrm>
        </p:grpSpPr>
        <p:sp>
          <p:nvSpPr>
            <p:cNvPr id="46" name="Freeform 27"/>
            <p:cNvSpPr>
              <a:spLocks noChangeAspect="1" noEditPoints="1"/>
            </p:cNvSpPr>
            <p:nvPr/>
          </p:nvSpPr>
          <p:spPr bwMode="black">
            <a:xfrm>
              <a:off x="10590632" y="2274982"/>
              <a:ext cx="549193" cy="353776"/>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1"/>
            </a:solidFill>
            <a:extLst/>
          </p:spPr>
          <p:txBody>
            <a:bodyPr vert="horz" wrap="square" lIns="89617" tIns="44808" rIns="89617" bIns="44808"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endParaRPr>
            </a:p>
          </p:txBody>
        </p:sp>
        <p:sp>
          <p:nvSpPr>
            <p:cNvPr id="47" name="TextBox 46"/>
            <p:cNvSpPr txBox="1"/>
            <p:nvPr/>
          </p:nvSpPr>
          <p:spPr>
            <a:xfrm>
              <a:off x="10305998" y="2695436"/>
              <a:ext cx="1118462" cy="369332"/>
            </a:xfrm>
            <a:prstGeom prst="rect">
              <a:avLst/>
            </a:prstGeom>
            <a:noFill/>
          </p:spPr>
          <p:txBody>
            <a:bodyPr wrap="squar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marL="0" marR="0" lvl="0" indent="0" algn="ctr" defTabSz="914367" eaLnBrk="1" fontAlgn="auto" latinLnBrk="0" hangingPunct="1">
                <a:lnSpc>
                  <a:spcPct val="100000"/>
                </a:lnSpc>
                <a:spcBef>
                  <a:spcPts val="0"/>
                </a:spcBef>
                <a:spcAft>
                  <a:spcPts val="600"/>
                </a:spcAft>
                <a:buClrTx/>
                <a:buSzTx/>
                <a:buFontTx/>
                <a:buNone/>
                <a:tabLst/>
                <a:defRPr/>
              </a:pPr>
              <a:r>
                <a:rPr kumimoji="0" lang="en-US" sz="1200" b="0" i="0" u="none" strike="noStrike" kern="0" cap="none" spc="0" normalizeH="0" baseline="0" noProof="0" dirty="0">
                  <a:ln>
                    <a:noFill/>
                  </a:ln>
                  <a:solidFill>
                    <a:srgbClr val="505050"/>
                  </a:solidFill>
                  <a:effectLst/>
                  <a:uLnTx/>
                  <a:uFillTx/>
                  <a:latin typeface="+mn-lt"/>
                </a:rPr>
                <a:t>Web/thick client </a:t>
              </a:r>
              <a:br>
                <a:rPr kumimoji="0" lang="en-US" sz="1200" b="0" i="0" u="none" strike="noStrike" kern="0" cap="none" spc="0" normalizeH="0" baseline="0" noProof="0" dirty="0">
                  <a:ln>
                    <a:noFill/>
                  </a:ln>
                  <a:solidFill>
                    <a:srgbClr val="505050"/>
                  </a:solidFill>
                  <a:effectLst/>
                  <a:uLnTx/>
                  <a:uFillTx/>
                  <a:latin typeface="+mn-lt"/>
                </a:rPr>
              </a:br>
              <a:r>
                <a:rPr kumimoji="0" lang="en-US" sz="1200" b="0" i="0" u="none" strike="noStrike" kern="0" cap="none" spc="0" normalizeH="0" baseline="0" noProof="0" dirty="0">
                  <a:ln>
                    <a:noFill/>
                  </a:ln>
                  <a:solidFill>
                    <a:srgbClr val="505050"/>
                  </a:solidFill>
                  <a:effectLst/>
                  <a:uLnTx/>
                  <a:uFillTx/>
                  <a:latin typeface="+mn-lt"/>
                </a:rPr>
                <a:t>dashboards</a:t>
              </a:r>
            </a:p>
          </p:txBody>
        </p:sp>
      </p:grpSp>
      <p:sp>
        <p:nvSpPr>
          <p:cNvPr id="28" name="TextBox 27"/>
          <p:cNvSpPr txBox="1"/>
          <p:nvPr/>
        </p:nvSpPr>
        <p:spPr>
          <a:xfrm>
            <a:off x="9948090" y="5951688"/>
            <a:ext cx="1764793" cy="430887"/>
          </a:xfrm>
          <a:prstGeom prst="rect">
            <a:avLst/>
          </a:prstGeom>
          <a:noFill/>
        </p:spPr>
        <p:txBody>
          <a:bodyPr wrap="squar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marL="0" marR="0" lvl="0" indent="0" algn="ctr" defTabSz="914367" eaLnBrk="1" fontAlgn="auto" latinLnBrk="0" hangingPunct="1">
              <a:lnSpc>
                <a:spcPct val="100000"/>
              </a:lnSpc>
              <a:spcBef>
                <a:spcPts val="0"/>
              </a:spcBef>
              <a:spcAft>
                <a:spcPts val="600"/>
              </a:spcAft>
              <a:buClrTx/>
              <a:buSzTx/>
              <a:buFontTx/>
              <a:buNone/>
              <a:tabLst/>
              <a:defRPr/>
            </a:pPr>
            <a:r>
              <a:rPr kumimoji="0" lang="en-US" sz="1400" b="0" i="0" u="none" strike="noStrike" kern="0" cap="none" spc="0" normalizeH="0" baseline="0" noProof="0" dirty="0">
                <a:ln>
                  <a:noFill/>
                </a:ln>
                <a:solidFill>
                  <a:srgbClr val="505050"/>
                </a:solidFill>
                <a:effectLst/>
                <a:uLnTx/>
                <a:uFillTx/>
                <a:latin typeface="+mn-lt"/>
              </a:rPr>
              <a:t>Devices to</a:t>
            </a:r>
            <a:br>
              <a:rPr kumimoji="0" lang="en-US" sz="1400" b="0" i="0" u="none" strike="noStrike" kern="0" cap="none" spc="0" normalizeH="0" baseline="0" noProof="0" dirty="0">
                <a:ln>
                  <a:noFill/>
                </a:ln>
                <a:solidFill>
                  <a:srgbClr val="505050"/>
                </a:solidFill>
                <a:effectLst/>
                <a:uLnTx/>
                <a:uFillTx/>
                <a:latin typeface="+mn-lt"/>
              </a:rPr>
            </a:br>
            <a:r>
              <a:rPr kumimoji="0" lang="en-US" sz="1400" b="0" i="0" u="none" strike="noStrike" kern="0" cap="none" spc="0" normalizeH="0" baseline="0" noProof="0" dirty="0">
                <a:ln>
                  <a:noFill/>
                </a:ln>
                <a:solidFill>
                  <a:srgbClr val="505050"/>
                </a:solidFill>
                <a:effectLst/>
                <a:uLnTx/>
                <a:uFillTx/>
                <a:latin typeface="+mn-lt"/>
              </a:rPr>
              <a:t>take action</a:t>
            </a:r>
          </a:p>
        </p:txBody>
      </p:sp>
      <p:grpSp>
        <p:nvGrpSpPr>
          <p:cNvPr id="204" name="Group 203"/>
          <p:cNvGrpSpPr/>
          <p:nvPr/>
        </p:nvGrpSpPr>
        <p:grpSpPr>
          <a:xfrm>
            <a:off x="10492702" y="5109842"/>
            <a:ext cx="675570" cy="676916"/>
            <a:chOff x="10534085" y="5397963"/>
            <a:chExt cx="675570" cy="676916"/>
          </a:xfrm>
        </p:grpSpPr>
        <p:sp>
          <p:nvSpPr>
            <p:cNvPr id="29" name="TextBox 28"/>
            <p:cNvSpPr txBox="1"/>
            <p:nvPr/>
          </p:nvSpPr>
          <p:spPr>
            <a:xfrm>
              <a:off x="10534085" y="5890213"/>
              <a:ext cx="675570" cy="184666"/>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marL="0" marR="0" lvl="0" indent="0" defTabSz="914367" eaLnBrk="1" fontAlgn="auto" latinLnBrk="0" hangingPunct="1">
                <a:lnSpc>
                  <a:spcPct val="100000"/>
                </a:lnSpc>
                <a:spcBef>
                  <a:spcPts val="0"/>
                </a:spcBef>
                <a:spcAft>
                  <a:spcPts val="600"/>
                </a:spcAft>
                <a:buClrTx/>
                <a:buSzTx/>
                <a:buFontTx/>
                <a:buNone/>
                <a:tabLst/>
                <a:defRPr/>
              </a:pPr>
              <a:r>
                <a:rPr kumimoji="0" lang="en-US" sz="1200" b="0" i="0" u="none" strike="noStrike" kern="0" cap="none" spc="0" normalizeH="0" baseline="0" noProof="0" dirty="0">
                  <a:ln>
                    <a:noFill/>
                  </a:ln>
                  <a:solidFill>
                    <a:srgbClr val="505050"/>
                  </a:solidFill>
                  <a:effectLst/>
                  <a:uLnTx/>
                  <a:uFillTx/>
                  <a:latin typeface="+mn-lt"/>
                </a:rPr>
                <a:t>Event hub</a:t>
              </a:r>
            </a:p>
          </p:txBody>
        </p:sp>
        <p:grpSp>
          <p:nvGrpSpPr>
            <p:cNvPr id="30" name="Group 29"/>
            <p:cNvGrpSpPr/>
            <p:nvPr/>
          </p:nvGrpSpPr>
          <p:grpSpPr>
            <a:xfrm>
              <a:off x="10654121" y="5397963"/>
              <a:ext cx="422216" cy="414648"/>
              <a:chOff x="10407690" y="6565900"/>
              <a:chExt cx="918249" cy="774700"/>
            </a:xfrm>
            <a:solidFill>
              <a:schemeClr val="accent6"/>
            </a:solidFill>
          </p:grpSpPr>
          <p:grpSp>
            <p:nvGrpSpPr>
              <p:cNvPr id="31" name="Group 30"/>
              <p:cNvGrpSpPr/>
              <p:nvPr/>
            </p:nvGrpSpPr>
            <p:grpSpPr>
              <a:xfrm>
                <a:off x="10407690" y="6565900"/>
                <a:ext cx="918249" cy="205801"/>
                <a:chOff x="10452140" y="6610350"/>
                <a:chExt cx="918249" cy="205801"/>
              </a:xfrm>
              <a:grpFill/>
            </p:grpSpPr>
            <p:sp>
              <p:nvSpPr>
                <p:cNvPr id="43" name="Rectangle 42"/>
                <p:cNvSpPr/>
                <p:nvPr/>
              </p:nvSpPr>
              <p:spPr bwMode="auto">
                <a:xfrm>
                  <a:off x="10452140" y="6610350"/>
                  <a:ext cx="914400" cy="1143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4" name="Rectangle 43"/>
                <p:cNvSpPr/>
                <p:nvPr/>
              </p:nvSpPr>
              <p:spPr bwMode="auto">
                <a:xfrm>
                  <a:off x="10452141" y="6610350"/>
                  <a:ext cx="120094" cy="205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5" name="Rectangle 44"/>
                <p:cNvSpPr/>
                <p:nvPr/>
              </p:nvSpPr>
              <p:spPr bwMode="auto">
                <a:xfrm>
                  <a:off x="11245924" y="6610350"/>
                  <a:ext cx="124465" cy="205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32" name="Group 31"/>
              <p:cNvGrpSpPr/>
              <p:nvPr/>
            </p:nvGrpSpPr>
            <p:grpSpPr>
              <a:xfrm>
                <a:off x="10407690" y="6739951"/>
                <a:ext cx="918249" cy="600649"/>
                <a:chOff x="10407690" y="6739951"/>
                <a:chExt cx="918249" cy="600649"/>
              </a:xfrm>
              <a:grpFill/>
            </p:grpSpPr>
            <p:grpSp>
              <p:nvGrpSpPr>
                <p:cNvPr id="33" name="Group 32"/>
                <p:cNvGrpSpPr/>
                <p:nvPr/>
              </p:nvGrpSpPr>
              <p:grpSpPr>
                <a:xfrm>
                  <a:off x="10407690" y="7134799"/>
                  <a:ext cx="918249" cy="205801"/>
                  <a:chOff x="10452140" y="6988749"/>
                  <a:chExt cx="918249" cy="205801"/>
                </a:xfrm>
                <a:grpFill/>
              </p:grpSpPr>
              <p:sp>
                <p:nvSpPr>
                  <p:cNvPr id="40" name="Rectangle 39"/>
                  <p:cNvSpPr/>
                  <p:nvPr/>
                </p:nvSpPr>
                <p:spPr bwMode="auto">
                  <a:xfrm>
                    <a:off x="10452140" y="7080250"/>
                    <a:ext cx="914400" cy="1143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1" name="Rectangle 40"/>
                  <p:cNvSpPr/>
                  <p:nvPr/>
                </p:nvSpPr>
                <p:spPr bwMode="auto">
                  <a:xfrm>
                    <a:off x="10452141" y="6988749"/>
                    <a:ext cx="120094" cy="205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2" name="Rectangle 41"/>
                  <p:cNvSpPr/>
                  <p:nvPr/>
                </p:nvSpPr>
                <p:spPr bwMode="auto">
                  <a:xfrm>
                    <a:off x="11245924" y="6988749"/>
                    <a:ext cx="124465" cy="205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sp>
              <p:nvSpPr>
                <p:cNvPr id="34" name="Rectangle 33"/>
                <p:cNvSpPr/>
                <p:nvPr/>
              </p:nvSpPr>
              <p:spPr bwMode="auto">
                <a:xfrm>
                  <a:off x="10648118" y="6739951"/>
                  <a:ext cx="137160" cy="1097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5" name="Rectangle 34"/>
                <p:cNvSpPr/>
                <p:nvPr/>
              </p:nvSpPr>
              <p:spPr bwMode="auto">
                <a:xfrm>
                  <a:off x="10648118" y="6898071"/>
                  <a:ext cx="137160" cy="1097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6" name="Rectangle 35"/>
                <p:cNvSpPr/>
                <p:nvPr/>
              </p:nvSpPr>
              <p:spPr bwMode="auto">
                <a:xfrm>
                  <a:off x="10648118" y="7055835"/>
                  <a:ext cx="137160" cy="1097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7" name="Rectangle 36"/>
                <p:cNvSpPr/>
                <p:nvPr/>
              </p:nvSpPr>
              <p:spPr bwMode="auto">
                <a:xfrm>
                  <a:off x="10833137" y="6975941"/>
                  <a:ext cx="137160" cy="1097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8" name="Rectangle 37"/>
                <p:cNvSpPr/>
                <p:nvPr/>
              </p:nvSpPr>
              <p:spPr bwMode="auto">
                <a:xfrm>
                  <a:off x="10833137" y="6819846"/>
                  <a:ext cx="137160" cy="1097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9" name="Rectangle 38"/>
                <p:cNvSpPr/>
                <p:nvPr/>
              </p:nvSpPr>
              <p:spPr bwMode="auto">
                <a:xfrm>
                  <a:off x="11018157" y="6916390"/>
                  <a:ext cx="137160" cy="1097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grpSp>
      <p:sp>
        <p:nvSpPr>
          <p:cNvPr id="55" name="Rectangle 54"/>
          <p:cNvSpPr/>
          <p:nvPr/>
        </p:nvSpPr>
        <p:spPr bwMode="auto">
          <a:xfrm>
            <a:off x="423760" y="1359969"/>
            <a:ext cx="1764792" cy="5074482"/>
          </a:xfrm>
          <a:prstGeom prst="rect">
            <a:avLst/>
          </a:prstGeom>
          <a:solidFill>
            <a:schemeClr val="bg1">
              <a:lumMod val="95000"/>
            </a:schemeClr>
          </a:solidFill>
        </p:spPr>
        <p:txBody>
          <a:bodyPr wrap="square" lIns="91440" tIns="44821" rIns="91440" bIns="179285" rtlCol="0" anchor="t">
            <a:no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505050"/>
                </a:solidFill>
                <a:effectLst/>
                <a:uLnTx/>
                <a:uFillTx/>
                <a:latin typeface="Segoe UI Semibold" panose="020B0702040204020203" pitchFamily="34" charset="0"/>
                <a:cs typeface="Segoe UI Semibold" panose="020B0702040204020203" pitchFamily="34" charset="0"/>
              </a:rPr>
              <a:t>Event producers</a:t>
            </a:r>
          </a:p>
        </p:txBody>
      </p:sp>
      <p:grpSp>
        <p:nvGrpSpPr>
          <p:cNvPr id="178" name="Group 177"/>
          <p:cNvGrpSpPr/>
          <p:nvPr/>
        </p:nvGrpSpPr>
        <p:grpSpPr>
          <a:xfrm>
            <a:off x="889375" y="2274982"/>
            <a:ext cx="833563" cy="812401"/>
            <a:chOff x="889375" y="2274982"/>
            <a:chExt cx="833563" cy="812401"/>
          </a:xfrm>
        </p:grpSpPr>
        <p:sp>
          <p:nvSpPr>
            <p:cNvPr id="77" name="Freeform 34"/>
            <p:cNvSpPr>
              <a:spLocks noChangeAspect="1" noEditPoints="1"/>
            </p:cNvSpPr>
            <p:nvPr/>
          </p:nvSpPr>
          <p:spPr bwMode="auto">
            <a:xfrm>
              <a:off x="1037500" y="2274982"/>
              <a:ext cx="537312" cy="52897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chemeClr val="accent1"/>
            </a:solidFill>
            <a:ln>
              <a:noFill/>
            </a:ln>
          </p:spPr>
          <p:txBody>
            <a:bodyPr vert="horz" wrap="square" lIns="89617" tIns="44808" rIns="89617" bIns="44808"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endParaRPr>
            </a:p>
          </p:txBody>
        </p:sp>
        <p:sp>
          <p:nvSpPr>
            <p:cNvPr id="78" name="TextBox 77"/>
            <p:cNvSpPr txBox="1"/>
            <p:nvPr/>
          </p:nvSpPr>
          <p:spPr>
            <a:xfrm>
              <a:off x="889375" y="2902717"/>
              <a:ext cx="833563" cy="184666"/>
            </a:xfrm>
            <a:prstGeom prst="rect">
              <a:avLst/>
            </a:prstGeom>
            <a:noFill/>
          </p:spPr>
          <p:txBody>
            <a:bodyPr wrap="none" lIns="0" tIns="0" rIns="0" bIns="0" rtlCol="0">
              <a:spAutoFit/>
            </a:bodyPr>
            <a:lstStyle/>
            <a:p>
              <a:pPr marL="0" marR="0" lvl="0" indent="0" algn="ctr" defTabSz="914367" eaLnBrk="1" fontAlgn="auto" latinLnBrk="0" hangingPunct="1">
                <a:lnSpc>
                  <a:spcPct val="100000"/>
                </a:lnSpc>
                <a:spcBef>
                  <a:spcPts val="0"/>
                </a:spcBef>
                <a:spcAft>
                  <a:spcPts val="588"/>
                </a:spcAft>
                <a:buClrTx/>
                <a:buSzTx/>
                <a:buFontTx/>
                <a:buNone/>
                <a:tabLst/>
                <a:defRPr/>
              </a:pPr>
              <a:r>
                <a:rPr kumimoji="0" lang="en-US" sz="1200" b="0" i="0" u="none" strike="noStrike" kern="0" cap="none" spc="0" normalizeH="0" baseline="0" noProof="0" dirty="0">
                  <a:ln>
                    <a:noFill/>
                  </a:ln>
                  <a:solidFill>
                    <a:srgbClr val="505050"/>
                  </a:solidFill>
                  <a:effectLst/>
                  <a:uLnTx/>
                  <a:uFillTx/>
                </a:rPr>
                <a:t>Applications</a:t>
              </a:r>
            </a:p>
          </p:txBody>
        </p:sp>
      </p:grpSp>
      <p:grpSp>
        <p:nvGrpSpPr>
          <p:cNvPr id="175" name="Group 174"/>
          <p:cNvGrpSpPr/>
          <p:nvPr/>
        </p:nvGrpSpPr>
        <p:grpSpPr>
          <a:xfrm>
            <a:off x="692419" y="5408166"/>
            <a:ext cx="1235314" cy="693575"/>
            <a:chOff x="692419" y="5608057"/>
            <a:chExt cx="1235314" cy="693575"/>
          </a:xfrm>
        </p:grpSpPr>
        <p:sp>
          <p:nvSpPr>
            <p:cNvPr id="73" name="TextBox 72"/>
            <p:cNvSpPr txBox="1"/>
            <p:nvPr/>
          </p:nvSpPr>
          <p:spPr>
            <a:xfrm>
              <a:off x="692419" y="6116966"/>
              <a:ext cx="1235314" cy="184666"/>
            </a:xfrm>
            <a:prstGeom prst="rect">
              <a:avLst/>
            </a:prstGeom>
            <a:noFill/>
          </p:spPr>
          <p:txBody>
            <a:bodyPr wrap="square" lIns="0" tIns="0" rIns="0" bIns="0"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505050"/>
                  </a:solidFill>
                  <a:effectLst/>
                  <a:uLnTx/>
                  <a:uFillTx/>
                </a:rPr>
                <a:t>Web and social</a:t>
              </a:r>
            </a:p>
          </p:txBody>
        </p:sp>
        <p:sp>
          <p:nvSpPr>
            <p:cNvPr id="75" name="Freeform 30"/>
            <p:cNvSpPr>
              <a:spLocks noChangeAspect="1" noEditPoints="1"/>
            </p:cNvSpPr>
            <p:nvPr/>
          </p:nvSpPr>
          <p:spPr bwMode="auto">
            <a:xfrm>
              <a:off x="933906" y="5608057"/>
              <a:ext cx="311711" cy="381373"/>
            </a:xfrm>
            <a:custGeom>
              <a:avLst/>
              <a:gdLst>
                <a:gd name="T0" fmla="*/ 115 w 191"/>
                <a:gd name="T1" fmla="*/ 158 h 225"/>
                <a:gd name="T2" fmla="*/ 132 w 191"/>
                <a:gd name="T3" fmla="*/ 185 h 225"/>
                <a:gd name="T4" fmla="*/ 21 w 191"/>
                <a:gd name="T5" fmla="*/ 185 h 225"/>
                <a:gd name="T6" fmla="*/ 0 w 191"/>
                <a:gd name="T7" fmla="*/ 164 h 225"/>
                <a:gd name="T8" fmla="*/ 0 w 191"/>
                <a:gd name="T9" fmla="*/ 21 h 225"/>
                <a:gd name="T10" fmla="*/ 21 w 191"/>
                <a:gd name="T11" fmla="*/ 0 h 225"/>
                <a:gd name="T12" fmla="*/ 163 w 191"/>
                <a:gd name="T13" fmla="*/ 0 h 225"/>
                <a:gd name="T14" fmla="*/ 185 w 191"/>
                <a:gd name="T15" fmla="*/ 21 h 225"/>
                <a:gd name="T16" fmla="*/ 185 w 191"/>
                <a:gd name="T17" fmla="*/ 164 h 225"/>
                <a:gd name="T18" fmla="*/ 181 w 191"/>
                <a:gd name="T19" fmla="*/ 175 h 225"/>
                <a:gd name="T20" fmla="*/ 154 w 191"/>
                <a:gd name="T21" fmla="*/ 133 h 225"/>
                <a:gd name="T22" fmla="*/ 157 w 191"/>
                <a:gd name="T23" fmla="*/ 63 h 225"/>
                <a:gd name="T24" fmla="*/ 70 w 191"/>
                <a:gd name="T25" fmla="*/ 43 h 225"/>
                <a:gd name="T26" fmla="*/ 51 w 191"/>
                <a:gd name="T27" fmla="*/ 130 h 225"/>
                <a:gd name="T28" fmla="*/ 115 w 191"/>
                <a:gd name="T29" fmla="*/ 158 h 225"/>
                <a:gd name="T30" fmla="*/ 183 w 191"/>
                <a:gd name="T31" fmla="*/ 221 h 225"/>
                <a:gd name="T32" fmla="*/ 165 w 191"/>
                <a:gd name="T33" fmla="*/ 217 h 225"/>
                <a:gd name="T34" fmla="*/ 120 w 191"/>
                <a:gd name="T35" fmla="*/ 146 h 225"/>
                <a:gd name="T36" fmla="*/ 59 w 191"/>
                <a:gd name="T37" fmla="*/ 124 h 225"/>
                <a:gd name="T38" fmla="*/ 75 w 191"/>
                <a:gd name="T39" fmla="*/ 52 h 225"/>
                <a:gd name="T40" fmla="*/ 148 w 191"/>
                <a:gd name="T41" fmla="*/ 68 h 225"/>
                <a:gd name="T42" fmla="*/ 142 w 191"/>
                <a:gd name="T43" fmla="*/ 132 h 225"/>
                <a:gd name="T44" fmla="*/ 187 w 191"/>
                <a:gd name="T45" fmla="*/ 203 h 225"/>
                <a:gd name="T46" fmla="*/ 183 w 191"/>
                <a:gd name="T47" fmla="*/ 221 h 225"/>
                <a:gd name="T48" fmla="*/ 144 w 191"/>
                <a:gd name="T49" fmla="*/ 71 h 225"/>
                <a:gd name="T50" fmla="*/ 78 w 191"/>
                <a:gd name="T51" fmla="*/ 56 h 225"/>
                <a:gd name="T52" fmla="*/ 64 w 191"/>
                <a:gd name="T53" fmla="*/ 122 h 225"/>
                <a:gd name="T54" fmla="*/ 129 w 191"/>
                <a:gd name="T55" fmla="*/ 136 h 225"/>
                <a:gd name="T56" fmla="*/ 144 w 191"/>
                <a:gd name="T57" fmla="*/ 7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1" h="225">
                  <a:moveTo>
                    <a:pt x="115" y="158"/>
                  </a:moveTo>
                  <a:cubicBezTo>
                    <a:pt x="132" y="185"/>
                    <a:pt x="132" y="185"/>
                    <a:pt x="132" y="185"/>
                  </a:cubicBezTo>
                  <a:cubicBezTo>
                    <a:pt x="21" y="185"/>
                    <a:pt x="21" y="185"/>
                    <a:pt x="21" y="185"/>
                  </a:cubicBezTo>
                  <a:cubicBezTo>
                    <a:pt x="9" y="185"/>
                    <a:pt x="0" y="175"/>
                    <a:pt x="0" y="164"/>
                  </a:cubicBezTo>
                  <a:cubicBezTo>
                    <a:pt x="0" y="21"/>
                    <a:pt x="0" y="21"/>
                    <a:pt x="0" y="21"/>
                  </a:cubicBezTo>
                  <a:cubicBezTo>
                    <a:pt x="0" y="9"/>
                    <a:pt x="9" y="0"/>
                    <a:pt x="21" y="0"/>
                  </a:cubicBezTo>
                  <a:cubicBezTo>
                    <a:pt x="163" y="0"/>
                    <a:pt x="163" y="0"/>
                    <a:pt x="163" y="0"/>
                  </a:cubicBezTo>
                  <a:cubicBezTo>
                    <a:pt x="175" y="0"/>
                    <a:pt x="185" y="9"/>
                    <a:pt x="185" y="21"/>
                  </a:cubicBezTo>
                  <a:cubicBezTo>
                    <a:pt x="185" y="164"/>
                    <a:pt x="185" y="164"/>
                    <a:pt x="185" y="164"/>
                  </a:cubicBezTo>
                  <a:cubicBezTo>
                    <a:pt x="185" y="168"/>
                    <a:pt x="183" y="172"/>
                    <a:pt x="181" y="175"/>
                  </a:cubicBezTo>
                  <a:cubicBezTo>
                    <a:pt x="154" y="133"/>
                    <a:pt x="154" y="133"/>
                    <a:pt x="154" y="133"/>
                  </a:cubicBezTo>
                  <a:cubicBezTo>
                    <a:pt x="169" y="112"/>
                    <a:pt x="170" y="84"/>
                    <a:pt x="157" y="63"/>
                  </a:cubicBezTo>
                  <a:cubicBezTo>
                    <a:pt x="138" y="33"/>
                    <a:pt x="99" y="25"/>
                    <a:pt x="70" y="43"/>
                  </a:cubicBezTo>
                  <a:cubicBezTo>
                    <a:pt x="41" y="62"/>
                    <a:pt x="32" y="101"/>
                    <a:pt x="51" y="130"/>
                  </a:cubicBezTo>
                  <a:cubicBezTo>
                    <a:pt x="65" y="152"/>
                    <a:pt x="90" y="163"/>
                    <a:pt x="115" y="158"/>
                  </a:cubicBezTo>
                  <a:close/>
                  <a:moveTo>
                    <a:pt x="183" y="221"/>
                  </a:moveTo>
                  <a:cubicBezTo>
                    <a:pt x="177" y="225"/>
                    <a:pt x="169" y="223"/>
                    <a:pt x="165" y="217"/>
                  </a:cubicBezTo>
                  <a:cubicBezTo>
                    <a:pt x="120" y="146"/>
                    <a:pt x="120" y="146"/>
                    <a:pt x="120" y="146"/>
                  </a:cubicBezTo>
                  <a:cubicBezTo>
                    <a:pt x="98" y="153"/>
                    <a:pt x="72" y="145"/>
                    <a:pt x="59" y="124"/>
                  </a:cubicBezTo>
                  <a:cubicBezTo>
                    <a:pt x="44" y="100"/>
                    <a:pt x="51" y="67"/>
                    <a:pt x="75" y="52"/>
                  </a:cubicBezTo>
                  <a:cubicBezTo>
                    <a:pt x="100" y="36"/>
                    <a:pt x="132" y="44"/>
                    <a:pt x="148" y="68"/>
                  </a:cubicBezTo>
                  <a:cubicBezTo>
                    <a:pt x="161" y="89"/>
                    <a:pt x="158" y="115"/>
                    <a:pt x="142" y="132"/>
                  </a:cubicBezTo>
                  <a:cubicBezTo>
                    <a:pt x="187" y="203"/>
                    <a:pt x="187" y="203"/>
                    <a:pt x="187" y="203"/>
                  </a:cubicBezTo>
                  <a:cubicBezTo>
                    <a:pt x="191" y="209"/>
                    <a:pt x="189" y="217"/>
                    <a:pt x="183" y="221"/>
                  </a:cubicBezTo>
                  <a:close/>
                  <a:moveTo>
                    <a:pt x="144" y="71"/>
                  </a:moveTo>
                  <a:cubicBezTo>
                    <a:pt x="129" y="49"/>
                    <a:pt x="100" y="42"/>
                    <a:pt x="78" y="56"/>
                  </a:cubicBezTo>
                  <a:cubicBezTo>
                    <a:pt x="56" y="70"/>
                    <a:pt x="50" y="100"/>
                    <a:pt x="64" y="122"/>
                  </a:cubicBezTo>
                  <a:cubicBezTo>
                    <a:pt x="78" y="144"/>
                    <a:pt x="107" y="150"/>
                    <a:pt x="129" y="136"/>
                  </a:cubicBezTo>
                  <a:cubicBezTo>
                    <a:pt x="151" y="122"/>
                    <a:pt x="158" y="93"/>
                    <a:pt x="144" y="71"/>
                  </a:cubicBezTo>
                  <a:close/>
                </a:path>
              </a:pathLst>
            </a:custGeom>
            <a:solidFill>
              <a:schemeClr val="accent1"/>
            </a:solidFill>
            <a:ln>
              <a:noFill/>
            </a:ln>
          </p:spPr>
          <p:txBody>
            <a:bodyPr vert="horz" wrap="square" lIns="91414" tIns="45706" rIns="91414" bIns="45706" numCol="1" anchor="t" anchorCtr="0" compatLnSpc="1">
              <a:prstTxWarp prst="textNoShape">
                <a:avLst/>
              </a:prstTxWarp>
            </a:bodyPr>
            <a:lstStyle/>
            <a:p>
              <a:pPr marL="0" marR="0" lvl="0" indent="0" defTabSz="913833" eaLnBrk="1" fontAlgn="auto"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a:ln>
                  <a:noFill/>
                </a:ln>
                <a:solidFill>
                  <a:srgbClr val="000000"/>
                </a:solidFill>
                <a:effectLst/>
                <a:uLnTx/>
                <a:uFillTx/>
              </a:endParaRPr>
            </a:p>
          </p:txBody>
        </p:sp>
        <p:sp>
          <p:nvSpPr>
            <p:cNvPr id="76" name="Freeform 13"/>
            <p:cNvSpPr>
              <a:spLocks noChangeAspect="1" noEditPoints="1"/>
            </p:cNvSpPr>
            <p:nvPr/>
          </p:nvSpPr>
          <p:spPr bwMode="black">
            <a:xfrm>
              <a:off x="1278122" y="5608057"/>
              <a:ext cx="439302" cy="372341"/>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78" tIns="41139" rIns="82278" bIns="41139" numCol="1" rtlCol="0" anchor="ctr" anchorCtr="0" compatLnSpc="1">
              <a:prstTxWarp prst="textNoShape">
                <a:avLst/>
              </a:prstTxWarp>
            </a:bodyPr>
            <a:lstStyle/>
            <a:p>
              <a:pPr marL="0" marR="0" lvl="0" indent="0" defTabSz="74045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50000"/>
                  </a:srgbClr>
                </a:solidFill>
                <a:effectLst/>
                <a:uLnTx/>
                <a:uFillTx/>
              </a:endParaRPr>
            </a:p>
          </p:txBody>
        </p:sp>
      </p:grpSp>
      <p:sp>
        <p:nvSpPr>
          <p:cNvPr id="79" name="Right Arrow 76"/>
          <p:cNvSpPr/>
          <p:nvPr/>
        </p:nvSpPr>
        <p:spPr bwMode="auto">
          <a:xfrm>
            <a:off x="8573726" y="2246015"/>
            <a:ext cx="748074" cy="406146"/>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7" tIns="0" rIns="0" bIns="0" numCol="1" spcCol="0" rtlCol="0" fromWordArt="0" anchor="ctr" anchorCtr="0" forceAA="0" compatLnSpc="1">
            <a:prstTxWarp prst="textNoShape">
              <a:avLst/>
            </a:prstTxWarp>
            <a:noAutofit/>
          </a:bodyPr>
          <a:lstStyle/>
          <a:p>
            <a:pPr marL="0" marR="0" lvl="0" indent="0" defTabSz="913751" eaLnBrk="1" fontAlgn="auto" latinLnBrk="0" hangingPunct="1">
              <a:lnSpc>
                <a:spcPct val="100000"/>
              </a:lnSpc>
              <a:spcBef>
                <a:spcPts val="0"/>
              </a:spcBef>
              <a:spcAft>
                <a:spcPts val="0"/>
              </a:spcAft>
              <a:buClrTx/>
              <a:buSzTx/>
              <a:buFontTx/>
              <a:buNone/>
              <a:tabLst/>
              <a:defRPr/>
            </a:pPr>
            <a:endParaRPr kumimoji="0" lang="en-US" sz="1174" b="0" i="0" u="none" strike="noStrike" kern="0" cap="none" spc="0" normalizeH="0" baseline="0" noProof="0" dirty="0">
              <a:ln>
                <a:noFill/>
              </a:ln>
              <a:solidFill>
                <a:srgbClr val="FFFFFF"/>
              </a:solidFill>
              <a:effectLst/>
              <a:uLnTx/>
              <a:uFillTx/>
              <a:ea typeface="Segoe UI" pitchFamily="34" charset="0"/>
              <a:cs typeface="Segoe UI" pitchFamily="34" charset="0"/>
            </a:endParaRPr>
          </a:p>
        </p:txBody>
      </p:sp>
      <p:sp>
        <p:nvSpPr>
          <p:cNvPr id="83" name="Rectangle 82"/>
          <p:cNvSpPr/>
          <p:nvPr/>
        </p:nvSpPr>
        <p:spPr bwMode="auto">
          <a:xfrm>
            <a:off x="8242298" y="3776323"/>
            <a:ext cx="1410923" cy="33741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3751"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505050"/>
                </a:solidFill>
                <a:effectLst/>
                <a:uLnTx/>
                <a:uFillTx/>
                <a:ea typeface="Segoe UI" pitchFamily="34" charset="0"/>
                <a:cs typeface="Segoe UI" pitchFamily="34" charset="0"/>
              </a:rPr>
              <a:t>Apache HBase on</a:t>
            </a:r>
          </a:p>
          <a:p>
            <a:pPr marL="0" marR="0" lvl="0" indent="0" algn="ctr" defTabSz="913751"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505050"/>
                </a:solidFill>
                <a:effectLst/>
                <a:uLnTx/>
                <a:uFillTx/>
                <a:ea typeface="Segoe UI" pitchFamily="34" charset="0"/>
                <a:cs typeface="Segoe UI" pitchFamily="34" charset="0"/>
              </a:rPr>
              <a:t>HDInsight</a:t>
            </a:r>
          </a:p>
        </p:txBody>
      </p:sp>
      <p:sp>
        <p:nvSpPr>
          <p:cNvPr id="82" name="Rectangle 81"/>
          <p:cNvSpPr/>
          <p:nvPr/>
        </p:nvSpPr>
        <p:spPr bwMode="auto">
          <a:xfrm>
            <a:off x="8468673" y="4346639"/>
            <a:ext cx="1148867" cy="7750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err="1">
                <a:ln>
                  <a:noFill/>
                </a:ln>
                <a:solidFill>
                  <a:srgbClr val="505050"/>
                </a:solidFill>
                <a:effectLst/>
                <a:uLnTx/>
                <a:uFillTx/>
                <a:ea typeface="Segoe UI" pitchFamily="34" charset="0"/>
                <a:cs typeface="Segoe UI" pitchFamily="34" charset="0"/>
              </a:rPr>
              <a:t>DocumentDB</a:t>
            </a:r>
            <a:endParaRPr kumimoji="0" lang="en-US" sz="1200" b="0" i="0" u="none" strike="noStrike" kern="0" cap="none" spc="0" normalizeH="0" baseline="0" noProof="0" dirty="0">
              <a:ln>
                <a:noFill/>
              </a:ln>
              <a:solidFill>
                <a:srgbClr val="505050"/>
              </a:solidFill>
              <a:effectLst/>
              <a:uLnTx/>
              <a:uFillTx/>
            </a:endParaRPr>
          </a:p>
          <a:p>
            <a:pPr marL="0" marR="0" lvl="0" indent="0" defTabSz="914367"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err="1">
                <a:ln>
                  <a:noFill/>
                </a:ln>
                <a:solidFill>
                  <a:srgbClr val="505050"/>
                </a:solidFill>
                <a:effectLst/>
                <a:uLnTx/>
                <a:uFillTx/>
              </a:rPr>
              <a:t>Solr</a:t>
            </a:r>
            <a:r>
              <a:rPr kumimoji="0" lang="en-US" sz="1200" b="0" i="0" u="none" strike="noStrike" kern="0" cap="none" spc="0" normalizeH="0" baseline="0" noProof="0" dirty="0">
                <a:ln>
                  <a:noFill/>
                </a:ln>
                <a:solidFill>
                  <a:srgbClr val="505050"/>
                </a:solidFill>
                <a:effectLst/>
                <a:uLnTx/>
                <a:uFillTx/>
              </a:rPr>
              <a:t> Azure </a:t>
            </a:r>
            <a:br>
              <a:rPr kumimoji="0" lang="en-US" sz="1200" b="0" i="0" u="none" strike="noStrike" kern="0" cap="none" spc="0" normalizeH="0" baseline="0" noProof="0" dirty="0">
                <a:ln>
                  <a:noFill/>
                </a:ln>
                <a:solidFill>
                  <a:srgbClr val="505050"/>
                </a:solidFill>
                <a:effectLst/>
                <a:uLnTx/>
                <a:uFillTx/>
              </a:rPr>
            </a:br>
            <a:r>
              <a:rPr kumimoji="0" lang="en-US" sz="1200" b="0" i="0" u="none" strike="noStrike" kern="0" cap="none" spc="0" normalizeH="0" baseline="0" noProof="0" dirty="0">
                <a:ln>
                  <a:noFill/>
                </a:ln>
                <a:solidFill>
                  <a:srgbClr val="505050"/>
                </a:solidFill>
                <a:effectLst/>
                <a:uLnTx/>
                <a:uFillTx/>
              </a:rPr>
              <a:t>Search</a:t>
            </a:r>
            <a:r>
              <a:rPr kumimoji="0" lang="en-US" sz="1200" b="0" i="0" u="none" strike="noStrike" kern="0" cap="none" spc="0" normalizeH="0" baseline="0" noProof="0" dirty="0">
                <a:ln>
                  <a:noFill/>
                </a:ln>
                <a:solidFill>
                  <a:srgbClr val="505050"/>
                </a:solidFill>
                <a:effectLst/>
                <a:uLnTx/>
                <a:uFillTx/>
                <a:cs typeface="Segoe UI" pitchFamily="34" charset="0"/>
              </a:rPr>
              <a:t> </a:t>
            </a:r>
          </a:p>
          <a:p>
            <a:pPr marL="0" marR="0" lvl="0" indent="0" defTabSz="914367"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err="1">
                <a:ln>
                  <a:noFill/>
                </a:ln>
                <a:solidFill>
                  <a:srgbClr val="505050"/>
                </a:solidFill>
                <a:effectLst/>
                <a:uLnTx/>
                <a:uFillTx/>
                <a:cs typeface="Segoe UI" pitchFamily="34" charset="0"/>
              </a:rPr>
              <a:t>MongoDB</a:t>
            </a:r>
            <a:r>
              <a:rPr kumimoji="0" lang="en-US" sz="1200" b="0" i="0" u="none" strike="noStrike" kern="0" cap="none" spc="0" normalizeH="0" baseline="0" noProof="0" dirty="0">
                <a:ln>
                  <a:noFill/>
                </a:ln>
                <a:solidFill>
                  <a:srgbClr val="505050"/>
                </a:solidFill>
                <a:effectLst/>
                <a:uLnTx/>
                <a:uFillTx/>
                <a:cs typeface="Segoe UI" pitchFamily="34" charset="0"/>
              </a:rPr>
              <a:t> SQL </a:t>
            </a:r>
            <a:endParaRPr kumimoji="0" lang="en-US" sz="1200" b="0" i="0" u="none" strike="noStrike" kern="0" cap="none" spc="0" normalizeH="0" baseline="0" noProof="0" dirty="0">
              <a:ln>
                <a:noFill/>
              </a:ln>
              <a:solidFill>
                <a:srgbClr val="505050"/>
              </a:solidFill>
              <a:effectLst/>
              <a:uLnTx/>
              <a:uFillTx/>
            </a:endParaRPr>
          </a:p>
        </p:txBody>
      </p:sp>
      <p:cxnSp>
        <p:nvCxnSpPr>
          <p:cNvPr id="87" name="Straight Arrow Connector 86"/>
          <p:cNvCxnSpPr/>
          <p:nvPr/>
        </p:nvCxnSpPr>
        <p:spPr>
          <a:xfrm flipV="1">
            <a:off x="1894919" y="4019588"/>
            <a:ext cx="2755747" cy="1243890"/>
          </a:xfrm>
          <a:prstGeom prst="straightConnector1">
            <a:avLst/>
          </a:prstGeom>
          <a:ln w="25400">
            <a:solidFill>
              <a:schemeClr val="bg1">
                <a:lumMod val="6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p:nvPr/>
        </p:nvCxnSpPr>
        <p:spPr>
          <a:xfrm>
            <a:off x="1894918" y="3832613"/>
            <a:ext cx="647314" cy="0"/>
          </a:xfrm>
          <a:prstGeom prst="straightConnector1">
            <a:avLst/>
          </a:prstGeom>
          <a:ln w="25400">
            <a:solidFill>
              <a:schemeClr val="bg1">
                <a:lumMod val="6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94" name="TextBox 93"/>
          <p:cNvSpPr txBox="1"/>
          <p:nvPr/>
        </p:nvSpPr>
        <p:spPr>
          <a:xfrm>
            <a:off x="2675427" y="4041757"/>
            <a:ext cx="1071191" cy="369332"/>
          </a:xfrm>
          <a:prstGeom prst="rect">
            <a:avLst/>
          </a:prstGeom>
          <a:noFill/>
        </p:spPr>
        <p:txBody>
          <a:bodyPr wrap="none" lIns="0" tIns="0" rIns="0" bIns="0" rtlCol="0">
            <a:spAutoFit/>
          </a:bodyPr>
          <a:lstStyle/>
          <a:p>
            <a:pPr marL="0" marR="0" lvl="0" indent="0" algn="ctr" defTabSz="914367" eaLnBrk="1" fontAlgn="auto" latinLnBrk="0" hangingPunct="1">
              <a:lnSpc>
                <a:spcPct val="100000"/>
              </a:lnSpc>
              <a:spcBef>
                <a:spcPts val="0"/>
              </a:spcBef>
              <a:spcAft>
                <a:spcPts val="588"/>
              </a:spcAft>
              <a:buClrTx/>
              <a:buSzTx/>
              <a:buFontTx/>
              <a:buNone/>
              <a:tabLst/>
              <a:defRPr/>
            </a:pPr>
            <a:r>
              <a:rPr kumimoji="0" lang="en-US" sz="1200" b="0" i="0" u="none" strike="noStrike" kern="0" cap="none" spc="0" normalizeH="0" baseline="0" noProof="0" dirty="0">
                <a:ln>
                  <a:noFill/>
                </a:ln>
                <a:solidFill>
                  <a:srgbClr val="505050"/>
                </a:solidFill>
                <a:effectLst/>
                <a:uLnTx/>
                <a:uFillTx/>
              </a:rPr>
              <a:t>Cloud gateways</a:t>
            </a:r>
            <a:br>
              <a:rPr kumimoji="0" lang="en-US" sz="1200" b="0" i="0" u="none" strike="noStrike" kern="0" cap="none" spc="0" normalizeH="0" baseline="0" noProof="0" dirty="0">
                <a:ln>
                  <a:noFill/>
                </a:ln>
                <a:solidFill>
                  <a:srgbClr val="505050"/>
                </a:solidFill>
                <a:effectLst/>
                <a:uLnTx/>
                <a:uFillTx/>
              </a:rPr>
            </a:br>
            <a:r>
              <a:rPr kumimoji="0" lang="en-US" sz="1200" b="0" i="0" u="none" strike="noStrike" kern="0" cap="none" spc="0" normalizeH="0" baseline="0" noProof="0" dirty="0">
                <a:ln>
                  <a:noFill/>
                </a:ln>
                <a:solidFill>
                  <a:srgbClr val="505050"/>
                </a:solidFill>
                <a:effectLst/>
                <a:uLnTx/>
                <a:uFillTx/>
              </a:rPr>
              <a:t>(web APIs)</a:t>
            </a:r>
          </a:p>
        </p:txBody>
      </p:sp>
      <p:sp>
        <p:nvSpPr>
          <p:cNvPr id="95" name="Freeform 30"/>
          <p:cNvSpPr>
            <a:spLocks noChangeAspect="1" noEditPoints="1"/>
          </p:cNvSpPr>
          <p:nvPr/>
        </p:nvSpPr>
        <p:spPr bwMode="auto">
          <a:xfrm>
            <a:off x="2825015" y="3524685"/>
            <a:ext cx="772015" cy="49490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chemeClr val="accent1"/>
          </a:solidFill>
          <a:ln>
            <a:noFill/>
          </a:ln>
        </p:spPr>
        <p:txBody>
          <a:bodyPr vert="horz" wrap="square" lIns="89617" tIns="44808" rIns="89617" bIns="44808" numCol="1" anchor="t" anchorCtr="0" compatLnSpc="1">
            <a:prstTxWarp prst="textNoShape">
              <a:avLst/>
            </a:prstTxWarp>
          </a:bodyP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endParaRPr>
          </a:p>
        </p:txBody>
      </p:sp>
      <p:sp>
        <p:nvSpPr>
          <p:cNvPr id="92" name="TextBox 91"/>
          <p:cNvSpPr txBox="1"/>
          <p:nvPr/>
        </p:nvSpPr>
        <p:spPr>
          <a:xfrm>
            <a:off x="2707622" y="5717235"/>
            <a:ext cx="1044854" cy="184666"/>
          </a:xfrm>
          <a:prstGeom prst="rect">
            <a:avLst/>
          </a:prstGeom>
          <a:noFill/>
        </p:spPr>
        <p:txBody>
          <a:bodyPr wrap="square" lIns="0" tIns="0" rIns="0" bIns="0" rtlCol="0">
            <a:spAutoFit/>
          </a:bodyPr>
          <a:lstStyle/>
          <a:p>
            <a:pPr marL="0" marR="0" lvl="0" indent="0" algn="ctr" defTabSz="914367" eaLnBrk="1" fontAlgn="auto" latinLnBrk="0" hangingPunct="1">
              <a:lnSpc>
                <a:spcPct val="100000"/>
              </a:lnSpc>
              <a:spcBef>
                <a:spcPts val="0"/>
              </a:spcBef>
              <a:spcAft>
                <a:spcPts val="588"/>
              </a:spcAft>
              <a:buClrTx/>
              <a:buSzTx/>
              <a:buFontTx/>
              <a:buNone/>
              <a:tabLst/>
              <a:defRPr/>
            </a:pPr>
            <a:r>
              <a:rPr kumimoji="0" lang="en-US" sz="1200" b="0" i="0" u="none" strike="noStrike" kern="0" cap="none" spc="0" normalizeH="0" baseline="0" noProof="0" dirty="0">
                <a:ln>
                  <a:noFill/>
                </a:ln>
                <a:solidFill>
                  <a:srgbClr val="505050"/>
                </a:solidFill>
                <a:effectLst/>
                <a:uLnTx/>
                <a:uFillTx/>
              </a:rPr>
              <a:t>Field gateways</a:t>
            </a:r>
          </a:p>
        </p:txBody>
      </p:sp>
      <p:sp>
        <p:nvSpPr>
          <p:cNvPr id="93" name="Freeform 58"/>
          <p:cNvSpPr>
            <a:spLocks noChangeAspect="1" noEditPoints="1"/>
          </p:cNvSpPr>
          <p:nvPr/>
        </p:nvSpPr>
        <p:spPr bwMode="black">
          <a:xfrm>
            <a:off x="3000762" y="5165383"/>
            <a:ext cx="451518" cy="483944"/>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accent1"/>
          </a:solidFill>
          <a:ln>
            <a:noFill/>
          </a:ln>
        </p:spPr>
        <p:txBody>
          <a:bodyPr vert="horz" wrap="square" lIns="80664" tIns="40332" rIns="80664" bIns="40332"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endParaRPr>
          </a:p>
        </p:txBody>
      </p:sp>
      <p:cxnSp>
        <p:nvCxnSpPr>
          <p:cNvPr id="96" name="Straight Arrow Connector 95"/>
          <p:cNvCxnSpPr/>
          <p:nvPr/>
        </p:nvCxnSpPr>
        <p:spPr>
          <a:xfrm>
            <a:off x="3714984" y="3832613"/>
            <a:ext cx="940473" cy="0"/>
          </a:xfrm>
          <a:prstGeom prst="straightConnector1">
            <a:avLst/>
          </a:prstGeom>
          <a:ln w="25400">
            <a:solidFill>
              <a:schemeClr val="bg1">
                <a:lumMod val="6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97" name="Straight Arrow Connector 96"/>
          <p:cNvCxnSpPr/>
          <p:nvPr/>
        </p:nvCxnSpPr>
        <p:spPr>
          <a:xfrm flipV="1">
            <a:off x="3607626" y="4172054"/>
            <a:ext cx="1067421" cy="1159331"/>
          </a:xfrm>
          <a:prstGeom prst="straightConnector1">
            <a:avLst/>
          </a:prstGeom>
          <a:ln w="25400">
            <a:solidFill>
              <a:schemeClr val="bg1">
                <a:lumMod val="6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37" name="Rectangle 136"/>
          <p:cNvSpPr/>
          <p:nvPr/>
        </p:nvSpPr>
        <p:spPr bwMode="auto">
          <a:xfrm>
            <a:off x="6519788" y="2709304"/>
            <a:ext cx="1058610" cy="1824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505050"/>
                </a:solidFill>
                <a:effectLst/>
                <a:uLnTx/>
                <a:uFillTx/>
                <a:ea typeface="Segoe UI" pitchFamily="34" charset="0"/>
                <a:cs typeface="Segoe UI" pitchFamily="34" charset="0"/>
              </a:rPr>
              <a:t>Azure ML</a:t>
            </a:r>
          </a:p>
        </p:txBody>
      </p:sp>
      <p:sp>
        <p:nvSpPr>
          <p:cNvPr id="136" name="TextBox 135"/>
          <p:cNvSpPr txBox="1"/>
          <p:nvPr/>
        </p:nvSpPr>
        <p:spPr>
          <a:xfrm>
            <a:off x="6380479" y="5690316"/>
            <a:ext cx="1366274" cy="184666"/>
          </a:xfrm>
          <a:prstGeom prst="rect">
            <a:avLst/>
          </a:prstGeom>
          <a:noFill/>
        </p:spPr>
        <p:txBody>
          <a:bodyPr wrap="square" lIns="0" tIns="0" rIns="0" bIns="0" rtlCol="0">
            <a:spAutoFit/>
          </a:bodyPr>
          <a:lstStyle/>
          <a:p>
            <a:pPr marL="0" marR="0" lvl="0" indent="0" algn="ctr" defTabSz="914367" eaLnBrk="1" fontAlgn="auto" latinLnBrk="0" hangingPunct="1">
              <a:lnSpc>
                <a:spcPct val="100000"/>
              </a:lnSpc>
              <a:spcBef>
                <a:spcPts val="0"/>
              </a:spcBef>
              <a:spcAft>
                <a:spcPts val="588"/>
              </a:spcAft>
              <a:buClrTx/>
              <a:buSzTx/>
              <a:buFontTx/>
              <a:buNone/>
              <a:tabLst/>
              <a:defRPr/>
            </a:pPr>
            <a:r>
              <a:rPr kumimoji="0" lang="en-US" sz="1200" b="0" i="0" u="none" strike="noStrike" kern="0" cap="none" spc="0" normalizeH="0" baseline="0" noProof="0" dirty="0">
                <a:ln>
                  <a:noFill/>
                </a:ln>
                <a:solidFill>
                  <a:srgbClr val="505050"/>
                </a:solidFill>
                <a:effectLst/>
                <a:uLnTx/>
                <a:uFillTx/>
              </a:rPr>
              <a:t>Storage adapters</a:t>
            </a:r>
          </a:p>
        </p:txBody>
      </p:sp>
      <p:sp>
        <p:nvSpPr>
          <p:cNvPr id="134" name="TextBox 133"/>
          <p:cNvSpPr txBox="1"/>
          <p:nvPr/>
        </p:nvSpPr>
        <p:spPr>
          <a:xfrm>
            <a:off x="6229392" y="6101741"/>
            <a:ext cx="1582724" cy="215444"/>
          </a:xfrm>
          <a:prstGeom prst="rect">
            <a:avLst/>
          </a:prstGeom>
          <a:noFill/>
        </p:spPr>
        <p:txBody>
          <a:bodyPr wrap="square" lIns="0" tIns="0" rIns="0" bIns="0" rtlCol="0">
            <a:spAutoFit/>
          </a:bodyPr>
          <a:lstStyle/>
          <a:p>
            <a:pPr marL="0" marR="0" lvl="0" indent="0" algn="ctr" defTabSz="914367" eaLnBrk="1" fontAlgn="auto" latinLnBrk="0" hangingPunct="1">
              <a:lnSpc>
                <a:spcPct val="100000"/>
              </a:lnSpc>
              <a:spcBef>
                <a:spcPts val="0"/>
              </a:spcBef>
              <a:spcAft>
                <a:spcPts val="588"/>
              </a:spcAft>
              <a:buClrTx/>
              <a:buSzTx/>
              <a:buFontTx/>
              <a:buNone/>
              <a:tabLst/>
              <a:defRPr/>
            </a:pPr>
            <a:r>
              <a:rPr kumimoji="0" lang="en-US" sz="1400" b="0" i="0" u="none" strike="noStrike" kern="0" cap="none" spc="0" normalizeH="0" baseline="0" noProof="0" dirty="0">
                <a:ln>
                  <a:noFill/>
                </a:ln>
                <a:solidFill>
                  <a:srgbClr val="505050"/>
                </a:solidFill>
                <a:effectLst/>
                <a:uLnTx/>
                <a:uFillTx/>
              </a:rPr>
              <a:t>Stream processing</a:t>
            </a:r>
          </a:p>
        </p:txBody>
      </p:sp>
      <p:cxnSp>
        <p:nvCxnSpPr>
          <p:cNvPr id="141" name="Straight Arrow Connector 140"/>
          <p:cNvCxnSpPr/>
          <p:nvPr/>
        </p:nvCxnSpPr>
        <p:spPr>
          <a:xfrm>
            <a:off x="1775877" y="2762128"/>
            <a:ext cx="2910552" cy="816781"/>
          </a:xfrm>
          <a:prstGeom prst="straightConnector1">
            <a:avLst/>
          </a:prstGeom>
          <a:ln w="25400">
            <a:solidFill>
              <a:schemeClr val="bg1">
                <a:lumMod val="6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01" name="Oval 100"/>
          <p:cNvSpPr/>
          <p:nvPr/>
        </p:nvSpPr>
        <p:spPr bwMode="auto">
          <a:xfrm>
            <a:off x="4606885" y="4055558"/>
            <a:ext cx="1042399" cy="259675"/>
          </a:xfrm>
          <a:prstGeom prst="ellipse">
            <a:avLst/>
          </a:prstGeom>
          <a:noFill/>
        </p:spPr>
        <p:txBody>
          <a:bodyPr wrap="none" lIns="0" tIns="0" rIns="0" bIns="0" rtlCol="0">
            <a:spAutoFit/>
          </a:bodyPr>
          <a:lstStyle/>
          <a:p>
            <a:pPr marL="0" marR="0" lvl="0" indent="0" algn="ctr" defTabSz="914367" eaLnBrk="1" fontAlgn="auto" latinLnBrk="0" hangingPunct="1">
              <a:lnSpc>
                <a:spcPct val="100000"/>
              </a:lnSpc>
              <a:spcBef>
                <a:spcPts val="0"/>
              </a:spcBef>
              <a:spcAft>
                <a:spcPts val="588"/>
              </a:spcAft>
              <a:buClrTx/>
              <a:buSzTx/>
              <a:buFontTx/>
              <a:buNone/>
              <a:tabLst/>
              <a:defRPr/>
            </a:pPr>
            <a:r>
              <a:rPr kumimoji="0" lang="en-US" sz="1200" b="0" i="0" u="none" strike="noStrike" kern="0" cap="none" spc="0" normalizeH="0" baseline="0" noProof="0" dirty="0">
                <a:ln>
                  <a:noFill/>
                </a:ln>
                <a:solidFill>
                  <a:srgbClr val="505050"/>
                </a:solidFill>
                <a:effectLst/>
                <a:uLnTx/>
                <a:uFillTx/>
              </a:rPr>
              <a:t>Event hubs</a:t>
            </a:r>
          </a:p>
        </p:txBody>
      </p:sp>
      <p:grpSp>
        <p:nvGrpSpPr>
          <p:cNvPr id="102" name="Group 101"/>
          <p:cNvGrpSpPr/>
          <p:nvPr/>
        </p:nvGrpSpPr>
        <p:grpSpPr>
          <a:xfrm>
            <a:off x="4916976" y="3592350"/>
            <a:ext cx="422217" cy="414647"/>
            <a:chOff x="10407690" y="6565900"/>
            <a:chExt cx="918249" cy="774700"/>
          </a:xfrm>
          <a:solidFill>
            <a:schemeClr val="accent6"/>
          </a:solidFill>
        </p:grpSpPr>
        <p:grpSp>
          <p:nvGrpSpPr>
            <p:cNvPr id="103" name="Group 102"/>
            <p:cNvGrpSpPr/>
            <p:nvPr/>
          </p:nvGrpSpPr>
          <p:grpSpPr>
            <a:xfrm>
              <a:off x="10407690" y="6565900"/>
              <a:ext cx="918249" cy="205801"/>
              <a:chOff x="10452140" y="6610350"/>
              <a:chExt cx="918249" cy="205801"/>
            </a:xfrm>
            <a:grpFill/>
          </p:grpSpPr>
          <p:sp>
            <p:nvSpPr>
              <p:cNvPr id="115" name="Rectangle 114"/>
              <p:cNvSpPr/>
              <p:nvPr/>
            </p:nvSpPr>
            <p:spPr bwMode="auto">
              <a:xfrm>
                <a:off x="10452140" y="6610350"/>
                <a:ext cx="914400" cy="1143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2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16" name="Rectangle 115"/>
              <p:cNvSpPr/>
              <p:nvPr/>
            </p:nvSpPr>
            <p:spPr bwMode="auto">
              <a:xfrm>
                <a:off x="10452141" y="6610350"/>
                <a:ext cx="120094" cy="205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2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17" name="Rectangle 116"/>
              <p:cNvSpPr/>
              <p:nvPr/>
            </p:nvSpPr>
            <p:spPr bwMode="auto">
              <a:xfrm>
                <a:off x="11245924" y="6610350"/>
                <a:ext cx="124465" cy="205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2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104" name="Group 103"/>
            <p:cNvGrpSpPr/>
            <p:nvPr/>
          </p:nvGrpSpPr>
          <p:grpSpPr>
            <a:xfrm>
              <a:off x="10407690" y="6739951"/>
              <a:ext cx="918249" cy="600649"/>
              <a:chOff x="10407690" y="6739951"/>
              <a:chExt cx="918249" cy="600649"/>
            </a:xfrm>
            <a:grpFill/>
          </p:grpSpPr>
          <p:grpSp>
            <p:nvGrpSpPr>
              <p:cNvPr id="105" name="Group 104"/>
              <p:cNvGrpSpPr/>
              <p:nvPr/>
            </p:nvGrpSpPr>
            <p:grpSpPr>
              <a:xfrm>
                <a:off x="10407690" y="7134799"/>
                <a:ext cx="918249" cy="205801"/>
                <a:chOff x="10452140" y="6988749"/>
                <a:chExt cx="918249" cy="205801"/>
              </a:xfrm>
              <a:grpFill/>
            </p:grpSpPr>
            <p:sp>
              <p:nvSpPr>
                <p:cNvPr id="112" name="Rectangle 111"/>
                <p:cNvSpPr/>
                <p:nvPr/>
              </p:nvSpPr>
              <p:spPr bwMode="auto">
                <a:xfrm>
                  <a:off x="10452140" y="7080250"/>
                  <a:ext cx="914400" cy="1143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2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13" name="Rectangle 112"/>
                <p:cNvSpPr/>
                <p:nvPr/>
              </p:nvSpPr>
              <p:spPr bwMode="auto">
                <a:xfrm>
                  <a:off x="10452141" y="6988749"/>
                  <a:ext cx="120094" cy="205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2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14" name="Rectangle 113"/>
                <p:cNvSpPr/>
                <p:nvPr/>
              </p:nvSpPr>
              <p:spPr bwMode="auto">
                <a:xfrm>
                  <a:off x="11245924" y="6988749"/>
                  <a:ext cx="124465" cy="205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2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sp>
            <p:nvSpPr>
              <p:cNvPr id="106" name="Rectangle 105"/>
              <p:cNvSpPr/>
              <p:nvPr/>
            </p:nvSpPr>
            <p:spPr bwMode="auto">
              <a:xfrm>
                <a:off x="10648118" y="6739951"/>
                <a:ext cx="137160" cy="1097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2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07" name="Rectangle 106"/>
              <p:cNvSpPr/>
              <p:nvPr/>
            </p:nvSpPr>
            <p:spPr bwMode="auto">
              <a:xfrm>
                <a:off x="10648118" y="6898071"/>
                <a:ext cx="137160" cy="1097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2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08" name="Rectangle 107"/>
              <p:cNvSpPr/>
              <p:nvPr/>
            </p:nvSpPr>
            <p:spPr bwMode="auto">
              <a:xfrm>
                <a:off x="10648118" y="7055835"/>
                <a:ext cx="137160" cy="1097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2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09" name="Rectangle 108"/>
              <p:cNvSpPr/>
              <p:nvPr/>
            </p:nvSpPr>
            <p:spPr bwMode="auto">
              <a:xfrm>
                <a:off x="10833137" y="6975941"/>
                <a:ext cx="137160" cy="1097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2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10" name="Rectangle 109"/>
              <p:cNvSpPr/>
              <p:nvPr/>
            </p:nvSpPr>
            <p:spPr bwMode="auto">
              <a:xfrm>
                <a:off x="10833137" y="6819846"/>
                <a:ext cx="137160" cy="1097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2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11" name="Rectangle 110"/>
              <p:cNvSpPr/>
              <p:nvPr/>
            </p:nvSpPr>
            <p:spPr bwMode="auto">
              <a:xfrm>
                <a:off x="11018157" y="6916390"/>
                <a:ext cx="137160" cy="1097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2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grpSp>
        <p:nvGrpSpPr>
          <p:cNvPr id="147" name="Group 146"/>
          <p:cNvGrpSpPr/>
          <p:nvPr/>
        </p:nvGrpSpPr>
        <p:grpSpPr>
          <a:xfrm>
            <a:off x="6228480" y="3312599"/>
            <a:ext cx="1583636" cy="1325530"/>
            <a:chOff x="6228480" y="3312599"/>
            <a:chExt cx="1583636" cy="1325530"/>
          </a:xfrm>
        </p:grpSpPr>
        <p:sp>
          <p:nvSpPr>
            <p:cNvPr id="148" name="Rectangle 147"/>
            <p:cNvSpPr/>
            <p:nvPr/>
          </p:nvSpPr>
          <p:spPr bwMode="auto">
            <a:xfrm>
              <a:off x="6228480" y="3312599"/>
              <a:ext cx="1583636" cy="1325530"/>
            </a:xfrm>
            <a:prstGeom prst="rect">
              <a:avLst/>
            </a:prstGeom>
            <a:solidFill>
              <a:schemeClr val="bg1"/>
            </a:solidFill>
            <a:ln>
              <a:solidFill>
                <a:schemeClr val="bg2"/>
              </a:solidFill>
            </a:ln>
          </p:spPr>
          <p:txBody>
            <a:bodyPr wrap="none" lIns="179285" tIns="44821" rIns="179285" bIns="179285" rtlCol="0" anchor="t">
              <a:no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505050"/>
                  </a:solidFill>
                  <a:effectLst/>
                  <a:uLnTx/>
                  <a:uFillTx/>
                  <a:latin typeface="Segoe UI Semibold" panose="020B0702040204020203" pitchFamily="34" charset="0"/>
                  <a:cs typeface="Segoe UI Semibold" panose="020B0702040204020203" pitchFamily="34" charset="0"/>
                </a:rPr>
                <a:t>HDInsight</a:t>
              </a:r>
            </a:p>
          </p:txBody>
        </p:sp>
        <p:pic>
          <p:nvPicPr>
            <p:cNvPr id="151" name="Picture 8"/>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6683809" y="4093261"/>
              <a:ext cx="759613" cy="401252"/>
            </a:xfrm>
            <a:prstGeom prst="rect">
              <a:avLst/>
            </a:prstGeom>
            <a:noFill/>
            <a:extLst>
              <a:ext uri="{909E8E84-426E-40DD-AFC4-6F175D3DCCD1}">
                <a14:hiddenFill xmlns:a14="http://schemas.microsoft.com/office/drawing/2010/main">
                  <a:solidFill>
                    <a:srgbClr val="FFFFFF"/>
                  </a:solidFill>
                </a14:hiddenFill>
              </a:ext>
            </a:extLst>
          </p:spPr>
        </p:pic>
        <p:pic>
          <p:nvPicPr>
            <p:cNvPr id="153" name="Picture 18"/>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6560921" y="3696417"/>
              <a:ext cx="1005391" cy="366968"/>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61" name="Straight Arrow Connector 160"/>
          <p:cNvCxnSpPr/>
          <p:nvPr/>
        </p:nvCxnSpPr>
        <p:spPr>
          <a:xfrm>
            <a:off x="2071192" y="1703367"/>
            <a:ext cx="374794" cy="0"/>
          </a:xfrm>
          <a:prstGeom prst="straightConnector1">
            <a:avLst/>
          </a:prstGeom>
          <a:ln w="25400">
            <a:solidFill>
              <a:schemeClr val="bg1">
                <a:lumMod val="65000"/>
              </a:schemeClr>
            </a:solidFill>
            <a:prstDash val="sysDot"/>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62" name="Straight Arrow Connector 161"/>
          <p:cNvCxnSpPr/>
          <p:nvPr/>
        </p:nvCxnSpPr>
        <p:spPr>
          <a:xfrm>
            <a:off x="3976058" y="1703367"/>
            <a:ext cx="374794" cy="0"/>
          </a:xfrm>
          <a:prstGeom prst="straightConnector1">
            <a:avLst/>
          </a:prstGeom>
          <a:ln w="25400">
            <a:solidFill>
              <a:schemeClr val="bg1">
                <a:lumMod val="65000"/>
              </a:schemeClr>
            </a:solidFill>
            <a:prstDash val="sysDot"/>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63" name="Straight Arrow Connector 162"/>
          <p:cNvCxnSpPr/>
          <p:nvPr/>
        </p:nvCxnSpPr>
        <p:spPr>
          <a:xfrm>
            <a:off x="5880924" y="1703367"/>
            <a:ext cx="374794" cy="0"/>
          </a:xfrm>
          <a:prstGeom prst="straightConnector1">
            <a:avLst/>
          </a:prstGeom>
          <a:ln w="25400">
            <a:solidFill>
              <a:schemeClr val="bg1">
                <a:lumMod val="65000"/>
              </a:schemeClr>
            </a:solidFill>
            <a:prstDash val="sysDot"/>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64" name="Straight Arrow Connector 163"/>
          <p:cNvCxnSpPr/>
          <p:nvPr/>
        </p:nvCxnSpPr>
        <p:spPr>
          <a:xfrm>
            <a:off x="7785790" y="1703367"/>
            <a:ext cx="374794" cy="0"/>
          </a:xfrm>
          <a:prstGeom prst="straightConnector1">
            <a:avLst/>
          </a:prstGeom>
          <a:ln w="25400">
            <a:solidFill>
              <a:schemeClr val="bg1">
                <a:lumMod val="65000"/>
              </a:schemeClr>
            </a:solidFill>
            <a:prstDash val="sysDot"/>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65" name="Straight Arrow Connector 164"/>
          <p:cNvCxnSpPr/>
          <p:nvPr/>
        </p:nvCxnSpPr>
        <p:spPr>
          <a:xfrm>
            <a:off x="9690657" y="1703367"/>
            <a:ext cx="374794" cy="0"/>
          </a:xfrm>
          <a:prstGeom prst="straightConnector1">
            <a:avLst/>
          </a:prstGeom>
          <a:ln w="25400">
            <a:solidFill>
              <a:schemeClr val="bg1">
                <a:lumMod val="65000"/>
              </a:schemeClr>
            </a:solidFill>
            <a:prstDash val="sysDot"/>
            <a:headEnd type="none"/>
            <a:tailEnd type="triangle" w="lg" len="med"/>
          </a:ln>
        </p:spPr>
        <p:style>
          <a:lnRef idx="1">
            <a:schemeClr val="accent1"/>
          </a:lnRef>
          <a:fillRef idx="0">
            <a:schemeClr val="accent1"/>
          </a:fillRef>
          <a:effectRef idx="0">
            <a:schemeClr val="accent1"/>
          </a:effectRef>
          <a:fontRef idx="minor">
            <a:schemeClr val="tx1"/>
          </a:fontRef>
        </p:style>
      </p:cxnSp>
      <p:grpSp>
        <p:nvGrpSpPr>
          <p:cNvPr id="146" name="Group 145"/>
          <p:cNvGrpSpPr/>
          <p:nvPr/>
        </p:nvGrpSpPr>
        <p:grpSpPr>
          <a:xfrm>
            <a:off x="4346673" y="4752507"/>
            <a:ext cx="1566158" cy="1282535"/>
            <a:chOff x="4346673" y="4495283"/>
            <a:chExt cx="1566158" cy="1282535"/>
          </a:xfrm>
        </p:grpSpPr>
        <p:sp>
          <p:nvSpPr>
            <p:cNvPr id="145" name="Rectangle 144"/>
            <p:cNvSpPr/>
            <p:nvPr/>
          </p:nvSpPr>
          <p:spPr bwMode="auto">
            <a:xfrm>
              <a:off x="4346673" y="4495283"/>
              <a:ext cx="1566158" cy="1282535"/>
            </a:xfrm>
            <a:prstGeom prst="rect">
              <a:avLst/>
            </a:prstGeom>
            <a:solidFill>
              <a:schemeClr val="bg1"/>
            </a:solidFill>
            <a:ln>
              <a:solidFill>
                <a:schemeClr val="bg2"/>
              </a:solidFill>
            </a:ln>
          </p:spPr>
          <p:txBody>
            <a:bodyPr wrap="square" lIns="179285" tIns="44821" rIns="179285" bIns="179285" rtlCol="0" anchor="t">
              <a:no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505050"/>
                  </a:solidFill>
                  <a:effectLst/>
                  <a:uLnTx/>
                  <a:uFillTx/>
                  <a:latin typeface="Segoe UI Semibold" panose="020B0702040204020203" pitchFamily="34" charset="0"/>
                  <a:cs typeface="Segoe UI Semibold" panose="020B0702040204020203" pitchFamily="34" charset="0"/>
                </a:rPr>
                <a:t>HDInsight Kafka</a:t>
              </a:r>
            </a:p>
          </p:txBody>
        </p:sp>
        <p:pic>
          <p:nvPicPr>
            <p:cNvPr id="4" name="Picture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597212" y="5088428"/>
              <a:ext cx="1060769" cy="485466"/>
            </a:xfrm>
            <a:prstGeom prst="rect">
              <a:avLst/>
            </a:prstGeom>
          </p:spPr>
        </p:pic>
      </p:grpSp>
      <p:grpSp>
        <p:nvGrpSpPr>
          <p:cNvPr id="176" name="Group 175"/>
          <p:cNvGrpSpPr/>
          <p:nvPr/>
        </p:nvGrpSpPr>
        <p:grpSpPr>
          <a:xfrm>
            <a:off x="949838" y="4561854"/>
            <a:ext cx="712637" cy="415278"/>
            <a:chOff x="949838" y="4802123"/>
            <a:chExt cx="712637" cy="415278"/>
          </a:xfrm>
        </p:grpSpPr>
        <p:sp>
          <p:nvSpPr>
            <p:cNvPr id="62" name="TextBox 61"/>
            <p:cNvSpPr txBox="1"/>
            <p:nvPr/>
          </p:nvSpPr>
          <p:spPr>
            <a:xfrm>
              <a:off x="949838" y="5032735"/>
              <a:ext cx="712637" cy="184666"/>
            </a:xfrm>
            <a:prstGeom prst="rect">
              <a:avLst/>
            </a:prstGeom>
            <a:noFill/>
          </p:spPr>
          <p:txBody>
            <a:bodyPr wrap="square" lIns="0" tIns="0" rIns="0" bIns="0"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505050"/>
                  </a:solidFill>
                  <a:effectLst/>
                  <a:uLnTx/>
                  <a:uFillTx/>
                </a:rPr>
                <a:t>Sensors</a:t>
              </a:r>
            </a:p>
          </p:txBody>
        </p:sp>
        <p:sp>
          <p:nvSpPr>
            <p:cNvPr id="167" name="Freeform 156"/>
            <p:cNvSpPr>
              <a:spLocks noChangeAspect="1" noChangeArrowheads="1"/>
            </p:cNvSpPr>
            <p:nvPr/>
          </p:nvSpPr>
          <p:spPr bwMode="black">
            <a:xfrm>
              <a:off x="1015736" y="4802123"/>
              <a:ext cx="580840" cy="163940"/>
            </a:xfrm>
            <a:custGeom>
              <a:avLst/>
              <a:gdLst>
                <a:gd name="connsiteX0" fmla="*/ 272856 w 2169380"/>
                <a:gd name="connsiteY0" fmla="*/ 121270 h 612300"/>
                <a:gd name="connsiteX1" fmla="*/ 336861 w 2169380"/>
                <a:gd name="connsiteY1" fmla="*/ 188642 h 612300"/>
                <a:gd name="connsiteX2" fmla="*/ 272856 w 2169380"/>
                <a:gd name="connsiteY2" fmla="*/ 256014 h 612300"/>
                <a:gd name="connsiteX3" fmla="*/ 208851 w 2169380"/>
                <a:gd name="connsiteY3" fmla="*/ 188642 h 612300"/>
                <a:gd name="connsiteX4" fmla="*/ 272856 w 2169380"/>
                <a:gd name="connsiteY4" fmla="*/ 121270 h 612300"/>
                <a:gd name="connsiteX5" fmla="*/ 272856 w 2169380"/>
                <a:gd name="connsiteY5" fmla="*/ 53898 h 612300"/>
                <a:gd name="connsiteX6" fmla="*/ 141479 w 2169380"/>
                <a:gd name="connsiteY6" fmla="*/ 192009 h 612300"/>
                <a:gd name="connsiteX7" fmla="*/ 272856 w 2169380"/>
                <a:gd name="connsiteY7" fmla="*/ 330120 h 612300"/>
                <a:gd name="connsiteX8" fmla="*/ 404233 w 2169380"/>
                <a:gd name="connsiteY8" fmla="*/ 192009 h 612300"/>
                <a:gd name="connsiteX9" fmla="*/ 272856 w 2169380"/>
                <a:gd name="connsiteY9" fmla="*/ 53898 h 612300"/>
                <a:gd name="connsiteX10" fmla="*/ 0 w 2169380"/>
                <a:gd name="connsiteY10" fmla="*/ 0 h 612300"/>
                <a:gd name="connsiteX11" fmla="*/ 2169380 w 2169380"/>
                <a:gd name="connsiteY11" fmla="*/ 0 h 612300"/>
                <a:gd name="connsiteX12" fmla="*/ 2169380 w 2169380"/>
                <a:gd name="connsiteY12" fmla="*/ 377278 h 612300"/>
                <a:gd name="connsiteX13" fmla="*/ 2169380 w 2169380"/>
                <a:gd name="connsiteY13" fmla="*/ 377283 h 612300"/>
                <a:gd name="connsiteX14" fmla="*/ 2169378 w 2169380"/>
                <a:gd name="connsiteY14" fmla="*/ 377283 h 612300"/>
                <a:gd name="connsiteX15" fmla="*/ 2149168 w 2169380"/>
                <a:gd name="connsiteY15" fmla="*/ 432495 h 612300"/>
                <a:gd name="connsiteX16" fmla="*/ 1563031 w 2169380"/>
                <a:gd name="connsiteY16" fmla="*/ 432495 h 612300"/>
                <a:gd name="connsiteX17" fmla="*/ 1563031 w 2169380"/>
                <a:gd name="connsiteY17" fmla="*/ 497770 h 612300"/>
                <a:gd name="connsiteX18" fmla="*/ 2169380 w 2169380"/>
                <a:gd name="connsiteY18" fmla="*/ 497770 h 612300"/>
                <a:gd name="connsiteX19" fmla="*/ 2169380 w 2169380"/>
                <a:gd name="connsiteY19" fmla="*/ 612300 h 612300"/>
                <a:gd name="connsiteX20" fmla="*/ 0 w 2169380"/>
                <a:gd name="connsiteY20" fmla="*/ 612300 h 612300"/>
                <a:gd name="connsiteX21" fmla="*/ 0 w 2169380"/>
                <a:gd name="connsiteY21" fmla="*/ 497770 h 612300"/>
                <a:gd name="connsiteX22" fmla="*/ 613084 w 2169380"/>
                <a:gd name="connsiteY22" fmla="*/ 497770 h 612300"/>
                <a:gd name="connsiteX23" fmla="*/ 613084 w 2169380"/>
                <a:gd name="connsiteY23" fmla="*/ 432495 h 612300"/>
                <a:gd name="connsiteX24" fmla="*/ 20211 w 2169380"/>
                <a:gd name="connsiteY24" fmla="*/ 432495 h 612300"/>
                <a:gd name="connsiteX25" fmla="*/ 2 w 2169380"/>
                <a:gd name="connsiteY25" fmla="*/ 377283 h 612300"/>
                <a:gd name="connsiteX26" fmla="*/ 0 w 2169380"/>
                <a:gd name="connsiteY26" fmla="*/ 377283 h 612300"/>
                <a:gd name="connsiteX27" fmla="*/ 0 w 2169380"/>
                <a:gd name="connsiteY27" fmla="*/ 377278 h 612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69380" h="612300">
                  <a:moveTo>
                    <a:pt x="272856" y="121270"/>
                  </a:moveTo>
                  <a:cubicBezTo>
                    <a:pt x="308205" y="121270"/>
                    <a:pt x="336861" y="151433"/>
                    <a:pt x="336861" y="188642"/>
                  </a:cubicBezTo>
                  <a:cubicBezTo>
                    <a:pt x="336861" y="225851"/>
                    <a:pt x="308205" y="256014"/>
                    <a:pt x="272856" y="256014"/>
                  </a:cubicBezTo>
                  <a:cubicBezTo>
                    <a:pt x="237507" y="256014"/>
                    <a:pt x="208851" y="225851"/>
                    <a:pt x="208851" y="188642"/>
                  </a:cubicBezTo>
                  <a:cubicBezTo>
                    <a:pt x="208851" y="151433"/>
                    <a:pt x="237507" y="121270"/>
                    <a:pt x="272856" y="121270"/>
                  </a:cubicBezTo>
                  <a:close/>
                  <a:moveTo>
                    <a:pt x="272856" y="53898"/>
                  </a:moveTo>
                  <a:cubicBezTo>
                    <a:pt x="200298" y="53898"/>
                    <a:pt x="141479" y="115732"/>
                    <a:pt x="141479" y="192009"/>
                  </a:cubicBezTo>
                  <a:cubicBezTo>
                    <a:pt x="141479" y="268286"/>
                    <a:pt x="200298" y="330120"/>
                    <a:pt x="272856" y="330120"/>
                  </a:cubicBezTo>
                  <a:cubicBezTo>
                    <a:pt x="345414" y="330120"/>
                    <a:pt x="404233" y="268286"/>
                    <a:pt x="404233" y="192009"/>
                  </a:cubicBezTo>
                  <a:cubicBezTo>
                    <a:pt x="404233" y="115732"/>
                    <a:pt x="345414" y="53898"/>
                    <a:pt x="272856" y="53898"/>
                  </a:cubicBezTo>
                  <a:close/>
                  <a:moveTo>
                    <a:pt x="0" y="0"/>
                  </a:moveTo>
                  <a:lnTo>
                    <a:pt x="2169380" y="0"/>
                  </a:lnTo>
                  <a:lnTo>
                    <a:pt x="2169380" y="377278"/>
                  </a:lnTo>
                  <a:lnTo>
                    <a:pt x="2169380" y="377283"/>
                  </a:lnTo>
                  <a:lnTo>
                    <a:pt x="2169378" y="377283"/>
                  </a:lnTo>
                  <a:lnTo>
                    <a:pt x="2149168" y="432495"/>
                  </a:lnTo>
                  <a:lnTo>
                    <a:pt x="1563031" y="432495"/>
                  </a:lnTo>
                  <a:lnTo>
                    <a:pt x="1563031" y="497770"/>
                  </a:lnTo>
                  <a:lnTo>
                    <a:pt x="2169380" y="497770"/>
                  </a:lnTo>
                  <a:lnTo>
                    <a:pt x="2169380" y="612300"/>
                  </a:lnTo>
                  <a:lnTo>
                    <a:pt x="0" y="612300"/>
                  </a:lnTo>
                  <a:lnTo>
                    <a:pt x="0" y="497770"/>
                  </a:lnTo>
                  <a:lnTo>
                    <a:pt x="613084" y="497770"/>
                  </a:lnTo>
                  <a:lnTo>
                    <a:pt x="613084" y="432495"/>
                  </a:lnTo>
                  <a:lnTo>
                    <a:pt x="20211" y="432495"/>
                  </a:lnTo>
                  <a:lnTo>
                    <a:pt x="2" y="377283"/>
                  </a:lnTo>
                  <a:lnTo>
                    <a:pt x="0" y="377283"/>
                  </a:lnTo>
                  <a:lnTo>
                    <a:pt x="0" y="377278"/>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68" name="Freeform 9"/>
          <p:cNvSpPr>
            <a:spLocks noChangeAspect="1" noEditPoints="1"/>
          </p:cNvSpPr>
          <p:nvPr/>
        </p:nvSpPr>
        <p:spPr bwMode="black">
          <a:xfrm>
            <a:off x="6720571" y="5155174"/>
            <a:ext cx="591134" cy="47931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ndParaRPr>
          </a:p>
        </p:txBody>
      </p:sp>
      <p:grpSp>
        <p:nvGrpSpPr>
          <p:cNvPr id="205" name="Group 204"/>
          <p:cNvGrpSpPr/>
          <p:nvPr/>
        </p:nvGrpSpPr>
        <p:grpSpPr>
          <a:xfrm>
            <a:off x="10081480" y="4257637"/>
            <a:ext cx="1498014" cy="619168"/>
            <a:chOff x="10111601" y="4441043"/>
            <a:chExt cx="1498014" cy="619168"/>
          </a:xfrm>
        </p:grpSpPr>
        <p:sp>
          <p:nvSpPr>
            <p:cNvPr id="49" name="TextBox 48"/>
            <p:cNvSpPr txBox="1"/>
            <p:nvPr/>
          </p:nvSpPr>
          <p:spPr>
            <a:xfrm>
              <a:off x="10111601" y="4875545"/>
              <a:ext cx="1498014" cy="184666"/>
            </a:xfrm>
            <a:prstGeom prst="rect">
              <a:avLst/>
            </a:prstGeom>
            <a:noFill/>
          </p:spPr>
          <p:txBody>
            <a:bodyPr wrap="squar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marL="0" marR="0" lvl="0" indent="0" defTabSz="914367" eaLnBrk="1" fontAlgn="auto" latinLnBrk="0" hangingPunct="1">
                <a:lnSpc>
                  <a:spcPct val="100000"/>
                </a:lnSpc>
                <a:spcBef>
                  <a:spcPts val="0"/>
                </a:spcBef>
                <a:spcAft>
                  <a:spcPts val="600"/>
                </a:spcAft>
                <a:buClrTx/>
                <a:buSzTx/>
                <a:buFontTx/>
                <a:buNone/>
                <a:tabLst/>
                <a:defRPr/>
              </a:pPr>
              <a:r>
                <a:rPr kumimoji="0" lang="en-US" sz="1200" b="0" i="0" u="none" strike="noStrike" kern="0" cap="none" spc="0" normalizeH="0" baseline="0" noProof="0" dirty="0">
                  <a:ln>
                    <a:noFill/>
                  </a:ln>
                  <a:solidFill>
                    <a:srgbClr val="505050"/>
                  </a:solidFill>
                  <a:effectLst/>
                  <a:uLnTx/>
                  <a:uFillTx/>
                  <a:latin typeface="+mn-lt"/>
                </a:rPr>
                <a:t>Data analytics (Excel)</a:t>
              </a:r>
            </a:p>
          </p:txBody>
        </p:sp>
        <p:sp>
          <p:nvSpPr>
            <p:cNvPr id="169" name="Freeform 93"/>
            <p:cNvSpPr>
              <a:spLocks noChangeAspect="1"/>
            </p:cNvSpPr>
            <p:nvPr/>
          </p:nvSpPr>
          <p:spPr bwMode="auto">
            <a:xfrm>
              <a:off x="10629556" y="4441043"/>
              <a:ext cx="401861" cy="401993"/>
            </a:xfrm>
            <a:custGeom>
              <a:avLst/>
              <a:gdLst>
                <a:gd name="connsiteX0" fmla="*/ 4566081 w 6281717"/>
                <a:gd name="connsiteY0" fmla="*/ 4418235 h 6283779"/>
                <a:gd name="connsiteX1" fmla="*/ 5564846 w 6281717"/>
                <a:gd name="connsiteY1" fmla="*/ 4418235 h 6283779"/>
                <a:gd name="connsiteX2" fmla="*/ 5564846 w 6281717"/>
                <a:gd name="connsiteY2" fmla="*/ 4921699 h 6283779"/>
                <a:gd name="connsiteX3" fmla="*/ 4566081 w 6281717"/>
                <a:gd name="connsiteY3" fmla="*/ 4921699 h 6283779"/>
                <a:gd name="connsiteX4" fmla="*/ 4566082 w 6281717"/>
                <a:gd name="connsiteY4" fmla="*/ 3634805 h 6283779"/>
                <a:gd name="connsiteX5" fmla="*/ 5564847 w 6281717"/>
                <a:gd name="connsiteY5" fmla="*/ 3634805 h 6283779"/>
                <a:gd name="connsiteX6" fmla="*/ 5564847 w 6281717"/>
                <a:gd name="connsiteY6" fmla="*/ 4138269 h 6283779"/>
                <a:gd name="connsiteX7" fmla="*/ 4566082 w 6281717"/>
                <a:gd name="connsiteY7" fmla="*/ 4138269 h 6283779"/>
                <a:gd name="connsiteX8" fmla="*/ 4566083 w 6281717"/>
                <a:gd name="connsiteY8" fmla="*/ 2851375 h 6283779"/>
                <a:gd name="connsiteX9" fmla="*/ 5564848 w 6281717"/>
                <a:gd name="connsiteY9" fmla="*/ 2851375 h 6283779"/>
                <a:gd name="connsiteX10" fmla="*/ 5564848 w 6281717"/>
                <a:gd name="connsiteY10" fmla="*/ 3354839 h 6283779"/>
                <a:gd name="connsiteX11" fmla="*/ 4566083 w 6281717"/>
                <a:gd name="connsiteY11" fmla="*/ 3354839 h 6283779"/>
                <a:gd name="connsiteX12" fmla="*/ 4566084 w 6281717"/>
                <a:gd name="connsiteY12" fmla="*/ 2067945 h 6283779"/>
                <a:gd name="connsiteX13" fmla="*/ 5564849 w 6281717"/>
                <a:gd name="connsiteY13" fmla="*/ 2067945 h 6283779"/>
                <a:gd name="connsiteX14" fmla="*/ 5564849 w 6281717"/>
                <a:gd name="connsiteY14" fmla="*/ 2571409 h 6283779"/>
                <a:gd name="connsiteX15" fmla="*/ 4566084 w 6281717"/>
                <a:gd name="connsiteY15" fmla="*/ 2571409 h 6283779"/>
                <a:gd name="connsiteX16" fmla="*/ 2593051 w 6281717"/>
                <a:gd name="connsiteY16" fmla="*/ 1921329 h 6283779"/>
                <a:gd name="connsiteX17" fmla="*/ 2111358 w 6281717"/>
                <a:gd name="connsiteY17" fmla="*/ 1951265 h 6283779"/>
                <a:gd name="connsiteX18" fmla="*/ 1752129 w 6281717"/>
                <a:gd name="connsiteY18" fmla="*/ 2822122 h 6283779"/>
                <a:gd name="connsiteX19" fmla="*/ 1450051 w 6281717"/>
                <a:gd name="connsiteY19" fmla="*/ 1994808 h 6283779"/>
                <a:gd name="connsiteX20" fmla="*/ 971079 w 6281717"/>
                <a:gd name="connsiteY20" fmla="*/ 2022022 h 6283779"/>
                <a:gd name="connsiteX21" fmla="*/ 1485429 w 6281717"/>
                <a:gd name="connsiteY21" fmla="*/ 3107872 h 6283779"/>
                <a:gd name="connsiteX22" fmla="*/ 924815 w 6281717"/>
                <a:gd name="connsiteY22" fmla="*/ 4191001 h 6283779"/>
                <a:gd name="connsiteX23" fmla="*/ 1398344 w 6281717"/>
                <a:gd name="connsiteY23" fmla="*/ 4207329 h 6283779"/>
                <a:gd name="connsiteX24" fmla="*/ 1738522 w 6281717"/>
                <a:gd name="connsiteY24" fmla="*/ 3360965 h 6283779"/>
                <a:gd name="connsiteX25" fmla="*/ 2100472 w 6281717"/>
                <a:gd name="connsiteY25" fmla="*/ 4253593 h 6283779"/>
                <a:gd name="connsiteX26" fmla="*/ 2614822 w 6281717"/>
                <a:gd name="connsiteY26" fmla="*/ 4288972 h 6283779"/>
                <a:gd name="connsiteX27" fmla="*/ 2024272 w 6281717"/>
                <a:gd name="connsiteY27" fmla="*/ 3094265 h 6283779"/>
                <a:gd name="connsiteX28" fmla="*/ 4566084 w 6281717"/>
                <a:gd name="connsiteY28" fmla="*/ 1284515 h 6283779"/>
                <a:gd name="connsiteX29" fmla="*/ 5564849 w 6281717"/>
                <a:gd name="connsiteY29" fmla="*/ 1284515 h 6283779"/>
                <a:gd name="connsiteX30" fmla="*/ 5564849 w 6281717"/>
                <a:gd name="connsiteY30" fmla="*/ 1787979 h 6283779"/>
                <a:gd name="connsiteX31" fmla="*/ 4566084 w 6281717"/>
                <a:gd name="connsiteY31" fmla="*/ 1787979 h 6283779"/>
                <a:gd name="connsiteX32" fmla="*/ 3705209 w 6281717"/>
                <a:gd name="connsiteY32" fmla="*/ 851808 h 6283779"/>
                <a:gd name="connsiteX33" fmla="*/ 3705209 w 6281717"/>
                <a:gd name="connsiteY33" fmla="*/ 1283836 h 6283779"/>
                <a:gd name="connsiteX34" fmla="*/ 4280335 w 6281717"/>
                <a:gd name="connsiteY34" fmla="*/ 1283836 h 6283779"/>
                <a:gd name="connsiteX35" fmla="*/ 4280335 w 6281717"/>
                <a:gd name="connsiteY35" fmla="*/ 1787300 h 6283779"/>
                <a:gd name="connsiteX36" fmla="*/ 3705209 w 6281717"/>
                <a:gd name="connsiteY36" fmla="*/ 1787300 h 6283779"/>
                <a:gd name="connsiteX37" fmla="*/ 3705209 w 6281717"/>
                <a:gd name="connsiteY37" fmla="*/ 2067266 h 6283779"/>
                <a:gd name="connsiteX38" fmla="*/ 4280335 w 6281717"/>
                <a:gd name="connsiteY38" fmla="*/ 2067266 h 6283779"/>
                <a:gd name="connsiteX39" fmla="*/ 4280335 w 6281717"/>
                <a:gd name="connsiteY39" fmla="*/ 2570730 h 6283779"/>
                <a:gd name="connsiteX40" fmla="*/ 3705209 w 6281717"/>
                <a:gd name="connsiteY40" fmla="*/ 2570730 h 6283779"/>
                <a:gd name="connsiteX41" fmla="*/ 3705209 w 6281717"/>
                <a:gd name="connsiteY41" fmla="*/ 2850696 h 6283779"/>
                <a:gd name="connsiteX42" fmla="*/ 4280334 w 6281717"/>
                <a:gd name="connsiteY42" fmla="*/ 2850696 h 6283779"/>
                <a:gd name="connsiteX43" fmla="*/ 4280334 w 6281717"/>
                <a:gd name="connsiteY43" fmla="*/ 3354160 h 6283779"/>
                <a:gd name="connsiteX44" fmla="*/ 3705209 w 6281717"/>
                <a:gd name="connsiteY44" fmla="*/ 3354160 h 6283779"/>
                <a:gd name="connsiteX45" fmla="*/ 3705209 w 6281717"/>
                <a:gd name="connsiteY45" fmla="*/ 3634126 h 6283779"/>
                <a:gd name="connsiteX46" fmla="*/ 4280333 w 6281717"/>
                <a:gd name="connsiteY46" fmla="*/ 3634126 h 6283779"/>
                <a:gd name="connsiteX47" fmla="*/ 4280333 w 6281717"/>
                <a:gd name="connsiteY47" fmla="*/ 4137590 h 6283779"/>
                <a:gd name="connsiteX48" fmla="*/ 3705209 w 6281717"/>
                <a:gd name="connsiteY48" fmla="*/ 4137590 h 6283779"/>
                <a:gd name="connsiteX49" fmla="*/ 3705209 w 6281717"/>
                <a:gd name="connsiteY49" fmla="*/ 4417556 h 6283779"/>
                <a:gd name="connsiteX50" fmla="*/ 4280332 w 6281717"/>
                <a:gd name="connsiteY50" fmla="*/ 4417556 h 6283779"/>
                <a:gd name="connsiteX51" fmla="*/ 4280332 w 6281717"/>
                <a:gd name="connsiteY51" fmla="*/ 4921020 h 6283779"/>
                <a:gd name="connsiteX52" fmla="*/ 3705209 w 6281717"/>
                <a:gd name="connsiteY52" fmla="*/ 4921020 h 6283779"/>
                <a:gd name="connsiteX53" fmla="*/ 3705209 w 6281717"/>
                <a:gd name="connsiteY53" fmla="*/ 5355772 h 6283779"/>
                <a:gd name="connsiteX54" fmla="*/ 6068315 w 6281717"/>
                <a:gd name="connsiteY54" fmla="*/ 5355772 h 6283779"/>
                <a:gd name="connsiteX55" fmla="*/ 6068315 w 6281717"/>
                <a:gd name="connsiteY55" fmla="*/ 851808 h 6283779"/>
                <a:gd name="connsiteX56" fmla="*/ 3705209 w 6281717"/>
                <a:gd name="connsiteY56" fmla="*/ 0 h 6283779"/>
                <a:gd name="connsiteX57" fmla="*/ 3705209 w 6281717"/>
                <a:gd name="connsiteY57" fmla="*/ 642257 h 6283779"/>
                <a:gd name="connsiteX58" fmla="*/ 6032964 w 6281717"/>
                <a:gd name="connsiteY58" fmla="*/ 642257 h 6283779"/>
                <a:gd name="connsiteX59" fmla="*/ 6281717 w 6281717"/>
                <a:gd name="connsiteY59" fmla="*/ 891010 h 6283779"/>
                <a:gd name="connsiteX60" fmla="*/ 6281717 w 6281717"/>
                <a:gd name="connsiteY60" fmla="*/ 5313847 h 6283779"/>
                <a:gd name="connsiteX61" fmla="*/ 6032964 w 6281717"/>
                <a:gd name="connsiteY61" fmla="*/ 5562600 h 6283779"/>
                <a:gd name="connsiteX62" fmla="*/ 3705209 w 6281717"/>
                <a:gd name="connsiteY62" fmla="*/ 5562600 h 6283779"/>
                <a:gd name="connsiteX63" fmla="*/ 3705209 w 6281717"/>
                <a:gd name="connsiteY63" fmla="*/ 6283779 h 6283779"/>
                <a:gd name="connsiteX64" fmla="*/ 0 w 6281717"/>
                <a:gd name="connsiteY64" fmla="*/ 5641407 h 6283779"/>
                <a:gd name="connsiteX65" fmla="*/ 0 w 6281717"/>
                <a:gd name="connsiteY65" fmla="*/ 642372 h 6283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6281717" h="6283779">
                  <a:moveTo>
                    <a:pt x="4566081" y="4418235"/>
                  </a:moveTo>
                  <a:lnTo>
                    <a:pt x="5564846" y="4418235"/>
                  </a:lnTo>
                  <a:lnTo>
                    <a:pt x="5564846" y="4921699"/>
                  </a:lnTo>
                  <a:lnTo>
                    <a:pt x="4566081" y="4921699"/>
                  </a:lnTo>
                  <a:close/>
                  <a:moveTo>
                    <a:pt x="4566082" y="3634805"/>
                  </a:moveTo>
                  <a:lnTo>
                    <a:pt x="5564847" y="3634805"/>
                  </a:lnTo>
                  <a:lnTo>
                    <a:pt x="5564847" y="4138269"/>
                  </a:lnTo>
                  <a:lnTo>
                    <a:pt x="4566082" y="4138269"/>
                  </a:lnTo>
                  <a:close/>
                  <a:moveTo>
                    <a:pt x="4566083" y="2851375"/>
                  </a:moveTo>
                  <a:lnTo>
                    <a:pt x="5564848" y="2851375"/>
                  </a:lnTo>
                  <a:lnTo>
                    <a:pt x="5564848" y="3354839"/>
                  </a:lnTo>
                  <a:lnTo>
                    <a:pt x="4566083" y="3354839"/>
                  </a:lnTo>
                  <a:close/>
                  <a:moveTo>
                    <a:pt x="4566084" y="2067945"/>
                  </a:moveTo>
                  <a:lnTo>
                    <a:pt x="5564849" y="2067945"/>
                  </a:lnTo>
                  <a:lnTo>
                    <a:pt x="5564849" y="2571409"/>
                  </a:lnTo>
                  <a:lnTo>
                    <a:pt x="4566084" y="2571409"/>
                  </a:lnTo>
                  <a:close/>
                  <a:moveTo>
                    <a:pt x="2593051" y="1921329"/>
                  </a:moveTo>
                  <a:lnTo>
                    <a:pt x="2111358" y="1951265"/>
                  </a:lnTo>
                  <a:lnTo>
                    <a:pt x="1752129" y="2822122"/>
                  </a:lnTo>
                  <a:lnTo>
                    <a:pt x="1450051" y="1994808"/>
                  </a:lnTo>
                  <a:lnTo>
                    <a:pt x="971079" y="2022022"/>
                  </a:lnTo>
                  <a:lnTo>
                    <a:pt x="1485429" y="3107872"/>
                  </a:lnTo>
                  <a:lnTo>
                    <a:pt x="924815" y="4191001"/>
                  </a:lnTo>
                  <a:lnTo>
                    <a:pt x="1398344" y="4207329"/>
                  </a:lnTo>
                  <a:lnTo>
                    <a:pt x="1738522" y="3360965"/>
                  </a:lnTo>
                  <a:lnTo>
                    <a:pt x="2100472" y="4253593"/>
                  </a:lnTo>
                  <a:lnTo>
                    <a:pt x="2614822" y="4288972"/>
                  </a:lnTo>
                  <a:lnTo>
                    <a:pt x="2024272" y="3094265"/>
                  </a:lnTo>
                  <a:close/>
                  <a:moveTo>
                    <a:pt x="4566084" y="1284515"/>
                  </a:moveTo>
                  <a:lnTo>
                    <a:pt x="5564849" y="1284515"/>
                  </a:lnTo>
                  <a:lnTo>
                    <a:pt x="5564849" y="1787979"/>
                  </a:lnTo>
                  <a:lnTo>
                    <a:pt x="4566084" y="1787979"/>
                  </a:lnTo>
                  <a:close/>
                  <a:moveTo>
                    <a:pt x="3705209" y="851808"/>
                  </a:moveTo>
                  <a:lnTo>
                    <a:pt x="3705209" y="1283836"/>
                  </a:lnTo>
                  <a:lnTo>
                    <a:pt x="4280335" y="1283836"/>
                  </a:lnTo>
                  <a:lnTo>
                    <a:pt x="4280335" y="1787300"/>
                  </a:lnTo>
                  <a:lnTo>
                    <a:pt x="3705209" y="1787300"/>
                  </a:lnTo>
                  <a:lnTo>
                    <a:pt x="3705209" y="2067266"/>
                  </a:lnTo>
                  <a:lnTo>
                    <a:pt x="4280335" y="2067266"/>
                  </a:lnTo>
                  <a:lnTo>
                    <a:pt x="4280335" y="2570730"/>
                  </a:lnTo>
                  <a:lnTo>
                    <a:pt x="3705209" y="2570730"/>
                  </a:lnTo>
                  <a:lnTo>
                    <a:pt x="3705209" y="2850696"/>
                  </a:lnTo>
                  <a:lnTo>
                    <a:pt x="4280334" y="2850696"/>
                  </a:lnTo>
                  <a:lnTo>
                    <a:pt x="4280334" y="3354160"/>
                  </a:lnTo>
                  <a:lnTo>
                    <a:pt x="3705209" y="3354160"/>
                  </a:lnTo>
                  <a:lnTo>
                    <a:pt x="3705209" y="3634126"/>
                  </a:lnTo>
                  <a:lnTo>
                    <a:pt x="4280333" y="3634126"/>
                  </a:lnTo>
                  <a:lnTo>
                    <a:pt x="4280333" y="4137590"/>
                  </a:lnTo>
                  <a:lnTo>
                    <a:pt x="3705209" y="4137590"/>
                  </a:lnTo>
                  <a:lnTo>
                    <a:pt x="3705209" y="4417556"/>
                  </a:lnTo>
                  <a:lnTo>
                    <a:pt x="4280332" y="4417556"/>
                  </a:lnTo>
                  <a:lnTo>
                    <a:pt x="4280332" y="4921020"/>
                  </a:lnTo>
                  <a:lnTo>
                    <a:pt x="3705209" y="4921020"/>
                  </a:lnTo>
                  <a:lnTo>
                    <a:pt x="3705209" y="5355772"/>
                  </a:lnTo>
                  <a:lnTo>
                    <a:pt x="6068315" y="5355772"/>
                  </a:lnTo>
                  <a:lnTo>
                    <a:pt x="6068315" y="851808"/>
                  </a:lnTo>
                  <a:close/>
                  <a:moveTo>
                    <a:pt x="3705209" y="0"/>
                  </a:moveTo>
                  <a:lnTo>
                    <a:pt x="3705209" y="642257"/>
                  </a:lnTo>
                  <a:lnTo>
                    <a:pt x="6032964" y="642257"/>
                  </a:lnTo>
                  <a:cubicBezTo>
                    <a:pt x="6170346" y="642257"/>
                    <a:pt x="6281717" y="753628"/>
                    <a:pt x="6281717" y="891010"/>
                  </a:cubicBezTo>
                  <a:lnTo>
                    <a:pt x="6281717" y="5313847"/>
                  </a:lnTo>
                  <a:cubicBezTo>
                    <a:pt x="6281717" y="5451229"/>
                    <a:pt x="6170346" y="5562600"/>
                    <a:pt x="6032964" y="5562600"/>
                  </a:cubicBezTo>
                  <a:lnTo>
                    <a:pt x="3705209" y="5562600"/>
                  </a:lnTo>
                  <a:lnTo>
                    <a:pt x="3705209" y="6283779"/>
                  </a:lnTo>
                  <a:lnTo>
                    <a:pt x="0" y="5641407"/>
                  </a:lnTo>
                  <a:lnTo>
                    <a:pt x="0" y="642372"/>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170" name="Freeform: Shape 169"/>
          <p:cNvSpPr>
            <a:spLocks/>
          </p:cNvSpPr>
          <p:nvPr/>
        </p:nvSpPr>
        <p:spPr bwMode="auto">
          <a:xfrm>
            <a:off x="8639143" y="3245442"/>
            <a:ext cx="572954" cy="411402"/>
          </a:xfrm>
          <a:custGeom>
            <a:avLst/>
            <a:gdLst>
              <a:gd name="connsiteX0" fmla="*/ 3221632 w 5336589"/>
              <a:gd name="connsiteY0" fmla="*/ 2948204 h 3831857"/>
              <a:gd name="connsiteX1" fmla="*/ 3360482 w 5336589"/>
              <a:gd name="connsiteY1" fmla="*/ 3245280 h 3831857"/>
              <a:gd name="connsiteX2" fmla="*/ 3342722 w 5336589"/>
              <a:gd name="connsiteY2" fmla="*/ 3484231 h 3831857"/>
              <a:gd name="connsiteX3" fmla="*/ 3396003 w 5336589"/>
              <a:gd name="connsiteY3" fmla="*/ 3655372 h 3831857"/>
              <a:gd name="connsiteX4" fmla="*/ 3098926 w 5336589"/>
              <a:gd name="connsiteY4" fmla="*/ 3719954 h 3831857"/>
              <a:gd name="connsiteX5" fmla="*/ 2801850 w 5336589"/>
              <a:gd name="connsiteY5" fmla="*/ 3658602 h 3831857"/>
              <a:gd name="connsiteX6" fmla="*/ 3221632 w 5336589"/>
              <a:gd name="connsiteY6" fmla="*/ 2948204 h 3831857"/>
              <a:gd name="connsiteX7" fmla="*/ 325133 w 5336589"/>
              <a:gd name="connsiteY7" fmla="*/ 2651130 h 3831857"/>
              <a:gd name="connsiteX8" fmla="*/ 628668 w 5336589"/>
              <a:gd name="connsiteY8" fmla="*/ 3277571 h 3831857"/>
              <a:gd name="connsiteX9" fmla="*/ 467213 w 5336589"/>
              <a:gd name="connsiteY9" fmla="*/ 3408348 h 3831857"/>
              <a:gd name="connsiteX10" fmla="*/ 78108 w 5336589"/>
              <a:gd name="connsiteY10" fmla="*/ 3017631 h 3831857"/>
              <a:gd name="connsiteX11" fmla="*/ 325133 w 5336589"/>
              <a:gd name="connsiteY11" fmla="*/ 2651130 h 3831857"/>
              <a:gd name="connsiteX12" fmla="*/ 3683393 w 5336589"/>
              <a:gd name="connsiteY12" fmla="*/ 922762 h 3831857"/>
              <a:gd name="connsiteX13" fmla="*/ 3249079 w 5336589"/>
              <a:gd name="connsiteY13" fmla="*/ 1251322 h 3831857"/>
              <a:gd name="connsiteX14" fmla="*/ 3336263 w 5336589"/>
              <a:gd name="connsiteY14" fmla="*/ 1177862 h 3831857"/>
              <a:gd name="connsiteX15" fmla="*/ 3477115 w 5336589"/>
              <a:gd name="connsiteY15" fmla="*/ 1303862 h 3831857"/>
              <a:gd name="connsiteX16" fmla="*/ 3386316 w 5336589"/>
              <a:gd name="connsiteY16" fmla="*/ 1441839 h 3831857"/>
              <a:gd name="connsiteX17" fmla="*/ 3860993 w 5336589"/>
              <a:gd name="connsiteY17" fmla="*/ 1094711 h 3831857"/>
              <a:gd name="connsiteX18" fmla="*/ 3736440 w 5336589"/>
              <a:gd name="connsiteY18" fmla="*/ 1125953 h 3831857"/>
              <a:gd name="connsiteX19" fmla="*/ 3611142 w 5336589"/>
              <a:gd name="connsiteY19" fmla="*/ 974427 h 3831857"/>
              <a:gd name="connsiteX20" fmla="*/ 3683393 w 5336589"/>
              <a:gd name="connsiteY20" fmla="*/ 922762 h 3831857"/>
              <a:gd name="connsiteX21" fmla="*/ 3202477 w 5336589"/>
              <a:gd name="connsiteY21" fmla="*/ 625701 h 3831857"/>
              <a:gd name="connsiteX22" fmla="*/ 3048875 w 5336589"/>
              <a:gd name="connsiteY22" fmla="*/ 991380 h 3831857"/>
              <a:gd name="connsiteX23" fmla="*/ 3391159 w 5336589"/>
              <a:gd name="connsiteY23" fmla="*/ 649097 h 3831857"/>
              <a:gd name="connsiteX24" fmla="*/ 3243832 w 5336589"/>
              <a:gd name="connsiteY24" fmla="*/ 626367 h 3831857"/>
              <a:gd name="connsiteX25" fmla="*/ 3202477 w 5336589"/>
              <a:gd name="connsiteY25" fmla="*/ 625701 h 3831857"/>
              <a:gd name="connsiteX26" fmla="*/ 2674610 w 5336589"/>
              <a:gd name="connsiteY26" fmla="*/ 621340 h 3831857"/>
              <a:gd name="connsiteX27" fmla="*/ 2673929 w 5336589"/>
              <a:gd name="connsiteY27" fmla="*/ 621683 h 3831857"/>
              <a:gd name="connsiteX28" fmla="*/ 2673248 w 5336589"/>
              <a:gd name="connsiteY28" fmla="*/ 621683 h 3831857"/>
              <a:gd name="connsiteX29" fmla="*/ 2671886 w 5336589"/>
              <a:gd name="connsiteY29" fmla="*/ 622370 h 3831857"/>
              <a:gd name="connsiteX30" fmla="*/ 2670184 w 5336589"/>
              <a:gd name="connsiteY30" fmla="*/ 622713 h 3831857"/>
              <a:gd name="connsiteX31" fmla="*/ 2667800 w 5336589"/>
              <a:gd name="connsiteY31" fmla="*/ 623400 h 3831857"/>
              <a:gd name="connsiteX32" fmla="*/ 2665416 w 5336589"/>
              <a:gd name="connsiteY32" fmla="*/ 624087 h 3831857"/>
              <a:gd name="connsiteX33" fmla="*/ 2662692 w 5336589"/>
              <a:gd name="connsiteY33" fmla="*/ 624773 h 3831857"/>
              <a:gd name="connsiteX34" fmla="*/ 2659628 w 5336589"/>
              <a:gd name="connsiteY34" fmla="*/ 625803 h 3831857"/>
              <a:gd name="connsiteX35" fmla="*/ 2655542 w 5336589"/>
              <a:gd name="connsiteY35" fmla="*/ 627176 h 3831857"/>
              <a:gd name="connsiteX36" fmla="*/ 2651796 w 5336589"/>
              <a:gd name="connsiteY36" fmla="*/ 628206 h 3831857"/>
              <a:gd name="connsiteX37" fmla="*/ 2647029 w 5336589"/>
              <a:gd name="connsiteY37" fmla="*/ 629236 h 3831857"/>
              <a:gd name="connsiteX38" fmla="*/ 2642602 w 5336589"/>
              <a:gd name="connsiteY38" fmla="*/ 630610 h 3831857"/>
              <a:gd name="connsiteX39" fmla="*/ 2637495 w 5336589"/>
              <a:gd name="connsiteY39" fmla="*/ 631983 h 3831857"/>
              <a:gd name="connsiteX40" fmla="*/ 2631706 w 5336589"/>
              <a:gd name="connsiteY40" fmla="*/ 633356 h 3831857"/>
              <a:gd name="connsiteX41" fmla="*/ 2625577 w 5336589"/>
              <a:gd name="connsiteY41" fmla="*/ 634729 h 3831857"/>
              <a:gd name="connsiteX42" fmla="*/ 2619448 w 5336589"/>
              <a:gd name="connsiteY42" fmla="*/ 636103 h 3831857"/>
              <a:gd name="connsiteX43" fmla="*/ 2612297 w 5336589"/>
              <a:gd name="connsiteY43" fmla="*/ 637819 h 3831857"/>
              <a:gd name="connsiteX44" fmla="*/ 2605487 w 5336589"/>
              <a:gd name="connsiteY44" fmla="*/ 639536 h 3831857"/>
              <a:gd name="connsiteX45" fmla="*/ 2597655 w 5336589"/>
              <a:gd name="connsiteY45" fmla="*/ 641252 h 3831857"/>
              <a:gd name="connsiteX46" fmla="*/ 2589483 w 5336589"/>
              <a:gd name="connsiteY46" fmla="*/ 642969 h 3831857"/>
              <a:gd name="connsiteX47" fmla="*/ 2580970 w 5336589"/>
              <a:gd name="connsiteY47" fmla="*/ 644685 h 3831857"/>
              <a:gd name="connsiteX48" fmla="*/ 2572458 w 5336589"/>
              <a:gd name="connsiteY48" fmla="*/ 646402 h 3831857"/>
              <a:gd name="connsiteX49" fmla="*/ 2562923 w 5336589"/>
              <a:gd name="connsiteY49" fmla="*/ 648462 h 3831857"/>
              <a:gd name="connsiteX50" fmla="*/ 2553049 w 5336589"/>
              <a:gd name="connsiteY50" fmla="*/ 650522 h 3831857"/>
              <a:gd name="connsiteX51" fmla="*/ 2543174 w 5336589"/>
              <a:gd name="connsiteY51" fmla="*/ 652238 h 3831857"/>
              <a:gd name="connsiteX52" fmla="*/ 2532618 w 5336589"/>
              <a:gd name="connsiteY52" fmla="*/ 654298 h 3831857"/>
              <a:gd name="connsiteX53" fmla="*/ 2521381 w 5336589"/>
              <a:gd name="connsiteY53" fmla="*/ 656358 h 3831857"/>
              <a:gd name="connsiteX54" fmla="*/ 2510145 w 5336589"/>
              <a:gd name="connsiteY54" fmla="*/ 658075 h 3831857"/>
              <a:gd name="connsiteX55" fmla="*/ 2498227 w 5336589"/>
              <a:gd name="connsiteY55" fmla="*/ 660135 h 3831857"/>
              <a:gd name="connsiteX56" fmla="*/ 2485968 w 5336589"/>
              <a:gd name="connsiteY56" fmla="*/ 662194 h 3831857"/>
              <a:gd name="connsiteX57" fmla="*/ 2473029 w 5336589"/>
              <a:gd name="connsiteY57" fmla="*/ 664254 h 3831857"/>
              <a:gd name="connsiteX58" fmla="*/ 2449534 w 5336589"/>
              <a:gd name="connsiteY58" fmla="*/ 667687 h 3831857"/>
              <a:gd name="connsiteX59" fmla="*/ 2426720 w 5336589"/>
              <a:gd name="connsiteY59" fmla="*/ 670777 h 3831857"/>
              <a:gd name="connsiteX60" fmla="*/ 2404927 w 5336589"/>
              <a:gd name="connsiteY60" fmla="*/ 673524 h 3831857"/>
              <a:gd name="connsiteX61" fmla="*/ 2383475 w 5336589"/>
              <a:gd name="connsiteY61" fmla="*/ 675584 h 3831857"/>
              <a:gd name="connsiteX62" fmla="*/ 2363045 w 5336589"/>
              <a:gd name="connsiteY62" fmla="*/ 677300 h 3831857"/>
              <a:gd name="connsiteX63" fmla="*/ 2343636 w 5336589"/>
              <a:gd name="connsiteY63" fmla="*/ 678674 h 3831857"/>
              <a:gd name="connsiteX64" fmla="*/ 2324227 w 5336589"/>
              <a:gd name="connsiteY64" fmla="*/ 680047 h 3831857"/>
              <a:gd name="connsiteX65" fmla="*/ 2305839 w 5336589"/>
              <a:gd name="connsiteY65" fmla="*/ 681420 h 3831857"/>
              <a:gd name="connsiteX66" fmla="*/ 2288814 w 5336589"/>
              <a:gd name="connsiteY66" fmla="*/ 683136 h 3831857"/>
              <a:gd name="connsiteX67" fmla="*/ 2271789 w 5336589"/>
              <a:gd name="connsiteY67" fmla="*/ 684853 h 3831857"/>
              <a:gd name="connsiteX68" fmla="*/ 2255444 w 5336589"/>
              <a:gd name="connsiteY68" fmla="*/ 687256 h 3831857"/>
              <a:gd name="connsiteX69" fmla="*/ 2240462 w 5336589"/>
              <a:gd name="connsiteY69" fmla="*/ 689659 h 3831857"/>
              <a:gd name="connsiteX70" fmla="*/ 2225820 w 5336589"/>
              <a:gd name="connsiteY70" fmla="*/ 692749 h 3831857"/>
              <a:gd name="connsiteX71" fmla="*/ 2211859 w 5336589"/>
              <a:gd name="connsiteY71" fmla="*/ 696526 h 3831857"/>
              <a:gd name="connsiteX72" fmla="*/ 2198920 w 5336589"/>
              <a:gd name="connsiteY72" fmla="*/ 701332 h 3831857"/>
              <a:gd name="connsiteX73" fmla="*/ 2186661 w 5336589"/>
              <a:gd name="connsiteY73" fmla="*/ 706825 h 3831857"/>
              <a:gd name="connsiteX74" fmla="*/ 2169295 w 5336589"/>
              <a:gd name="connsiteY74" fmla="*/ 717125 h 3831857"/>
              <a:gd name="connsiteX75" fmla="*/ 2153292 w 5336589"/>
              <a:gd name="connsiteY75" fmla="*/ 728454 h 3831857"/>
              <a:gd name="connsiteX76" fmla="*/ 2138309 w 5336589"/>
              <a:gd name="connsiteY76" fmla="*/ 740470 h 3831857"/>
              <a:gd name="connsiteX77" fmla="*/ 2124008 w 5336589"/>
              <a:gd name="connsiteY77" fmla="*/ 753172 h 3831857"/>
              <a:gd name="connsiteX78" fmla="*/ 2111068 w 5336589"/>
              <a:gd name="connsiteY78" fmla="*/ 766905 h 3831857"/>
              <a:gd name="connsiteX79" fmla="*/ 2098810 w 5336589"/>
              <a:gd name="connsiteY79" fmla="*/ 782011 h 3831857"/>
              <a:gd name="connsiteX80" fmla="*/ 2087233 w 5336589"/>
              <a:gd name="connsiteY80" fmla="*/ 797460 h 3831857"/>
              <a:gd name="connsiteX81" fmla="*/ 2076677 w 5336589"/>
              <a:gd name="connsiteY81" fmla="*/ 813939 h 3831857"/>
              <a:gd name="connsiteX82" fmla="*/ 2066462 w 5336589"/>
              <a:gd name="connsiteY82" fmla="*/ 831448 h 3831857"/>
              <a:gd name="connsiteX83" fmla="*/ 2056587 w 5336589"/>
              <a:gd name="connsiteY83" fmla="*/ 850330 h 3831857"/>
              <a:gd name="connsiteX84" fmla="*/ 2047393 w 5336589"/>
              <a:gd name="connsiteY84" fmla="*/ 869556 h 3831857"/>
              <a:gd name="connsiteX85" fmla="*/ 2039221 w 5336589"/>
              <a:gd name="connsiteY85" fmla="*/ 890498 h 3831857"/>
              <a:gd name="connsiteX86" fmla="*/ 2030708 w 5336589"/>
              <a:gd name="connsiteY86" fmla="*/ 912470 h 3831857"/>
              <a:gd name="connsiteX87" fmla="*/ 2022196 w 5336589"/>
              <a:gd name="connsiteY87" fmla="*/ 935472 h 3831857"/>
              <a:gd name="connsiteX88" fmla="*/ 2014024 w 5336589"/>
              <a:gd name="connsiteY88" fmla="*/ 959847 h 3831857"/>
              <a:gd name="connsiteX89" fmla="*/ 2006532 w 5336589"/>
              <a:gd name="connsiteY89" fmla="*/ 985252 h 3831857"/>
              <a:gd name="connsiteX90" fmla="*/ 2001425 w 5336589"/>
              <a:gd name="connsiteY90" fmla="*/ 1000358 h 3831857"/>
              <a:gd name="connsiteX91" fmla="*/ 1996998 w 5336589"/>
              <a:gd name="connsiteY91" fmla="*/ 1015807 h 3831857"/>
              <a:gd name="connsiteX92" fmla="*/ 1989166 w 5336589"/>
              <a:gd name="connsiteY92" fmla="*/ 1046705 h 3831857"/>
              <a:gd name="connsiteX93" fmla="*/ 1982356 w 5336589"/>
              <a:gd name="connsiteY93" fmla="*/ 1078290 h 3831857"/>
              <a:gd name="connsiteX94" fmla="*/ 1977249 w 5336589"/>
              <a:gd name="connsiteY94" fmla="*/ 1109875 h 3831857"/>
              <a:gd name="connsiteX95" fmla="*/ 1972822 w 5336589"/>
              <a:gd name="connsiteY95" fmla="*/ 1140430 h 3831857"/>
              <a:gd name="connsiteX96" fmla="*/ 1969417 w 5336589"/>
              <a:gd name="connsiteY96" fmla="*/ 1170642 h 3831857"/>
              <a:gd name="connsiteX97" fmla="*/ 1968055 w 5336589"/>
              <a:gd name="connsiteY97" fmla="*/ 1185404 h 3831857"/>
              <a:gd name="connsiteX98" fmla="*/ 1967033 w 5336589"/>
              <a:gd name="connsiteY98" fmla="*/ 1199480 h 3831857"/>
              <a:gd name="connsiteX99" fmla="*/ 1966012 w 5336589"/>
              <a:gd name="connsiteY99" fmla="*/ 1213556 h 3831857"/>
              <a:gd name="connsiteX100" fmla="*/ 1965331 w 5336589"/>
              <a:gd name="connsiteY100" fmla="*/ 1227288 h 3831857"/>
              <a:gd name="connsiteX101" fmla="*/ 1964650 w 5336589"/>
              <a:gd name="connsiteY101" fmla="*/ 1240334 h 3831857"/>
              <a:gd name="connsiteX102" fmla="*/ 1963969 w 5336589"/>
              <a:gd name="connsiteY102" fmla="*/ 1252693 h 3831857"/>
              <a:gd name="connsiteX103" fmla="*/ 1963628 w 5336589"/>
              <a:gd name="connsiteY103" fmla="*/ 1264709 h 3831857"/>
              <a:gd name="connsiteX104" fmla="*/ 1963288 w 5336589"/>
              <a:gd name="connsiteY104" fmla="*/ 1276039 h 3831857"/>
              <a:gd name="connsiteX105" fmla="*/ 1963288 w 5336589"/>
              <a:gd name="connsiteY105" fmla="*/ 1287025 h 3831857"/>
              <a:gd name="connsiteX106" fmla="*/ 1962947 w 5336589"/>
              <a:gd name="connsiteY106" fmla="*/ 1296638 h 3831857"/>
              <a:gd name="connsiteX107" fmla="*/ 1962947 w 5336589"/>
              <a:gd name="connsiteY107" fmla="*/ 1305907 h 3831857"/>
              <a:gd name="connsiteX108" fmla="*/ 1963288 w 5336589"/>
              <a:gd name="connsiteY108" fmla="*/ 1314490 h 3831857"/>
              <a:gd name="connsiteX109" fmla="*/ 1963288 w 5336589"/>
              <a:gd name="connsiteY109" fmla="*/ 1322386 h 3831857"/>
              <a:gd name="connsiteX110" fmla="*/ 1963288 w 5336589"/>
              <a:gd name="connsiteY110" fmla="*/ 1328909 h 3831857"/>
              <a:gd name="connsiteX111" fmla="*/ 1963288 w 5336589"/>
              <a:gd name="connsiteY111" fmla="*/ 1335089 h 3831857"/>
              <a:gd name="connsiteX112" fmla="*/ 1963628 w 5336589"/>
              <a:gd name="connsiteY112" fmla="*/ 1339895 h 3831857"/>
              <a:gd name="connsiteX113" fmla="*/ 1963628 w 5336589"/>
              <a:gd name="connsiteY113" fmla="*/ 1343671 h 3831857"/>
              <a:gd name="connsiteX114" fmla="*/ 1963969 w 5336589"/>
              <a:gd name="connsiteY114" fmla="*/ 1346761 h 3831857"/>
              <a:gd name="connsiteX115" fmla="*/ 1963969 w 5336589"/>
              <a:gd name="connsiteY115" fmla="*/ 1348135 h 3831857"/>
              <a:gd name="connsiteX116" fmla="*/ 1963969 w 5336589"/>
              <a:gd name="connsiteY116" fmla="*/ 1348821 h 3831857"/>
              <a:gd name="connsiteX117" fmla="*/ 1964309 w 5336589"/>
              <a:gd name="connsiteY117" fmla="*/ 1348135 h 3831857"/>
              <a:gd name="connsiteX118" fmla="*/ 1964309 w 5336589"/>
              <a:gd name="connsiteY118" fmla="*/ 1347105 h 3831857"/>
              <a:gd name="connsiteX119" fmla="*/ 1964650 w 5336589"/>
              <a:gd name="connsiteY119" fmla="*/ 1345731 h 3831857"/>
              <a:gd name="connsiteX120" fmla="*/ 1965331 w 5336589"/>
              <a:gd name="connsiteY120" fmla="*/ 1343671 h 3831857"/>
              <a:gd name="connsiteX121" fmla="*/ 1965671 w 5336589"/>
              <a:gd name="connsiteY121" fmla="*/ 1341612 h 3831857"/>
              <a:gd name="connsiteX122" fmla="*/ 1966352 w 5336589"/>
              <a:gd name="connsiteY122" fmla="*/ 1339208 h 3831857"/>
              <a:gd name="connsiteX123" fmla="*/ 1967033 w 5336589"/>
              <a:gd name="connsiteY123" fmla="*/ 1336119 h 3831857"/>
              <a:gd name="connsiteX124" fmla="*/ 1969076 w 5336589"/>
              <a:gd name="connsiteY124" fmla="*/ 1329252 h 3831857"/>
              <a:gd name="connsiteX125" fmla="*/ 1971119 w 5336589"/>
              <a:gd name="connsiteY125" fmla="*/ 1321699 h 3831857"/>
              <a:gd name="connsiteX126" fmla="*/ 1973844 w 5336589"/>
              <a:gd name="connsiteY126" fmla="*/ 1312430 h 3831857"/>
              <a:gd name="connsiteX127" fmla="*/ 1976568 w 5336589"/>
              <a:gd name="connsiteY127" fmla="*/ 1302131 h 3831857"/>
              <a:gd name="connsiteX128" fmla="*/ 1979632 w 5336589"/>
              <a:gd name="connsiteY128" fmla="*/ 1290801 h 3831857"/>
              <a:gd name="connsiteX129" fmla="*/ 1983037 w 5336589"/>
              <a:gd name="connsiteY129" fmla="*/ 1278442 h 3831857"/>
              <a:gd name="connsiteX130" fmla="*/ 1987123 w 5336589"/>
              <a:gd name="connsiteY130" fmla="*/ 1265739 h 3831857"/>
              <a:gd name="connsiteX131" fmla="*/ 1991209 w 5336589"/>
              <a:gd name="connsiteY131" fmla="*/ 1252007 h 3831857"/>
              <a:gd name="connsiteX132" fmla="*/ 1995636 w 5336589"/>
              <a:gd name="connsiteY132" fmla="*/ 1237244 h 3831857"/>
              <a:gd name="connsiteX133" fmla="*/ 2000403 w 5336589"/>
              <a:gd name="connsiteY133" fmla="*/ 1222482 h 3831857"/>
              <a:gd name="connsiteX134" fmla="*/ 2004830 w 5336589"/>
              <a:gd name="connsiteY134" fmla="*/ 1207033 h 3831857"/>
              <a:gd name="connsiteX135" fmla="*/ 2010278 w 5336589"/>
              <a:gd name="connsiteY135" fmla="*/ 1190897 h 3831857"/>
              <a:gd name="connsiteX136" fmla="*/ 2021174 w 5336589"/>
              <a:gd name="connsiteY136" fmla="*/ 1158626 h 3831857"/>
              <a:gd name="connsiteX137" fmla="*/ 2032752 w 5336589"/>
              <a:gd name="connsiteY137" fmla="*/ 1125324 h 3831857"/>
              <a:gd name="connsiteX138" fmla="*/ 2045010 w 5336589"/>
              <a:gd name="connsiteY138" fmla="*/ 1092366 h 3831857"/>
              <a:gd name="connsiteX139" fmla="*/ 2051479 w 5336589"/>
              <a:gd name="connsiteY139" fmla="*/ 1076230 h 3831857"/>
              <a:gd name="connsiteX140" fmla="*/ 2057609 w 5336589"/>
              <a:gd name="connsiteY140" fmla="*/ 1059751 h 3831857"/>
              <a:gd name="connsiteX141" fmla="*/ 2064419 w 5336589"/>
              <a:gd name="connsiteY141" fmla="*/ 1044302 h 3831857"/>
              <a:gd name="connsiteX142" fmla="*/ 2070888 w 5336589"/>
              <a:gd name="connsiteY142" fmla="*/ 1029540 h 3831857"/>
              <a:gd name="connsiteX143" fmla="*/ 2077699 w 5336589"/>
              <a:gd name="connsiteY143" fmla="*/ 1014434 h 3831857"/>
              <a:gd name="connsiteX144" fmla="*/ 2084849 w 5336589"/>
              <a:gd name="connsiteY144" fmla="*/ 1000701 h 3831857"/>
              <a:gd name="connsiteX145" fmla="*/ 2091319 w 5336589"/>
              <a:gd name="connsiteY145" fmla="*/ 987312 h 3831857"/>
              <a:gd name="connsiteX146" fmla="*/ 2098470 w 5336589"/>
              <a:gd name="connsiteY146" fmla="*/ 974953 h 3831857"/>
              <a:gd name="connsiteX147" fmla="*/ 2105620 w 5336589"/>
              <a:gd name="connsiteY147" fmla="*/ 963624 h 3831857"/>
              <a:gd name="connsiteX148" fmla="*/ 2112090 w 5336589"/>
              <a:gd name="connsiteY148" fmla="*/ 952981 h 3831857"/>
              <a:gd name="connsiteX149" fmla="*/ 2117198 w 5336589"/>
              <a:gd name="connsiteY149" fmla="*/ 945428 h 3831857"/>
              <a:gd name="connsiteX150" fmla="*/ 2121965 w 5336589"/>
              <a:gd name="connsiteY150" fmla="*/ 937875 h 3831857"/>
              <a:gd name="connsiteX151" fmla="*/ 2126732 w 5336589"/>
              <a:gd name="connsiteY151" fmla="*/ 930665 h 3831857"/>
              <a:gd name="connsiteX152" fmla="*/ 2131158 w 5336589"/>
              <a:gd name="connsiteY152" fmla="*/ 923799 h 3831857"/>
              <a:gd name="connsiteX153" fmla="*/ 2140012 w 5336589"/>
              <a:gd name="connsiteY153" fmla="*/ 911440 h 3831857"/>
              <a:gd name="connsiteX154" fmla="*/ 2148184 w 5336589"/>
              <a:gd name="connsiteY154" fmla="*/ 900454 h 3831857"/>
              <a:gd name="connsiteX155" fmla="*/ 2155335 w 5336589"/>
              <a:gd name="connsiteY155" fmla="*/ 890498 h 3831857"/>
              <a:gd name="connsiteX156" fmla="*/ 2162485 w 5336589"/>
              <a:gd name="connsiteY156" fmla="*/ 881572 h 3831857"/>
              <a:gd name="connsiteX157" fmla="*/ 2168614 w 5336589"/>
              <a:gd name="connsiteY157" fmla="*/ 874019 h 3831857"/>
              <a:gd name="connsiteX158" fmla="*/ 2174744 w 5336589"/>
              <a:gd name="connsiteY158" fmla="*/ 867496 h 3831857"/>
              <a:gd name="connsiteX159" fmla="*/ 2179511 w 5336589"/>
              <a:gd name="connsiteY159" fmla="*/ 862003 h 3831857"/>
              <a:gd name="connsiteX160" fmla="*/ 2184278 w 5336589"/>
              <a:gd name="connsiteY160" fmla="*/ 857196 h 3831857"/>
              <a:gd name="connsiteX161" fmla="*/ 2188023 w 5336589"/>
              <a:gd name="connsiteY161" fmla="*/ 853763 h 3831857"/>
              <a:gd name="connsiteX162" fmla="*/ 2191429 w 5336589"/>
              <a:gd name="connsiteY162" fmla="*/ 851017 h 3831857"/>
              <a:gd name="connsiteX163" fmla="*/ 2194153 w 5336589"/>
              <a:gd name="connsiteY163" fmla="*/ 848614 h 3831857"/>
              <a:gd name="connsiteX164" fmla="*/ 2195855 w 5336589"/>
              <a:gd name="connsiteY164" fmla="*/ 846897 h 3831857"/>
              <a:gd name="connsiteX165" fmla="*/ 2196877 w 5336589"/>
              <a:gd name="connsiteY165" fmla="*/ 846210 h 3831857"/>
              <a:gd name="connsiteX166" fmla="*/ 2197217 w 5336589"/>
              <a:gd name="connsiteY166" fmla="*/ 845867 h 3831857"/>
              <a:gd name="connsiteX167" fmla="*/ 2196877 w 5336589"/>
              <a:gd name="connsiteY167" fmla="*/ 846554 h 3831857"/>
              <a:gd name="connsiteX168" fmla="*/ 2196196 w 5336589"/>
              <a:gd name="connsiteY168" fmla="*/ 848270 h 3831857"/>
              <a:gd name="connsiteX169" fmla="*/ 2195515 w 5336589"/>
              <a:gd name="connsiteY169" fmla="*/ 851360 h 3831857"/>
              <a:gd name="connsiteX170" fmla="*/ 2194153 w 5336589"/>
              <a:gd name="connsiteY170" fmla="*/ 855137 h 3831857"/>
              <a:gd name="connsiteX171" fmla="*/ 2192791 w 5336589"/>
              <a:gd name="connsiteY171" fmla="*/ 859600 h 3831857"/>
              <a:gd name="connsiteX172" fmla="*/ 2191088 w 5336589"/>
              <a:gd name="connsiteY172" fmla="*/ 865436 h 3831857"/>
              <a:gd name="connsiteX173" fmla="*/ 2189385 w 5336589"/>
              <a:gd name="connsiteY173" fmla="*/ 871272 h 3831857"/>
              <a:gd name="connsiteX174" fmla="*/ 2188023 w 5336589"/>
              <a:gd name="connsiteY174" fmla="*/ 878139 h 3831857"/>
              <a:gd name="connsiteX175" fmla="*/ 2186661 w 5336589"/>
              <a:gd name="connsiteY175" fmla="*/ 885691 h 3831857"/>
              <a:gd name="connsiteX176" fmla="*/ 2185299 w 5336589"/>
              <a:gd name="connsiteY176" fmla="*/ 892901 h 3831857"/>
              <a:gd name="connsiteX177" fmla="*/ 2184278 w 5336589"/>
              <a:gd name="connsiteY177" fmla="*/ 901141 h 3831857"/>
              <a:gd name="connsiteX178" fmla="*/ 2183937 w 5336589"/>
              <a:gd name="connsiteY178" fmla="*/ 909380 h 3831857"/>
              <a:gd name="connsiteX179" fmla="*/ 2183597 w 5336589"/>
              <a:gd name="connsiteY179" fmla="*/ 917620 h 3831857"/>
              <a:gd name="connsiteX180" fmla="*/ 2183937 w 5336589"/>
              <a:gd name="connsiteY180" fmla="*/ 925859 h 3831857"/>
              <a:gd name="connsiteX181" fmla="*/ 2184959 w 5336589"/>
              <a:gd name="connsiteY181" fmla="*/ 934442 h 3831857"/>
              <a:gd name="connsiteX182" fmla="*/ 2186661 w 5336589"/>
              <a:gd name="connsiteY182" fmla="*/ 942338 h 3831857"/>
              <a:gd name="connsiteX183" fmla="*/ 2188704 w 5336589"/>
              <a:gd name="connsiteY183" fmla="*/ 960190 h 3831857"/>
              <a:gd name="connsiteX184" fmla="*/ 2191769 w 5336589"/>
              <a:gd name="connsiteY184" fmla="*/ 977356 h 3831857"/>
              <a:gd name="connsiteX185" fmla="*/ 2194493 w 5336589"/>
              <a:gd name="connsiteY185" fmla="*/ 993835 h 3831857"/>
              <a:gd name="connsiteX186" fmla="*/ 2197558 w 5336589"/>
              <a:gd name="connsiteY186" fmla="*/ 1009628 h 3831857"/>
              <a:gd name="connsiteX187" fmla="*/ 2200963 w 5336589"/>
              <a:gd name="connsiteY187" fmla="*/ 1024733 h 3831857"/>
              <a:gd name="connsiteX188" fmla="*/ 2204708 w 5336589"/>
              <a:gd name="connsiteY188" fmla="*/ 1038809 h 3831857"/>
              <a:gd name="connsiteX189" fmla="*/ 2208113 w 5336589"/>
              <a:gd name="connsiteY189" fmla="*/ 1052198 h 3831857"/>
              <a:gd name="connsiteX190" fmla="*/ 2211859 w 5336589"/>
              <a:gd name="connsiteY190" fmla="*/ 1064214 h 3831857"/>
              <a:gd name="connsiteX191" fmla="*/ 2215264 w 5336589"/>
              <a:gd name="connsiteY191" fmla="*/ 1075200 h 3831857"/>
              <a:gd name="connsiteX192" fmla="*/ 2218329 w 5336589"/>
              <a:gd name="connsiteY192" fmla="*/ 1084470 h 3831857"/>
              <a:gd name="connsiteX193" fmla="*/ 2221393 w 5336589"/>
              <a:gd name="connsiteY193" fmla="*/ 1093053 h 3831857"/>
              <a:gd name="connsiteX194" fmla="*/ 2222415 w 5336589"/>
              <a:gd name="connsiteY194" fmla="*/ 1096829 h 3831857"/>
              <a:gd name="connsiteX195" fmla="*/ 2224117 w 5336589"/>
              <a:gd name="connsiteY195" fmla="*/ 1100262 h 3831857"/>
              <a:gd name="connsiteX196" fmla="*/ 2225139 w 5336589"/>
              <a:gd name="connsiteY196" fmla="*/ 1103352 h 3831857"/>
              <a:gd name="connsiteX197" fmla="*/ 2226160 w 5336589"/>
              <a:gd name="connsiteY197" fmla="*/ 1105755 h 3831857"/>
              <a:gd name="connsiteX198" fmla="*/ 2227182 w 5336589"/>
              <a:gd name="connsiteY198" fmla="*/ 1108158 h 3831857"/>
              <a:gd name="connsiteX199" fmla="*/ 2227863 w 5336589"/>
              <a:gd name="connsiteY199" fmla="*/ 1110218 h 3831857"/>
              <a:gd name="connsiteX200" fmla="*/ 2228203 w 5336589"/>
              <a:gd name="connsiteY200" fmla="*/ 1111592 h 3831857"/>
              <a:gd name="connsiteX201" fmla="*/ 2228884 w 5336589"/>
              <a:gd name="connsiteY201" fmla="*/ 1112622 h 3831857"/>
              <a:gd name="connsiteX202" fmla="*/ 2228884 w 5336589"/>
              <a:gd name="connsiteY202" fmla="*/ 1113308 h 3831857"/>
              <a:gd name="connsiteX203" fmla="*/ 2229225 w 5336589"/>
              <a:gd name="connsiteY203" fmla="*/ 1113651 h 3831857"/>
              <a:gd name="connsiteX204" fmla="*/ 2229225 w 5336589"/>
              <a:gd name="connsiteY204" fmla="*/ 1112965 h 3831857"/>
              <a:gd name="connsiteX205" fmla="*/ 2229225 w 5336589"/>
              <a:gd name="connsiteY205" fmla="*/ 1111248 h 3831857"/>
              <a:gd name="connsiteX206" fmla="*/ 2229565 w 5336589"/>
              <a:gd name="connsiteY206" fmla="*/ 1108158 h 3831857"/>
              <a:gd name="connsiteX207" fmla="*/ 2229565 w 5336589"/>
              <a:gd name="connsiteY207" fmla="*/ 1104382 h 3831857"/>
              <a:gd name="connsiteX208" fmla="*/ 2229906 w 5336589"/>
              <a:gd name="connsiteY208" fmla="*/ 1099919 h 3831857"/>
              <a:gd name="connsiteX209" fmla="*/ 2230587 w 5336589"/>
              <a:gd name="connsiteY209" fmla="*/ 1094083 h 3831857"/>
              <a:gd name="connsiteX210" fmla="*/ 2231268 w 5336589"/>
              <a:gd name="connsiteY210" fmla="*/ 1087560 h 3831857"/>
              <a:gd name="connsiteX211" fmla="*/ 2231949 w 5336589"/>
              <a:gd name="connsiteY211" fmla="*/ 1080350 h 3831857"/>
              <a:gd name="connsiteX212" fmla="*/ 2232630 w 5336589"/>
              <a:gd name="connsiteY212" fmla="*/ 1072111 h 3831857"/>
              <a:gd name="connsiteX213" fmla="*/ 2233652 w 5336589"/>
              <a:gd name="connsiteY213" fmla="*/ 1063528 h 3831857"/>
              <a:gd name="connsiteX214" fmla="*/ 2235014 w 5336589"/>
              <a:gd name="connsiteY214" fmla="*/ 1054258 h 3831857"/>
              <a:gd name="connsiteX215" fmla="*/ 2236376 w 5336589"/>
              <a:gd name="connsiteY215" fmla="*/ 1043959 h 3831857"/>
              <a:gd name="connsiteX216" fmla="*/ 2238078 w 5336589"/>
              <a:gd name="connsiteY216" fmla="*/ 1033659 h 3831857"/>
              <a:gd name="connsiteX217" fmla="*/ 2239781 w 5336589"/>
              <a:gd name="connsiteY217" fmla="*/ 1022673 h 3831857"/>
              <a:gd name="connsiteX218" fmla="*/ 2241483 w 5336589"/>
              <a:gd name="connsiteY218" fmla="*/ 1011344 h 3831857"/>
              <a:gd name="connsiteX219" fmla="*/ 2243526 w 5336589"/>
              <a:gd name="connsiteY219" fmla="*/ 999671 h 3831857"/>
              <a:gd name="connsiteX220" fmla="*/ 2248634 w 5336589"/>
              <a:gd name="connsiteY220" fmla="*/ 975640 h 3831857"/>
              <a:gd name="connsiteX221" fmla="*/ 2254423 w 5336589"/>
              <a:gd name="connsiteY221" fmla="*/ 950921 h 3831857"/>
              <a:gd name="connsiteX222" fmla="*/ 2261233 w 5336589"/>
              <a:gd name="connsiteY222" fmla="*/ 926202 h 3831857"/>
              <a:gd name="connsiteX223" fmla="*/ 2269405 w 5336589"/>
              <a:gd name="connsiteY223" fmla="*/ 901484 h 3831857"/>
              <a:gd name="connsiteX224" fmla="*/ 2278599 w 5336589"/>
              <a:gd name="connsiteY224" fmla="*/ 877452 h 3831857"/>
              <a:gd name="connsiteX225" fmla="*/ 2283706 w 5336589"/>
              <a:gd name="connsiteY225" fmla="*/ 865779 h 3831857"/>
              <a:gd name="connsiteX226" fmla="*/ 2289154 w 5336589"/>
              <a:gd name="connsiteY226" fmla="*/ 854450 h 3831857"/>
              <a:gd name="connsiteX227" fmla="*/ 2294603 w 5336589"/>
              <a:gd name="connsiteY227" fmla="*/ 843464 h 3831857"/>
              <a:gd name="connsiteX228" fmla="*/ 2301072 w 5336589"/>
              <a:gd name="connsiteY228" fmla="*/ 833164 h 3831857"/>
              <a:gd name="connsiteX229" fmla="*/ 2307201 w 5336589"/>
              <a:gd name="connsiteY229" fmla="*/ 823208 h 3831857"/>
              <a:gd name="connsiteX230" fmla="*/ 2314012 w 5336589"/>
              <a:gd name="connsiteY230" fmla="*/ 813939 h 3831857"/>
              <a:gd name="connsiteX231" fmla="*/ 2322184 w 5336589"/>
              <a:gd name="connsiteY231" fmla="*/ 804326 h 3831857"/>
              <a:gd name="connsiteX232" fmla="*/ 2330697 w 5336589"/>
              <a:gd name="connsiteY232" fmla="*/ 795057 h 3831857"/>
              <a:gd name="connsiteX233" fmla="*/ 2339890 w 5336589"/>
              <a:gd name="connsiteY233" fmla="*/ 786131 h 3831857"/>
              <a:gd name="connsiteX234" fmla="*/ 2349765 w 5336589"/>
              <a:gd name="connsiteY234" fmla="*/ 777548 h 3831857"/>
              <a:gd name="connsiteX235" fmla="*/ 2359640 w 5336589"/>
              <a:gd name="connsiteY235" fmla="*/ 769995 h 3831857"/>
              <a:gd name="connsiteX236" fmla="*/ 2370196 w 5336589"/>
              <a:gd name="connsiteY236" fmla="*/ 762099 h 3831857"/>
              <a:gd name="connsiteX237" fmla="*/ 2381092 w 5336589"/>
              <a:gd name="connsiteY237" fmla="*/ 754889 h 3831857"/>
              <a:gd name="connsiteX238" fmla="*/ 2392329 w 5336589"/>
              <a:gd name="connsiteY238" fmla="*/ 748366 h 3831857"/>
              <a:gd name="connsiteX239" fmla="*/ 2403906 w 5336589"/>
              <a:gd name="connsiteY239" fmla="*/ 741843 h 3831857"/>
              <a:gd name="connsiteX240" fmla="*/ 2415824 w 5336589"/>
              <a:gd name="connsiteY240" fmla="*/ 736007 h 3831857"/>
              <a:gd name="connsiteX241" fmla="*/ 2440681 w 5336589"/>
              <a:gd name="connsiteY241" fmla="*/ 725021 h 3831857"/>
              <a:gd name="connsiteX242" fmla="*/ 2467240 w 5336589"/>
              <a:gd name="connsiteY242" fmla="*/ 715408 h 3831857"/>
              <a:gd name="connsiteX243" fmla="*/ 2494141 w 5336589"/>
              <a:gd name="connsiteY243" fmla="*/ 706825 h 3831857"/>
              <a:gd name="connsiteX244" fmla="*/ 2508783 w 5336589"/>
              <a:gd name="connsiteY244" fmla="*/ 702362 h 3831857"/>
              <a:gd name="connsiteX245" fmla="*/ 2523424 w 5336589"/>
              <a:gd name="connsiteY245" fmla="*/ 697212 h 3831857"/>
              <a:gd name="connsiteX246" fmla="*/ 2538407 w 5336589"/>
              <a:gd name="connsiteY246" fmla="*/ 691033 h 3831857"/>
              <a:gd name="connsiteX247" fmla="*/ 2554070 w 5336589"/>
              <a:gd name="connsiteY247" fmla="*/ 684510 h 3831857"/>
              <a:gd name="connsiteX248" fmla="*/ 2569053 w 5336589"/>
              <a:gd name="connsiteY248" fmla="*/ 677643 h 3831857"/>
              <a:gd name="connsiteX249" fmla="*/ 2584375 w 5336589"/>
              <a:gd name="connsiteY249" fmla="*/ 670434 h 3831857"/>
              <a:gd name="connsiteX250" fmla="*/ 2598677 w 5336589"/>
              <a:gd name="connsiteY250" fmla="*/ 663224 h 3831857"/>
              <a:gd name="connsiteX251" fmla="*/ 2612297 w 5336589"/>
              <a:gd name="connsiteY251" fmla="*/ 656015 h 3831857"/>
              <a:gd name="connsiteX252" fmla="*/ 2625236 w 5336589"/>
              <a:gd name="connsiteY252" fmla="*/ 649149 h 3831857"/>
              <a:gd name="connsiteX253" fmla="*/ 2637495 w 5336589"/>
              <a:gd name="connsiteY253" fmla="*/ 642969 h 3831857"/>
              <a:gd name="connsiteX254" fmla="*/ 2642602 w 5336589"/>
              <a:gd name="connsiteY254" fmla="*/ 639879 h 3831857"/>
              <a:gd name="connsiteX255" fmla="*/ 2648051 w 5336589"/>
              <a:gd name="connsiteY255" fmla="*/ 636789 h 3831857"/>
              <a:gd name="connsiteX256" fmla="*/ 2652818 w 5336589"/>
              <a:gd name="connsiteY256" fmla="*/ 634043 h 3831857"/>
              <a:gd name="connsiteX257" fmla="*/ 2656904 w 5336589"/>
              <a:gd name="connsiteY257" fmla="*/ 631639 h 3831857"/>
              <a:gd name="connsiteX258" fmla="*/ 2660990 w 5336589"/>
              <a:gd name="connsiteY258" fmla="*/ 629580 h 3831857"/>
              <a:gd name="connsiteX259" fmla="*/ 2664395 w 5336589"/>
              <a:gd name="connsiteY259" fmla="*/ 627520 h 3831857"/>
              <a:gd name="connsiteX260" fmla="*/ 2667460 w 5336589"/>
              <a:gd name="connsiteY260" fmla="*/ 625460 h 3831857"/>
              <a:gd name="connsiteX261" fmla="*/ 2670184 w 5336589"/>
              <a:gd name="connsiteY261" fmla="*/ 624087 h 3831857"/>
              <a:gd name="connsiteX262" fmla="*/ 2672227 w 5336589"/>
              <a:gd name="connsiteY262" fmla="*/ 622713 h 3831857"/>
              <a:gd name="connsiteX263" fmla="*/ 2673589 w 5336589"/>
              <a:gd name="connsiteY263" fmla="*/ 622027 h 3831857"/>
              <a:gd name="connsiteX264" fmla="*/ 5059675 w 5336589"/>
              <a:gd name="connsiteY264" fmla="*/ 226079 h 3831857"/>
              <a:gd name="connsiteX265" fmla="*/ 4892564 w 5336589"/>
              <a:gd name="connsiteY265" fmla="*/ 394121 h 3831857"/>
              <a:gd name="connsiteX266" fmla="*/ 4690898 w 5336589"/>
              <a:gd name="connsiteY266" fmla="*/ 514113 h 3831857"/>
              <a:gd name="connsiteX267" fmla="*/ 4911291 w 5336589"/>
              <a:gd name="connsiteY267" fmla="*/ 478060 h 3831857"/>
              <a:gd name="connsiteX268" fmla="*/ 5059675 w 5336589"/>
              <a:gd name="connsiteY268" fmla="*/ 226079 h 3831857"/>
              <a:gd name="connsiteX269" fmla="*/ 3210329 w 5336589"/>
              <a:gd name="connsiteY269" fmla="*/ 56 h 3831857"/>
              <a:gd name="connsiteX270" fmla="*/ 3977240 w 5336589"/>
              <a:gd name="connsiteY270" fmla="*/ 469886 h 3831857"/>
              <a:gd name="connsiteX271" fmla="*/ 3837379 w 5336589"/>
              <a:gd name="connsiteY271" fmla="*/ 513025 h 3831857"/>
              <a:gd name="connsiteX272" fmla="*/ 3837216 w 5336589"/>
              <a:gd name="connsiteY272" fmla="*/ 513453 h 3831857"/>
              <a:gd name="connsiteX273" fmla="*/ 3857107 w 5336589"/>
              <a:gd name="connsiteY273" fmla="*/ 514512 h 3831857"/>
              <a:gd name="connsiteX274" fmla="*/ 4072498 w 5336589"/>
              <a:gd name="connsiteY274" fmla="*/ 540924 h 3831857"/>
              <a:gd name="connsiteX275" fmla="*/ 4279160 w 5336589"/>
              <a:gd name="connsiteY275" fmla="*/ 804094 h 3831857"/>
              <a:gd name="connsiteX276" fmla="*/ 4075728 w 5336589"/>
              <a:gd name="connsiteY276" fmla="*/ 850916 h 3831857"/>
              <a:gd name="connsiteX277" fmla="*/ 4033634 w 5336589"/>
              <a:gd name="connsiteY277" fmla="*/ 863267 h 3831857"/>
              <a:gd name="connsiteX278" fmla="*/ 4005556 w 5336589"/>
              <a:gd name="connsiteY278" fmla="*/ 873348 h 3831857"/>
              <a:gd name="connsiteX279" fmla="*/ 4039703 w 5336589"/>
              <a:gd name="connsiteY279" fmla="*/ 873116 h 3831857"/>
              <a:gd name="connsiteX280" fmla="*/ 4162913 w 5336589"/>
              <a:gd name="connsiteY280" fmla="*/ 930029 h 3831857"/>
              <a:gd name="connsiteX281" fmla="*/ 4101560 w 5336589"/>
              <a:gd name="connsiteY281" fmla="*/ 1070494 h 3831857"/>
              <a:gd name="connsiteX282" fmla="*/ 4314680 w 5336589"/>
              <a:gd name="connsiteY282" fmla="*/ 1072108 h 3831857"/>
              <a:gd name="connsiteX283" fmla="*/ 4290462 w 5336589"/>
              <a:gd name="connsiteY283" fmla="*/ 1261010 h 3831857"/>
              <a:gd name="connsiteX284" fmla="*/ 4518113 w 5336589"/>
              <a:gd name="connsiteY284" fmla="*/ 1217417 h 3831857"/>
              <a:gd name="connsiteX285" fmla="*/ 4459762 w 5336589"/>
              <a:gd name="connsiteY285" fmla="*/ 1562828 h 3831857"/>
              <a:gd name="connsiteX286" fmla="*/ 4454121 w 5336589"/>
              <a:gd name="connsiteY286" fmla="*/ 1573706 h 3831857"/>
              <a:gd name="connsiteX287" fmla="*/ 4480917 w 5336589"/>
              <a:gd name="connsiteY287" fmla="*/ 1552564 h 3831857"/>
              <a:gd name="connsiteX288" fmla="*/ 4634362 w 5336589"/>
              <a:gd name="connsiteY288" fmla="*/ 452124 h 3831857"/>
              <a:gd name="connsiteX289" fmla="*/ 4879773 w 5336589"/>
              <a:gd name="connsiteY289" fmla="*/ 327805 h 3831857"/>
              <a:gd name="connsiteX290" fmla="*/ 5047686 w 5336589"/>
              <a:gd name="connsiteY290" fmla="*/ 134060 h 3831857"/>
              <a:gd name="connsiteX291" fmla="*/ 4832951 w 5336589"/>
              <a:gd name="connsiteY291" fmla="*/ 2253951 h 3831857"/>
              <a:gd name="connsiteX292" fmla="*/ 3533920 w 5336589"/>
              <a:gd name="connsiteY292" fmla="*/ 1925500 h 3831857"/>
              <a:gd name="connsiteX293" fmla="*/ 3502202 w 5336589"/>
              <a:gd name="connsiteY293" fmla="*/ 1890933 h 3831857"/>
              <a:gd name="connsiteX294" fmla="*/ 3485470 w 5336589"/>
              <a:gd name="connsiteY294" fmla="*/ 1977379 h 3831857"/>
              <a:gd name="connsiteX295" fmla="*/ 3988542 w 5336589"/>
              <a:gd name="connsiteY295" fmla="*/ 2378272 h 3831857"/>
              <a:gd name="connsiteX296" fmla="*/ 4048279 w 5336589"/>
              <a:gd name="connsiteY296" fmla="*/ 2383116 h 3831857"/>
              <a:gd name="connsiteX297" fmla="*/ 3668861 w 5336589"/>
              <a:gd name="connsiteY297" fmla="*/ 2715711 h 3831857"/>
              <a:gd name="connsiteX298" fmla="*/ 3282985 w 5336589"/>
              <a:gd name="connsiteY298" fmla="*/ 2454156 h 3831857"/>
              <a:gd name="connsiteX299" fmla="*/ 2936059 w 5336589"/>
              <a:gd name="connsiteY299" fmla="*/ 2262076 h 3831857"/>
              <a:gd name="connsiteX300" fmla="*/ 2888664 w 5336589"/>
              <a:gd name="connsiteY300" fmla="*/ 2232241 h 3831857"/>
              <a:gd name="connsiteX301" fmla="*/ 2892176 w 5336589"/>
              <a:gd name="connsiteY301" fmla="*/ 2241439 h 3831857"/>
              <a:gd name="connsiteX302" fmla="*/ 3197413 w 5336589"/>
              <a:gd name="connsiteY302" fmla="*/ 2572016 h 3831857"/>
              <a:gd name="connsiteX303" fmla="*/ 2851900 w 5336589"/>
              <a:gd name="connsiteY303" fmla="*/ 3329236 h 3831857"/>
              <a:gd name="connsiteX304" fmla="*/ 2217382 w 5336589"/>
              <a:gd name="connsiteY304" fmla="*/ 3831358 h 3831857"/>
              <a:gd name="connsiteX305" fmla="*/ 1875099 w 5336589"/>
              <a:gd name="connsiteY305" fmla="*/ 3416420 h 3831857"/>
              <a:gd name="connsiteX306" fmla="*/ 2183477 w 5336589"/>
              <a:gd name="connsiteY306" fmla="*/ 3187156 h 3831857"/>
              <a:gd name="connsiteX307" fmla="*/ 2167331 w 5336589"/>
              <a:gd name="connsiteY307" fmla="*/ 2938517 h 3831857"/>
              <a:gd name="connsiteX308" fmla="*/ 1454676 w 5336589"/>
              <a:gd name="connsiteY308" fmla="*/ 2978382 h 3831857"/>
              <a:gd name="connsiteX309" fmla="*/ 1425919 w 5336589"/>
              <a:gd name="connsiteY309" fmla="*/ 2944899 h 3831857"/>
              <a:gd name="connsiteX310" fmla="*/ 1429686 w 5336589"/>
              <a:gd name="connsiteY310" fmla="*/ 3047700 h 3831857"/>
              <a:gd name="connsiteX311" fmla="*/ 1424641 w 5336589"/>
              <a:gd name="connsiteY311" fmla="*/ 3321163 h 3831857"/>
              <a:gd name="connsiteX312" fmla="*/ 1305164 w 5336589"/>
              <a:gd name="connsiteY312" fmla="*/ 3577875 h 3831857"/>
              <a:gd name="connsiteX313" fmla="*/ 1284175 w 5336589"/>
              <a:gd name="connsiteY313" fmla="*/ 3774849 h 3831857"/>
              <a:gd name="connsiteX314" fmla="*/ 665804 w 5336589"/>
              <a:gd name="connsiteY314" fmla="*/ 3655372 h 3831857"/>
              <a:gd name="connsiteX315" fmla="*/ 725542 w 5336589"/>
              <a:gd name="connsiteY315" fmla="*/ 3450326 h 3831857"/>
              <a:gd name="connsiteX316" fmla="*/ 750895 w 5336589"/>
              <a:gd name="connsiteY316" fmla="*/ 3207010 h 3831857"/>
              <a:gd name="connsiteX317" fmla="*/ 751509 w 5336589"/>
              <a:gd name="connsiteY317" fmla="*/ 3191301 h 3831857"/>
              <a:gd name="connsiteX318" fmla="*/ 734096 w 5336589"/>
              <a:gd name="connsiteY318" fmla="*/ 3157825 h 3831857"/>
              <a:gd name="connsiteX319" fmla="*/ 404246 w 5336589"/>
              <a:gd name="connsiteY319" fmla="*/ 1879378 h 3831857"/>
              <a:gd name="connsiteX320" fmla="*/ 50283 w 5336589"/>
              <a:gd name="connsiteY320" fmla="*/ 1628721 h 3831857"/>
              <a:gd name="connsiteX321" fmla="*/ 48072 w 5336589"/>
              <a:gd name="connsiteY321" fmla="*/ 1607470 h 3831857"/>
              <a:gd name="connsiteX322" fmla="*/ 33171 w 5336589"/>
              <a:gd name="connsiteY322" fmla="*/ 1600317 h 3831857"/>
              <a:gd name="connsiteX323" fmla="*/ 216958 w 5336589"/>
              <a:gd name="connsiteY323" fmla="*/ 1233562 h 3831857"/>
              <a:gd name="connsiteX324" fmla="*/ 145882 w 5336589"/>
              <a:gd name="connsiteY324" fmla="*/ 1591444 h 3831857"/>
              <a:gd name="connsiteX325" fmla="*/ 126829 w 5336589"/>
              <a:gd name="connsiteY325" fmla="*/ 1602136 h 3831857"/>
              <a:gd name="connsiteX326" fmla="*/ 191997 w 5336589"/>
              <a:gd name="connsiteY326" fmla="*/ 1660810 h 3831857"/>
              <a:gd name="connsiteX327" fmla="*/ 1631301 w 5336589"/>
              <a:gd name="connsiteY327" fmla="*/ 808937 h 3831857"/>
              <a:gd name="connsiteX328" fmla="*/ 1087199 w 5336589"/>
              <a:gd name="connsiteY328" fmla="*/ 1638812 h 3831857"/>
              <a:gd name="connsiteX329" fmla="*/ 1393964 w 5336589"/>
              <a:gd name="connsiteY329" fmla="*/ 2124788 h 3831857"/>
              <a:gd name="connsiteX330" fmla="*/ 1284667 w 5336589"/>
              <a:gd name="connsiteY330" fmla="*/ 2283076 h 3831857"/>
              <a:gd name="connsiteX331" fmla="*/ 1253706 w 5336589"/>
              <a:gd name="connsiteY331" fmla="*/ 2334812 h 3831857"/>
              <a:gd name="connsiteX332" fmla="*/ 1261937 w 5336589"/>
              <a:gd name="connsiteY332" fmla="*/ 2345475 h 3831857"/>
              <a:gd name="connsiteX333" fmla="*/ 1663592 w 5336589"/>
              <a:gd name="connsiteY333" fmla="*/ 2664045 h 3831857"/>
              <a:gd name="connsiteX334" fmla="*/ 2368873 w 5336589"/>
              <a:gd name="connsiteY334" fmla="*/ 2377439 h 3831857"/>
              <a:gd name="connsiteX335" fmla="*/ 2379579 w 5336589"/>
              <a:gd name="connsiteY335" fmla="*/ 2376508 h 3831857"/>
              <a:gd name="connsiteX336" fmla="*/ 2397307 w 5336589"/>
              <a:gd name="connsiteY336" fmla="*/ 2372375 h 3831857"/>
              <a:gd name="connsiteX337" fmla="*/ 2519040 w 5336589"/>
              <a:gd name="connsiteY337" fmla="*/ 2376501 h 3831857"/>
              <a:gd name="connsiteX338" fmla="*/ 2532815 w 5336589"/>
              <a:gd name="connsiteY338" fmla="*/ 2379692 h 3831857"/>
              <a:gd name="connsiteX339" fmla="*/ 2581963 w 5336589"/>
              <a:gd name="connsiteY339" fmla="*/ 2387364 h 3831857"/>
              <a:gd name="connsiteX340" fmla="*/ 2629946 w 5336589"/>
              <a:gd name="connsiteY340" fmla="*/ 2399633 h 3831857"/>
              <a:gd name="connsiteX341" fmla="*/ 2667842 w 5336589"/>
              <a:gd name="connsiteY341" fmla="*/ 2405842 h 3831857"/>
              <a:gd name="connsiteX342" fmla="*/ 2654801 w 5336589"/>
              <a:gd name="connsiteY342" fmla="*/ 1005291 h 3831857"/>
              <a:gd name="connsiteX343" fmla="*/ 2542653 w 5336589"/>
              <a:gd name="connsiteY343" fmla="*/ 2246748 h 3831857"/>
              <a:gd name="connsiteX344" fmla="*/ 2229679 w 5336589"/>
              <a:gd name="connsiteY344" fmla="*/ 2278045 h 3831857"/>
              <a:gd name="connsiteX345" fmla="*/ 1741465 w 5336589"/>
              <a:gd name="connsiteY345" fmla="*/ 2519729 h 3831857"/>
              <a:gd name="connsiteX346" fmla="*/ 1455068 w 5336589"/>
              <a:gd name="connsiteY346" fmla="*/ 2351072 h 3831857"/>
              <a:gd name="connsiteX347" fmla="*/ 1760218 w 5336589"/>
              <a:gd name="connsiteY347" fmla="*/ 1719911 h 3831857"/>
              <a:gd name="connsiteX348" fmla="*/ 1499406 w 5336589"/>
              <a:gd name="connsiteY348" fmla="*/ 2017234 h 3831857"/>
              <a:gd name="connsiteX349" fmla="*/ 1248034 w 5336589"/>
              <a:gd name="connsiteY349" fmla="*/ 1619686 h 3831857"/>
              <a:gd name="connsiteX350" fmla="*/ 2083625 w 5336589"/>
              <a:gd name="connsiteY350" fmla="*/ 535832 h 3831857"/>
              <a:gd name="connsiteX351" fmla="*/ 2525883 w 5336589"/>
              <a:gd name="connsiteY351" fmla="*/ 443835 h 3831857"/>
              <a:gd name="connsiteX352" fmla="*/ 2569214 w 5336589"/>
              <a:gd name="connsiteY352" fmla="*/ 432048 h 3831857"/>
              <a:gd name="connsiteX353" fmla="*/ 2558835 w 5336589"/>
              <a:gd name="connsiteY353" fmla="*/ 430557 h 3831857"/>
              <a:gd name="connsiteX354" fmla="*/ 2302954 w 5336589"/>
              <a:gd name="connsiteY354" fmla="*/ 424679 h 3831857"/>
              <a:gd name="connsiteX355" fmla="*/ 3210329 w 5336589"/>
              <a:gd name="connsiteY355" fmla="*/ 56 h 3831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Lst>
            <a:rect l="l" t="t" r="r" b="b"/>
            <a:pathLst>
              <a:path w="5336589" h="3831857">
                <a:moveTo>
                  <a:pt x="3221632" y="2948204"/>
                </a:moveTo>
                <a:cubicBezTo>
                  <a:pt x="3280831" y="3014939"/>
                  <a:pt x="3340301" y="3155943"/>
                  <a:pt x="3360482" y="3245280"/>
                </a:cubicBezTo>
                <a:cubicBezTo>
                  <a:pt x="3380664" y="3334618"/>
                  <a:pt x="3328729" y="3417497"/>
                  <a:pt x="3342722" y="3484231"/>
                </a:cubicBezTo>
                <a:cubicBezTo>
                  <a:pt x="3370169" y="3545045"/>
                  <a:pt x="3413764" y="3592944"/>
                  <a:pt x="3396003" y="3655372"/>
                </a:cubicBezTo>
                <a:cubicBezTo>
                  <a:pt x="3369633" y="3746055"/>
                  <a:pt x="3197951" y="3719416"/>
                  <a:pt x="3098926" y="3719954"/>
                </a:cubicBezTo>
                <a:cubicBezTo>
                  <a:pt x="2999901" y="3720493"/>
                  <a:pt x="2777093" y="3791532"/>
                  <a:pt x="2801850" y="3658602"/>
                </a:cubicBezTo>
                <a:cubicBezTo>
                  <a:pt x="3046722" y="3476697"/>
                  <a:pt x="3139828" y="3272188"/>
                  <a:pt x="3221632" y="2948204"/>
                </a:cubicBezTo>
                <a:close/>
                <a:moveTo>
                  <a:pt x="325133" y="2651130"/>
                </a:moveTo>
                <a:cubicBezTo>
                  <a:pt x="421467" y="2964889"/>
                  <a:pt x="482283" y="3070372"/>
                  <a:pt x="628668" y="3277571"/>
                </a:cubicBezTo>
                <a:cubicBezTo>
                  <a:pt x="582922" y="3355608"/>
                  <a:pt x="572696" y="3411038"/>
                  <a:pt x="467213" y="3408348"/>
                </a:cubicBezTo>
                <a:cubicBezTo>
                  <a:pt x="339663" y="3396510"/>
                  <a:pt x="82951" y="3113426"/>
                  <a:pt x="78108" y="3017631"/>
                </a:cubicBezTo>
                <a:cubicBezTo>
                  <a:pt x="78106" y="2940671"/>
                  <a:pt x="237948" y="2750693"/>
                  <a:pt x="325133" y="2651130"/>
                </a:cubicBezTo>
                <a:close/>
                <a:moveTo>
                  <a:pt x="3683393" y="922762"/>
                </a:moveTo>
                <a:cubicBezTo>
                  <a:pt x="3501488" y="978733"/>
                  <a:pt x="3379318" y="995149"/>
                  <a:pt x="3249079" y="1251322"/>
                </a:cubicBezTo>
                <a:cubicBezTo>
                  <a:pt x="3323214" y="1176380"/>
                  <a:pt x="3331353" y="1180552"/>
                  <a:pt x="3336263" y="1177862"/>
                </a:cubicBezTo>
                <a:cubicBezTo>
                  <a:pt x="3373527" y="1269912"/>
                  <a:pt x="3396260" y="1276391"/>
                  <a:pt x="3477115" y="1303862"/>
                </a:cubicBezTo>
                <a:cubicBezTo>
                  <a:pt x="3476782" y="1305055"/>
                  <a:pt x="3435156" y="1345773"/>
                  <a:pt x="3386316" y="1441839"/>
                </a:cubicBezTo>
                <a:cubicBezTo>
                  <a:pt x="3540773" y="1271236"/>
                  <a:pt x="3648411" y="1179743"/>
                  <a:pt x="3860993" y="1094711"/>
                </a:cubicBezTo>
                <a:cubicBezTo>
                  <a:pt x="3767351" y="1103389"/>
                  <a:pt x="3740306" y="1125213"/>
                  <a:pt x="3736440" y="1125953"/>
                </a:cubicBezTo>
                <a:cubicBezTo>
                  <a:pt x="3722118" y="1027547"/>
                  <a:pt x="3693273" y="1001796"/>
                  <a:pt x="3611142" y="974427"/>
                </a:cubicBezTo>
                <a:cubicBezTo>
                  <a:pt x="3630988" y="945095"/>
                  <a:pt x="3682719" y="925858"/>
                  <a:pt x="3683393" y="922762"/>
                </a:cubicBezTo>
                <a:close/>
                <a:moveTo>
                  <a:pt x="3202477" y="625701"/>
                </a:moveTo>
                <a:cubicBezTo>
                  <a:pt x="3113729" y="632735"/>
                  <a:pt x="3077129" y="706716"/>
                  <a:pt x="3048875" y="991380"/>
                </a:cubicBezTo>
                <a:cubicBezTo>
                  <a:pt x="3133908" y="793330"/>
                  <a:pt x="3189879" y="680851"/>
                  <a:pt x="3391159" y="649097"/>
                </a:cubicBezTo>
                <a:cubicBezTo>
                  <a:pt x="3331960" y="640082"/>
                  <a:pt x="3283657" y="629857"/>
                  <a:pt x="3243832" y="626367"/>
                </a:cubicBezTo>
                <a:cubicBezTo>
                  <a:pt x="3228898" y="625059"/>
                  <a:pt x="3215155" y="624697"/>
                  <a:pt x="3202477" y="625701"/>
                </a:cubicBezTo>
                <a:close/>
                <a:moveTo>
                  <a:pt x="2674610" y="621340"/>
                </a:moveTo>
                <a:lnTo>
                  <a:pt x="2673929" y="621683"/>
                </a:lnTo>
                <a:lnTo>
                  <a:pt x="2673248" y="621683"/>
                </a:lnTo>
                <a:lnTo>
                  <a:pt x="2671886" y="622370"/>
                </a:lnTo>
                <a:lnTo>
                  <a:pt x="2670184" y="622713"/>
                </a:lnTo>
                <a:lnTo>
                  <a:pt x="2667800" y="623400"/>
                </a:lnTo>
                <a:lnTo>
                  <a:pt x="2665416" y="624087"/>
                </a:lnTo>
                <a:lnTo>
                  <a:pt x="2662692" y="624773"/>
                </a:lnTo>
                <a:lnTo>
                  <a:pt x="2659628" y="625803"/>
                </a:lnTo>
                <a:lnTo>
                  <a:pt x="2655542" y="627176"/>
                </a:lnTo>
                <a:lnTo>
                  <a:pt x="2651796" y="628206"/>
                </a:lnTo>
                <a:lnTo>
                  <a:pt x="2647029" y="629236"/>
                </a:lnTo>
                <a:lnTo>
                  <a:pt x="2642602" y="630610"/>
                </a:lnTo>
                <a:lnTo>
                  <a:pt x="2637495" y="631983"/>
                </a:lnTo>
                <a:lnTo>
                  <a:pt x="2631706" y="633356"/>
                </a:lnTo>
                <a:lnTo>
                  <a:pt x="2625577" y="634729"/>
                </a:lnTo>
                <a:lnTo>
                  <a:pt x="2619448" y="636103"/>
                </a:lnTo>
                <a:lnTo>
                  <a:pt x="2612297" y="637819"/>
                </a:lnTo>
                <a:lnTo>
                  <a:pt x="2605487" y="639536"/>
                </a:lnTo>
                <a:lnTo>
                  <a:pt x="2597655" y="641252"/>
                </a:lnTo>
                <a:lnTo>
                  <a:pt x="2589483" y="642969"/>
                </a:lnTo>
                <a:lnTo>
                  <a:pt x="2580970" y="644685"/>
                </a:lnTo>
                <a:lnTo>
                  <a:pt x="2572458" y="646402"/>
                </a:lnTo>
                <a:lnTo>
                  <a:pt x="2562923" y="648462"/>
                </a:lnTo>
                <a:lnTo>
                  <a:pt x="2553049" y="650522"/>
                </a:lnTo>
                <a:lnTo>
                  <a:pt x="2543174" y="652238"/>
                </a:lnTo>
                <a:lnTo>
                  <a:pt x="2532618" y="654298"/>
                </a:lnTo>
                <a:lnTo>
                  <a:pt x="2521381" y="656358"/>
                </a:lnTo>
                <a:lnTo>
                  <a:pt x="2510145" y="658075"/>
                </a:lnTo>
                <a:lnTo>
                  <a:pt x="2498227" y="660135"/>
                </a:lnTo>
                <a:lnTo>
                  <a:pt x="2485968" y="662194"/>
                </a:lnTo>
                <a:lnTo>
                  <a:pt x="2473029" y="664254"/>
                </a:lnTo>
                <a:lnTo>
                  <a:pt x="2449534" y="667687"/>
                </a:lnTo>
                <a:lnTo>
                  <a:pt x="2426720" y="670777"/>
                </a:lnTo>
                <a:lnTo>
                  <a:pt x="2404927" y="673524"/>
                </a:lnTo>
                <a:lnTo>
                  <a:pt x="2383475" y="675584"/>
                </a:lnTo>
                <a:lnTo>
                  <a:pt x="2363045" y="677300"/>
                </a:lnTo>
                <a:lnTo>
                  <a:pt x="2343636" y="678674"/>
                </a:lnTo>
                <a:lnTo>
                  <a:pt x="2324227" y="680047"/>
                </a:lnTo>
                <a:lnTo>
                  <a:pt x="2305839" y="681420"/>
                </a:lnTo>
                <a:lnTo>
                  <a:pt x="2288814" y="683136"/>
                </a:lnTo>
                <a:lnTo>
                  <a:pt x="2271789" y="684853"/>
                </a:lnTo>
                <a:lnTo>
                  <a:pt x="2255444" y="687256"/>
                </a:lnTo>
                <a:lnTo>
                  <a:pt x="2240462" y="689659"/>
                </a:lnTo>
                <a:lnTo>
                  <a:pt x="2225820" y="692749"/>
                </a:lnTo>
                <a:lnTo>
                  <a:pt x="2211859" y="696526"/>
                </a:lnTo>
                <a:lnTo>
                  <a:pt x="2198920" y="701332"/>
                </a:lnTo>
                <a:lnTo>
                  <a:pt x="2186661" y="706825"/>
                </a:lnTo>
                <a:lnTo>
                  <a:pt x="2169295" y="717125"/>
                </a:lnTo>
                <a:lnTo>
                  <a:pt x="2153292" y="728454"/>
                </a:lnTo>
                <a:lnTo>
                  <a:pt x="2138309" y="740470"/>
                </a:lnTo>
                <a:lnTo>
                  <a:pt x="2124008" y="753172"/>
                </a:lnTo>
                <a:lnTo>
                  <a:pt x="2111068" y="766905"/>
                </a:lnTo>
                <a:lnTo>
                  <a:pt x="2098810" y="782011"/>
                </a:lnTo>
                <a:lnTo>
                  <a:pt x="2087233" y="797460"/>
                </a:lnTo>
                <a:lnTo>
                  <a:pt x="2076677" y="813939"/>
                </a:lnTo>
                <a:lnTo>
                  <a:pt x="2066462" y="831448"/>
                </a:lnTo>
                <a:lnTo>
                  <a:pt x="2056587" y="850330"/>
                </a:lnTo>
                <a:lnTo>
                  <a:pt x="2047393" y="869556"/>
                </a:lnTo>
                <a:lnTo>
                  <a:pt x="2039221" y="890498"/>
                </a:lnTo>
                <a:lnTo>
                  <a:pt x="2030708" y="912470"/>
                </a:lnTo>
                <a:lnTo>
                  <a:pt x="2022196" y="935472"/>
                </a:lnTo>
                <a:lnTo>
                  <a:pt x="2014024" y="959847"/>
                </a:lnTo>
                <a:lnTo>
                  <a:pt x="2006532" y="985252"/>
                </a:lnTo>
                <a:lnTo>
                  <a:pt x="2001425" y="1000358"/>
                </a:lnTo>
                <a:lnTo>
                  <a:pt x="1996998" y="1015807"/>
                </a:lnTo>
                <a:lnTo>
                  <a:pt x="1989166" y="1046705"/>
                </a:lnTo>
                <a:lnTo>
                  <a:pt x="1982356" y="1078290"/>
                </a:lnTo>
                <a:lnTo>
                  <a:pt x="1977249" y="1109875"/>
                </a:lnTo>
                <a:lnTo>
                  <a:pt x="1972822" y="1140430"/>
                </a:lnTo>
                <a:lnTo>
                  <a:pt x="1969417" y="1170642"/>
                </a:lnTo>
                <a:lnTo>
                  <a:pt x="1968055" y="1185404"/>
                </a:lnTo>
                <a:lnTo>
                  <a:pt x="1967033" y="1199480"/>
                </a:lnTo>
                <a:lnTo>
                  <a:pt x="1966012" y="1213556"/>
                </a:lnTo>
                <a:lnTo>
                  <a:pt x="1965331" y="1227288"/>
                </a:lnTo>
                <a:lnTo>
                  <a:pt x="1964650" y="1240334"/>
                </a:lnTo>
                <a:lnTo>
                  <a:pt x="1963969" y="1252693"/>
                </a:lnTo>
                <a:lnTo>
                  <a:pt x="1963628" y="1264709"/>
                </a:lnTo>
                <a:lnTo>
                  <a:pt x="1963288" y="1276039"/>
                </a:lnTo>
                <a:lnTo>
                  <a:pt x="1963288" y="1287025"/>
                </a:lnTo>
                <a:lnTo>
                  <a:pt x="1962947" y="1296638"/>
                </a:lnTo>
                <a:lnTo>
                  <a:pt x="1962947" y="1305907"/>
                </a:lnTo>
                <a:lnTo>
                  <a:pt x="1963288" y="1314490"/>
                </a:lnTo>
                <a:lnTo>
                  <a:pt x="1963288" y="1322386"/>
                </a:lnTo>
                <a:lnTo>
                  <a:pt x="1963288" y="1328909"/>
                </a:lnTo>
                <a:lnTo>
                  <a:pt x="1963288" y="1335089"/>
                </a:lnTo>
                <a:lnTo>
                  <a:pt x="1963628" y="1339895"/>
                </a:lnTo>
                <a:lnTo>
                  <a:pt x="1963628" y="1343671"/>
                </a:lnTo>
                <a:lnTo>
                  <a:pt x="1963969" y="1346761"/>
                </a:lnTo>
                <a:lnTo>
                  <a:pt x="1963969" y="1348135"/>
                </a:lnTo>
                <a:lnTo>
                  <a:pt x="1963969" y="1348821"/>
                </a:lnTo>
                <a:lnTo>
                  <a:pt x="1964309" y="1348135"/>
                </a:lnTo>
                <a:lnTo>
                  <a:pt x="1964309" y="1347105"/>
                </a:lnTo>
                <a:lnTo>
                  <a:pt x="1964650" y="1345731"/>
                </a:lnTo>
                <a:lnTo>
                  <a:pt x="1965331" y="1343671"/>
                </a:lnTo>
                <a:lnTo>
                  <a:pt x="1965671" y="1341612"/>
                </a:lnTo>
                <a:lnTo>
                  <a:pt x="1966352" y="1339208"/>
                </a:lnTo>
                <a:lnTo>
                  <a:pt x="1967033" y="1336119"/>
                </a:lnTo>
                <a:lnTo>
                  <a:pt x="1969076" y="1329252"/>
                </a:lnTo>
                <a:lnTo>
                  <a:pt x="1971119" y="1321699"/>
                </a:lnTo>
                <a:lnTo>
                  <a:pt x="1973844" y="1312430"/>
                </a:lnTo>
                <a:lnTo>
                  <a:pt x="1976568" y="1302131"/>
                </a:lnTo>
                <a:lnTo>
                  <a:pt x="1979632" y="1290801"/>
                </a:lnTo>
                <a:lnTo>
                  <a:pt x="1983037" y="1278442"/>
                </a:lnTo>
                <a:lnTo>
                  <a:pt x="1987123" y="1265739"/>
                </a:lnTo>
                <a:lnTo>
                  <a:pt x="1991209" y="1252007"/>
                </a:lnTo>
                <a:lnTo>
                  <a:pt x="1995636" y="1237244"/>
                </a:lnTo>
                <a:lnTo>
                  <a:pt x="2000403" y="1222482"/>
                </a:lnTo>
                <a:lnTo>
                  <a:pt x="2004830" y="1207033"/>
                </a:lnTo>
                <a:lnTo>
                  <a:pt x="2010278" y="1190897"/>
                </a:lnTo>
                <a:lnTo>
                  <a:pt x="2021174" y="1158626"/>
                </a:lnTo>
                <a:lnTo>
                  <a:pt x="2032752" y="1125324"/>
                </a:lnTo>
                <a:lnTo>
                  <a:pt x="2045010" y="1092366"/>
                </a:lnTo>
                <a:lnTo>
                  <a:pt x="2051479" y="1076230"/>
                </a:lnTo>
                <a:lnTo>
                  <a:pt x="2057609" y="1059751"/>
                </a:lnTo>
                <a:lnTo>
                  <a:pt x="2064419" y="1044302"/>
                </a:lnTo>
                <a:lnTo>
                  <a:pt x="2070888" y="1029540"/>
                </a:lnTo>
                <a:lnTo>
                  <a:pt x="2077699" y="1014434"/>
                </a:lnTo>
                <a:lnTo>
                  <a:pt x="2084849" y="1000701"/>
                </a:lnTo>
                <a:lnTo>
                  <a:pt x="2091319" y="987312"/>
                </a:lnTo>
                <a:lnTo>
                  <a:pt x="2098470" y="974953"/>
                </a:lnTo>
                <a:lnTo>
                  <a:pt x="2105620" y="963624"/>
                </a:lnTo>
                <a:lnTo>
                  <a:pt x="2112090" y="952981"/>
                </a:lnTo>
                <a:lnTo>
                  <a:pt x="2117198" y="945428"/>
                </a:lnTo>
                <a:lnTo>
                  <a:pt x="2121965" y="937875"/>
                </a:lnTo>
                <a:lnTo>
                  <a:pt x="2126732" y="930665"/>
                </a:lnTo>
                <a:lnTo>
                  <a:pt x="2131158" y="923799"/>
                </a:lnTo>
                <a:lnTo>
                  <a:pt x="2140012" y="911440"/>
                </a:lnTo>
                <a:lnTo>
                  <a:pt x="2148184" y="900454"/>
                </a:lnTo>
                <a:lnTo>
                  <a:pt x="2155335" y="890498"/>
                </a:lnTo>
                <a:lnTo>
                  <a:pt x="2162485" y="881572"/>
                </a:lnTo>
                <a:lnTo>
                  <a:pt x="2168614" y="874019"/>
                </a:lnTo>
                <a:lnTo>
                  <a:pt x="2174744" y="867496"/>
                </a:lnTo>
                <a:lnTo>
                  <a:pt x="2179511" y="862003"/>
                </a:lnTo>
                <a:lnTo>
                  <a:pt x="2184278" y="857196"/>
                </a:lnTo>
                <a:lnTo>
                  <a:pt x="2188023" y="853763"/>
                </a:lnTo>
                <a:lnTo>
                  <a:pt x="2191429" y="851017"/>
                </a:lnTo>
                <a:lnTo>
                  <a:pt x="2194153" y="848614"/>
                </a:lnTo>
                <a:lnTo>
                  <a:pt x="2195855" y="846897"/>
                </a:lnTo>
                <a:lnTo>
                  <a:pt x="2196877" y="846210"/>
                </a:lnTo>
                <a:lnTo>
                  <a:pt x="2197217" y="845867"/>
                </a:lnTo>
                <a:lnTo>
                  <a:pt x="2196877" y="846554"/>
                </a:lnTo>
                <a:lnTo>
                  <a:pt x="2196196" y="848270"/>
                </a:lnTo>
                <a:lnTo>
                  <a:pt x="2195515" y="851360"/>
                </a:lnTo>
                <a:lnTo>
                  <a:pt x="2194153" y="855137"/>
                </a:lnTo>
                <a:lnTo>
                  <a:pt x="2192791" y="859600"/>
                </a:lnTo>
                <a:lnTo>
                  <a:pt x="2191088" y="865436"/>
                </a:lnTo>
                <a:lnTo>
                  <a:pt x="2189385" y="871272"/>
                </a:lnTo>
                <a:lnTo>
                  <a:pt x="2188023" y="878139"/>
                </a:lnTo>
                <a:lnTo>
                  <a:pt x="2186661" y="885691"/>
                </a:lnTo>
                <a:lnTo>
                  <a:pt x="2185299" y="892901"/>
                </a:lnTo>
                <a:lnTo>
                  <a:pt x="2184278" y="901141"/>
                </a:lnTo>
                <a:lnTo>
                  <a:pt x="2183937" y="909380"/>
                </a:lnTo>
                <a:lnTo>
                  <a:pt x="2183597" y="917620"/>
                </a:lnTo>
                <a:lnTo>
                  <a:pt x="2183937" y="925859"/>
                </a:lnTo>
                <a:lnTo>
                  <a:pt x="2184959" y="934442"/>
                </a:lnTo>
                <a:lnTo>
                  <a:pt x="2186661" y="942338"/>
                </a:lnTo>
                <a:lnTo>
                  <a:pt x="2188704" y="960190"/>
                </a:lnTo>
                <a:lnTo>
                  <a:pt x="2191769" y="977356"/>
                </a:lnTo>
                <a:lnTo>
                  <a:pt x="2194493" y="993835"/>
                </a:lnTo>
                <a:lnTo>
                  <a:pt x="2197558" y="1009628"/>
                </a:lnTo>
                <a:lnTo>
                  <a:pt x="2200963" y="1024733"/>
                </a:lnTo>
                <a:lnTo>
                  <a:pt x="2204708" y="1038809"/>
                </a:lnTo>
                <a:lnTo>
                  <a:pt x="2208113" y="1052198"/>
                </a:lnTo>
                <a:lnTo>
                  <a:pt x="2211859" y="1064214"/>
                </a:lnTo>
                <a:lnTo>
                  <a:pt x="2215264" y="1075200"/>
                </a:lnTo>
                <a:lnTo>
                  <a:pt x="2218329" y="1084470"/>
                </a:lnTo>
                <a:lnTo>
                  <a:pt x="2221393" y="1093053"/>
                </a:lnTo>
                <a:lnTo>
                  <a:pt x="2222415" y="1096829"/>
                </a:lnTo>
                <a:lnTo>
                  <a:pt x="2224117" y="1100262"/>
                </a:lnTo>
                <a:lnTo>
                  <a:pt x="2225139" y="1103352"/>
                </a:lnTo>
                <a:lnTo>
                  <a:pt x="2226160" y="1105755"/>
                </a:lnTo>
                <a:lnTo>
                  <a:pt x="2227182" y="1108158"/>
                </a:lnTo>
                <a:lnTo>
                  <a:pt x="2227863" y="1110218"/>
                </a:lnTo>
                <a:lnTo>
                  <a:pt x="2228203" y="1111592"/>
                </a:lnTo>
                <a:lnTo>
                  <a:pt x="2228884" y="1112622"/>
                </a:lnTo>
                <a:lnTo>
                  <a:pt x="2228884" y="1113308"/>
                </a:lnTo>
                <a:lnTo>
                  <a:pt x="2229225" y="1113651"/>
                </a:lnTo>
                <a:lnTo>
                  <a:pt x="2229225" y="1112965"/>
                </a:lnTo>
                <a:lnTo>
                  <a:pt x="2229225" y="1111248"/>
                </a:lnTo>
                <a:lnTo>
                  <a:pt x="2229565" y="1108158"/>
                </a:lnTo>
                <a:lnTo>
                  <a:pt x="2229565" y="1104382"/>
                </a:lnTo>
                <a:lnTo>
                  <a:pt x="2229906" y="1099919"/>
                </a:lnTo>
                <a:lnTo>
                  <a:pt x="2230587" y="1094083"/>
                </a:lnTo>
                <a:lnTo>
                  <a:pt x="2231268" y="1087560"/>
                </a:lnTo>
                <a:lnTo>
                  <a:pt x="2231949" y="1080350"/>
                </a:lnTo>
                <a:lnTo>
                  <a:pt x="2232630" y="1072111"/>
                </a:lnTo>
                <a:lnTo>
                  <a:pt x="2233652" y="1063528"/>
                </a:lnTo>
                <a:lnTo>
                  <a:pt x="2235014" y="1054258"/>
                </a:lnTo>
                <a:lnTo>
                  <a:pt x="2236376" y="1043959"/>
                </a:lnTo>
                <a:lnTo>
                  <a:pt x="2238078" y="1033659"/>
                </a:lnTo>
                <a:lnTo>
                  <a:pt x="2239781" y="1022673"/>
                </a:lnTo>
                <a:lnTo>
                  <a:pt x="2241483" y="1011344"/>
                </a:lnTo>
                <a:lnTo>
                  <a:pt x="2243526" y="999671"/>
                </a:lnTo>
                <a:lnTo>
                  <a:pt x="2248634" y="975640"/>
                </a:lnTo>
                <a:lnTo>
                  <a:pt x="2254423" y="950921"/>
                </a:lnTo>
                <a:lnTo>
                  <a:pt x="2261233" y="926202"/>
                </a:lnTo>
                <a:lnTo>
                  <a:pt x="2269405" y="901484"/>
                </a:lnTo>
                <a:lnTo>
                  <a:pt x="2278599" y="877452"/>
                </a:lnTo>
                <a:lnTo>
                  <a:pt x="2283706" y="865779"/>
                </a:lnTo>
                <a:lnTo>
                  <a:pt x="2289154" y="854450"/>
                </a:lnTo>
                <a:lnTo>
                  <a:pt x="2294603" y="843464"/>
                </a:lnTo>
                <a:lnTo>
                  <a:pt x="2301072" y="833164"/>
                </a:lnTo>
                <a:lnTo>
                  <a:pt x="2307201" y="823208"/>
                </a:lnTo>
                <a:lnTo>
                  <a:pt x="2314012" y="813939"/>
                </a:lnTo>
                <a:lnTo>
                  <a:pt x="2322184" y="804326"/>
                </a:lnTo>
                <a:lnTo>
                  <a:pt x="2330697" y="795057"/>
                </a:lnTo>
                <a:lnTo>
                  <a:pt x="2339890" y="786131"/>
                </a:lnTo>
                <a:lnTo>
                  <a:pt x="2349765" y="777548"/>
                </a:lnTo>
                <a:lnTo>
                  <a:pt x="2359640" y="769995"/>
                </a:lnTo>
                <a:lnTo>
                  <a:pt x="2370196" y="762099"/>
                </a:lnTo>
                <a:lnTo>
                  <a:pt x="2381092" y="754889"/>
                </a:lnTo>
                <a:lnTo>
                  <a:pt x="2392329" y="748366"/>
                </a:lnTo>
                <a:lnTo>
                  <a:pt x="2403906" y="741843"/>
                </a:lnTo>
                <a:lnTo>
                  <a:pt x="2415824" y="736007"/>
                </a:lnTo>
                <a:lnTo>
                  <a:pt x="2440681" y="725021"/>
                </a:lnTo>
                <a:lnTo>
                  <a:pt x="2467240" y="715408"/>
                </a:lnTo>
                <a:lnTo>
                  <a:pt x="2494141" y="706825"/>
                </a:lnTo>
                <a:lnTo>
                  <a:pt x="2508783" y="702362"/>
                </a:lnTo>
                <a:lnTo>
                  <a:pt x="2523424" y="697212"/>
                </a:lnTo>
                <a:lnTo>
                  <a:pt x="2538407" y="691033"/>
                </a:lnTo>
                <a:lnTo>
                  <a:pt x="2554070" y="684510"/>
                </a:lnTo>
                <a:lnTo>
                  <a:pt x="2569053" y="677643"/>
                </a:lnTo>
                <a:lnTo>
                  <a:pt x="2584375" y="670434"/>
                </a:lnTo>
                <a:lnTo>
                  <a:pt x="2598677" y="663224"/>
                </a:lnTo>
                <a:lnTo>
                  <a:pt x="2612297" y="656015"/>
                </a:lnTo>
                <a:lnTo>
                  <a:pt x="2625236" y="649149"/>
                </a:lnTo>
                <a:lnTo>
                  <a:pt x="2637495" y="642969"/>
                </a:lnTo>
                <a:lnTo>
                  <a:pt x="2642602" y="639879"/>
                </a:lnTo>
                <a:lnTo>
                  <a:pt x="2648051" y="636789"/>
                </a:lnTo>
                <a:lnTo>
                  <a:pt x="2652818" y="634043"/>
                </a:lnTo>
                <a:lnTo>
                  <a:pt x="2656904" y="631639"/>
                </a:lnTo>
                <a:lnTo>
                  <a:pt x="2660990" y="629580"/>
                </a:lnTo>
                <a:lnTo>
                  <a:pt x="2664395" y="627520"/>
                </a:lnTo>
                <a:lnTo>
                  <a:pt x="2667460" y="625460"/>
                </a:lnTo>
                <a:lnTo>
                  <a:pt x="2670184" y="624087"/>
                </a:lnTo>
                <a:lnTo>
                  <a:pt x="2672227" y="622713"/>
                </a:lnTo>
                <a:lnTo>
                  <a:pt x="2673589" y="622027"/>
                </a:lnTo>
                <a:close/>
                <a:moveTo>
                  <a:pt x="5059675" y="226079"/>
                </a:moveTo>
                <a:cubicBezTo>
                  <a:pt x="5039238" y="208231"/>
                  <a:pt x="4954026" y="346116"/>
                  <a:pt x="4892564" y="394121"/>
                </a:cubicBezTo>
                <a:cubicBezTo>
                  <a:pt x="4831100" y="442127"/>
                  <a:pt x="4691408" y="483172"/>
                  <a:pt x="4690898" y="514113"/>
                </a:cubicBezTo>
                <a:cubicBezTo>
                  <a:pt x="4690387" y="545056"/>
                  <a:pt x="4821977" y="552705"/>
                  <a:pt x="4911291" y="478060"/>
                </a:cubicBezTo>
                <a:cubicBezTo>
                  <a:pt x="5000605" y="403415"/>
                  <a:pt x="5088588" y="263302"/>
                  <a:pt x="5059675" y="226079"/>
                </a:cubicBezTo>
                <a:close/>
                <a:moveTo>
                  <a:pt x="3210329" y="56"/>
                </a:moveTo>
                <a:cubicBezTo>
                  <a:pt x="3464351" y="-3711"/>
                  <a:pt x="3758737" y="181422"/>
                  <a:pt x="3977240" y="469886"/>
                </a:cubicBezTo>
                <a:cubicBezTo>
                  <a:pt x="3925171" y="474730"/>
                  <a:pt x="3857662" y="485022"/>
                  <a:pt x="3837379" y="513025"/>
                </a:cubicBezTo>
                <a:lnTo>
                  <a:pt x="3837216" y="513453"/>
                </a:lnTo>
                <a:lnTo>
                  <a:pt x="3857107" y="514512"/>
                </a:lnTo>
                <a:cubicBezTo>
                  <a:pt x="3942526" y="520137"/>
                  <a:pt x="4036574" y="529622"/>
                  <a:pt x="4072498" y="540924"/>
                </a:cubicBezTo>
                <a:cubicBezTo>
                  <a:pt x="4139771" y="555992"/>
                  <a:pt x="4291000" y="743818"/>
                  <a:pt x="4279160" y="804094"/>
                </a:cubicBezTo>
                <a:cubicBezTo>
                  <a:pt x="4278622" y="859258"/>
                  <a:pt x="4172600" y="828850"/>
                  <a:pt x="4075728" y="850916"/>
                </a:cubicBezTo>
                <a:cubicBezTo>
                  <a:pt x="4063619" y="853673"/>
                  <a:pt x="4049379" y="857971"/>
                  <a:pt x="4033634" y="863267"/>
                </a:cubicBezTo>
                <a:lnTo>
                  <a:pt x="4005556" y="873348"/>
                </a:lnTo>
                <a:lnTo>
                  <a:pt x="4039703" y="873116"/>
                </a:lnTo>
                <a:cubicBezTo>
                  <a:pt x="4088946" y="869382"/>
                  <a:pt x="4113670" y="863833"/>
                  <a:pt x="4162913" y="930029"/>
                </a:cubicBezTo>
                <a:cubicBezTo>
                  <a:pt x="4198971" y="1036588"/>
                  <a:pt x="4175292" y="1015600"/>
                  <a:pt x="4101560" y="1070494"/>
                </a:cubicBezTo>
                <a:cubicBezTo>
                  <a:pt x="4217807" y="1040357"/>
                  <a:pt x="4251713" y="1029592"/>
                  <a:pt x="4314680" y="1072108"/>
                </a:cubicBezTo>
                <a:cubicBezTo>
                  <a:pt x="4393793" y="1198042"/>
                  <a:pt x="4337283" y="1207731"/>
                  <a:pt x="4290462" y="1261010"/>
                </a:cubicBezTo>
                <a:cubicBezTo>
                  <a:pt x="4363116" y="1199657"/>
                  <a:pt x="4422855" y="1141534"/>
                  <a:pt x="4518113" y="1217417"/>
                </a:cubicBezTo>
                <a:cubicBezTo>
                  <a:pt x="4599244" y="1280788"/>
                  <a:pt x="4527800" y="1431344"/>
                  <a:pt x="4459762" y="1562828"/>
                </a:cubicBezTo>
                <a:lnTo>
                  <a:pt x="4454121" y="1573706"/>
                </a:lnTo>
                <a:lnTo>
                  <a:pt x="4480917" y="1552564"/>
                </a:lnTo>
                <a:cubicBezTo>
                  <a:pt x="4839997" y="1212535"/>
                  <a:pt x="4557671" y="564132"/>
                  <a:pt x="4634362" y="452124"/>
                </a:cubicBezTo>
                <a:cubicBezTo>
                  <a:pt x="4673111" y="392386"/>
                  <a:pt x="4736079" y="403689"/>
                  <a:pt x="4879773" y="327805"/>
                </a:cubicBezTo>
                <a:cubicBezTo>
                  <a:pt x="4926595" y="300358"/>
                  <a:pt x="4976377" y="116569"/>
                  <a:pt x="5047686" y="134060"/>
                </a:cubicBezTo>
                <a:cubicBezTo>
                  <a:pt x="5359562" y="210554"/>
                  <a:pt x="5577796" y="1794884"/>
                  <a:pt x="4832951" y="2253951"/>
                </a:cubicBezTo>
                <a:cubicBezTo>
                  <a:pt x="4561002" y="2402288"/>
                  <a:pt x="4081872" y="2483928"/>
                  <a:pt x="3533920" y="1925500"/>
                </a:cubicBezTo>
                <a:lnTo>
                  <a:pt x="3502202" y="1890933"/>
                </a:lnTo>
                <a:lnTo>
                  <a:pt x="3485470" y="1977379"/>
                </a:lnTo>
                <a:cubicBezTo>
                  <a:pt x="3423986" y="2418763"/>
                  <a:pt x="3714069" y="2838416"/>
                  <a:pt x="3988542" y="2378272"/>
                </a:cubicBezTo>
                <a:lnTo>
                  <a:pt x="4048279" y="2383116"/>
                </a:lnTo>
                <a:cubicBezTo>
                  <a:pt x="3983698" y="2573092"/>
                  <a:pt x="3852920" y="2746925"/>
                  <a:pt x="3668861" y="2715711"/>
                </a:cubicBezTo>
                <a:cubicBezTo>
                  <a:pt x="3453050" y="2688264"/>
                  <a:pt x="3361559" y="2544569"/>
                  <a:pt x="3282985" y="2454156"/>
                </a:cubicBezTo>
                <a:cubicBezTo>
                  <a:pt x="3176425" y="2428727"/>
                  <a:pt x="3055334" y="2341542"/>
                  <a:pt x="2936059" y="2262076"/>
                </a:cubicBezTo>
                <a:lnTo>
                  <a:pt x="2888664" y="2232241"/>
                </a:lnTo>
                <a:lnTo>
                  <a:pt x="2892176" y="2241439"/>
                </a:lnTo>
                <a:cubicBezTo>
                  <a:pt x="2970350" y="2414538"/>
                  <a:pt x="3104703" y="2525456"/>
                  <a:pt x="3197413" y="2572016"/>
                </a:cubicBezTo>
                <a:cubicBezTo>
                  <a:pt x="3106460" y="2898691"/>
                  <a:pt x="2905139" y="3280579"/>
                  <a:pt x="2851900" y="3329236"/>
                </a:cubicBezTo>
                <a:cubicBezTo>
                  <a:pt x="2508001" y="3643534"/>
                  <a:pt x="2319100" y="3843197"/>
                  <a:pt x="2217382" y="3831358"/>
                </a:cubicBezTo>
                <a:cubicBezTo>
                  <a:pt x="2077456" y="3818979"/>
                  <a:pt x="1858415" y="3474006"/>
                  <a:pt x="1875099" y="3416420"/>
                </a:cubicBezTo>
                <a:cubicBezTo>
                  <a:pt x="1931069" y="3278647"/>
                  <a:pt x="2137194" y="3261963"/>
                  <a:pt x="2183477" y="3187156"/>
                </a:cubicBezTo>
                <a:cubicBezTo>
                  <a:pt x="2199622" y="3068757"/>
                  <a:pt x="2168946" y="3032698"/>
                  <a:pt x="2167331" y="2938517"/>
                </a:cubicBezTo>
                <a:cubicBezTo>
                  <a:pt x="2035007" y="3231894"/>
                  <a:pt x="1640619" y="3168026"/>
                  <a:pt x="1454676" y="2978382"/>
                </a:cubicBezTo>
                <a:lnTo>
                  <a:pt x="1425919" y="2944899"/>
                </a:lnTo>
                <a:lnTo>
                  <a:pt x="1429686" y="3047700"/>
                </a:lnTo>
                <a:cubicBezTo>
                  <a:pt x="1432848" y="3145043"/>
                  <a:pt x="1433790" y="3238553"/>
                  <a:pt x="1424641" y="3321163"/>
                </a:cubicBezTo>
                <a:cubicBezTo>
                  <a:pt x="1410649" y="3425031"/>
                  <a:pt x="1315928" y="3504682"/>
                  <a:pt x="1305164" y="3577875"/>
                </a:cubicBezTo>
                <a:cubicBezTo>
                  <a:pt x="1298168" y="3643533"/>
                  <a:pt x="1308932" y="3735024"/>
                  <a:pt x="1284175" y="3774849"/>
                </a:cubicBezTo>
                <a:cubicBezTo>
                  <a:pt x="1199142" y="3890019"/>
                  <a:pt x="671724" y="3745249"/>
                  <a:pt x="665804" y="3655372"/>
                </a:cubicBezTo>
                <a:cubicBezTo>
                  <a:pt x="656655" y="3511140"/>
                  <a:pt x="705629" y="3518675"/>
                  <a:pt x="725542" y="3450326"/>
                </a:cubicBezTo>
                <a:cubicBezTo>
                  <a:pt x="732404" y="3363544"/>
                  <a:pt x="745623" y="3299468"/>
                  <a:pt x="750895" y="3207010"/>
                </a:cubicBezTo>
                <a:lnTo>
                  <a:pt x="751509" y="3191301"/>
                </a:lnTo>
                <a:lnTo>
                  <a:pt x="734096" y="3157825"/>
                </a:lnTo>
                <a:cubicBezTo>
                  <a:pt x="558939" y="2854980"/>
                  <a:pt x="281337" y="2531585"/>
                  <a:pt x="404246" y="1879378"/>
                </a:cubicBezTo>
                <a:cubicBezTo>
                  <a:pt x="118472" y="1948399"/>
                  <a:pt x="68825" y="1780386"/>
                  <a:pt x="50283" y="1628721"/>
                </a:cubicBezTo>
                <a:lnTo>
                  <a:pt x="48072" y="1607470"/>
                </a:lnTo>
                <a:lnTo>
                  <a:pt x="33171" y="1600317"/>
                </a:lnTo>
                <a:cubicBezTo>
                  <a:pt x="-51225" y="1526584"/>
                  <a:pt x="30949" y="1314558"/>
                  <a:pt x="216958" y="1233562"/>
                </a:cubicBezTo>
                <a:cubicBezTo>
                  <a:pt x="124661" y="1402147"/>
                  <a:pt x="261049" y="1513870"/>
                  <a:pt x="145882" y="1591444"/>
                </a:cubicBezTo>
                <a:lnTo>
                  <a:pt x="126829" y="1602136"/>
                </a:lnTo>
                <a:lnTo>
                  <a:pt x="191997" y="1660810"/>
                </a:lnTo>
                <a:cubicBezTo>
                  <a:pt x="504474" y="1880783"/>
                  <a:pt x="501119" y="970929"/>
                  <a:pt x="1631301" y="808937"/>
                </a:cubicBezTo>
                <a:cubicBezTo>
                  <a:pt x="1206137" y="1240557"/>
                  <a:pt x="1171694" y="1397706"/>
                  <a:pt x="1087199" y="1638812"/>
                </a:cubicBezTo>
                <a:cubicBezTo>
                  <a:pt x="1139402" y="1871843"/>
                  <a:pt x="1324000" y="1936963"/>
                  <a:pt x="1393964" y="2124788"/>
                </a:cubicBezTo>
                <a:cubicBezTo>
                  <a:pt x="1353937" y="2178876"/>
                  <a:pt x="1317744" y="2231550"/>
                  <a:pt x="1284667" y="2283076"/>
                </a:cubicBezTo>
                <a:lnTo>
                  <a:pt x="1253706" y="2334812"/>
                </a:lnTo>
                <a:lnTo>
                  <a:pt x="1261937" y="2345475"/>
                </a:lnTo>
                <a:cubicBezTo>
                  <a:pt x="1368627" y="2475152"/>
                  <a:pt x="1550103" y="2641913"/>
                  <a:pt x="1663592" y="2664045"/>
                </a:cubicBezTo>
                <a:cubicBezTo>
                  <a:pt x="2044223" y="2623681"/>
                  <a:pt x="2131509" y="2414397"/>
                  <a:pt x="2368873" y="2377439"/>
                </a:cubicBezTo>
                <a:lnTo>
                  <a:pt x="2379579" y="2376508"/>
                </a:lnTo>
                <a:lnTo>
                  <a:pt x="2397307" y="2372375"/>
                </a:lnTo>
                <a:cubicBezTo>
                  <a:pt x="2442709" y="2365236"/>
                  <a:pt x="2481840" y="2369166"/>
                  <a:pt x="2519040" y="2376501"/>
                </a:cubicBezTo>
                <a:lnTo>
                  <a:pt x="2532815" y="2379692"/>
                </a:lnTo>
                <a:lnTo>
                  <a:pt x="2581963" y="2387364"/>
                </a:lnTo>
                <a:lnTo>
                  <a:pt x="2629946" y="2399633"/>
                </a:lnTo>
                <a:lnTo>
                  <a:pt x="2667842" y="2405842"/>
                </a:lnTo>
                <a:cubicBezTo>
                  <a:pt x="2905677" y="1528899"/>
                  <a:pt x="2570348" y="1528650"/>
                  <a:pt x="2654801" y="1005291"/>
                </a:cubicBezTo>
                <a:cubicBezTo>
                  <a:pt x="2417215" y="1653217"/>
                  <a:pt x="2762480" y="1650486"/>
                  <a:pt x="2542653" y="2246748"/>
                </a:cubicBezTo>
                <a:cubicBezTo>
                  <a:pt x="2438328" y="2257180"/>
                  <a:pt x="2390513" y="2211103"/>
                  <a:pt x="2229679" y="2278045"/>
                </a:cubicBezTo>
                <a:cubicBezTo>
                  <a:pt x="2066941" y="2358606"/>
                  <a:pt x="1910661" y="2497291"/>
                  <a:pt x="1741465" y="2519729"/>
                </a:cubicBezTo>
                <a:cubicBezTo>
                  <a:pt x="1583032" y="2521635"/>
                  <a:pt x="1531160" y="2462185"/>
                  <a:pt x="1455068" y="2351072"/>
                </a:cubicBezTo>
                <a:lnTo>
                  <a:pt x="1760218" y="1719911"/>
                </a:lnTo>
                <a:lnTo>
                  <a:pt x="1499406" y="2017234"/>
                </a:lnTo>
                <a:cubicBezTo>
                  <a:pt x="1335965" y="1676443"/>
                  <a:pt x="1322053" y="1813180"/>
                  <a:pt x="1248034" y="1619686"/>
                </a:cubicBezTo>
                <a:cubicBezTo>
                  <a:pt x="1276847" y="1255172"/>
                  <a:pt x="1975699" y="611343"/>
                  <a:pt x="2083625" y="535832"/>
                </a:cubicBezTo>
                <a:cubicBezTo>
                  <a:pt x="2135244" y="490951"/>
                  <a:pt x="2295643" y="499223"/>
                  <a:pt x="2525883" y="443835"/>
                </a:cubicBezTo>
                <a:lnTo>
                  <a:pt x="2569214" y="432048"/>
                </a:lnTo>
                <a:lnTo>
                  <a:pt x="2558835" y="430557"/>
                </a:lnTo>
                <a:cubicBezTo>
                  <a:pt x="2496767" y="423973"/>
                  <a:pt x="2414088" y="423468"/>
                  <a:pt x="2302954" y="424679"/>
                </a:cubicBezTo>
                <a:cubicBezTo>
                  <a:pt x="2520380" y="87778"/>
                  <a:pt x="2904103" y="9205"/>
                  <a:pt x="3210329" y="56"/>
                </a:cubicBezTo>
                <a:close/>
              </a:path>
            </a:pathLst>
          </a:custGeom>
          <a:solidFill>
            <a:schemeClr val="accent1"/>
          </a:solidFill>
          <a:ln>
            <a:noFill/>
          </a:ln>
          <a:extLst/>
        </p:spPr>
        <p:txBody>
          <a:bodyPr vert="horz" wrap="square" lIns="91427" tIns="45713" rIns="91427" bIns="45713" numCol="1" anchor="t" anchorCtr="0" compatLnSpc="1">
            <a:prstTxWarp prst="textNoShape">
              <a:avLst/>
            </a:prstTxWarp>
            <a:noAutofit/>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grpSp>
        <p:nvGrpSpPr>
          <p:cNvPr id="177" name="Group 176"/>
          <p:cNvGrpSpPr/>
          <p:nvPr/>
        </p:nvGrpSpPr>
        <p:grpSpPr>
          <a:xfrm>
            <a:off x="897930" y="3518417"/>
            <a:ext cx="816453" cy="612403"/>
            <a:chOff x="897930" y="3630535"/>
            <a:chExt cx="816453" cy="612403"/>
          </a:xfrm>
        </p:grpSpPr>
        <p:sp>
          <p:nvSpPr>
            <p:cNvPr id="69" name="TextBox 68"/>
            <p:cNvSpPr txBox="1"/>
            <p:nvPr/>
          </p:nvSpPr>
          <p:spPr>
            <a:xfrm>
              <a:off x="1048874" y="4058272"/>
              <a:ext cx="514564" cy="184666"/>
            </a:xfrm>
            <a:prstGeom prst="rect">
              <a:avLst/>
            </a:prstGeom>
            <a:noFill/>
          </p:spPr>
          <p:txBody>
            <a:bodyPr wrap="none" lIns="0" tIns="0" rIns="0" bIns="0" rtlCol="0">
              <a:spAutoFit/>
            </a:bodyPr>
            <a:lstStyle/>
            <a:p>
              <a:pPr marL="0" marR="0" lvl="0" indent="0" algn="ctr" defTabSz="914367" eaLnBrk="1" fontAlgn="auto" latinLnBrk="0" hangingPunct="1">
                <a:lnSpc>
                  <a:spcPct val="100000"/>
                </a:lnSpc>
                <a:spcBef>
                  <a:spcPts val="0"/>
                </a:spcBef>
                <a:spcAft>
                  <a:spcPts val="588"/>
                </a:spcAft>
                <a:buClrTx/>
                <a:buSzTx/>
                <a:buFontTx/>
                <a:buNone/>
                <a:tabLst/>
                <a:defRPr/>
              </a:pPr>
              <a:r>
                <a:rPr kumimoji="0" lang="en-US" sz="1200" b="0" i="0" u="none" strike="noStrike" kern="0" cap="none" spc="0" normalizeH="0" baseline="0" noProof="0" dirty="0">
                  <a:ln>
                    <a:noFill/>
                  </a:ln>
                  <a:solidFill>
                    <a:srgbClr val="505050"/>
                  </a:solidFill>
                  <a:effectLst/>
                  <a:uLnTx/>
                  <a:uFillTx/>
                </a:rPr>
                <a:t>Devices</a:t>
              </a:r>
            </a:p>
          </p:txBody>
        </p:sp>
        <p:grpSp>
          <p:nvGrpSpPr>
            <p:cNvPr id="173" name="Group 172"/>
            <p:cNvGrpSpPr/>
            <p:nvPr/>
          </p:nvGrpSpPr>
          <p:grpSpPr>
            <a:xfrm>
              <a:off x="897930" y="3630535"/>
              <a:ext cx="816453" cy="385396"/>
              <a:chOff x="942981" y="3534203"/>
              <a:chExt cx="816453" cy="385396"/>
            </a:xfrm>
          </p:grpSpPr>
          <p:sp>
            <p:nvSpPr>
              <p:cNvPr id="171" name="Freeform 13"/>
              <p:cNvSpPr>
                <a:spLocks noChangeAspect="1" noEditPoints="1"/>
              </p:cNvSpPr>
              <p:nvPr/>
            </p:nvSpPr>
            <p:spPr bwMode="black">
              <a:xfrm>
                <a:off x="942981" y="3607087"/>
                <a:ext cx="162139" cy="304432"/>
              </a:xfrm>
              <a:custGeom>
                <a:avLst/>
                <a:gdLst>
                  <a:gd name="T0" fmla="*/ 860 w 1012"/>
                  <a:gd name="T1" fmla="*/ 1756 h 1907"/>
                  <a:gd name="T2" fmla="*/ 837 w 1012"/>
                  <a:gd name="T3" fmla="*/ 1771 h 1907"/>
                  <a:gd name="T4" fmla="*/ 855 w 1012"/>
                  <a:gd name="T5" fmla="*/ 1796 h 1907"/>
                  <a:gd name="T6" fmla="*/ 873 w 1012"/>
                  <a:gd name="T7" fmla="*/ 1766 h 1907"/>
                  <a:gd name="T8" fmla="*/ 860 w 1012"/>
                  <a:gd name="T9" fmla="*/ 1756 h 1907"/>
                  <a:gd name="T10" fmla="*/ 837 w 1012"/>
                  <a:gd name="T11" fmla="*/ 1771 h 1907"/>
                  <a:gd name="T12" fmla="*/ 855 w 1012"/>
                  <a:gd name="T13" fmla="*/ 1796 h 1907"/>
                  <a:gd name="T14" fmla="*/ 873 w 1012"/>
                  <a:gd name="T15" fmla="*/ 1766 h 1907"/>
                  <a:gd name="T16" fmla="*/ 44 w 1012"/>
                  <a:gd name="T17" fmla="*/ 0 h 1907"/>
                  <a:gd name="T18" fmla="*/ 0 w 1012"/>
                  <a:gd name="T19" fmla="*/ 1864 h 1907"/>
                  <a:gd name="T20" fmla="*/ 968 w 1012"/>
                  <a:gd name="T21" fmla="*/ 1907 h 1907"/>
                  <a:gd name="T22" fmla="*/ 1012 w 1012"/>
                  <a:gd name="T23" fmla="*/ 44 h 1907"/>
                  <a:gd name="T24" fmla="*/ 201 w 1012"/>
                  <a:gd name="T25" fmla="*/ 1793 h 1907"/>
                  <a:gd name="T26" fmla="*/ 171 w 1012"/>
                  <a:gd name="T27" fmla="*/ 1816 h 1907"/>
                  <a:gd name="T28" fmla="*/ 119 w 1012"/>
                  <a:gd name="T29" fmla="*/ 1785 h 1907"/>
                  <a:gd name="T30" fmla="*/ 171 w 1012"/>
                  <a:gd name="T31" fmla="*/ 1755 h 1907"/>
                  <a:gd name="T32" fmla="*/ 201 w 1012"/>
                  <a:gd name="T33" fmla="*/ 1777 h 1907"/>
                  <a:gd name="T34" fmla="*/ 500 w 1012"/>
                  <a:gd name="T35" fmla="*/ 1819 h 1907"/>
                  <a:gd name="T36" fmla="*/ 473 w 1012"/>
                  <a:gd name="T37" fmla="*/ 1792 h 1907"/>
                  <a:gd name="T38" fmla="*/ 500 w 1012"/>
                  <a:gd name="T39" fmla="*/ 1819 h 1907"/>
                  <a:gd name="T40" fmla="*/ 473 w 1012"/>
                  <a:gd name="T41" fmla="*/ 1789 h 1907"/>
                  <a:gd name="T42" fmla="*/ 500 w 1012"/>
                  <a:gd name="T43" fmla="*/ 1763 h 1907"/>
                  <a:gd name="T44" fmla="*/ 539 w 1012"/>
                  <a:gd name="T45" fmla="*/ 1824 h 1907"/>
                  <a:gd name="T46" fmla="*/ 503 w 1012"/>
                  <a:gd name="T47" fmla="*/ 1792 h 1907"/>
                  <a:gd name="T48" fmla="*/ 539 w 1012"/>
                  <a:gd name="T49" fmla="*/ 1824 h 1907"/>
                  <a:gd name="T50" fmla="*/ 503 w 1012"/>
                  <a:gd name="T51" fmla="*/ 1789 h 1907"/>
                  <a:gd name="T52" fmla="*/ 539 w 1012"/>
                  <a:gd name="T53" fmla="*/ 1758 h 1907"/>
                  <a:gd name="T54" fmla="*/ 883 w 1012"/>
                  <a:gd name="T55" fmla="*/ 1783 h 1907"/>
                  <a:gd name="T56" fmla="*/ 848 w 1012"/>
                  <a:gd name="T57" fmla="*/ 1804 h 1907"/>
                  <a:gd name="T58" fmla="*/ 819 w 1012"/>
                  <a:gd name="T59" fmla="*/ 1823 h 1907"/>
                  <a:gd name="T60" fmla="*/ 809 w 1012"/>
                  <a:gd name="T61" fmla="*/ 1823 h 1907"/>
                  <a:gd name="T62" fmla="*/ 809 w 1012"/>
                  <a:gd name="T63" fmla="*/ 1812 h 1907"/>
                  <a:gd name="T64" fmla="*/ 812 w 1012"/>
                  <a:gd name="T65" fmla="*/ 1809 h 1907"/>
                  <a:gd name="T66" fmla="*/ 815 w 1012"/>
                  <a:gd name="T67" fmla="*/ 1806 h 1907"/>
                  <a:gd name="T68" fmla="*/ 831 w 1012"/>
                  <a:gd name="T69" fmla="*/ 1790 h 1907"/>
                  <a:gd name="T70" fmla="*/ 855 w 1012"/>
                  <a:gd name="T71" fmla="*/ 1747 h 1907"/>
                  <a:gd name="T72" fmla="*/ 880 w 1012"/>
                  <a:gd name="T73" fmla="*/ 1761 h 1907"/>
                  <a:gd name="T74" fmla="*/ 921 w 1012"/>
                  <a:gd name="T75" fmla="*/ 1658 h 1907"/>
                  <a:gd name="T76" fmla="*/ 91 w 1012"/>
                  <a:gd name="T77" fmla="*/ 234 h 1907"/>
                  <a:gd name="T78" fmla="*/ 921 w 1012"/>
                  <a:gd name="T79" fmla="*/ 1658 h 1907"/>
                  <a:gd name="T80" fmla="*/ 855 w 1012"/>
                  <a:gd name="T81" fmla="*/ 1756 h 1907"/>
                  <a:gd name="T82" fmla="*/ 851 w 1012"/>
                  <a:gd name="T83" fmla="*/ 1796 h 1907"/>
                  <a:gd name="T84" fmla="*/ 875 w 1012"/>
                  <a:gd name="T85" fmla="*/ 1781 h 1907"/>
                  <a:gd name="T86" fmla="*/ 860 w 1012"/>
                  <a:gd name="T87" fmla="*/ 1756 h 1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12" h="1907">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968" y="0"/>
                    </a:moveTo>
                    <a:cubicBezTo>
                      <a:pt x="968" y="0"/>
                      <a:pt x="968" y="0"/>
                      <a:pt x="44" y="0"/>
                    </a:cubicBezTo>
                    <a:cubicBezTo>
                      <a:pt x="19" y="0"/>
                      <a:pt x="0" y="19"/>
                      <a:pt x="0" y="44"/>
                    </a:cubicBezTo>
                    <a:cubicBezTo>
                      <a:pt x="0" y="1864"/>
                      <a:pt x="0" y="1864"/>
                      <a:pt x="0" y="1864"/>
                    </a:cubicBezTo>
                    <a:cubicBezTo>
                      <a:pt x="0" y="1889"/>
                      <a:pt x="19" y="1907"/>
                      <a:pt x="44" y="1907"/>
                    </a:cubicBezTo>
                    <a:cubicBezTo>
                      <a:pt x="44" y="1907"/>
                      <a:pt x="44" y="1907"/>
                      <a:pt x="968" y="1907"/>
                    </a:cubicBezTo>
                    <a:cubicBezTo>
                      <a:pt x="993" y="1907"/>
                      <a:pt x="1012" y="1889"/>
                      <a:pt x="1012" y="1864"/>
                    </a:cubicBezTo>
                    <a:cubicBezTo>
                      <a:pt x="1012" y="44"/>
                      <a:pt x="1012" y="44"/>
                      <a:pt x="1012" y="44"/>
                    </a:cubicBezTo>
                    <a:cubicBezTo>
                      <a:pt x="1012" y="19"/>
                      <a:pt x="993" y="0"/>
                      <a:pt x="968" y="0"/>
                    </a:cubicBezTo>
                    <a:close/>
                    <a:moveTo>
                      <a:pt x="201" y="1793"/>
                    </a:moveTo>
                    <a:cubicBezTo>
                      <a:pt x="147" y="1793"/>
                      <a:pt x="147" y="1793"/>
                      <a:pt x="147" y="1793"/>
                    </a:cubicBezTo>
                    <a:cubicBezTo>
                      <a:pt x="171" y="1816"/>
                      <a:pt x="171" y="1816"/>
                      <a:pt x="171" y="1816"/>
                    </a:cubicBezTo>
                    <a:cubicBezTo>
                      <a:pt x="151" y="1816"/>
                      <a:pt x="151" y="1816"/>
                      <a:pt x="151" y="1816"/>
                    </a:cubicBezTo>
                    <a:cubicBezTo>
                      <a:pt x="119" y="1785"/>
                      <a:pt x="119" y="1785"/>
                      <a:pt x="119" y="1785"/>
                    </a:cubicBezTo>
                    <a:cubicBezTo>
                      <a:pt x="151" y="1755"/>
                      <a:pt x="151" y="1755"/>
                      <a:pt x="151" y="1755"/>
                    </a:cubicBezTo>
                    <a:cubicBezTo>
                      <a:pt x="171" y="1755"/>
                      <a:pt x="171" y="1755"/>
                      <a:pt x="171" y="1755"/>
                    </a:cubicBezTo>
                    <a:cubicBezTo>
                      <a:pt x="147" y="1777"/>
                      <a:pt x="147" y="1777"/>
                      <a:pt x="147" y="1777"/>
                    </a:cubicBezTo>
                    <a:cubicBezTo>
                      <a:pt x="201" y="1777"/>
                      <a:pt x="201" y="1777"/>
                      <a:pt x="201" y="1777"/>
                    </a:cubicBezTo>
                    <a:lnTo>
                      <a:pt x="201" y="1793"/>
                    </a:lnTo>
                    <a:close/>
                    <a:moveTo>
                      <a:pt x="500" y="1819"/>
                    </a:moveTo>
                    <a:cubicBezTo>
                      <a:pt x="473" y="1815"/>
                      <a:pt x="473" y="1815"/>
                      <a:pt x="473" y="1815"/>
                    </a:cubicBezTo>
                    <a:cubicBezTo>
                      <a:pt x="473" y="1792"/>
                      <a:pt x="473" y="1792"/>
                      <a:pt x="473" y="1792"/>
                    </a:cubicBezTo>
                    <a:cubicBezTo>
                      <a:pt x="500" y="1792"/>
                      <a:pt x="500" y="1792"/>
                      <a:pt x="500" y="1792"/>
                    </a:cubicBezTo>
                    <a:lnTo>
                      <a:pt x="500" y="1819"/>
                    </a:lnTo>
                    <a:close/>
                    <a:moveTo>
                      <a:pt x="500" y="1789"/>
                    </a:moveTo>
                    <a:cubicBezTo>
                      <a:pt x="473" y="1789"/>
                      <a:pt x="473" y="1789"/>
                      <a:pt x="473" y="1789"/>
                    </a:cubicBezTo>
                    <a:cubicBezTo>
                      <a:pt x="473" y="1767"/>
                      <a:pt x="473" y="1767"/>
                      <a:pt x="473" y="1767"/>
                    </a:cubicBezTo>
                    <a:cubicBezTo>
                      <a:pt x="500" y="1763"/>
                      <a:pt x="500" y="1763"/>
                      <a:pt x="500" y="1763"/>
                    </a:cubicBezTo>
                    <a:lnTo>
                      <a:pt x="500" y="1789"/>
                    </a:lnTo>
                    <a:close/>
                    <a:moveTo>
                      <a:pt x="539" y="1824"/>
                    </a:moveTo>
                    <a:cubicBezTo>
                      <a:pt x="503" y="1819"/>
                      <a:pt x="503" y="1819"/>
                      <a:pt x="503" y="1819"/>
                    </a:cubicBezTo>
                    <a:cubicBezTo>
                      <a:pt x="503" y="1792"/>
                      <a:pt x="503" y="1792"/>
                      <a:pt x="503" y="1792"/>
                    </a:cubicBezTo>
                    <a:cubicBezTo>
                      <a:pt x="539" y="1792"/>
                      <a:pt x="539" y="1792"/>
                      <a:pt x="539" y="1792"/>
                    </a:cubicBezTo>
                    <a:lnTo>
                      <a:pt x="539" y="1824"/>
                    </a:lnTo>
                    <a:close/>
                    <a:moveTo>
                      <a:pt x="539" y="1789"/>
                    </a:moveTo>
                    <a:cubicBezTo>
                      <a:pt x="503" y="1789"/>
                      <a:pt x="503" y="1789"/>
                      <a:pt x="503" y="1789"/>
                    </a:cubicBezTo>
                    <a:cubicBezTo>
                      <a:pt x="503" y="1763"/>
                      <a:pt x="503" y="1763"/>
                      <a:pt x="503" y="1763"/>
                    </a:cubicBezTo>
                    <a:cubicBezTo>
                      <a:pt x="539" y="1758"/>
                      <a:pt x="539" y="1758"/>
                      <a:pt x="539" y="1758"/>
                    </a:cubicBezTo>
                    <a:lnTo>
                      <a:pt x="539" y="1789"/>
                    </a:lnTo>
                    <a:close/>
                    <a:moveTo>
                      <a:pt x="883" y="1783"/>
                    </a:moveTo>
                    <a:cubicBezTo>
                      <a:pt x="881" y="1796"/>
                      <a:pt x="869" y="1806"/>
                      <a:pt x="855" y="1806"/>
                    </a:cubicBezTo>
                    <a:cubicBezTo>
                      <a:pt x="853" y="1806"/>
                      <a:pt x="851" y="1804"/>
                      <a:pt x="848" y="1804"/>
                    </a:cubicBezTo>
                    <a:cubicBezTo>
                      <a:pt x="846" y="1803"/>
                      <a:pt x="844" y="1802"/>
                      <a:pt x="841" y="1801"/>
                    </a:cubicBezTo>
                    <a:cubicBezTo>
                      <a:pt x="841" y="1801"/>
                      <a:pt x="841" y="1801"/>
                      <a:pt x="819" y="1823"/>
                    </a:cubicBezTo>
                    <a:cubicBezTo>
                      <a:pt x="818" y="1824"/>
                      <a:pt x="816" y="1824"/>
                      <a:pt x="815" y="1824"/>
                    </a:cubicBezTo>
                    <a:cubicBezTo>
                      <a:pt x="812" y="1824"/>
                      <a:pt x="811" y="1824"/>
                      <a:pt x="809" y="1823"/>
                    </a:cubicBezTo>
                    <a:cubicBezTo>
                      <a:pt x="806" y="1820"/>
                      <a:pt x="806" y="1815"/>
                      <a:pt x="809" y="1813"/>
                    </a:cubicBezTo>
                    <a:cubicBezTo>
                      <a:pt x="809" y="1813"/>
                      <a:pt x="809" y="1812"/>
                      <a:pt x="809" y="1812"/>
                    </a:cubicBezTo>
                    <a:cubicBezTo>
                      <a:pt x="810" y="1812"/>
                      <a:pt x="810" y="1811"/>
                      <a:pt x="811" y="1810"/>
                    </a:cubicBezTo>
                    <a:cubicBezTo>
                      <a:pt x="811" y="1810"/>
                      <a:pt x="812" y="1810"/>
                      <a:pt x="812" y="1809"/>
                    </a:cubicBezTo>
                    <a:cubicBezTo>
                      <a:pt x="813" y="1808"/>
                      <a:pt x="814" y="1808"/>
                      <a:pt x="815" y="1807"/>
                    </a:cubicBezTo>
                    <a:cubicBezTo>
                      <a:pt x="815" y="1806"/>
                      <a:pt x="815" y="1806"/>
                      <a:pt x="815" y="1806"/>
                    </a:cubicBezTo>
                    <a:cubicBezTo>
                      <a:pt x="816" y="1806"/>
                      <a:pt x="816" y="1805"/>
                      <a:pt x="817" y="1805"/>
                    </a:cubicBezTo>
                    <a:cubicBezTo>
                      <a:pt x="831" y="1790"/>
                      <a:pt x="831" y="1790"/>
                      <a:pt x="831" y="1790"/>
                    </a:cubicBezTo>
                    <a:cubicBezTo>
                      <a:pt x="827" y="1784"/>
                      <a:pt x="826" y="1776"/>
                      <a:pt x="827" y="1769"/>
                    </a:cubicBezTo>
                    <a:cubicBezTo>
                      <a:pt x="831" y="1756"/>
                      <a:pt x="842" y="1747"/>
                      <a:pt x="855" y="1747"/>
                    </a:cubicBezTo>
                    <a:cubicBezTo>
                      <a:pt x="858" y="1747"/>
                      <a:pt x="860" y="1747"/>
                      <a:pt x="862" y="1748"/>
                    </a:cubicBezTo>
                    <a:cubicBezTo>
                      <a:pt x="870" y="1749"/>
                      <a:pt x="876" y="1754"/>
                      <a:pt x="880" y="1761"/>
                    </a:cubicBezTo>
                    <a:cubicBezTo>
                      <a:pt x="884" y="1768"/>
                      <a:pt x="885" y="1775"/>
                      <a:pt x="883" y="1783"/>
                    </a:cubicBezTo>
                    <a:close/>
                    <a:moveTo>
                      <a:pt x="921" y="1658"/>
                    </a:moveTo>
                    <a:cubicBezTo>
                      <a:pt x="91" y="1658"/>
                      <a:pt x="91" y="1658"/>
                      <a:pt x="91" y="1658"/>
                    </a:cubicBezTo>
                    <a:cubicBezTo>
                      <a:pt x="91" y="234"/>
                      <a:pt x="91" y="234"/>
                      <a:pt x="91" y="234"/>
                    </a:cubicBezTo>
                    <a:cubicBezTo>
                      <a:pt x="921" y="234"/>
                      <a:pt x="921" y="234"/>
                      <a:pt x="921" y="234"/>
                    </a:cubicBezTo>
                    <a:lnTo>
                      <a:pt x="921" y="1658"/>
                    </a:lnTo>
                    <a:close/>
                    <a:moveTo>
                      <a:pt x="860" y="1756"/>
                    </a:move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ubicBezTo>
                      <a:pt x="870" y="1761"/>
                      <a:pt x="866" y="1757"/>
                      <a:pt x="860" y="1756"/>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ndParaRPr>
              </a:p>
            </p:txBody>
          </p:sp>
          <p:sp>
            <p:nvSpPr>
              <p:cNvPr id="172" name="Freeform 29"/>
              <p:cNvSpPr>
                <a:spLocks noChangeAspect="1" noEditPoints="1"/>
              </p:cNvSpPr>
              <p:nvPr/>
            </p:nvSpPr>
            <p:spPr bwMode="black">
              <a:xfrm>
                <a:off x="1149350" y="3534203"/>
                <a:ext cx="610084" cy="385396"/>
              </a:xfrm>
              <a:custGeom>
                <a:avLst/>
                <a:gdLst>
                  <a:gd name="T0" fmla="*/ 2248 w 2312"/>
                  <a:gd name="T1" fmla="*/ 0 h 1460"/>
                  <a:gd name="T2" fmla="*/ 64 w 2312"/>
                  <a:gd name="T3" fmla="*/ 0 h 1460"/>
                  <a:gd name="T4" fmla="*/ 0 w 2312"/>
                  <a:gd name="T5" fmla="*/ 64 h 1460"/>
                  <a:gd name="T6" fmla="*/ 0 w 2312"/>
                  <a:gd name="T7" fmla="*/ 1396 h 1460"/>
                  <a:gd name="T8" fmla="*/ 64 w 2312"/>
                  <a:gd name="T9" fmla="*/ 1460 h 1460"/>
                  <a:gd name="T10" fmla="*/ 2248 w 2312"/>
                  <a:gd name="T11" fmla="*/ 1460 h 1460"/>
                  <a:gd name="T12" fmla="*/ 2312 w 2312"/>
                  <a:gd name="T13" fmla="*/ 1396 h 1460"/>
                  <a:gd name="T14" fmla="*/ 2312 w 2312"/>
                  <a:gd name="T15" fmla="*/ 64 h 1460"/>
                  <a:gd name="T16" fmla="*/ 2248 w 2312"/>
                  <a:gd name="T17" fmla="*/ 0 h 1460"/>
                  <a:gd name="T18" fmla="*/ 1152 w 2312"/>
                  <a:gd name="T19" fmla="*/ 1409 h 1460"/>
                  <a:gd name="T20" fmla="*/ 1120 w 2312"/>
                  <a:gd name="T21" fmla="*/ 1404 h 1460"/>
                  <a:gd name="T22" fmla="*/ 1120 w 2312"/>
                  <a:gd name="T23" fmla="*/ 1377 h 1460"/>
                  <a:gd name="T24" fmla="*/ 1152 w 2312"/>
                  <a:gd name="T25" fmla="*/ 1377 h 1460"/>
                  <a:gd name="T26" fmla="*/ 1152 w 2312"/>
                  <a:gd name="T27" fmla="*/ 1409 h 1460"/>
                  <a:gd name="T28" fmla="*/ 1152 w 2312"/>
                  <a:gd name="T29" fmla="*/ 1374 h 1460"/>
                  <a:gd name="T30" fmla="*/ 1120 w 2312"/>
                  <a:gd name="T31" fmla="*/ 1374 h 1460"/>
                  <a:gd name="T32" fmla="*/ 1120 w 2312"/>
                  <a:gd name="T33" fmla="*/ 1347 h 1460"/>
                  <a:gd name="T34" fmla="*/ 1152 w 2312"/>
                  <a:gd name="T35" fmla="*/ 1342 h 1460"/>
                  <a:gd name="T36" fmla="*/ 1152 w 2312"/>
                  <a:gd name="T37" fmla="*/ 1374 h 1460"/>
                  <a:gd name="T38" fmla="*/ 1199 w 2312"/>
                  <a:gd name="T39" fmla="*/ 1415 h 1460"/>
                  <a:gd name="T40" fmla="*/ 1156 w 2312"/>
                  <a:gd name="T41" fmla="*/ 1409 h 1460"/>
                  <a:gd name="T42" fmla="*/ 1156 w 2312"/>
                  <a:gd name="T43" fmla="*/ 1377 h 1460"/>
                  <a:gd name="T44" fmla="*/ 1199 w 2312"/>
                  <a:gd name="T45" fmla="*/ 1377 h 1460"/>
                  <a:gd name="T46" fmla="*/ 1199 w 2312"/>
                  <a:gd name="T47" fmla="*/ 1415 h 1460"/>
                  <a:gd name="T48" fmla="*/ 1199 w 2312"/>
                  <a:gd name="T49" fmla="*/ 1374 h 1460"/>
                  <a:gd name="T50" fmla="*/ 1156 w 2312"/>
                  <a:gd name="T51" fmla="*/ 1374 h 1460"/>
                  <a:gd name="T52" fmla="*/ 1156 w 2312"/>
                  <a:gd name="T53" fmla="*/ 1342 h 1460"/>
                  <a:gd name="T54" fmla="*/ 1199 w 2312"/>
                  <a:gd name="T55" fmla="*/ 1336 h 1460"/>
                  <a:gd name="T56" fmla="*/ 1199 w 2312"/>
                  <a:gd name="T57" fmla="*/ 1374 h 1460"/>
                  <a:gd name="T58" fmla="*/ 2176 w 2312"/>
                  <a:gd name="T59" fmla="*/ 1301 h 1460"/>
                  <a:gd name="T60" fmla="*/ 136 w 2312"/>
                  <a:gd name="T61" fmla="*/ 1301 h 1460"/>
                  <a:gd name="T62" fmla="*/ 136 w 2312"/>
                  <a:gd name="T63" fmla="*/ 158 h 1460"/>
                  <a:gd name="T64" fmla="*/ 2176 w 2312"/>
                  <a:gd name="T65" fmla="*/ 158 h 1460"/>
                  <a:gd name="T66" fmla="*/ 2176 w 2312"/>
                  <a:gd name="T67" fmla="*/ 13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12" h="1460">
                    <a:moveTo>
                      <a:pt x="2248" y="0"/>
                    </a:moveTo>
                    <a:cubicBezTo>
                      <a:pt x="64" y="0"/>
                      <a:pt x="64" y="0"/>
                      <a:pt x="64" y="0"/>
                    </a:cubicBezTo>
                    <a:cubicBezTo>
                      <a:pt x="29" y="0"/>
                      <a:pt x="0" y="28"/>
                      <a:pt x="0" y="64"/>
                    </a:cubicBezTo>
                    <a:cubicBezTo>
                      <a:pt x="0" y="1396"/>
                      <a:pt x="0" y="1396"/>
                      <a:pt x="0" y="1396"/>
                    </a:cubicBezTo>
                    <a:cubicBezTo>
                      <a:pt x="0" y="1431"/>
                      <a:pt x="29" y="1460"/>
                      <a:pt x="64" y="1460"/>
                    </a:cubicBezTo>
                    <a:cubicBezTo>
                      <a:pt x="2248" y="1460"/>
                      <a:pt x="2248" y="1460"/>
                      <a:pt x="2248" y="1460"/>
                    </a:cubicBezTo>
                    <a:cubicBezTo>
                      <a:pt x="2283" y="1460"/>
                      <a:pt x="2312" y="1431"/>
                      <a:pt x="2312" y="1396"/>
                    </a:cubicBezTo>
                    <a:cubicBezTo>
                      <a:pt x="2312" y="64"/>
                      <a:pt x="2312" y="64"/>
                      <a:pt x="2312" y="64"/>
                    </a:cubicBezTo>
                    <a:cubicBezTo>
                      <a:pt x="2312" y="28"/>
                      <a:pt x="2283" y="0"/>
                      <a:pt x="2248" y="0"/>
                    </a:cubicBezTo>
                    <a:close/>
                    <a:moveTo>
                      <a:pt x="1152" y="1409"/>
                    </a:moveTo>
                    <a:cubicBezTo>
                      <a:pt x="1120" y="1404"/>
                      <a:pt x="1120" y="1404"/>
                      <a:pt x="1120" y="1404"/>
                    </a:cubicBezTo>
                    <a:cubicBezTo>
                      <a:pt x="1120" y="1377"/>
                      <a:pt x="1120" y="1377"/>
                      <a:pt x="1120" y="1377"/>
                    </a:cubicBezTo>
                    <a:cubicBezTo>
                      <a:pt x="1152" y="1377"/>
                      <a:pt x="1152" y="1377"/>
                      <a:pt x="1152" y="1377"/>
                    </a:cubicBezTo>
                    <a:lnTo>
                      <a:pt x="1152" y="1409"/>
                    </a:lnTo>
                    <a:close/>
                    <a:moveTo>
                      <a:pt x="1152" y="1374"/>
                    </a:moveTo>
                    <a:cubicBezTo>
                      <a:pt x="1120" y="1374"/>
                      <a:pt x="1120" y="1374"/>
                      <a:pt x="1120" y="1374"/>
                    </a:cubicBezTo>
                    <a:cubicBezTo>
                      <a:pt x="1120" y="1347"/>
                      <a:pt x="1120" y="1347"/>
                      <a:pt x="1120" y="1347"/>
                    </a:cubicBezTo>
                    <a:cubicBezTo>
                      <a:pt x="1152" y="1342"/>
                      <a:pt x="1152" y="1342"/>
                      <a:pt x="1152" y="1342"/>
                    </a:cubicBezTo>
                    <a:lnTo>
                      <a:pt x="1152" y="1374"/>
                    </a:lnTo>
                    <a:close/>
                    <a:moveTo>
                      <a:pt x="1199" y="1415"/>
                    </a:moveTo>
                    <a:cubicBezTo>
                      <a:pt x="1156" y="1409"/>
                      <a:pt x="1156" y="1409"/>
                      <a:pt x="1156" y="1409"/>
                    </a:cubicBezTo>
                    <a:cubicBezTo>
                      <a:pt x="1156" y="1377"/>
                      <a:pt x="1156" y="1377"/>
                      <a:pt x="1156" y="1377"/>
                    </a:cubicBezTo>
                    <a:cubicBezTo>
                      <a:pt x="1199" y="1377"/>
                      <a:pt x="1199" y="1377"/>
                      <a:pt x="1199" y="1377"/>
                    </a:cubicBezTo>
                    <a:lnTo>
                      <a:pt x="1199" y="1415"/>
                    </a:lnTo>
                    <a:close/>
                    <a:moveTo>
                      <a:pt x="1199" y="1374"/>
                    </a:moveTo>
                    <a:cubicBezTo>
                      <a:pt x="1156" y="1374"/>
                      <a:pt x="1156" y="1374"/>
                      <a:pt x="1156" y="1374"/>
                    </a:cubicBezTo>
                    <a:cubicBezTo>
                      <a:pt x="1156" y="1342"/>
                      <a:pt x="1156" y="1342"/>
                      <a:pt x="1156" y="1342"/>
                    </a:cubicBezTo>
                    <a:cubicBezTo>
                      <a:pt x="1199" y="1336"/>
                      <a:pt x="1199" y="1336"/>
                      <a:pt x="1199" y="1336"/>
                    </a:cubicBezTo>
                    <a:lnTo>
                      <a:pt x="1199" y="1374"/>
                    </a:lnTo>
                    <a:close/>
                    <a:moveTo>
                      <a:pt x="2176" y="1301"/>
                    </a:moveTo>
                    <a:cubicBezTo>
                      <a:pt x="136" y="1301"/>
                      <a:pt x="136" y="1301"/>
                      <a:pt x="136" y="1301"/>
                    </a:cubicBezTo>
                    <a:cubicBezTo>
                      <a:pt x="136" y="158"/>
                      <a:pt x="136" y="158"/>
                      <a:pt x="136" y="158"/>
                    </a:cubicBezTo>
                    <a:cubicBezTo>
                      <a:pt x="2176" y="158"/>
                      <a:pt x="2176" y="158"/>
                      <a:pt x="2176" y="158"/>
                    </a:cubicBezTo>
                    <a:lnTo>
                      <a:pt x="2176" y="1301"/>
                    </a:ln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ndParaRPr>
              </a:p>
            </p:txBody>
          </p:sp>
        </p:grpSp>
      </p:grpSp>
      <p:cxnSp>
        <p:nvCxnSpPr>
          <p:cNvPr id="185" name="Straight Arrow Connector 184"/>
          <p:cNvCxnSpPr/>
          <p:nvPr/>
        </p:nvCxnSpPr>
        <p:spPr>
          <a:xfrm>
            <a:off x="5484504" y="3832613"/>
            <a:ext cx="743976" cy="0"/>
          </a:xfrm>
          <a:prstGeom prst="straightConnector1">
            <a:avLst/>
          </a:prstGeom>
          <a:ln w="25400">
            <a:solidFill>
              <a:schemeClr val="bg1">
                <a:lumMod val="6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87" name="Straight Arrow Connector 186"/>
          <p:cNvCxnSpPr/>
          <p:nvPr/>
        </p:nvCxnSpPr>
        <p:spPr>
          <a:xfrm>
            <a:off x="5484504" y="3975364"/>
            <a:ext cx="1163039" cy="1246150"/>
          </a:xfrm>
          <a:prstGeom prst="straightConnector1">
            <a:avLst/>
          </a:prstGeom>
          <a:ln w="25400">
            <a:solidFill>
              <a:schemeClr val="bg1">
                <a:lumMod val="6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89" name="Straight Arrow Connector 188"/>
          <p:cNvCxnSpPr/>
          <p:nvPr/>
        </p:nvCxnSpPr>
        <p:spPr>
          <a:xfrm>
            <a:off x="7870310" y="4734163"/>
            <a:ext cx="221404" cy="0"/>
          </a:xfrm>
          <a:prstGeom prst="straightConnector1">
            <a:avLst/>
          </a:prstGeom>
          <a:ln w="25400">
            <a:solidFill>
              <a:schemeClr val="bg1">
                <a:lumMod val="6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91" name="Straight Arrow Connector 190"/>
          <p:cNvCxnSpPr/>
          <p:nvPr/>
        </p:nvCxnSpPr>
        <p:spPr>
          <a:xfrm>
            <a:off x="9768053" y="4734163"/>
            <a:ext cx="221404" cy="0"/>
          </a:xfrm>
          <a:prstGeom prst="straightConnector1">
            <a:avLst/>
          </a:prstGeom>
          <a:ln w="25400">
            <a:solidFill>
              <a:schemeClr val="bg1">
                <a:lumMod val="6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92" name="Straight Arrow Connector 191"/>
          <p:cNvCxnSpPr/>
          <p:nvPr/>
        </p:nvCxnSpPr>
        <p:spPr>
          <a:xfrm>
            <a:off x="11371073" y="5356168"/>
            <a:ext cx="483470" cy="0"/>
          </a:xfrm>
          <a:prstGeom prst="straightConnector1">
            <a:avLst/>
          </a:prstGeom>
          <a:ln w="25400">
            <a:solidFill>
              <a:schemeClr val="bg1">
                <a:lumMod val="6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94" name="Right Arrow 76"/>
          <p:cNvSpPr/>
          <p:nvPr/>
        </p:nvSpPr>
        <p:spPr bwMode="auto">
          <a:xfrm>
            <a:off x="8279069" y="2738930"/>
            <a:ext cx="1293102" cy="1846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505050"/>
                </a:solidFill>
                <a:effectLst/>
                <a:uLnTx/>
                <a:uFillTx/>
                <a:ea typeface="Segoe UI" pitchFamily="34" charset="0"/>
                <a:cs typeface="Segoe UI" pitchFamily="34" charset="0"/>
              </a:rPr>
              <a:t>Live Dashboards</a:t>
            </a:r>
          </a:p>
        </p:txBody>
      </p:sp>
      <p:sp>
        <p:nvSpPr>
          <p:cNvPr id="208" name="Freeform 188"/>
          <p:cNvSpPr/>
          <p:nvPr/>
        </p:nvSpPr>
        <p:spPr bwMode="auto">
          <a:xfrm>
            <a:off x="6805419" y="2175768"/>
            <a:ext cx="421438" cy="443566"/>
          </a:xfrm>
          <a:custGeom>
            <a:avLst/>
            <a:gdLst>
              <a:gd name="connsiteX0" fmla="*/ 2182745 w 5136567"/>
              <a:gd name="connsiteY0" fmla="*/ 631371 h 5406253"/>
              <a:gd name="connsiteX1" fmla="*/ 2182745 w 5136567"/>
              <a:gd name="connsiteY1" fmla="*/ 1735832 h 5406253"/>
              <a:gd name="connsiteX2" fmla="*/ 697528 w 5136567"/>
              <a:gd name="connsiteY2" fmla="*/ 4553298 h 5406253"/>
              <a:gd name="connsiteX3" fmla="*/ 824661 w 5136567"/>
              <a:gd name="connsiteY3" fmla="*/ 4771571 h 5406253"/>
              <a:gd name="connsiteX4" fmla="*/ 1110209 w 5136567"/>
              <a:gd name="connsiteY4" fmla="*/ 4771571 h 5406253"/>
              <a:gd name="connsiteX5" fmla="*/ 2337230 w 5136567"/>
              <a:gd name="connsiteY5" fmla="*/ 2307772 h 5406253"/>
              <a:gd name="connsiteX6" fmla="*/ 3250167 w 5136567"/>
              <a:gd name="connsiteY6" fmla="*/ 2307772 h 5406253"/>
              <a:gd name="connsiteX7" fmla="*/ 2952394 w 5136567"/>
              <a:gd name="connsiteY7" fmla="*/ 1745343 h 5406253"/>
              <a:gd name="connsiteX8" fmla="*/ 2952394 w 5136567"/>
              <a:gd name="connsiteY8" fmla="*/ 631371 h 5406253"/>
              <a:gd name="connsiteX9" fmla="*/ 1250202 w 5136567"/>
              <a:gd name="connsiteY9" fmla="*/ 0 h 5406253"/>
              <a:gd name="connsiteX10" fmla="*/ 3888174 w 5136567"/>
              <a:gd name="connsiteY10" fmla="*/ 0 h 5406253"/>
              <a:gd name="connsiteX11" fmla="*/ 3888174 w 5136567"/>
              <a:gd name="connsiteY11" fmla="*/ 631371 h 5406253"/>
              <a:gd name="connsiteX12" fmla="*/ 3561994 w 5136567"/>
              <a:gd name="connsiteY12" fmla="*/ 631371 h 5406253"/>
              <a:gd name="connsiteX13" fmla="*/ 3561994 w 5136567"/>
              <a:gd name="connsiteY13" fmla="*/ 1585587 h 5406253"/>
              <a:gd name="connsiteX14" fmla="*/ 5135065 w 5136567"/>
              <a:gd name="connsiteY14" fmla="*/ 4566049 h 5406253"/>
              <a:gd name="connsiteX15" fmla="*/ 5136567 w 5136567"/>
              <a:gd name="connsiteY15" fmla="*/ 4566924 h 5406253"/>
              <a:gd name="connsiteX16" fmla="*/ 5136021 w 5136567"/>
              <a:gd name="connsiteY16" fmla="*/ 4567861 h 5406253"/>
              <a:gd name="connsiteX17" fmla="*/ 5136564 w 5136567"/>
              <a:gd name="connsiteY17" fmla="*/ 4568890 h 5406253"/>
              <a:gd name="connsiteX18" fmla="*/ 5134916 w 5136567"/>
              <a:gd name="connsiteY18" fmla="*/ 4569760 h 5406253"/>
              <a:gd name="connsiteX19" fmla="*/ 4647701 w 5136567"/>
              <a:gd name="connsiteY19" fmla="*/ 5406253 h 5406253"/>
              <a:gd name="connsiteX20" fmla="*/ 488866 w 5136567"/>
              <a:gd name="connsiteY20" fmla="*/ 5406253 h 5406253"/>
              <a:gd name="connsiteX21" fmla="*/ 1650 w 5136567"/>
              <a:gd name="connsiteY21" fmla="*/ 4569758 h 5406253"/>
              <a:gd name="connsiteX22" fmla="*/ 2 w 5136567"/>
              <a:gd name="connsiteY22" fmla="*/ 4568888 h 5406253"/>
              <a:gd name="connsiteX23" fmla="*/ 545 w 5136567"/>
              <a:gd name="connsiteY23" fmla="*/ 4567860 h 5406253"/>
              <a:gd name="connsiteX24" fmla="*/ 0 w 5136567"/>
              <a:gd name="connsiteY24" fmla="*/ 4566924 h 5406253"/>
              <a:gd name="connsiteX25" fmla="*/ 1500 w 5136567"/>
              <a:gd name="connsiteY25" fmla="*/ 4566051 h 5406253"/>
              <a:gd name="connsiteX26" fmla="*/ 1573145 w 5136567"/>
              <a:gd name="connsiteY26" fmla="*/ 1588289 h 5406253"/>
              <a:gd name="connsiteX27" fmla="*/ 1573145 w 5136567"/>
              <a:gd name="connsiteY27" fmla="*/ 631371 h 5406253"/>
              <a:gd name="connsiteX28" fmla="*/ 1250202 w 5136567"/>
              <a:gd name="connsiteY28" fmla="*/ 631371 h 5406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136567" h="5406253">
                <a:moveTo>
                  <a:pt x="2182745" y="631371"/>
                </a:moveTo>
                <a:lnTo>
                  <a:pt x="2182745" y="1735832"/>
                </a:lnTo>
                <a:lnTo>
                  <a:pt x="697528" y="4553298"/>
                </a:lnTo>
                <a:lnTo>
                  <a:pt x="824661" y="4771571"/>
                </a:lnTo>
                <a:lnTo>
                  <a:pt x="1110209" y="4771571"/>
                </a:lnTo>
                <a:lnTo>
                  <a:pt x="2337230" y="2307772"/>
                </a:lnTo>
                <a:lnTo>
                  <a:pt x="3250167" y="2307772"/>
                </a:lnTo>
                <a:lnTo>
                  <a:pt x="2952394" y="1745343"/>
                </a:lnTo>
                <a:lnTo>
                  <a:pt x="2952394" y="631371"/>
                </a:lnTo>
                <a:close/>
                <a:moveTo>
                  <a:pt x="1250202" y="0"/>
                </a:moveTo>
                <a:lnTo>
                  <a:pt x="3888174" y="0"/>
                </a:lnTo>
                <a:lnTo>
                  <a:pt x="3888174" y="631371"/>
                </a:lnTo>
                <a:lnTo>
                  <a:pt x="3561994" y="631371"/>
                </a:lnTo>
                <a:lnTo>
                  <a:pt x="3561994" y="1585587"/>
                </a:lnTo>
                <a:lnTo>
                  <a:pt x="5135065" y="4566049"/>
                </a:lnTo>
                <a:lnTo>
                  <a:pt x="5136567" y="4566924"/>
                </a:lnTo>
                <a:lnTo>
                  <a:pt x="5136021" y="4567861"/>
                </a:lnTo>
                <a:lnTo>
                  <a:pt x="5136564" y="4568890"/>
                </a:lnTo>
                <a:lnTo>
                  <a:pt x="5134916" y="4569760"/>
                </a:lnTo>
                <a:lnTo>
                  <a:pt x="4647701" y="5406253"/>
                </a:lnTo>
                <a:lnTo>
                  <a:pt x="488866" y="5406253"/>
                </a:lnTo>
                <a:lnTo>
                  <a:pt x="1650" y="4569758"/>
                </a:lnTo>
                <a:lnTo>
                  <a:pt x="2" y="4568888"/>
                </a:lnTo>
                <a:lnTo>
                  <a:pt x="545" y="4567860"/>
                </a:lnTo>
                <a:lnTo>
                  <a:pt x="0" y="4566924"/>
                </a:lnTo>
                <a:lnTo>
                  <a:pt x="1500" y="4566051"/>
                </a:lnTo>
                <a:lnTo>
                  <a:pt x="1573145" y="1588289"/>
                </a:lnTo>
                <a:lnTo>
                  <a:pt x="1573145" y="631371"/>
                </a:lnTo>
                <a:lnTo>
                  <a:pt x="1250202" y="631371"/>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tx1"/>
              </a:solidFill>
              <a:effectLst/>
              <a:uLnTx/>
              <a:uFillTx/>
              <a:latin typeface="+mj-lt"/>
              <a:ea typeface="Segoe UI" pitchFamily="34" charset="0"/>
              <a:cs typeface="Segoe UI" pitchFamily="34" charset="0"/>
            </a:endParaRPr>
          </a:p>
        </p:txBody>
      </p:sp>
    </p:spTree>
    <p:extLst>
      <p:ext uri="{BB962C8B-B14F-4D97-AF65-F5344CB8AC3E}">
        <p14:creationId xmlns:p14="http://schemas.microsoft.com/office/powerpoint/2010/main" val="2963856004"/>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88"/>
                                        </p:tgtEl>
                                        <p:attrNameLst>
                                          <p:attrName>style.visibility</p:attrName>
                                        </p:attrNameLst>
                                      </p:cBhvr>
                                      <p:to>
                                        <p:strVal val="visible"/>
                                      </p:to>
                                    </p:set>
                                    <p:animEffect transition="in" filter="wipe(left)">
                                      <p:cBhvr>
                                        <p:cTn id="7" dur="500"/>
                                        <p:tgtEl>
                                          <p:spTgt spid="88"/>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141"/>
                                        </p:tgtEl>
                                        <p:attrNameLst>
                                          <p:attrName>style.visibility</p:attrName>
                                        </p:attrNameLst>
                                      </p:cBhvr>
                                      <p:to>
                                        <p:strVal val="visible"/>
                                      </p:to>
                                    </p:set>
                                    <p:animEffect transition="in" filter="wipe(left)">
                                      <p:cBhvr>
                                        <p:cTn id="11" dur="500"/>
                                        <p:tgtEl>
                                          <p:spTgt spid="141"/>
                                        </p:tgtEl>
                                      </p:cBhvr>
                                    </p:animEffect>
                                  </p:childTnLst>
                                </p:cTn>
                              </p:par>
                            </p:childTnLst>
                          </p:cTn>
                        </p:par>
                        <p:par>
                          <p:cTn id="12" fill="hold">
                            <p:stCondLst>
                              <p:cond delay="1000"/>
                            </p:stCondLst>
                            <p:childTnLst>
                              <p:par>
                                <p:cTn id="13" presetID="22" presetClass="entr" presetSubtype="8" fill="hold" nodeType="afterEffect">
                                  <p:stCondLst>
                                    <p:cond delay="0"/>
                                  </p:stCondLst>
                                  <p:childTnLst>
                                    <p:set>
                                      <p:cBhvr>
                                        <p:cTn id="14" dur="1" fill="hold">
                                          <p:stCondLst>
                                            <p:cond delay="0"/>
                                          </p:stCondLst>
                                        </p:cTn>
                                        <p:tgtEl>
                                          <p:spTgt spid="96"/>
                                        </p:tgtEl>
                                        <p:attrNameLst>
                                          <p:attrName>style.visibility</p:attrName>
                                        </p:attrNameLst>
                                      </p:cBhvr>
                                      <p:to>
                                        <p:strVal val="visible"/>
                                      </p:to>
                                    </p:set>
                                    <p:animEffect transition="in" filter="wipe(left)">
                                      <p:cBhvr>
                                        <p:cTn id="15" dur="500"/>
                                        <p:tgtEl>
                                          <p:spTgt spid="96"/>
                                        </p:tgtEl>
                                      </p:cBhvr>
                                    </p:animEffect>
                                  </p:childTnLst>
                                </p:cTn>
                              </p:par>
                            </p:childTnLst>
                          </p:cTn>
                        </p:par>
                        <p:par>
                          <p:cTn id="16" fill="hold">
                            <p:stCondLst>
                              <p:cond delay="1500"/>
                            </p:stCondLst>
                            <p:childTnLst>
                              <p:par>
                                <p:cTn id="17" presetID="22" presetClass="entr" presetSubtype="8" fill="hold" nodeType="afterEffect">
                                  <p:stCondLst>
                                    <p:cond delay="0"/>
                                  </p:stCondLst>
                                  <p:childTnLst>
                                    <p:set>
                                      <p:cBhvr>
                                        <p:cTn id="18" dur="1" fill="hold">
                                          <p:stCondLst>
                                            <p:cond delay="0"/>
                                          </p:stCondLst>
                                        </p:cTn>
                                        <p:tgtEl>
                                          <p:spTgt spid="87"/>
                                        </p:tgtEl>
                                        <p:attrNameLst>
                                          <p:attrName>style.visibility</p:attrName>
                                        </p:attrNameLst>
                                      </p:cBhvr>
                                      <p:to>
                                        <p:strVal val="visible"/>
                                      </p:to>
                                    </p:set>
                                    <p:animEffect transition="in" filter="wipe(left)">
                                      <p:cBhvr>
                                        <p:cTn id="19" dur="500"/>
                                        <p:tgtEl>
                                          <p:spTgt spid="87"/>
                                        </p:tgtEl>
                                      </p:cBhvr>
                                    </p:animEffect>
                                  </p:childTnLst>
                                </p:cTn>
                              </p:par>
                            </p:childTnLst>
                          </p:cTn>
                        </p:par>
                        <p:par>
                          <p:cTn id="20" fill="hold">
                            <p:stCondLst>
                              <p:cond delay="2000"/>
                            </p:stCondLst>
                            <p:childTnLst>
                              <p:par>
                                <p:cTn id="21" presetID="22" presetClass="entr" presetSubtype="8" fill="hold" nodeType="afterEffect">
                                  <p:stCondLst>
                                    <p:cond delay="0"/>
                                  </p:stCondLst>
                                  <p:childTnLst>
                                    <p:set>
                                      <p:cBhvr>
                                        <p:cTn id="22" dur="1" fill="hold">
                                          <p:stCondLst>
                                            <p:cond delay="0"/>
                                          </p:stCondLst>
                                        </p:cTn>
                                        <p:tgtEl>
                                          <p:spTgt spid="97"/>
                                        </p:tgtEl>
                                        <p:attrNameLst>
                                          <p:attrName>style.visibility</p:attrName>
                                        </p:attrNameLst>
                                      </p:cBhvr>
                                      <p:to>
                                        <p:strVal val="visible"/>
                                      </p:to>
                                    </p:set>
                                    <p:animEffect transition="in" filter="wipe(left)">
                                      <p:cBhvr>
                                        <p:cTn id="23" dur="500"/>
                                        <p:tgtEl>
                                          <p:spTgt spid="97"/>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79"/>
                                        </p:tgtEl>
                                        <p:attrNameLst>
                                          <p:attrName>style.visibility</p:attrName>
                                        </p:attrNameLst>
                                      </p:cBhvr>
                                      <p:to>
                                        <p:strVal val="visible"/>
                                      </p:to>
                                    </p:set>
                                    <p:animEffect transition="in" filter="fade">
                                      <p:cBhvr>
                                        <p:cTn id="27" dur="500"/>
                                        <p:tgtEl>
                                          <p:spTgt spid="79"/>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nodeType="clickEffect">
                                  <p:stCondLst>
                                    <p:cond delay="0"/>
                                  </p:stCondLst>
                                  <p:childTnLst>
                                    <p:set>
                                      <p:cBhvr>
                                        <p:cTn id="31" dur="1" fill="hold">
                                          <p:stCondLst>
                                            <p:cond delay="0"/>
                                          </p:stCondLst>
                                        </p:cTn>
                                        <p:tgtEl>
                                          <p:spTgt spid="161"/>
                                        </p:tgtEl>
                                        <p:attrNameLst>
                                          <p:attrName>style.visibility</p:attrName>
                                        </p:attrNameLst>
                                      </p:cBhvr>
                                      <p:to>
                                        <p:strVal val="visible"/>
                                      </p:to>
                                    </p:set>
                                    <p:animEffect transition="in" filter="wipe(left)">
                                      <p:cBhvr>
                                        <p:cTn id="32" dur="500"/>
                                        <p:tgtEl>
                                          <p:spTgt spid="161"/>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8" fill="hold" nodeType="clickEffect">
                                  <p:stCondLst>
                                    <p:cond delay="0"/>
                                  </p:stCondLst>
                                  <p:childTnLst>
                                    <p:set>
                                      <p:cBhvr>
                                        <p:cTn id="36" dur="1" fill="hold">
                                          <p:stCondLst>
                                            <p:cond delay="0"/>
                                          </p:stCondLst>
                                        </p:cTn>
                                        <p:tgtEl>
                                          <p:spTgt spid="162"/>
                                        </p:tgtEl>
                                        <p:attrNameLst>
                                          <p:attrName>style.visibility</p:attrName>
                                        </p:attrNameLst>
                                      </p:cBhvr>
                                      <p:to>
                                        <p:strVal val="visible"/>
                                      </p:to>
                                    </p:set>
                                    <p:animEffect transition="in" filter="wipe(left)">
                                      <p:cBhvr>
                                        <p:cTn id="37" dur="500"/>
                                        <p:tgtEl>
                                          <p:spTgt spid="162"/>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8" fill="hold" nodeType="clickEffect">
                                  <p:stCondLst>
                                    <p:cond delay="0"/>
                                  </p:stCondLst>
                                  <p:childTnLst>
                                    <p:set>
                                      <p:cBhvr>
                                        <p:cTn id="41" dur="1" fill="hold">
                                          <p:stCondLst>
                                            <p:cond delay="0"/>
                                          </p:stCondLst>
                                        </p:cTn>
                                        <p:tgtEl>
                                          <p:spTgt spid="163"/>
                                        </p:tgtEl>
                                        <p:attrNameLst>
                                          <p:attrName>style.visibility</p:attrName>
                                        </p:attrNameLst>
                                      </p:cBhvr>
                                      <p:to>
                                        <p:strVal val="visible"/>
                                      </p:to>
                                    </p:set>
                                    <p:animEffect transition="in" filter="wipe(left)">
                                      <p:cBhvr>
                                        <p:cTn id="42" dur="500"/>
                                        <p:tgtEl>
                                          <p:spTgt spid="163"/>
                                        </p:tgtEl>
                                      </p:cBhvr>
                                    </p:animEffect>
                                  </p:childTnLst>
                                </p:cTn>
                              </p:par>
                            </p:childTnLst>
                          </p:cTn>
                        </p:par>
                      </p:childTnLst>
                    </p:cTn>
                  </p:par>
                  <p:par>
                    <p:cTn id="43" fill="hold">
                      <p:stCondLst>
                        <p:cond delay="indefinite"/>
                      </p:stCondLst>
                      <p:childTnLst>
                        <p:par>
                          <p:cTn id="44" fill="hold">
                            <p:stCondLst>
                              <p:cond delay="0"/>
                            </p:stCondLst>
                            <p:childTnLst>
                              <p:par>
                                <p:cTn id="45" presetID="22" presetClass="entr" presetSubtype="8" fill="hold" nodeType="clickEffect">
                                  <p:stCondLst>
                                    <p:cond delay="0"/>
                                  </p:stCondLst>
                                  <p:childTnLst>
                                    <p:set>
                                      <p:cBhvr>
                                        <p:cTn id="46" dur="1" fill="hold">
                                          <p:stCondLst>
                                            <p:cond delay="0"/>
                                          </p:stCondLst>
                                        </p:cTn>
                                        <p:tgtEl>
                                          <p:spTgt spid="164"/>
                                        </p:tgtEl>
                                        <p:attrNameLst>
                                          <p:attrName>style.visibility</p:attrName>
                                        </p:attrNameLst>
                                      </p:cBhvr>
                                      <p:to>
                                        <p:strVal val="visible"/>
                                      </p:to>
                                    </p:set>
                                    <p:animEffect transition="in" filter="wipe(left)">
                                      <p:cBhvr>
                                        <p:cTn id="47" dur="500"/>
                                        <p:tgtEl>
                                          <p:spTgt spid="164"/>
                                        </p:tgtEl>
                                      </p:cBhvr>
                                    </p:animEffect>
                                  </p:childTnLst>
                                </p:cTn>
                              </p:par>
                            </p:childTnLst>
                          </p:cTn>
                        </p:par>
                      </p:childTnLst>
                    </p:cTn>
                  </p:par>
                  <p:par>
                    <p:cTn id="48" fill="hold">
                      <p:stCondLst>
                        <p:cond delay="indefinite"/>
                      </p:stCondLst>
                      <p:childTnLst>
                        <p:par>
                          <p:cTn id="49" fill="hold">
                            <p:stCondLst>
                              <p:cond delay="0"/>
                            </p:stCondLst>
                            <p:childTnLst>
                              <p:par>
                                <p:cTn id="50" presetID="22" presetClass="entr" presetSubtype="8" fill="hold" nodeType="clickEffect">
                                  <p:stCondLst>
                                    <p:cond delay="0"/>
                                  </p:stCondLst>
                                  <p:childTnLst>
                                    <p:set>
                                      <p:cBhvr>
                                        <p:cTn id="51" dur="1" fill="hold">
                                          <p:stCondLst>
                                            <p:cond delay="0"/>
                                          </p:stCondLst>
                                        </p:cTn>
                                        <p:tgtEl>
                                          <p:spTgt spid="165"/>
                                        </p:tgtEl>
                                        <p:attrNameLst>
                                          <p:attrName>style.visibility</p:attrName>
                                        </p:attrNameLst>
                                      </p:cBhvr>
                                      <p:to>
                                        <p:strVal val="visible"/>
                                      </p:to>
                                    </p:set>
                                    <p:animEffect transition="in" filter="wipe(left)">
                                      <p:cBhvr>
                                        <p:cTn id="52" dur="500"/>
                                        <p:tgtEl>
                                          <p:spTgt spid="165"/>
                                        </p:tgtEl>
                                      </p:cBhvr>
                                    </p:animEffect>
                                  </p:childTnLst>
                                </p:cTn>
                              </p:par>
                            </p:childTnLst>
                          </p:cTn>
                        </p:par>
                        <p:par>
                          <p:cTn id="53" fill="hold">
                            <p:stCondLst>
                              <p:cond delay="500"/>
                            </p:stCondLst>
                            <p:childTnLst>
                              <p:par>
                                <p:cTn id="54" presetID="22" presetClass="entr" presetSubtype="8" fill="hold" nodeType="afterEffect">
                                  <p:stCondLst>
                                    <p:cond delay="0"/>
                                  </p:stCondLst>
                                  <p:childTnLst>
                                    <p:set>
                                      <p:cBhvr>
                                        <p:cTn id="55" dur="1" fill="hold">
                                          <p:stCondLst>
                                            <p:cond delay="0"/>
                                          </p:stCondLst>
                                        </p:cTn>
                                        <p:tgtEl>
                                          <p:spTgt spid="185"/>
                                        </p:tgtEl>
                                        <p:attrNameLst>
                                          <p:attrName>style.visibility</p:attrName>
                                        </p:attrNameLst>
                                      </p:cBhvr>
                                      <p:to>
                                        <p:strVal val="visible"/>
                                      </p:to>
                                    </p:set>
                                    <p:animEffect transition="in" filter="wipe(left)">
                                      <p:cBhvr>
                                        <p:cTn id="56" dur="500"/>
                                        <p:tgtEl>
                                          <p:spTgt spid="185"/>
                                        </p:tgtEl>
                                      </p:cBhvr>
                                    </p:animEffect>
                                  </p:childTnLst>
                                </p:cTn>
                              </p:par>
                            </p:childTnLst>
                          </p:cTn>
                        </p:par>
                        <p:par>
                          <p:cTn id="57" fill="hold">
                            <p:stCondLst>
                              <p:cond delay="1000"/>
                            </p:stCondLst>
                            <p:childTnLst>
                              <p:par>
                                <p:cTn id="58" presetID="22" presetClass="entr" presetSubtype="8" fill="hold" nodeType="afterEffect">
                                  <p:stCondLst>
                                    <p:cond delay="0"/>
                                  </p:stCondLst>
                                  <p:childTnLst>
                                    <p:set>
                                      <p:cBhvr>
                                        <p:cTn id="59" dur="1" fill="hold">
                                          <p:stCondLst>
                                            <p:cond delay="0"/>
                                          </p:stCondLst>
                                        </p:cTn>
                                        <p:tgtEl>
                                          <p:spTgt spid="187"/>
                                        </p:tgtEl>
                                        <p:attrNameLst>
                                          <p:attrName>style.visibility</p:attrName>
                                        </p:attrNameLst>
                                      </p:cBhvr>
                                      <p:to>
                                        <p:strVal val="visible"/>
                                      </p:to>
                                    </p:set>
                                    <p:animEffect transition="in" filter="wipe(left)">
                                      <p:cBhvr>
                                        <p:cTn id="60" dur="500"/>
                                        <p:tgtEl>
                                          <p:spTgt spid="187"/>
                                        </p:tgtEl>
                                      </p:cBhvr>
                                    </p:animEffect>
                                  </p:childTnLst>
                                </p:cTn>
                              </p:par>
                            </p:childTnLst>
                          </p:cTn>
                        </p:par>
                        <p:par>
                          <p:cTn id="61" fill="hold">
                            <p:stCondLst>
                              <p:cond delay="1500"/>
                            </p:stCondLst>
                            <p:childTnLst>
                              <p:par>
                                <p:cTn id="62" presetID="22" presetClass="entr" presetSubtype="8" fill="hold" nodeType="afterEffect">
                                  <p:stCondLst>
                                    <p:cond delay="0"/>
                                  </p:stCondLst>
                                  <p:childTnLst>
                                    <p:set>
                                      <p:cBhvr>
                                        <p:cTn id="63" dur="1" fill="hold">
                                          <p:stCondLst>
                                            <p:cond delay="0"/>
                                          </p:stCondLst>
                                        </p:cTn>
                                        <p:tgtEl>
                                          <p:spTgt spid="189"/>
                                        </p:tgtEl>
                                        <p:attrNameLst>
                                          <p:attrName>style.visibility</p:attrName>
                                        </p:attrNameLst>
                                      </p:cBhvr>
                                      <p:to>
                                        <p:strVal val="visible"/>
                                      </p:to>
                                    </p:set>
                                    <p:animEffect transition="in" filter="wipe(left)">
                                      <p:cBhvr>
                                        <p:cTn id="64" dur="500"/>
                                        <p:tgtEl>
                                          <p:spTgt spid="189"/>
                                        </p:tgtEl>
                                      </p:cBhvr>
                                    </p:animEffect>
                                  </p:childTnLst>
                                </p:cTn>
                              </p:par>
                            </p:childTnLst>
                          </p:cTn>
                        </p:par>
                        <p:par>
                          <p:cTn id="65" fill="hold">
                            <p:stCondLst>
                              <p:cond delay="2000"/>
                            </p:stCondLst>
                            <p:childTnLst>
                              <p:par>
                                <p:cTn id="66" presetID="22" presetClass="entr" presetSubtype="8" fill="hold" nodeType="afterEffect">
                                  <p:stCondLst>
                                    <p:cond delay="0"/>
                                  </p:stCondLst>
                                  <p:childTnLst>
                                    <p:set>
                                      <p:cBhvr>
                                        <p:cTn id="67" dur="1" fill="hold">
                                          <p:stCondLst>
                                            <p:cond delay="0"/>
                                          </p:stCondLst>
                                        </p:cTn>
                                        <p:tgtEl>
                                          <p:spTgt spid="191"/>
                                        </p:tgtEl>
                                        <p:attrNameLst>
                                          <p:attrName>style.visibility</p:attrName>
                                        </p:attrNameLst>
                                      </p:cBhvr>
                                      <p:to>
                                        <p:strVal val="visible"/>
                                      </p:to>
                                    </p:set>
                                    <p:animEffect transition="in" filter="wipe(left)">
                                      <p:cBhvr>
                                        <p:cTn id="68" dur="500"/>
                                        <p:tgtEl>
                                          <p:spTgt spid="191"/>
                                        </p:tgtEl>
                                      </p:cBhvr>
                                    </p:animEffect>
                                  </p:childTnLst>
                                </p:cTn>
                              </p:par>
                            </p:childTnLst>
                          </p:cTn>
                        </p:par>
                        <p:par>
                          <p:cTn id="69" fill="hold">
                            <p:stCondLst>
                              <p:cond delay="2500"/>
                            </p:stCondLst>
                            <p:childTnLst>
                              <p:par>
                                <p:cTn id="70" presetID="22" presetClass="entr" presetSubtype="8" fill="hold" nodeType="afterEffect">
                                  <p:stCondLst>
                                    <p:cond delay="0"/>
                                  </p:stCondLst>
                                  <p:childTnLst>
                                    <p:set>
                                      <p:cBhvr>
                                        <p:cTn id="71" dur="1" fill="hold">
                                          <p:stCondLst>
                                            <p:cond delay="0"/>
                                          </p:stCondLst>
                                        </p:cTn>
                                        <p:tgtEl>
                                          <p:spTgt spid="192"/>
                                        </p:tgtEl>
                                        <p:attrNameLst>
                                          <p:attrName>style.visibility</p:attrName>
                                        </p:attrNameLst>
                                      </p:cBhvr>
                                      <p:to>
                                        <p:strVal val="visible"/>
                                      </p:to>
                                    </p:set>
                                    <p:animEffect transition="in" filter="wipe(left)">
                                      <p:cBhvr>
                                        <p:cTn id="72" dur="500"/>
                                        <p:tgtEl>
                                          <p:spTgt spid="192"/>
                                        </p:tgtEl>
                                      </p:cBhvr>
                                    </p:animEffect>
                                  </p:childTnLst>
                                </p:cTn>
                              </p:par>
                            </p:childTnLst>
                          </p:cTn>
                        </p:par>
                        <p:par>
                          <p:cTn id="73" fill="hold">
                            <p:stCondLst>
                              <p:cond delay="3000"/>
                            </p:stCondLst>
                            <p:childTnLst>
                              <p:par>
                                <p:cTn id="74" presetID="10" presetClass="entr" presetSubtype="0" fill="hold" grpId="0" nodeType="afterEffect">
                                  <p:stCondLst>
                                    <p:cond delay="0"/>
                                  </p:stCondLst>
                                  <p:childTnLst>
                                    <p:set>
                                      <p:cBhvr>
                                        <p:cTn id="75" dur="1" fill="hold">
                                          <p:stCondLst>
                                            <p:cond delay="0"/>
                                          </p:stCondLst>
                                        </p:cTn>
                                        <p:tgtEl>
                                          <p:spTgt spid="194"/>
                                        </p:tgtEl>
                                        <p:attrNameLst>
                                          <p:attrName>style.visibility</p:attrName>
                                        </p:attrNameLst>
                                      </p:cBhvr>
                                      <p:to>
                                        <p:strVal val="visible"/>
                                      </p:to>
                                    </p:set>
                                    <p:animEffect transition="in" filter="fade">
                                      <p:cBhvr>
                                        <p:cTn id="76" dur="500"/>
                                        <p:tgtEl>
                                          <p:spTgt spid="19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9" grpId="0" animBg="1"/>
      <p:bldP spid="194" grpId="0" animBg="1"/>
    </p:bld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hoosing a ingestion technology</a:t>
            </a:r>
          </a:p>
        </p:txBody>
      </p:sp>
      <p:graphicFrame>
        <p:nvGraphicFramePr>
          <p:cNvPr id="4" name="Content Placeholder 3"/>
          <p:cNvGraphicFramePr>
            <a:graphicFrameLocks noGrp="1"/>
          </p:cNvGraphicFramePr>
          <p:nvPr>
            <p:ph idx="4294967295"/>
            <p:extLst/>
          </p:nvPr>
        </p:nvGraphicFramePr>
        <p:xfrm>
          <a:off x="268927" y="1582738"/>
          <a:ext cx="9404229" cy="4621764"/>
        </p:xfrm>
        <a:graphic>
          <a:graphicData uri="http://schemas.openxmlformats.org/drawingml/2006/table">
            <a:tbl>
              <a:tblPr firstRow="1" bandRow="1">
                <a:tableStyleId>{9DCAF9ED-07DC-4A11-8D7F-57B35C25682E}</a:tableStyleId>
              </a:tblPr>
              <a:tblGrid>
                <a:gridCol w="2564987">
                  <a:extLst>
                    <a:ext uri="{9D8B030D-6E8A-4147-A177-3AD203B41FA5}">
                      <a16:colId xmlns:a16="http://schemas.microsoft.com/office/drawing/2014/main" val="1525941442"/>
                    </a:ext>
                  </a:extLst>
                </a:gridCol>
                <a:gridCol w="3458029">
                  <a:extLst>
                    <a:ext uri="{9D8B030D-6E8A-4147-A177-3AD203B41FA5}">
                      <a16:colId xmlns:a16="http://schemas.microsoft.com/office/drawing/2014/main" val="2229799226"/>
                    </a:ext>
                  </a:extLst>
                </a:gridCol>
                <a:gridCol w="3381213">
                  <a:extLst>
                    <a:ext uri="{9D8B030D-6E8A-4147-A177-3AD203B41FA5}">
                      <a16:colId xmlns:a16="http://schemas.microsoft.com/office/drawing/2014/main" val="122452388"/>
                    </a:ext>
                  </a:extLst>
                </a:gridCol>
              </a:tblGrid>
              <a:tr h="420114">
                <a:tc>
                  <a:txBody>
                    <a:bodyPr/>
                    <a:lstStyle/>
                    <a:p>
                      <a:endParaRPr lang="en-US" sz="1800" dirty="0"/>
                    </a:p>
                  </a:txBody>
                  <a:tcPr marL="91427" marR="91427" marT="45713" marB="45713" anchor="ctr">
                    <a:lnL w="12700" cap="flat" cmpd="sng" algn="ctr">
                      <a:solidFill>
                        <a:schemeClr val="accent1"/>
                      </a:solidFill>
                      <a:prstDash val="solid"/>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a:txBody>
                    <a:bodyPr/>
                    <a:lstStyle/>
                    <a:p>
                      <a:r>
                        <a:rPr lang="en-US" sz="1800" dirty="0">
                          <a:gradFill>
                            <a:gsLst>
                              <a:gs pos="100000">
                                <a:schemeClr val="bg1"/>
                              </a:gs>
                              <a:gs pos="0">
                                <a:schemeClr val="bg1"/>
                              </a:gs>
                            </a:gsLst>
                            <a:lin ang="5400000" scaled="0"/>
                          </a:gradFill>
                        </a:rPr>
                        <a:t>Kafka</a:t>
                      </a:r>
                    </a:p>
                  </a:txBody>
                  <a:tcPr marL="91427" marR="91427" marT="45713" marB="45713"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a:txBody>
                    <a:bodyPr/>
                    <a:lstStyle/>
                    <a:p>
                      <a:r>
                        <a:rPr lang="en-US" sz="1800" dirty="0">
                          <a:gradFill>
                            <a:gsLst>
                              <a:gs pos="100000">
                                <a:schemeClr val="bg1"/>
                              </a:gs>
                              <a:gs pos="0">
                                <a:schemeClr val="bg1"/>
                              </a:gs>
                            </a:gsLst>
                            <a:lin ang="5400000" scaled="0"/>
                          </a:gradFill>
                        </a:rPr>
                        <a:t>Azure event hubs</a:t>
                      </a:r>
                    </a:p>
                  </a:txBody>
                  <a:tcPr marL="91427" marR="91427" marT="45713" marB="45713" anchor="ctr">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extLst>
                  <a:ext uri="{0D108BD9-81ED-4DB2-BD59-A6C34878D82A}">
                    <a16:rowId xmlns:a16="http://schemas.microsoft.com/office/drawing/2014/main" val="3728011299"/>
                  </a:ext>
                </a:extLst>
              </a:tr>
              <a:tr h="420114">
                <a:tc>
                  <a:txBody>
                    <a:bodyPr/>
                    <a:lstStyle/>
                    <a:p>
                      <a:r>
                        <a:rPr lang="en-US" sz="1800" dirty="0">
                          <a:solidFill>
                            <a:schemeClr val="tx1">
                              <a:lumMod val="65000"/>
                              <a:lumOff val="35000"/>
                            </a:schemeClr>
                          </a:solidFill>
                        </a:rPr>
                        <a:t>Managed</a:t>
                      </a:r>
                    </a:p>
                  </a:txBody>
                  <a:tcPr marL="91427" marR="91427" marT="45713" marB="45713" anchor="ctr">
                    <a:lnL w="12700" cap="flat" cmpd="sng" algn="ctr">
                      <a:solidFill>
                        <a:schemeClr val="accent1"/>
                      </a:solidFill>
                      <a:prstDash val="solid"/>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EAE8EE"/>
                    </a:solidFill>
                  </a:tcPr>
                </a:tc>
                <a:tc>
                  <a:txBody>
                    <a:bodyPr/>
                    <a:lstStyle/>
                    <a:p>
                      <a:r>
                        <a:rPr lang="en-US" sz="1800" b="0" dirty="0">
                          <a:solidFill>
                            <a:schemeClr val="tx1">
                              <a:lumMod val="65000"/>
                              <a:lumOff val="35000"/>
                            </a:schemeClr>
                          </a:solidFill>
                        </a:rPr>
                        <a:t>Yes</a:t>
                      </a:r>
                    </a:p>
                  </a:txBody>
                  <a:tcPr marL="91427" marR="91427" marT="45713" marB="45713"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EAE8EE"/>
                    </a:solidFill>
                  </a:tcPr>
                </a:tc>
                <a:tc>
                  <a:txBody>
                    <a:bodyPr/>
                    <a:lstStyle/>
                    <a:p>
                      <a:r>
                        <a:rPr lang="en-US" sz="1800" b="0" dirty="0">
                          <a:solidFill>
                            <a:schemeClr val="tx1">
                              <a:lumMod val="65000"/>
                              <a:lumOff val="35000"/>
                            </a:schemeClr>
                          </a:solidFill>
                        </a:rPr>
                        <a:t>Yes</a:t>
                      </a:r>
                    </a:p>
                  </a:txBody>
                  <a:tcPr marL="91427" marR="91427" marT="45713" marB="45713" anchor="ctr">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EAE8EE"/>
                    </a:solidFill>
                  </a:tcPr>
                </a:tc>
                <a:extLst>
                  <a:ext uri="{0D108BD9-81ED-4DB2-BD59-A6C34878D82A}">
                    <a16:rowId xmlns:a16="http://schemas.microsoft.com/office/drawing/2014/main" val="519985119"/>
                  </a:ext>
                </a:extLst>
              </a:tr>
              <a:tr h="420114">
                <a:tc>
                  <a:txBody>
                    <a:bodyPr/>
                    <a:lstStyle/>
                    <a:p>
                      <a:r>
                        <a:rPr lang="en-US" sz="1800" dirty="0">
                          <a:solidFill>
                            <a:schemeClr val="tx1">
                              <a:lumMod val="65000"/>
                              <a:lumOff val="35000"/>
                            </a:schemeClr>
                          </a:solidFill>
                        </a:rPr>
                        <a:t>Ordering</a:t>
                      </a:r>
                    </a:p>
                  </a:txBody>
                  <a:tcPr marL="91427" marR="91427" marT="45713" marB="45713" anchor="ctr">
                    <a:lnL w="12700" cap="flat" cmpd="sng" algn="ctr">
                      <a:solidFill>
                        <a:schemeClr val="accent1"/>
                      </a:solidFill>
                      <a:prstDash val="solid"/>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r>
                        <a:rPr lang="en-US" sz="1800" dirty="0">
                          <a:solidFill>
                            <a:schemeClr val="tx1">
                              <a:lumMod val="65000"/>
                              <a:lumOff val="35000"/>
                            </a:schemeClr>
                          </a:solidFill>
                        </a:rPr>
                        <a:t>Yes</a:t>
                      </a:r>
                    </a:p>
                  </a:txBody>
                  <a:tcPr marL="91427" marR="91427" marT="45713" marB="45713"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r>
                        <a:rPr lang="en-US" sz="1800" dirty="0">
                          <a:solidFill>
                            <a:schemeClr val="tx1">
                              <a:lumMod val="65000"/>
                              <a:lumOff val="35000"/>
                            </a:schemeClr>
                          </a:solidFill>
                        </a:rPr>
                        <a:t>Yes</a:t>
                      </a:r>
                    </a:p>
                  </a:txBody>
                  <a:tcPr marL="91427" marR="91427" marT="45713" marB="45713" anchor="ctr">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763612347"/>
                  </a:ext>
                </a:extLst>
              </a:tr>
              <a:tr h="420114">
                <a:tc>
                  <a:txBody>
                    <a:bodyPr/>
                    <a:lstStyle/>
                    <a:p>
                      <a:pPr marL="0" algn="l" defTabSz="914367" rtl="0" eaLnBrk="1" latinLnBrk="0" hangingPunct="1"/>
                      <a:r>
                        <a:rPr lang="en-US" sz="1800" kern="1200" dirty="0">
                          <a:solidFill>
                            <a:schemeClr val="tx1">
                              <a:lumMod val="65000"/>
                              <a:lumOff val="35000"/>
                            </a:schemeClr>
                          </a:solidFill>
                          <a:latin typeface="+mn-lt"/>
                          <a:ea typeface="+mn-ea"/>
                          <a:cs typeface="+mn-cs"/>
                        </a:rPr>
                        <a:t>Delivery</a:t>
                      </a:r>
                    </a:p>
                  </a:txBody>
                  <a:tcPr marL="91427" marR="91427" marT="45713" marB="45713" anchor="ctr">
                    <a:lnL w="12700" cap="flat" cmpd="sng" algn="ctr">
                      <a:solidFill>
                        <a:schemeClr val="accent1"/>
                      </a:solidFill>
                      <a:prstDash val="solid"/>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EAE8EE"/>
                    </a:solidFill>
                  </a:tcPr>
                </a:tc>
                <a:tc>
                  <a:txBody>
                    <a:bodyPr/>
                    <a:lstStyle/>
                    <a:p>
                      <a:pPr marL="0" algn="l" defTabSz="914367" rtl="0" eaLnBrk="1" latinLnBrk="0" hangingPunct="1"/>
                      <a:r>
                        <a:rPr lang="en-US" sz="1800" kern="1200" dirty="0">
                          <a:solidFill>
                            <a:schemeClr val="tx1">
                              <a:lumMod val="65000"/>
                              <a:lumOff val="35000"/>
                            </a:schemeClr>
                          </a:solidFill>
                          <a:latin typeface="+mn-lt"/>
                          <a:ea typeface="+mn-ea"/>
                          <a:cs typeface="+mn-cs"/>
                        </a:rPr>
                        <a:t>At-least-once</a:t>
                      </a:r>
                    </a:p>
                  </a:txBody>
                  <a:tcPr marL="91427" marR="91427" marT="45713" marB="45713"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EAE8EE"/>
                    </a:solidFill>
                  </a:tcPr>
                </a:tc>
                <a:tc>
                  <a:txBody>
                    <a:bodyPr/>
                    <a:lstStyle/>
                    <a:p>
                      <a:pPr marL="0" algn="l" defTabSz="914367" rtl="0" eaLnBrk="1" latinLnBrk="0" hangingPunct="1"/>
                      <a:r>
                        <a:rPr lang="en-US" sz="1800" kern="1200" dirty="0">
                          <a:solidFill>
                            <a:schemeClr val="tx1">
                              <a:lumMod val="65000"/>
                              <a:lumOff val="35000"/>
                            </a:schemeClr>
                          </a:solidFill>
                          <a:latin typeface="+mn-lt"/>
                          <a:ea typeface="+mn-ea"/>
                          <a:cs typeface="+mn-cs"/>
                        </a:rPr>
                        <a:t>At-least-once</a:t>
                      </a:r>
                    </a:p>
                  </a:txBody>
                  <a:tcPr marL="91427" marR="91427" marT="45713" marB="45713" anchor="ctr">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EAE8EE"/>
                    </a:solidFill>
                  </a:tcPr>
                </a:tc>
                <a:extLst>
                  <a:ext uri="{0D108BD9-81ED-4DB2-BD59-A6C34878D82A}">
                    <a16:rowId xmlns:a16="http://schemas.microsoft.com/office/drawing/2014/main" val="317086771"/>
                  </a:ext>
                </a:extLst>
              </a:tr>
              <a:tr h="420114">
                <a:tc>
                  <a:txBody>
                    <a:bodyPr/>
                    <a:lstStyle/>
                    <a:p>
                      <a:r>
                        <a:rPr lang="en-US" sz="1800" dirty="0">
                          <a:solidFill>
                            <a:schemeClr val="tx1">
                              <a:lumMod val="65000"/>
                              <a:lumOff val="35000"/>
                            </a:schemeClr>
                          </a:solidFill>
                        </a:rPr>
                        <a:t>Lifetime</a:t>
                      </a:r>
                    </a:p>
                  </a:txBody>
                  <a:tcPr marL="91427" marR="91427" marT="45713" marB="45713" anchor="ctr">
                    <a:lnL w="12700" cap="flat" cmpd="sng" algn="ctr">
                      <a:solidFill>
                        <a:schemeClr val="accent1"/>
                      </a:solidFill>
                      <a:prstDash val="solid"/>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r>
                        <a:rPr lang="en-US" sz="1800" dirty="0">
                          <a:solidFill>
                            <a:schemeClr val="tx1">
                              <a:lumMod val="65000"/>
                              <a:lumOff val="35000"/>
                            </a:schemeClr>
                          </a:solidFill>
                        </a:rPr>
                        <a:t>Configurable</a:t>
                      </a:r>
                    </a:p>
                  </a:txBody>
                  <a:tcPr marL="91427" marR="91427" marT="45713" marB="45713"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r>
                        <a:rPr lang="en-US" sz="1800" dirty="0">
                          <a:solidFill>
                            <a:schemeClr val="tx1">
                              <a:lumMod val="65000"/>
                              <a:lumOff val="35000"/>
                            </a:schemeClr>
                          </a:solidFill>
                        </a:rPr>
                        <a:t>1–30 Days</a:t>
                      </a:r>
                    </a:p>
                  </a:txBody>
                  <a:tcPr marL="91427" marR="91427" marT="45713" marB="45713" anchor="ctr">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883142296"/>
                  </a:ext>
                </a:extLst>
              </a:tr>
              <a:tr h="420114">
                <a:tc>
                  <a:txBody>
                    <a:bodyPr/>
                    <a:lstStyle/>
                    <a:p>
                      <a:r>
                        <a:rPr lang="en-US" sz="1800" dirty="0">
                          <a:solidFill>
                            <a:schemeClr val="tx1">
                              <a:lumMod val="65000"/>
                              <a:lumOff val="35000"/>
                            </a:schemeClr>
                          </a:solidFill>
                        </a:rPr>
                        <a:t>Replication</a:t>
                      </a:r>
                    </a:p>
                  </a:txBody>
                  <a:tcPr marL="91427" marR="91427" marT="45713" marB="45713" anchor="ctr">
                    <a:lnL w="12700" cap="flat" cmpd="sng" algn="ctr">
                      <a:solidFill>
                        <a:schemeClr val="accent1"/>
                      </a:solidFill>
                      <a:prstDash val="solid"/>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EAE8EE"/>
                    </a:solidFill>
                  </a:tcPr>
                </a:tc>
                <a:tc>
                  <a:txBody>
                    <a:bodyPr/>
                    <a:lstStyle/>
                    <a:p>
                      <a:r>
                        <a:rPr lang="en-US" sz="1800" dirty="0">
                          <a:solidFill>
                            <a:schemeClr val="tx1">
                              <a:lumMod val="65000"/>
                              <a:lumOff val="35000"/>
                            </a:schemeClr>
                          </a:solidFill>
                        </a:rPr>
                        <a:t>Configurable</a:t>
                      </a:r>
                      <a:r>
                        <a:rPr lang="en-US" sz="1800" baseline="0" dirty="0">
                          <a:solidFill>
                            <a:schemeClr val="tx1">
                              <a:lumMod val="65000"/>
                              <a:lumOff val="35000"/>
                            </a:schemeClr>
                          </a:solidFill>
                        </a:rPr>
                        <a:t> within region</a:t>
                      </a:r>
                      <a:endParaRPr lang="en-US" sz="1800" dirty="0">
                        <a:solidFill>
                          <a:schemeClr val="tx1">
                            <a:lumMod val="65000"/>
                            <a:lumOff val="35000"/>
                          </a:schemeClr>
                        </a:solidFill>
                      </a:endParaRPr>
                    </a:p>
                  </a:txBody>
                  <a:tcPr marL="91427" marR="91427" marT="45713" marB="45713"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EAE8EE"/>
                    </a:solidFill>
                  </a:tcPr>
                </a:tc>
                <a:tc>
                  <a:txBody>
                    <a:bodyPr/>
                    <a:lstStyle/>
                    <a:p>
                      <a:r>
                        <a:rPr lang="en-US" sz="1800" dirty="0">
                          <a:solidFill>
                            <a:schemeClr val="tx1">
                              <a:lumMod val="65000"/>
                              <a:lumOff val="35000"/>
                            </a:schemeClr>
                          </a:solidFill>
                        </a:rPr>
                        <a:t>Yes</a:t>
                      </a:r>
                    </a:p>
                  </a:txBody>
                  <a:tcPr marL="91427" marR="91427" marT="45713" marB="45713" anchor="ctr">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EAE8EE"/>
                    </a:solidFill>
                  </a:tcPr>
                </a:tc>
                <a:extLst>
                  <a:ext uri="{0D108BD9-81ED-4DB2-BD59-A6C34878D82A}">
                    <a16:rowId xmlns:a16="http://schemas.microsoft.com/office/drawing/2014/main" val="2414684927"/>
                  </a:ext>
                </a:extLst>
              </a:tr>
              <a:tr h="420114">
                <a:tc>
                  <a:txBody>
                    <a:bodyPr/>
                    <a:lstStyle/>
                    <a:p>
                      <a:r>
                        <a:rPr lang="en-US" sz="1800" dirty="0">
                          <a:solidFill>
                            <a:schemeClr val="tx1">
                              <a:lumMod val="65000"/>
                              <a:lumOff val="35000"/>
                            </a:schemeClr>
                          </a:solidFill>
                        </a:rPr>
                        <a:t>Throughput</a:t>
                      </a:r>
                    </a:p>
                  </a:txBody>
                  <a:tcPr marL="91427" marR="91427" marT="45713" marB="45713" anchor="ctr">
                    <a:lnL w="12700" cap="flat" cmpd="sng" algn="ctr">
                      <a:solidFill>
                        <a:schemeClr val="accent1"/>
                      </a:solidFill>
                      <a:prstDash val="solid"/>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r>
                        <a:rPr lang="en-US" sz="1800" dirty="0">
                          <a:solidFill>
                            <a:schemeClr val="tx1">
                              <a:lumMod val="65000"/>
                              <a:lumOff val="35000"/>
                            </a:schemeClr>
                          </a:solidFill>
                        </a:rPr>
                        <a:t>*nodes</a:t>
                      </a:r>
                    </a:p>
                  </a:txBody>
                  <a:tcPr marL="91427" marR="91427" marT="45713" marB="45713"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r>
                        <a:rPr lang="en-US" sz="1800" dirty="0">
                          <a:solidFill>
                            <a:schemeClr val="tx1">
                              <a:lumMod val="65000"/>
                              <a:lumOff val="35000"/>
                            </a:schemeClr>
                          </a:solidFill>
                        </a:rPr>
                        <a:t>20</a:t>
                      </a:r>
                      <a:r>
                        <a:rPr lang="en-US" sz="1800" baseline="0" dirty="0">
                          <a:solidFill>
                            <a:schemeClr val="tx1">
                              <a:lumMod val="65000"/>
                              <a:lumOff val="35000"/>
                            </a:schemeClr>
                          </a:solidFill>
                        </a:rPr>
                        <a:t> throughput units</a:t>
                      </a:r>
                      <a:endParaRPr lang="en-US" sz="1800" dirty="0">
                        <a:solidFill>
                          <a:schemeClr val="tx1">
                            <a:lumMod val="65000"/>
                            <a:lumOff val="35000"/>
                          </a:schemeClr>
                        </a:solidFill>
                      </a:endParaRPr>
                    </a:p>
                  </a:txBody>
                  <a:tcPr marL="91427" marR="91427" marT="45713" marB="45713" anchor="ctr">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248500273"/>
                  </a:ext>
                </a:extLst>
              </a:tr>
              <a:tr h="420114">
                <a:tc>
                  <a:txBody>
                    <a:bodyPr/>
                    <a:lstStyle/>
                    <a:p>
                      <a:r>
                        <a:rPr lang="en-US" sz="1800" dirty="0">
                          <a:solidFill>
                            <a:schemeClr val="tx1">
                              <a:lumMod val="65000"/>
                              <a:lumOff val="35000"/>
                            </a:schemeClr>
                          </a:solidFill>
                        </a:rPr>
                        <a:t>Parallel clients</a:t>
                      </a:r>
                    </a:p>
                  </a:txBody>
                  <a:tcPr marL="91427" marR="91427" marT="45713" marB="45713" anchor="ctr">
                    <a:lnL w="12700" cap="flat" cmpd="sng" algn="ctr">
                      <a:solidFill>
                        <a:schemeClr val="accent1"/>
                      </a:solidFill>
                      <a:prstDash val="solid"/>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EAE8EE"/>
                    </a:solidFill>
                  </a:tcPr>
                </a:tc>
                <a:tc>
                  <a:txBody>
                    <a:bodyPr/>
                    <a:lstStyle/>
                    <a:p>
                      <a:r>
                        <a:rPr lang="en-US" sz="1800" b="1" dirty="0">
                          <a:solidFill>
                            <a:schemeClr val="tx1">
                              <a:lumMod val="65000"/>
                              <a:lumOff val="35000"/>
                            </a:schemeClr>
                          </a:solidFill>
                        </a:rPr>
                        <a:t>Yes</a:t>
                      </a:r>
                    </a:p>
                  </a:txBody>
                  <a:tcPr marL="91427" marR="91427" marT="45713" marB="45713"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EAE8EE"/>
                    </a:solidFill>
                  </a:tcPr>
                </a:tc>
                <a:tc>
                  <a:txBody>
                    <a:bodyPr/>
                    <a:lstStyle/>
                    <a:p>
                      <a:r>
                        <a:rPr lang="en-US" sz="1800" dirty="0">
                          <a:solidFill>
                            <a:schemeClr val="tx1">
                              <a:lumMod val="65000"/>
                              <a:lumOff val="35000"/>
                            </a:schemeClr>
                          </a:solidFill>
                        </a:rPr>
                        <a:t>No</a:t>
                      </a:r>
                    </a:p>
                  </a:txBody>
                  <a:tcPr marL="91427" marR="91427" marT="45713" marB="45713" anchor="ctr">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EAE8EE"/>
                    </a:solidFill>
                  </a:tcPr>
                </a:tc>
                <a:extLst>
                  <a:ext uri="{0D108BD9-81ED-4DB2-BD59-A6C34878D82A}">
                    <a16:rowId xmlns:a16="http://schemas.microsoft.com/office/drawing/2014/main" val="365472816"/>
                  </a:ext>
                </a:extLst>
              </a:tr>
              <a:tr h="420114">
                <a:tc>
                  <a:txBody>
                    <a:bodyPr/>
                    <a:lstStyle/>
                    <a:p>
                      <a:r>
                        <a:rPr lang="en-US" sz="1800" dirty="0">
                          <a:solidFill>
                            <a:schemeClr val="tx1">
                              <a:lumMod val="65000"/>
                              <a:lumOff val="35000"/>
                            </a:schemeClr>
                          </a:solidFill>
                        </a:rPr>
                        <a:t>MapReduce</a:t>
                      </a:r>
                    </a:p>
                  </a:txBody>
                  <a:tcPr marL="91427" marR="91427" marT="45713" marB="45713" anchor="ctr">
                    <a:lnL w="12700" cap="flat" cmpd="sng" algn="ctr">
                      <a:solidFill>
                        <a:schemeClr val="accent1"/>
                      </a:solidFill>
                      <a:prstDash val="solid"/>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r>
                        <a:rPr lang="en-US" sz="1800" b="1" dirty="0">
                          <a:solidFill>
                            <a:schemeClr val="tx1">
                              <a:lumMod val="65000"/>
                              <a:lumOff val="35000"/>
                            </a:schemeClr>
                          </a:solidFill>
                        </a:rPr>
                        <a:t>Yes</a:t>
                      </a:r>
                    </a:p>
                  </a:txBody>
                  <a:tcPr marL="91427" marR="91427" marT="45713" marB="45713"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r>
                        <a:rPr lang="en-US" sz="1800" dirty="0">
                          <a:solidFill>
                            <a:schemeClr val="tx1">
                              <a:lumMod val="65000"/>
                              <a:lumOff val="35000"/>
                            </a:schemeClr>
                          </a:solidFill>
                        </a:rPr>
                        <a:t>No</a:t>
                      </a:r>
                    </a:p>
                  </a:txBody>
                  <a:tcPr marL="91427" marR="91427" marT="45713" marB="45713" anchor="ctr">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115025273"/>
                  </a:ext>
                </a:extLst>
              </a:tr>
              <a:tr h="420114">
                <a:tc>
                  <a:txBody>
                    <a:bodyPr/>
                    <a:lstStyle/>
                    <a:p>
                      <a:r>
                        <a:rPr lang="en-US" sz="1800" dirty="0">
                          <a:solidFill>
                            <a:schemeClr val="tx1">
                              <a:lumMod val="65000"/>
                              <a:lumOff val="35000"/>
                            </a:schemeClr>
                          </a:solidFill>
                        </a:rPr>
                        <a:t>Record size</a:t>
                      </a:r>
                    </a:p>
                  </a:txBody>
                  <a:tcPr marL="91427" marR="91427" marT="45713" marB="45713" anchor="ctr">
                    <a:lnL w="12700" cap="flat" cmpd="sng" algn="ctr">
                      <a:solidFill>
                        <a:schemeClr val="accent1"/>
                      </a:solidFill>
                      <a:prstDash val="solid"/>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EAE8EE"/>
                    </a:solidFill>
                  </a:tcPr>
                </a:tc>
                <a:tc>
                  <a:txBody>
                    <a:bodyPr/>
                    <a:lstStyle/>
                    <a:p>
                      <a:r>
                        <a:rPr lang="en-US" sz="1800" dirty="0">
                          <a:solidFill>
                            <a:schemeClr val="tx1">
                              <a:lumMod val="65000"/>
                              <a:lumOff val="35000"/>
                            </a:schemeClr>
                          </a:solidFill>
                        </a:rPr>
                        <a:t>Configurable</a:t>
                      </a:r>
                    </a:p>
                  </a:txBody>
                  <a:tcPr marL="91427" marR="91427" marT="45713" marB="45713"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EAE8EE"/>
                    </a:solidFill>
                  </a:tcPr>
                </a:tc>
                <a:tc>
                  <a:txBody>
                    <a:bodyPr/>
                    <a:lstStyle/>
                    <a:p>
                      <a:r>
                        <a:rPr lang="en-US" sz="1800" dirty="0">
                          <a:solidFill>
                            <a:schemeClr val="tx1">
                              <a:lumMod val="65000"/>
                              <a:lumOff val="35000"/>
                            </a:schemeClr>
                          </a:solidFill>
                        </a:rPr>
                        <a:t>256K</a:t>
                      </a:r>
                    </a:p>
                  </a:txBody>
                  <a:tcPr marL="91427" marR="91427" marT="45713" marB="45713" anchor="ctr">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EAE8EE"/>
                    </a:solidFill>
                  </a:tcPr>
                </a:tc>
                <a:extLst>
                  <a:ext uri="{0D108BD9-81ED-4DB2-BD59-A6C34878D82A}">
                    <a16:rowId xmlns:a16="http://schemas.microsoft.com/office/drawing/2014/main" val="61564839"/>
                  </a:ext>
                </a:extLst>
              </a:tr>
              <a:tr h="420624">
                <a:tc>
                  <a:txBody>
                    <a:bodyPr/>
                    <a:lstStyle/>
                    <a:p>
                      <a:r>
                        <a:rPr lang="en-US" sz="1800" dirty="0">
                          <a:solidFill>
                            <a:schemeClr val="tx1">
                              <a:lumMod val="65000"/>
                              <a:lumOff val="35000"/>
                            </a:schemeClr>
                          </a:solidFill>
                        </a:rPr>
                        <a:t>Cost</a:t>
                      </a:r>
                    </a:p>
                  </a:txBody>
                  <a:tcPr marL="91427" marR="91427" marT="45713" marB="45713" anchor="ctr">
                    <a:lnL w="12700" cap="flat" cmpd="sng" algn="ctr">
                      <a:solidFill>
                        <a:schemeClr val="accent1"/>
                      </a:solidFill>
                      <a:prstDash val="solid"/>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r>
                        <a:rPr lang="en-US" sz="1800" b="1" dirty="0">
                          <a:solidFill>
                            <a:schemeClr val="tx1">
                              <a:lumMod val="65000"/>
                              <a:lumOff val="35000"/>
                            </a:schemeClr>
                          </a:solidFill>
                        </a:rPr>
                        <a:t>Low</a:t>
                      </a:r>
                    </a:p>
                  </a:txBody>
                  <a:tcPr marL="91427" marR="91427" marT="45713" marB="45713"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r>
                        <a:rPr lang="en-US" sz="1800" b="0" dirty="0">
                          <a:solidFill>
                            <a:schemeClr val="tx1">
                              <a:lumMod val="65000"/>
                              <a:lumOff val="35000"/>
                            </a:schemeClr>
                          </a:solidFill>
                        </a:rPr>
                        <a:t>Medium – High as scaled out </a:t>
                      </a:r>
                    </a:p>
                  </a:txBody>
                  <a:tcPr marL="91427" marR="91427" marT="45713" marB="45713" anchor="ctr">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719333920"/>
                  </a:ext>
                </a:extLst>
              </a:tr>
            </a:tbl>
          </a:graphicData>
        </a:graphic>
      </p:graphicFrame>
    </p:spTree>
    <p:extLst>
      <p:ext uri="{BB962C8B-B14F-4D97-AF65-F5344CB8AC3E}">
        <p14:creationId xmlns:p14="http://schemas.microsoft.com/office/powerpoint/2010/main" val="2584395987"/>
      </p:ext>
    </p:extLst>
  </p:cSld>
  <p:clrMapOvr>
    <a:masterClrMapping/>
  </p:clrMapOvr>
  <p:transition spd="med">
    <p:fade/>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hoosing </a:t>
            </a:r>
            <a:r>
              <a:rPr lang="en-US"/>
              <a:t>a streaming </a:t>
            </a:r>
            <a:r>
              <a:rPr lang="en-US" dirty="0"/>
              <a:t>technology</a:t>
            </a:r>
          </a:p>
        </p:txBody>
      </p:sp>
      <p:graphicFrame>
        <p:nvGraphicFramePr>
          <p:cNvPr id="4" name="Content Placeholder 3"/>
          <p:cNvGraphicFramePr>
            <a:graphicFrameLocks noGrp="1"/>
          </p:cNvGraphicFramePr>
          <p:nvPr>
            <p:ph idx="4294967295"/>
            <p:extLst/>
          </p:nvPr>
        </p:nvGraphicFramePr>
        <p:xfrm>
          <a:off x="268926" y="1573668"/>
          <a:ext cx="10656703" cy="4295840"/>
        </p:xfrm>
        <a:graphic>
          <a:graphicData uri="http://schemas.openxmlformats.org/drawingml/2006/table">
            <a:tbl>
              <a:tblPr firstRow="1" bandRow="1">
                <a:effectLst/>
                <a:tableStyleId>{B301B821-A1FF-4177-AEE7-76D212191A09}</a:tableStyleId>
              </a:tblPr>
              <a:tblGrid>
                <a:gridCol w="1911885">
                  <a:extLst>
                    <a:ext uri="{9D8B030D-6E8A-4147-A177-3AD203B41FA5}">
                      <a16:colId xmlns:a16="http://schemas.microsoft.com/office/drawing/2014/main" val="1525941442"/>
                    </a:ext>
                  </a:extLst>
                </a:gridCol>
                <a:gridCol w="3022951">
                  <a:extLst>
                    <a:ext uri="{9D8B030D-6E8A-4147-A177-3AD203B41FA5}">
                      <a16:colId xmlns:a16="http://schemas.microsoft.com/office/drawing/2014/main" val="3411101941"/>
                    </a:ext>
                  </a:extLst>
                </a:gridCol>
                <a:gridCol w="2902833">
                  <a:extLst>
                    <a:ext uri="{9D8B030D-6E8A-4147-A177-3AD203B41FA5}">
                      <a16:colId xmlns:a16="http://schemas.microsoft.com/office/drawing/2014/main" val="2229799226"/>
                    </a:ext>
                  </a:extLst>
                </a:gridCol>
                <a:gridCol w="2819034">
                  <a:extLst>
                    <a:ext uri="{9D8B030D-6E8A-4147-A177-3AD203B41FA5}">
                      <a16:colId xmlns:a16="http://schemas.microsoft.com/office/drawing/2014/main" val="2416215981"/>
                    </a:ext>
                  </a:extLst>
                </a:gridCol>
              </a:tblGrid>
              <a:tr h="308380">
                <a:tc>
                  <a:txBody>
                    <a:bodyPr/>
                    <a:lstStyle/>
                    <a:p>
                      <a:endParaRPr lang="en-US" sz="1200" dirty="0"/>
                    </a:p>
                  </a:txBody>
                  <a:tcPr marL="89642" marR="89642" marT="62750" marB="62750"/>
                </a:tc>
                <a:tc>
                  <a:txBody>
                    <a:bodyPr/>
                    <a:lstStyle/>
                    <a:p>
                      <a:r>
                        <a:rPr lang="en-US" sz="1200" dirty="0">
                          <a:gradFill>
                            <a:gsLst>
                              <a:gs pos="100000">
                                <a:schemeClr val="bg1"/>
                              </a:gs>
                              <a:gs pos="0">
                                <a:schemeClr val="bg1"/>
                              </a:gs>
                            </a:gsLst>
                            <a:lin ang="5400000" scaled="0"/>
                          </a:gradFill>
                        </a:rPr>
                        <a:t>Azure Stream Analytics</a:t>
                      </a:r>
                    </a:p>
                  </a:txBody>
                  <a:tcPr marL="89642" marR="89642" marT="62750" marB="62750"/>
                </a:tc>
                <a:tc>
                  <a:txBody>
                    <a:bodyPr/>
                    <a:lstStyle/>
                    <a:p>
                      <a:r>
                        <a:rPr lang="en-US" sz="1200" dirty="0">
                          <a:gradFill>
                            <a:gsLst>
                              <a:gs pos="100000">
                                <a:schemeClr val="bg1"/>
                              </a:gs>
                              <a:gs pos="0">
                                <a:schemeClr val="bg1"/>
                              </a:gs>
                            </a:gsLst>
                            <a:lin ang="5400000" scaled="0"/>
                          </a:gradFill>
                        </a:rPr>
                        <a:t>Storm </a:t>
                      </a:r>
                    </a:p>
                  </a:txBody>
                  <a:tcPr marL="89642" marR="89642" marT="62750" marB="62750"/>
                </a:tc>
                <a:tc>
                  <a:txBody>
                    <a:bodyPr/>
                    <a:lstStyle/>
                    <a:p>
                      <a:r>
                        <a:rPr lang="en-US" sz="1200" dirty="0">
                          <a:gradFill>
                            <a:gsLst>
                              <a:gs pos="100000">
                                <a:schemeClr val="bg1"/>
                              </a:gs>
                              <a:gs pos="0">
                                <a:schemeClr val="bg1"/>
                              </a:gs>
                            </a:gsLst>
                            <a:lin ang="5400000" scaled="0"/>
                          </a:gradFill>
                        </a:rPr>
                        <a:t>Spark Streaming</a:t>
                      </a:r>
                    </a:p>
                  </a:txBody>
                  <a:tcPr marL="89642" marR="89642" marT="62750" marB="62750"/>
                </a:tc>
                <a:extLst>
                  <a:ext uri="{0D108BD9-81ED-4DB2-BD59-A6C34878D82A}">
                    <a16:rowId xmlns:a16="http://schemas.microsoft.com/office/drawing/2014/main" val="3728011299"/>
                  </a:ext>
                </a:extLst>
              </a:tr>
              <a:tr h="308380">
                <a:tc>
                  <a:txBody>
                    <a:bodyPr/>
                    <a:lstStyle/>
                    <a:p>
                      <a:pPr algn="l"/>
                      <a:r>
                        <a:rPr lang="en-US" sz="1200" dirty="0">
                          <a:solidFill>
                            <a:schemeClr val="tx1">
                              <a:lumMod val="65000"/>
                              <a:lumOff val="35000"/>
                            </a:schemeClr>
                          </a:solidFill>
                        </a:rPr>
                        <a:t>Managed</a:t>
                      </a:r>
                      <a:endParaRPr lang="en-US" sz="1200" b="1" dirty="0">
                        <a:solidFill>
                          <a:schemeClr val="tx1">
                            <a:lumMod val="65000"/>
                            <a:lumOff val="35000"/>
                          </a:schemeClr>
                        </a:solidFill>
                      </a:endParaRPr>
                    </a:p>
                  </a:txBody>
                  <a:tcPr marL="89642" marR="89642" marT="62750" marB="62750"/>
                </a:tc>
                <a:tc>
                  <a:txBody>
                    <a:bodyPr/>
                    <a:lstStyle/>
                    <a:p>
                      <a:r>
                        <a:rPr lang="en-US" sz="1200" dirty="0">
                          <a:solidFill>
                            <a:schemeClr val="tx1">
                              <a:lumMod val="65000"/>
                              <a:lumOff val="35000"/>
                            </a:schemeClr>
                          </a:solidFill>
                        </a:rPr>
                        <a:t>Yes</a:t>
                      </a:r>
                      <a:endParaRPr lang="en-US" sz="1200" b="1" dirty="0">
                        <a:solidFill>
                          <a:schemeClr val="tx1">
                            <a:lumMod val="65000"/>
                            <a:lumOff val="35000"/>
                          </a:schemeClr>
                        </a:solidFill>
                      </a:endParaRPr>
                    </a:p>
                  </a:txBody>
                  <a:tcPr marL="89642" marR="89642" marT="62750" marB="62750"/>
                </a:tc>
                <a:tc>
                  <a:txBody>
                    <a:bodyPr/>
                    <a:lstStyle/>
                    <a:p>
                      <a:r>
                        <a:rPr lang="en-US" sz="1200" b="0" dirty="0">
                          <a:solidFill>
                            <a:schemeClr val="tx1">
                              <a:lumMod val="65000"/>
                              <a:lumOff val="35000"/>
                            </a:schemeClr>
                          </a:solidFill>
                        </a:rPr>
                        <a:t>Yes</a:t>
                      </a:r>
                    </a:p>
                  </a:txBody>
                  <a:tcPr marL="89642" marR="89642" marT="62750" marB="62750"/>
                </a:tc>
                <a:tc>
                  <a:txBody>
                    <a:bodyPr/>
                    <a:lstStyle/>
                    <a:p>
                      <a:r>
                        <a:rPr lang="en-US" sz="1200" dirty="0">
                          <a:solidFill>
                            <a:schemeClr val="tx1">
                              <a:lumMod val="65000"/>
                              <a:lumOff val="35000"/>
                            </a:schemeClr>
                          </a:solidFill>
                        </a:rPr>
                        <a:t>Yes</a:t>
                      </a:r>
                    </a:p>
                  </a:txBody>
                  <a:tcPr marL="89642" marR="89642" marT="62750" marB="62750"/>
                </a:tc>
                <a:extLst>
                  <a:ext uri="{0D108BD9-81ED-4DB2-BD59-A6C34878D82A}">
                    <a16:rowId xmlns:a16="http://schemas.microsoft.com/office/drawing/2014/main" val="519985119"/>
                  </a:ext>
                </a:extLst>
              </a:tr>
              <a:tr h="491260">
                <a:tc>
                  <a:txBody>
                    <a:bodyPr/>
                    <a:lstStyle/>
                    <a:p>
                      <a:pPr algn="l"/>
                      <a:r>
                        <a:rPr lang="en-US" sz="1200" dirty="0">
                          <a:solidFill>
                            <a:schemeClr val="tx1">
                              <a:lumMod val="65000"/>
                              <a:lumOff val="35000"/>
                            </a:schemeClr>
                          </a:solidFill>
                        </a:rPr>
                        <a:t>Temporal operators</a:t>
                      </a:r>
                      <a:endParaRPr lang="en-US" sz="1200" b="1" dirty="0">
                        <a:solidFill>
                          <a:schemeClr val="tx1">
                            <a:lumMod val="65000"/>
                            <a:lumOff val="35000"/>
                          </a:schemeClr>
                        </a:solidFill>
                      </a:endParaRPr>
                    </a:p>
                  </a:txBody>
                  <a:tcPr marL="89642" marR="89642" marT="62750" marB="62750"/>
                </a:tc>
                <a:tc>
                  <a:txBody>
                    <a:bodyPr/>
                    <a:lstStyle/>
                    <a:p>
                      <a:r>
                        <a:rPr lang="en-US" sz="1200" dirty="0">
                          <a:solidFill>
                            <a:schemeClr val="tx1">
                              <a:lumMod val="65000"/>
                              <a:lumOff val="35000"/>
                            </a:schemeClr>
                          </a:solidFill>
                        </a:rPr>
                        <a:t>Windowed aggregates, and temporal </a:t>
                      </a:r>
                      <a:br>
                        <a:rPr lang="en-US" sz="1200" dirty="0">
                          <a:solidFill>
                            <a:schemeClr val="tx1">
                              <a:lumMod val="65000"/>
                              <a:lumOff val="35000"/>
                            </a:schemeClr>
                          </a:solidFill>
                        </a:rPr>
                      </a:br>
                      <a:r>
                        <a:rPr lang="en-US" sz="1200" dirty="0">
                          <a:solidFill>
                            <a:schemeClr val="tx1">
                              <a:lumMod val="65000"/>
                              <a:lumOff val="35000"/>
                            </a:schemeClr>
                          </a:solidFill>
                        </a:rPr>
                        <a:t>joins are supported out of the box</a:t>
                      </a:r>
                    </a:p>
                  </a:txBody>
                  <a:tcPr marL="89642" marR="89642" marT="62750" marB="62750"/>
                </a:tc>
                <a:tc>
                  <a:txBody>
                    <a:bodyPr/>
                    <a:lstStyle/>
                    <a:p>
                      <a:r>
                        <a:rPr lang="en-US" sz="1200" dirty="0">
                          <a:solidFill>
                            <a:schemeClr val="tx1">
                              <a:lumMod val="65000"/>
                              <a:lumOff val="35000"/>
                            </a:schemeClr>
                          </a:solidFill>
                        </a:rPr>
                        <a:t>Temporal operators must to be implemented</a:t>
                      </a:r>
                    </a:p>
                  </a:txBody>
                  <a:tcPr marL="89642" marR="89642" marT="62750" marB="62750"/>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200" dirty="0">
                          <a:solidFill>
                            <a:schemeClr val="tx1">
                              <a:lumMod val="65000"/>
                              <a:lumOff val="35000"/>
                            </a:schemeClr>
                          </a:solidFill>
                        </a:rPr>
                        <a:t>Temporal operators must </a:t>
                      </a:r>
                      <a:br>
                        <a:rPr lang="en-US" sz="1200" dirty="0">
                          <a:solidFill>
                            <a:schemeClr val="tx1">
                              <a:lumMod val="65000"/>
                              <a:lumOff val="35000"/>
                            </a:schemeClr>
                          </a:solidFill>
                        </a:rPr>
                      </a:br>
                      <a:r>
                        <a:rPr lang="en-US" sz="1200" dirty="0">
                          <a:solidFill>
                            <a:schemeClr val="tx1">
                              <a:lumMod val="65000"/>
                              <a:lumOff val="35000"/>
                            </a:schemeClr>
                          </a:solidFill>
                        </a:rPr>
                        <a:t>to be implemented</a:t>
                      </a:r>
                    </a:p>
                  </a:txBody>
                  <a:tcPr marL="89642" marR="89642" marT="62750" marB="62750"/>
                </a:tc>
                <a:extLst>
                  <a:ext uri="{0D108BD9-81ED-4DB2-BD59-A6C34878D82A}">
                    <a16:rowId xmlns:a16="http://schemas.microsoft.com/office/drawing/2014/main" val="2763612347"/>
                  </a:ext>
                </a:extLst>
              </a:tr>
              <a:tr h="491260">
                <a:tc>
                  <a:txBody>
                    <a:bodyPr/>
                    <a:lstStyle/>
                    <a:p>
                      <a:pPr algn="l"/>
                      <a:r>
                        <a:rPr lang="en-US" sz="1200" kern="1200" dirty="0">
                          <a:solidFill>
                            <a:schemeClr val="tx1">
                              <a:lumMod val="65000"/>
                              <a:lumOff val="35000"/>
                            </a:schemeClr>
                          </a:solidFill>
                        </a:rPr>
                        <a:t>Development experience </a:t>
                      </a:r>
                      <a:endParaRPr lang="en-US" sz="1200" b="1" kern="1200" dirty="0">
                        <a:solidFill>
                          <a:schemeClr val="tx1">
                            <a:lumMod val="65000"/>
                            <a:lumOff val="35000"/>
                          </a:schemeClr>
                        </a:solidFill>
                        <a:latin typeface="+mn-lt"/>
                        <a:ea typeface="+mn-ea"/>
                        <a:cs typeface="+mn-cs"/>
                      </a:endParaRPr>
                    </a:p>
                  </a:txBody>
                  <a:tcPr marL="89642" marR="89642" marT="62750" marB="62750"/>
                </a:tc>
                <a:tc>
                  <a:txBody>
                    <a:bodyPr/>
                    <a:lstStyle/>
                    <a:p>
                      <a:r>
                        <a:rPr lang="en-US" sz="1200" kern="1200" dirty="0">
                          <a:solidFill>
                            <a:schemeClr val="tx1">
                              <a:lumMod val="65000"/>
                              <a:lumOff val="35000"/>
                            </a:schemeClr>
                          </a:solidFill>
                        </a:rPr>
                        <a:t>Interactive authoring and debugging experience through Azure Portal</a:t>
                      </a:r>
                      <a:endParaRPr lang="en-US" sz="1200" kern="1200" dirty="0">
                        <a:solidFill>
                          <a:schemeClr val="tx1">
                            <a:lumMod val="65000"/>
                            <a:lumOff val="35000"/>
                          </a:schemeClr>
                        </a:solidFill>
                        <a:latin typeface="+mn-lt"/>
                        <a:ea typeface="+mn-ea"/>
                        <a:cs typeface="+mn-cs"/>
                      </a:endParaRPr>
                    </a:p>
                  </a:txBody>
                  <a:tcPr marL="89642" marR="89642" marT="62750" marB="62750"/>
                </a:tc>
                <a:tc>
                  <a:txBody>
                    <a:bodyPr/>
                    <a:lstStyle/>
                    <a:p>
                      <a:r>
                        <a:rPr lang="en-US" sz="1200" kern="1200" dirty="0">
                          <a:solidFill>
                            <a:schemeClr val="tx1">
                              <a:lumMod val="65000"/>
                              <a:lumOff val="35000"/>
                            </a:schemeClr>
                          </a:solidFill>
                        </a:rPr>
                        <a:t>Visual Studio,</a:t>
                      </a:r>
                      <a:r>
                        <a:rPr lang="en-US" sz="1200" kern="1200" baseline="0" dirty="0">
                          <a:solidFill>
                            <a:schemeClr val="tx1">
                              <a:lumMod val="65000"/>
                              <a:lumOff val="35000"/>
                            </a:schemeClr>
                          </a:solidFill>
                        </a:rPr>
                        <a:t> etc.</a:t>
                      </a:r>
                      <a:endParaRPr lang="en-US" sz="1200" kern="1200" dirty="0">
                        <a:solidFill>
                          <a:schemeClr val="tx1">
                            <a:lumMod val="65000"/>
                            <a:lumOff val="35000"/>
                          </a:schemeClr>
                        </a:solidFill>
                        <a:latin typeface="+mn-lt"/>
                        <a:ea typeface="+mn-ea"/>
                        <a:cs typeface="+mn-cs"/>
                      </a:endParaRPr>
                    </a:p>
                  </a:txBody>
                  <a:tcPr marL="89642" marR="89642" marT="62750" marB="62750"/>
                </a:tc>
                <a:tc>
                  <a:txBody>
                    <a:bodyPr/>
                    <a:lstStyle/>
                    <a:p>
                      <a:r>
                        <a:rPr lang="en-US" sz="1200" kern="1200" dirty="0">
                          <a:solidFill>
                            <a:schemeClr val="tx1">
                              <a:lumMod val="65000"/>
                              <a:lumOff val="35000"/>
                            </a:schemeClr>
                          </a:solidFill>
                          <a:latin typeface="+mn-lt"/>
                          <a:ea typeface="+mn-ea"/>
                          <a:cs typeface="+mn-cs"/>
                        </a:rPr>
                        <a:t>Visual Studio, etc.</a:t>
                      </a:r>
                    </a:p>
                  </a:txBody>
                  <a:tcPr marL="89642" marR="89642" marT="62750" marB="62750"/>
                </a:tc>
                <a:extLst>
                  <a:ext uri="{0D108BD9-81ED-4DB2-BD59-A6C34878D82A}">
                    <a16:rowId xmlns:a16="http://schemas.microsoft.com/office/drawing/2014/main" val="2702475479"/>
                  </a:ext>
                </a:extLst>
              </a:tr>
              <a:tr h="491260">
                <a:tc>
                  <a:txBody>
                    <a:bodyPr/>
                    <a:lstStyle/>
                    <a:p>
                      <a:pPr algn="l"/>
                      <a:r>
                        <a:rPr lang="en-US" sz="1200" kern="1200" dirty="0">
                          <a:solidFill>
                            <a:schemeClr val="tx1">
                              <a:lumMod val="65000"/>
                              <a:lumOff val="35000"/>
                            </a:schemeClr>
                          </a:solidFill>
                        </a:rPr>
                        <a:t>Data encoding formats </a:t>
                      </a:r>
                      <a:endParaRPr lang="en-US" sz="1200" b="1" kern="1200" dirty="0">
                        <a:solidFill>
                          <a:schemeClr val="tx1">
                            <a:lumMod val="65000"/>
                            <a:lumOff val="35000"/>
                          </a:schemeClr>
                        </a:solidFill>
                        <a:latin typeface="+mn-lt"/>
                        <a:ea typeface="+mn-ea"/>
                        <a:cs typeface="+mn-cs"/>
                      </a:endParaRPr>
                    </a:p>
                  </a:txBody>
                  <a:tcPr marL="89642" marR="89642" marT="62750" marB="62750"/>
                </a:tc>
                <a:tc>
                  <a:txBody>
                    <a:bodyPr/>
                    <a:lstStyle/>
                    <a:p>
                      <a:r>
                        <a:rPr lang="en-US" sz="1200" kern="1200" dirty="0">
                          <a:solidFill>
                            <a:schemeClr val="tx1">
                              <a:lumMod val="65000"/>
                              <a:lumOff val="35000"/>
                            </a:schemeClr>
                          </a:solidFill>
                        </a:rPr>
                        <a:t>Stream Analytics requires UTF-8 </a:t>
                      </a:r>
                      <a:br>
                        <a:rPr lang="en-US" sz="1200" kern="1200" dirty="0">
                          <a:solidFill>
                            <a:schemeClr val="tx1">
                              <a:lumMod val="65000"/>
                              <a:lumOff val="35000"/>
                            </a:schemeClr>
                          </a:solidFill>
                        </a:rPr>
                      </a:br>
                      <a:r>
                        <a:rPr lang="en-US" sz="1200" kern="1200" dirty="0">
                          <a:solidFill>
                            <a:schemeClr val="tx1">
                              <a:lumMod val="65000"/>
                              <a:lumOff val="35000"/>
                            </a:schemeClr>
                          </a:solidFill>
                        </a:rPr>
                        <a:t>data format to be utilized</a:t>
                      </a:r>
                      <a:endParaRPr lang="en-US" sz="1200" kern="1200" dirty="0">
                        <a:solidFill>
                          <a:schemeClr val="tx1">
                            <a:lumMod val="65000"/>
                            <a:lumOff val="35000"/>
                          </a:schemeClr>
                        </a:solidFill>
                        <a:latin typeface="+mn-lt"/>
                        <a:ea typeface="+mn-ea"/>
                        <a:cs typeface="+mn-cs"/>
                      </a:endParaRPr>
                    </a:p>
                  </a:txBody>
                  <a:tcPr marL="89642" marR="89642" marT="62750" marB="62750"/>
                </a:tc>
                <a:tc>
                  <a:txBody>
                    <a:bodyPr/>
                    <a:lstStyle/>
                    <a:p>
                      <a:r>
                        <a:rPr lang="en-US" sz="1200" kern="1200" dirty="0">
                          <a:solidFill>
                            <a:schemeClr val="tx1">
                              <a:lumMod val="65000"/>
                              <a:lumOff val="35000"/>
                            </a:schemeClr>
                          </a:solidFill>
                        </a:rPr>
                        <a:t>Any data encoding format may be implemented via custom code</a:t>
                      </a:r>
                      <a:endParaRPr lang="en-US" sz="1200" b="1" kern="1200" dirty="0">
                        <a:solidFill>
                          <a:schemeClr val="tx1">
                            <a:lumMod val="65000"/>
                            <a:lumOff val="35000"/>
                          </a:schemeClr>
                        </a:solidFill>
                        <a:latin typeface="+mn-lt"/>
                        <a:ea typeface="+mn-ea"/>
                        <a:cs typeface="+mn-cs"/>
                      </a:endParaRPr>
                    </a:p>
                  </a:txBody>
                  <a:tcPr marL="89642" marR="89642" marT="62750" marB="62750"/>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200" kern="1200" dirty="0">
                          <a:solidFill>
                            <a:schemeClr val="tx1">
                              <a:lumMod val="65000"/>
                              <a:lumOff val="35000"/>
                            </a:schemeClr>
                          </a:solidFill>
                        </a:rPr>
                        <a:t>Any data encoding format may be implemented via custom code</a:t>
                      </a:r>
                      <a:endParaRPr lang="en-US" sz="1200" b="1" kern="1200" dirty="0">
                        <a:solidFill>
                          <a:schemeClr val="tx1">
                            <a:lumMod val="65000"/>
                            <a:lumOff val="35000"/>
                          </a:schemeClr>
                        </a:solidFill>
                        <a:latin typeface="+mn-lt"/>
                        <a:ea typeface="+mn-ea"/>
                        <a:cs typeface="+mn-cs"/>
                      </a:endParaRPr>
                    </a:p>
                  </a:txBody>
                  <a:tcPr marL="89642" marR="89642" marT="62750" marB="62750"/>
                </a:tc>
                <a:extLst>
                  <a:ext uri="{0D108BD9-81ED-4DB2-BD59-A6C34878D82A}">
                    <a16:rowId xmlns:a16="http://schemas.microsoft.com/office/drawing/2014/main" val="2119618150"/>
                  </a:ext>
                </a:extLst>
              </a:tr>
              <a:tr h="857020">
                <a:tc>
                  <a:txBody>
                    <a:bodyPr/>
                    <a:lstStyle/>
                    <a:p>
                      <a:pPr algn="l"/>
                      <a:r>
                        <a:rPr lang="en-US" sz="1200" kern="1200" dirty="0">
                          <a:solidFill>
                            <a:schemeClr val="tx1">
                              <a:lumMod val="65000"/>
                              <a:lumOff val="35000"/>
                            </a:schemeClr>
                          </a:solidFill>
                        </a:rPr>
                        <a:t>Scalability </a:t>
                      </a:r>
                      <a:endParaRPr lang="en-US" sz="1200" b="1" kern="1200" dirty="0">
                        <a:solidFill>
                          <a:schemeClr val="tx1">
                            <a:lumMod val="65000"/>
                            <a:lumOff val="35000"/>
                          </a:schemeClr>
                        </a:solidFill>
                        <a:latin typeface="+mn-lt"/>
                        <a:ea typeface="+mn-ea"/>
                        <a:cs typeface="+mn-cs"/>
                      </a:endParaRPr>
                    </a:p>
                  </a:txBody>
                  <a:tcPr marL="89642" marR="89642" marT="62750" marB="62750">
                    <a:solidFill>
                      <a:srgbClr val="EAE8EE"/>
                    </a:solidFill>
                  </a:tcPr>
                </a:tc>
                <a:tc>
                  <a:txBody>
                    <a:bodyPr/>
                    <a:lstStyle/>
                    <a:p>
                      <a:r>
                        <a:rPr lang="en-US" sz="1200" kern="1200" dirty="0">
                          <a:solidFill>
                            <a:schemeClr val="tx1">
                              <a:lumMod val="65000"/>
                              <a:lumOff val="35000"/>
                            </a:schemeClr>
                          </a:solidFill>
                        </a:rPr>
                        <a:t>Number of Streaming Units for each job. Each Streaming Unit processes up to 1MB/s. Max of 50 units by default.</a:t>
                      </a:r>
                      <a:br>
                        <a:rPr lang="en-US" sz="1200" kern="1200" dirty="0">
                          <a:solidFill>
                            <a:schemeClr val="tx1">
                              <a:lumMod val="65000"/>
                              <a:lumOff val="35000"/>
                            </a:schemeClr>
                          </a:solidFill>
                        </a:rPr>
                      </a:br>
                      <a:r>
                        <a:rPr lang="en-US" sz="1200" kern="1200" dirty="0">
                          <a:solidFill>
                            <a:schemeClr val="tx1">
                              <a:lumMod val="65000"/>
                              <a:lumOff val="35000"/>
                            </a:schemeClr>
                          </a:solidFill>
                        </a:rPr>
                        <a:t>Call to increase limit</a:t>
                      </a:r>
                      <a:endParaRPr lang="en-US" sz="1200" kern="1200" dirty="0">
                        <a:solidFill>
                          <a:schemeClr val="tx1">
                            <a:lumMod val="65000"/>
                            <a:lumOff val="35000"/>
                          </a:schemeClr>
                        </a:solidFill>
                        <a:latin typeface="+mn-lt"/>
                        <a:ea typeface="+mn-ea"/>
                        <a:cs typeface="+mn-cs"/>
                      </a:endParaRPr>
                    </a:p>
                  </a:txBody>
                  <a:tcPr marL="89642" marR="89642" marT="62750" marB="62750"/>
                </a:tc>
                <a:tc>
                  <a:txBody>
                    <a:bodyPr/>
                    <a:lstStyle/>
                    <a:p>
                      <a:r>
                        <a:rPr lang="en-US" sz="1200" kern="1200" dirty="0">
                          <a:solidFill>
                            <a:schemeClr val="tx1">
                              <a:lumMod val="65000"/>
                              <a:lumOff val="35000"/>
                            </a:schemeClr>
                          </a:solidFill>
                        </a:rPr>
                        <a:t>Number of nodes in the HDI Storm cluster. No limit on number of nodes (Top limit defined by your Azure quota). Call to increase limit</a:t>
                      </a:r>
                      <a:endParaRPr lang="en-US" sz="1200" kern="1200" dirty="0">
                        <a:solidFill>
                          <a:schemeClr val="tx1">
                            <a:lumMod val="65000"/>
                            <a:lumOff val="35000"/>
                          </a:schemeClr>
                        </a:solidFill>
                        <a:latin typeface="+mn-lt"/>
                        <a:ea typeface="+mn-ea"/>
                        <a:cs typeface="+mn-cs"/>
                      </a:endParaRPr>
                    </a:p>
                  </a:txBody>
                  <a:tcPr marL="89642" marR="89642" marT="62750" marB="62750"/>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200" kern="1200" dirty="0">
                          <a:solidFill>
                            <a:schemeClr val="tx1">
                              <a:lumMod val="65000"/>
                              <a:lumOff val="35000"/>
                            </a:schemeClr>
                          </a:solidFill>
                        </a:rPr>
                        <a:t>Number of nodes in the HDI Spark cluster. No limit on number of nodes (Top limit defined by your Azure quota). Call to increase limit</a:t>
                      </a:r>
                      <a:endParaRPr lang="en-US" sz="1200" kern="1200" dirty="0">
                        <a:solidFill>
                          <a:schemeClr val="tx1">
                            <a:lumMod val="65000"/>
                            <a:lumOff val="35000"/>
                          </a:schemeClr>
                        </a:solidFill>
                        <a:latin typeface="+mn-lt"/>
                        <a:ea typeface="+mn-ea"/>
                        <a:cs typeface="+mn-cs"/>
                      </a:endParaRPr>
                    </a:p>
                  </a:txBody>
                  <a:tcPr marL="89642" marR="89642" marT="62750" marB="62750"/>
                </a:tc>
                <a:extLst>
                  <a:ext uri="{0D108BD9-81ED-4DB2-BD59-A6C34878D82A}">
                    <a16:rowId xmlns:a16="http://schemas.microsoft.com/office/drawing/2014/main" val="3101251134"/>
                  </a:ext>
                </a:extLst>
              </a:tr>
              <a:tr h="857020">
                <a:tc>
                  <a:txBody>
                    <a:bodyPr/>
                    <a:lstStyle/>
                    <a:p>
                      <a:pPr algn="l"/>
                      <a:r>
                        <a:rPr lang="en-US" sz="1200" kern="1200" dirty="0">
                          <a:solidFill>
                            <a:schemeClr val="tx1">
                              <a:lumMod val="65000"/>
                              <a:lumOff val="35000"/>
                            </a:schemeClr>
                          </a:solidFill>
                        </a:rPr>
                        <a:t>Data processing limits </a:t>
                      </a:r>
                      <a:endParaRPr lang="en-US" sz="1200" b="1" kern="1200" dirty="0">
                        <a:solidFill>
                          <a:schemeClr val="tx1">
                            <a:lumMod val="65000"/>
                            <a:lumOff val="35000"/>
                          </a:schemeClr>
                        </a:solidFill>
                        <a:latin typeface="+mn-lt"/>
                        <a:ea typeface="+mn-ea"/>
                        <a:cs typeface="+mn-cs"/>
                      </a:endParaRPr>
                    </a:p>
                  </a:txBody>
                  <a:tcPr marL="89642" marR="89642" marT="62750" marB="62750"/>
                </a:tc>
                <a:tc>
                  <a:txBody>
                    <a:bodyPr/>
                    <a:lstStyle/>
                    <a:p>
                      <a:r>
                        <a:rPr lang="en-US" sz="1200" kern="1200" dirty="0">
                          <a:solidFill>
                            <a:schemeClr val="tx1">
                              <a:lumMod val="65000"/>
                              <a:lumOff val="35000"/>
                            </a:schemeClr>
                          </a:solidFill>
                        </a:rPr>
                        <a:t>Users can scale up or down number of Streaming Units to increase data processing or optimize costs</a:t>
                      </a:r>
                    </a:p>
                    <a:p>
                      <a:r>
                        <a:rPr lang="en-US" sz="1200" kern="1200" dirty="0">
                          <a:solidFill>
                            <a:schemeClr val="tx1">
                              <a:lumMod val="65000"/>
                              <a:lumOff val="35000"/>
                            </a:schemeClr>
                          </a:solidFill>
                        </a:rPr>
                        <a:t>Scale up to 1 GB/s </a:t>
                      </a:r>
                      <a:endParaRPr lang="en-US" sz="1200" kern="1200" dirty="0">
                        <a:solidFill>
                          <a:schemeClr val="tx1">
                            <a:lumMod val="65000"/>
                            <a:lumOff val="35000"/>
                          </a:schemeClr>
                        </a:solidFill>
                        <a:latin typeface="+mn-lt"/>
                        <a:ea typeface="+mn-ea"/>
                        <a:cs typeface="+mn-cs"/>
                      </a:endParaRPr>
                    </a:p>
                  </a:txBody>
                  <a:tcPr marL="89642" marR="89642" marT="62750" marB="62750"/>
                </a:tc>
                <a:tc>
                  <a:txBody>
                    <a:bodyPr/>
                    <a:lstStyle/>
                    <a:p>
                      <a:r>
                        <a:rPr lang="en-US" sz="1200" kern="1200" dirty="0">
                          <a:solidFill>
                            <a:schemeClr val="tx1">
                              <a:lumMod val="65000"/>
                              <a:lumOff val="35000"/>
                            </a:schemeClr>
                          </a:solidFill>
                        </a:rPr>
                        <a:t>User can scale up or down </a:t>
                      </a:r>
                      <a:br>
                        <a:rPr lang="en-US" sz="1200" kern="1200" dirty="0">
                          <a:solidFill>
                            <a:schemeClr val="tx1">
                              <a:lumMod val="65000"/>
                              <a:lumOff val="35000"/>
                            </a:schemeClr>
                          </a:solidFill>
                        </a:rPr>
                      </a:br>
                      <a:r>
                        <a:rPr lang="en-US" sz="1200" kern="1200" dirty="0">
                          <a:solidFill>
                            <a:schemeClr val="tx1">
                              <a:lumMod val="65000"/>
                              <a:lumOff val="35000"/>
                            </a:schemeClr>
                          </a:solidFill>
                        </a:rPr>
                        <a:t>cluster size to meet needs</a:t>
                      </a:r>
                      <a:endParaRPr lang="en-US" sz="1200" kern="1200" dirty="0">
                        <a:solidFill>
                          <a:schemeClr val="tx1">
                            <a:lumMod val="65000"/>
                            <a:lumOff val="35000"/>
                          </a:schemeClr>
                        </a:solidFill>
                        <a:latin typeface="+mn-lt"/>
                        <a:ea typeface="+mn-ea"/>
                        <a:cs typeface="+mn-cs"/>
                      </a:endParaRPr>
                    </a:p>
                  </a:txBody>
                  <a:tcPr marL="89642" marR="89642" marT="62750" marB="62750"/>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200" kern="1200" dirty="0">
                          <a:solidFill>
                            <a:schemeClr val="tx1">
                              <a:lumMod val="65000"/>
                              <a:lumOff val="35000"/>
                            </a:schemeClr>
                          </a:solidFill>
                        </a:rPr>
                        <a:t>User can scale up or down </a:t>
                      </a:r>
                      <a:br>
                        <a:rPr lang="en-US" sz="1200" kern="1200" dirty="0">
                          <a:solidFill>
                            <a:schemeClr val="tx1">
                              <a:lumMod val="65000"/>
                              <a:lumOff val="35000"/>
                            </a:schemeClr>
                          </a:solidFill>
                        </a:rPr>
                      </a:br>
                      <a:r>
                        <a:rPr lang="en-US" sz="1200" kern="1200" dirty="0">
                          <a:solidFill>
                            <a:schemeClr val="tx1">
                              <a:lumMod val="65000"/>
                              <a:lumOff val="35000"/>
                            </a:schemeClr>
                          </a:solidFill>
                        </a:rPr>
                        <a:t>cluster size to meet needs.</a:t>
                      </a:r>
                      <a:endParaRPr lang="en-US" sz="1200" kern="1200" dirty="0">
                        <a:solidFill>
                          <a:schemeClr val="tx1">
                            <a:lumMod val="65000"/>
                            <a:lumOff val="35000"/>
                          </a:schemeClr>
                        </a:solidFill>
                        <a:latin typeface="+mn-lt"/>
                        <a:ea typeface="+mn-ea"/>
                        <a:cs typeface="+mn-cs"/>
                      </a:endParaRPr>
                    </a:p>
                    <a:p>
                      <a:endParaRPr lang="en-US" sz="1200" kern="1200" dirty="0">
                        <a:solidFill>
                          <a:schemeClr val="tx1">
                            <a:lumMod val="65000"/>
                            <a:lumOff val="35000"/>
                          </a:schemeClr>
                        </a:solidFill>
                        <a:latin typeface="+mn-lt"/>
                        <a:ea typeface="+mn-ea"/>
                        <a:cs typeface="+mn-cs"/>
                      </a:endParaRPr>
                    </a:p>
                  </a:txBody>
                  <a:tcPr marL="89642" marR="89642" marT="62750" marB="62750"/>
                </a:tc>
                <a:extLst>
                  <a:ext uri="{0D108BD9-81ED-4DB2-BD59-A6C34878D82A}">
                    <a16:rowId xmlns:a16="http://schemas.microsoft.com/office/drawing/2014/main" val="331643635"/>
                  </a:ext>
                </a:extLst>
              </a:tr>
              <a:tr h="491260">
                <a:tc>
                  <a:txBody>
                    <a:bodyPr/>
                    <a:lstStyle/>
                    <a:p>
                      <a:pPr marL="49213" indent="-49213" algn="l"/>
                      <a:r>
                        <a:rPr lang="en-US" sz="1200" kern="1200" dirty="0">
                          <a:solidFill>
                            <a:schemeClr val="tx1">
                              <a:lumMod val="65000"/>
                              <a:lumOff val="35000"/>
                            </a:schemeClr>
                          </a:solidFill>
                        </a:rPr>
                        <a:t> Late arrival and out of </a:t>
                      </a:r>
                      <a:br>
                        <a:rPr lang="en-US" sz="1200" kern="1200" dirty="0">
                          <a:solidFill>
                            <a:schemeClr val="tx1">
                              <a:lumMod val="65000"/>
                              <a:lumOff val="35000"/>
                            </a:schemeClr>
                          </a:solidFill>
                        </a:rPr>
                      </a:br>
                      <a:r>
                        <a:rPr lang="en-US" sz="1200" kern="1200" dirty="0">
                          <a:solidFill>
                            <a:schemeClr val="tx1">
                              <a:lumMod val="65000"/>
                              <a:lumOff val="35000"/>
                            </a:schemeClr>
                          </a:solidFill>
                        </a:rPr>
                        <a:t>order</a:t>
                      </a:r>
                      <a:r>
                        <a:rPr lang="en-US" sz="1200" kern="1200" baseline="0" dirty="0">
                          <a:solidFill>
                            <a:schemeClr val="tx1">
                              <a:lumMod val="65000"/>
                              <a:lumOff val="35000"/>
                            </a:schemeClr>
                          </a:solidFill>
                        </a:rPr>
                        <a:t> </a:t>
                      </a:r>
                      <a:r>
                        <a:rPr lang="en-US" sz="1200" kern="1200" dirty="0">
                          <a:solidFill>
                            <a:schemeClr val="tx1">
                              <a:lumMod val="65000"/>
                              <a:lumOff val="35000"/>
                            </a:schemeClr>
                          </a:solidFill>
                        </a:rPr>
                        <a:t>event handling </a:t>
                      </a:r>
                      <a:endParaRPr lang="en-US" sz="1200" b="1" kern="1200" dirty="0">
                        <a:solidFill>
                          <a:schemeClr val="tx1">
                            <a:lumMod val="65000"/>
                            <a:lumOff val="35000"/>
                          </a:schemeClr>
                        </a:solidFill>
                        <a:latin typeface="+mn-lt"/>
                        <a:ea typeface="+mn-ea"/>
                        <a:cs typeface="+mn-cs"/>
                      </a:endParaRPr>
                    </a:p>
                  </a:txBody>
                  <a:tcPr marL="89642" marR="89642" marT="62750" marB="62750"/>
                </a:tc>
                <a:tc>
                  <a:txBody>
                    <a:bodyPr/>
                    <a:lstStyle/>
                    <a:p>
                      <a:r>
                        <a:rPr lang="en-US" sz="1200" kern="1200" dirty="0">
                          <a:solidFill>
                            <a:schemeClr val="tx1">
                              <a:lumMod val="65000"/>
                              <a:lumOff val="35000"/>
                            </a:schemeClr>
                          </a:solidFill>
                        </a:rPr>
                        <a:t>Built-in configurable policies to reorder, </a:t>
                      </a:r>
                      <a:br>
                        <a:rPr lang="en-US" sz="1200" kern="1200" dirty="0">
                          <a:solidFill>
                            <a:schemeClr val="tx1">
                              <a:lumMod val="65000"/>
                              <a:lumOff val="35000"/>
                            </a:schemeClr>
                          </a:solidFill>
                        </a:rPr>
                      </a:br>
                      <a:r>
                        <a:rPr lang="en-US" sz="1200" kern="1200" dirty="0">
                          <a:solidFill>
                            <a:schemeClr val="tx1">
                              <a:lumMod val="65000"/>
                              <a:lumOff val="35000"/>
                            </a:schemeClr>
                          </a:solidFill>
                        </a:rPr>
                        <a:t>drop events or adjust event time</a:t>
                      </a:r>
                      <a:endParaRPr lang="en-US" sz="1200" kern="1200" dirty="0">
                        <a:solidFill>
                          <a:schemeClr val="tx1">
                            <a:lumMod val="65000"/>
                            <a:lumOff val="35000"/>
                          </a:schemeClr>
                        </a:solidFill>
                        <a:latin typeface="+mn-lt"/>
                        <a:ea typeface="+mn-ea"/>
                        <a:cs typeface="+mn-cs"/>
                      </a:endParaRPr>
                    </a:p>
                  </a:txBody>
                  <a:tcPr marL="89642" marR="89642" marT="62750" marB="62750"/>
                </a:tc>
                <a:tc>
                  <a:txBody>
                    <a:bodyPr/>
                    <a:lstStyle/>
                    <a:p>
                      <a:r>
                        <a:rPr lang="en-US" sz="1200" kern="1200" dirty="0">
                          <a:solidFill>
                            <a:schemeClr val="tx1">
                              <a:lumMod val="65000"/>
                              <a:lumOff val="35000"/>
                            </a:schemeClr>
                          </a:solidFill>
                        </a:rPr>
                        <a:t>User must implement logic to </a:t>
                      </a:r>
                      <a:br>
                        <a:rPr lang="en-US" sz="1200" kern="1200" dirty="0">
                          <a:solidFill>
                            <a:schemeClr val="tx1">
                              <a:lumMod val="65000"/>
                              <a:lumOff val="35000"/>
                            </a:schemeClr>
                          </a:solidFill>
                        </a:rPr>
                      </a:br>
                      <a:r>
                        <a:rPr lang="en-US" sz="1200" kern="1200" dirty="0">
                          <a:solidFill>
                            <a:schemeClr val="tx1">
                              <a:lumMod val="65000"/>
                              <a:lumOff val="35000"/>
                            </a:schemeClr>
                          </a:solidFill>
                        </a:rPr>
                        <a:t>handle this scenario</a:t>
                      </a:r>
                      <a:endParaRPr lang="en-US" sz="1200" kern="1200" dirty="0">
                        <a:solidFill>
                          <a:schemeClr val="tx1">
                            <a:lumMod val="65000"/>
                            <a:lumOff val="35000"/>
                          </a:schemeClr>
                        </a:solidFill>
                        <a:latin typeface="+mn-lt"/>
                        <a:ea typeface="+mn-ea"/>
                        <a:cs typeface="+mn-cs"/>
                      </a:endParaRPr>
                    </a:p>
                  </a:txBody>
                  <a:tcPr marL="89642" marR="89642" marT="62750" marB="62750"/>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200" kern="1200" dirty="0">
                          <a:solidFill>
                            <a:schemeClr val="tx1">
                              <a:lumMod val="65000"/>
                              <a:lumOff val="35000"/>
                            </a:schemeClr>
                          </a:solidFill>
                        </a:rPr>
                        <a:t>User must implement logic to </a:t>
                      </a:r>
                      <a:br>
                        <a:rPr lang="en-US" sz="1200" kern="1200" dirty="0">
                          <a:solidFill>
                            <a:schemeClr val="tx1">
                              <a:lumMod val="65000"/>
                              <a:lumOff val="35000"/>
                            </a:schemeClr>
                          </a:solidFill>
                        </a:rPr>
                      </a:br>
                      <a:r>
                        <a:rPr lang="en-US" sz="1200" kern="1200" dirty="0">
                          <a:solidFill>
                            <a:schemeClr val="tx1">
                              <a:lumMod val="65000"/>
                              <a:lumOff val="35000"/>
                            </a:schemeClr>
                          </a:solidFill>
                        </a:rPr>
                        <a:t>handle this scenario</a:t>
                      </a:r>
                      <a:endParaRPr lang="en-US" sz="1200" kern="1200" dirty="0">
                        <a:solidFill>
                          <a:schemeClr val="tx1">
                            <a:lumMod val="65000"/>
                            <a:lumOff val="35000"/>
                          </a:schemeClr>
                        </a:solidFill>
                        <a:latin typeface="+mn-lt"/>
                        <a:ea typeface="+mn-ea"/>
                        <a:cs typeface="+mn-cs"/>
                      </a:endParaRPr>
                    </a:p>
                  </a:txBody>
                  <a:tcPr marL="89642" marR="89642" marT="62750" marB="62750"/>
                </a:tc>
                <a:extLst>
                  <a:ext uri="{0D108BD9-81ED-4DB2-BD59-A6C34878D82A}">
                    <a16:rowId xmlns:a16="http://schemas.microsoft.com/office/drawing/2014/main" val="2488124379"/>
                  </a:ext>
                </a:extLst>
              </a:tr>
            </a:tbl>
          </a:graphicData>
        </a:graphic>
      </p:graphicFrame>
    </p:spTree>
    <p:extLst>
      <p:ext uri="{BB962C8B-B14F-4D97-AF65-F5344CB8AC3E}">
        <p14:creationId xmlns:p14="http://schemas.microsoft.com/office/powerpoint/2010/main" val="1487085399"/>
      </p:ext>
    </p:extLst>
  </p:cSld>
  <p:clrMapOvr>
    <a:masterClrMapping/>
  </p:clrMapOvr>
  <p:transition spd="med">
    <p:fade/>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270066" y="2084555"/>
            <a:ext cx="10755572" cy="4481488"/>
          </a:xfrm>
          <a:prstGeom prst="rect">
            <a:avLst/>
          </a:prstGeom>
          <a:solidFill>
            <a:schemeClr val="accent3">
              <a:alpha val="8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92">
              <a:defRPr/>
            </a:pPr>
            <a:endParaRPr lang="en-US" sz="1765" dirty="0">
              <a:solidFill>
                <a:srgbClr val="FFFFFF"/>
              </a:solidFill>
            </a:endParaRPr>
          </a:p>
        </p:txBody>
      </p:sp>
      <p:pic>
        <p:nvPicPr>
          <p:cNvPr id="46082" name="Picture 5"/>
          <p:cNvPicPr>
            <a:picLocks noChangeAspect="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463020" y="2271283"/>
            <a:ext cx="1277535" cy="28009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 name="TextBox 9"/>
          <p:cNvSpPr txBox="1"/>
          <p:nvPr/>
        </p:nvSpPr>
        <p:spPr>
          <a:xfrm>
            <a:off x="466132" y="2959437"/>
            <a:ext cx="5825935" cy="892298"/>
          </a:xfrm>
          <a:prstGeom prst="rect">
            <a:avLst/>
          </a:prstGeom>
          <a:noFill/>
        </p:spPr>
        <p:txBody>
          <a:bodyPr>
            <a:spAutoFit/>
          </a:bodyPr>
          <a:lstStyle/>
          <a:p>
            <a:pPr defTabSz="914192">
              <a:defRPr/>
            </a:pPr>
            <a:r>
              <a:rPr lang="en-US" sz="5097" dirty="0">
                <a:gradFill>
                  <a:gsLst>
                    <a:gs pos="2917">
                      <a:srgbClr val="FFFFFF"/>
                    </a:gs>
                    <a:gs pos="100000">
                      <a:srgbClr val="FFFFFF"/>
                    </a:gs>
                  </a:gsLst>
                  <a:lin ang="5400000" scaled="0"/>
                </a:gradFill>
                <a:latin typeface="Segoe UI Light"/>
              </a:rPr>
              <a:t>Get started today!</a:t>
            </a:r>
          </a:p>
        </p:txBody>
      </p:sp>
      <p:sp>
        <p:nvSpPr>
          <p:cNvPr id="11" name="TextBox 10"/>
          <p:cNvSpPr txBox="1"/>
          <p:nvPr/>
        </p:nvSpPr>
        <p:spPr>
          <a:xfrm>
            <a:off x="466133" y="3889599"/>
            <a:ext cx="10559507" cy="341584"/>
          </a:xfrm>
          <a:prstGeom prst="rect">
            <a:avLst/>
          </a:prstGeom>
          <a:noFill/>
        </p:spPr>
        <p:txBody>
          <a:bodyPr>
            <a:spAutoFit/>
          </a:bodyPr>
          <a:lstStyle/>
          <a:p>
            <a:pPr marL="280067" lvl="1" indent="-280067" defTabSz="895919">
              <a:lnSpc>
                <a:spcPct val="90000"/>
              </a:lnSpc>
              <a:spcAft>
                <a:spcPts val="1175"/>
              </a:spcAft>
              <a:buFont typeface="Wingdings" pitchFamily="2" charset="2"/>
              <a:buChar char="§"/>
              <a:defRPr/>
            </a:pPr>
            <a:r>
              <a:rPr lang="en-US" sz="1765" dirty="0">
                <a:solidFill>
                  <a:srgbClr val="FFFFFF"/>
                </a:solidFill>
                <a:latin typeface="Segoe UI Light"/>
              </a:rPr>
              <a:t>For more information visit: http://azure.microsoft.com/en-us/services/hdinsight/  </a:t>
            </a:r>
          </a:p>
        </p:txBody>
      </p:sp>
    </p:spTree>
    <p:extLst>
      <p:ext uri="{BB962C8B-B14F-4D97-AF65-F5344CB8AC3E}">
        <p14:creationId xmlns:p14="http://schemas.microsoft.com/office/powerpoint/2010/main" val="33158712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MT_TILE" val="YES"/>
</p:tagLst>
</file>

<file path=ppt/theme/theme1.xml><?xml version="1.0" encoding="utf-8"?>
<a:theme xmlns:a="http://schemas.openxmlformats.org/drawingml/2006/main" name="Theme1">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noAutofit/>
      </a:bodyPr>
      <a:lstStyle>
        <a:defPPr>
          <a:lnSpc>
            <a:spcPct val="90000"/>
          </a:lnSpc>
          <a:spcAft>
            <a:spcPts val="600"/>
          </a:spcAft>
          <a:defRPr dirty="0" smtClean="0">
            <a:solidFill>
              <a:schemeClr val="tx1">
                <a:lumMod val="85000"/>
                <a:lumOff val="15000"/>
              </a:schemeClr>
            </a:solidFill>
          </a:defRPr>
        </a:defPPr>
      </a:lstStyle>
    </a:txDef>
  </a:objectDefaults>
  <a:extraClrSchemeLst/>
  <a:extLst>
    <a:ext uri="{05A4C25C-085E-4340-85A3-A5531E510DB2}">
      <thm15:themeFamily xmlns:thm15="http://schemas.microsoft.com/office/thememl/2012/main" name="Theme1" id="{3B365E36-265F-42ED-90CB-897686AA20D5}" vid="{42BB44ED-578C-437B-982F-BE4F33A2196C}"/>
    </a:ext>
  </a:extLst>
</a:theme>
</file>

<file path=ppt/theme/theme2.xml><?xml version="1.0" encoding="utf-8"?>
<a:theme xmlns:a="http://schemas.openxmlformats.org/drawingml/2006/main" name="1_Theme1">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heme1" id="{3B365E36-265F-42ED-90CB-897686AA20D5}" vid="{42BB44ED-578C-437B-982F-BE4F33A2196C}"/>
    </a:ext>
  </a:extLst>
</a:theme>
</file>

<file path=ppt/theme/theme3.xml><?xml version="1.0" encoding="utf-8"?>
<a:theme xmlns:a="http://schemas.openxmlformats.org/drawingml/2006/main" name="2_Theme1">
  <a:themeElements>
    <a:clrScheme name="Custom 23">
      <a:dk1>
        <a:srgbClr val="000000"/>
      </a:dk1>
      <a:lt1>
        <a:srgbClr val="FFFFFF"/>
      </a:lt1>
      <a:dk2>
        <a:srgbClr val="32145A"/>
      </a:dk2>
      <a:lt2>
        <a:srgbClr val="D2D2D2"/>
      </a:lt2>
      <a:accent1>
        <a:srgbClr val="68217A"/>
      </a:accent1>
      <a:accent2>
        <a:srgbClr val="0072C6"/>
      </a:accent2>
      <a:accent3>
        <a:srgbClr val="00BCF2"/>
      </a:accent3>
      <a:accent4>
        <a:srgbClr val="008272"/>
      </a:accent4>
      <a:accent5>
        <a:srgbClr val="FF8C00"/>
      </a:accent5>
      <a:accent6>
        <a:srgbClr val="DC3C00"/>
      </a:accent6>
      <a:hlink>
        <a:srgbClr val="68217A"/>
      </a:hlink>
      <a:folHlink>
        <a:srgbClr val="B4A0FF"/>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heme1" id="{3B365E36-265F-42ED-90CB-897686AA20D5}" vid="{42BB44ED-578C-437B-982F-BE4F33A2196C}"/>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This deck is a technical overview of the Hadoop and related projects, like Hive, Pig, Tez, HBase, Storm and Kafka on HDInsight.</DocumentDescription>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technical presentations</TermName>
          <TermId xmlns="http://schemas.microsoft.com/office/infopath/2007/PartnerControls">83a894cf-702b-47fc-aba5-41bd10dc1e75</TermId>
        </TermInfo>
      </Terms>
    </hd9637eefc984b85b6097c6374e15725>
    <od9986d31974458fb3007746ec0bce5f xmlns="230e9df3-be65-4c73-a93b-d1236ebd677e">
      <Terms xmlns="http://schemas.microsoft.com/office/infopath/2007/PartnerControls"/>
    </od9986d31974458fb3007746ec0bce5f>
    <k20e0dfa74bf4e44818db03027b0ccd8 xmlns="230e9df3-be65-4c73-a93b-d1236ebd677e">
      <Terms xmlns="http://schemas.microsoft.com/office/infopath/2007/PartnerControls"/>
    </k20e0dfa74bf4e44818db03027b0ccd8>
    <Owner xmlns="230e9df3-be65-4c73-a93b-d1236ebd677e">
      <UserInfo>
        <DisplayName>Nishant Thacker</DisplayName>
        <AccountId>144</AccountId>
        <AccountType/>
      </UserInfo>
    </Owner>
    <PublishDate xmlns="230E9DF3-BE65-4C73-A93B-D1236EBD677E" xsi:nil="true"/>
    <k21a64daf20d4502b2796a1c6b8ce6c8 xmlns="230e9df3-be65-4c73-a93b-d1236ebd677e">
      <Terms xmlns="http://schemas.microsoft.com/office/infopath/2007/PartnerControls"/>
    </k21a64daf20d4502b2796a1c6b8ce6c8>
    <GenericHTML1 xmlns="230e9df3-be65-4c73-a93b-d1236ebd677e" xsi:nil="true"/>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l3c3ea61849e4288a8acc49bb5388e8c xmlns="230e9df3-be65-4c73-a93b-d1236ebd677e">
      <Terms xmlns="http://schemas.microsoft.com/office/infopath/2007/PartnerControls">
        <TermInfo xmlns="http://schemas.microsoft.com/office/infopath/2007/PartnerControls">
          <TermName xmlns="http://schemas.microsoft.com/office/infopath/2007/PartnerControls">Cloud and Enterprise Marketing Group</TermName>
          <TermId xmlns="http://schemas.microsoft.com/office/infopath/2007/PartnerControls">4f75e184-e5aa-4234-a07f-b032d60df254</TermId>
        </TermInfo>
        <TermInfo xmlns="http://schemas.microsoft.com/office/infopath/2007/PartnerControls">
          <TermName xmlns="http://schemas.microsoft.com/office/infopath/2007/PartnerControls">SQL Server Marketing</TermName>
          <TermId xmlns="http://schemas.microsoft.com/office/infopath/2007/PartnerControls">bb7921b3-c1d8-4da4-b894-8b6075d9546d</TermId>
        </TermInfo>
      </Terms>
    </l3c3ea61849e4288a8acc49bb5388e8c>
    <Blog_x0020_Name xmlns="230e9df3-be65-4c73-a93b-d1236ebd677e" xsi:nil="true"/>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Server and Tools Business</TermName>
          <TermId xmlns="http://schemas.microsoft.com/office/infopath/2007/PartnerControls">6783548d-8609-4f97-be4a-4ca2616905a6</TermId>
        </TermInfo>
        <TermInfo xmlns="http://schemas.microsoft.com/office/infopath/2007/PartnerControls">
          <TermName xmlns="http://schemas.microsoft.com/office/infopath/2007/PartnerControls">Cloud ＆ Enterprise Conversations Domain</TermName>
          <TermId xmlns="http://schemas.microsoft.com/office/infopath/2007/PartnerControls">ab3ceaba-e38a-46cd-ac14-3fcc9aa094c0</TermId>
        </TermInfo>
        <TermInfo xmlns="http://schemas.microsoft.com/office/infopath/2007/PartnerControls">
          <TermName xmlns="http://schemas.microsoft.com/office/infopath/2007/PartnerControls">SQL Server Domain</TermName>
          <TermId xmlns="http://schemas.microsoft.com/office/infopath/2007/PartnerControls">0c0f1824-39dc-4b26-8c74-eff4364b812b</TermId>
        </TermInfo>
        <TermInfo xmlns="http://schemas.microsoft.com/office/infopath/2007/PartnerControls">
          <TermName xmlns="http://schemas.microsoft.com/office/infopath/2007/PartnerControls">Cloud and Enterprise</TermName>
          <TermId xmlns="http://schemas.microsoft.com/office/infopath/2007/PartnerControls">adc2fe87-c79a-4ded-a449-3f86b954069d</TermId>
        </TermInfo>
        <TermInfo xmlns="http://schemas.microsoft.com/office/infopath/2007/PartnerControls">
          <TermName xmlns="http://schemas.microsoft.com/office/infopath/2007/PartnerControls">Microsoft Azure Domain</TermName>
          <TermId xmlns="http://schemas.microsoft.com/office/infopath/2007/PartnerControls">d600a391-d529-4311-892b-2c05c1ab2538</TermId>
        </TermInfo>
        <TermInfo xmlns="http://schemas.microsoft.com/office/infopath/2007/PartnerControls">
          <TermName xmlns="http://schemas.microsoft.com/office/infopath/2007/PartnerControls">Internet of Things Domain</TermName>
          <TermId xmlns="http://schemas.microsoft.com/office/infopath/2007/PartnerControls">34685f97-aa46-4d4d-881b-c9a2cde63bef</TermId>
        </TermInfo>
      </Terms>
    </eb54ac91059940029a3cc8a4ff5af673>
    <PublishingPageContent xmlns="http://schemas.microsoft.com/sharepoint/v3" xsi:nil="true"/>
    <ContentID xmlns="230e9df3-be65-4c73-a93b-d1236ebd677e" xsi:nil="true"/>
    <Coowner xmlns="230e9df3-be65-4c73-a93b-d1236ebd677e">
      <UserInfo>
        <DisplayName>i:0#.f|membership|ochiu@microsoft.com</DisplayName>
        <AccountId>123</AccountId>
        <AccountType/>
      </UserInfo>
      <UserInfo>
        <DisplayName>i:0#.f|membership|v-anmarv@microsoft.com</DisplayName>
        <AccountId>45</AccountId>
        <AccountType/>
      </UserInfo>
      <UserInfo>
        <DisplayName>i:0#.f|membership|v-danaja@microsoft.com</DisplayName>
        <AccountId>176</AccountId>
        <AccountType/>
      </UserInfo>
    </Coowner>
    <ef109fd36bcf4bcd9dd945731030600b xmlns="230e9df3-be65-4c73-a93b-d1236ebd677e">
      <Terms xmlns="http://schemas.microsoft.com/office/infopath/2007/PartnerControls"/>
    </ef109fd36bcf4bcd9dd945731030600b>
    <ApplyWorkflowRules xmlns="230E9DF3-BE65-4C73-A93B-D1236EBD677E">Yes</ApplyWorkflowRules>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Microsoft Azure</TermName>
          <TermId xmlns="http://schemas.microsoft.com/office/infopath/2007/PartnerControls">669a3112-5edf-444b-a003-630063601f07</TermId>
        </TermInfo>
        <TermInfo xmlns="http://schemas.microsoft.com/office/infopath/2007/PartnerControls">
          <TermName xmlns="http://schemas.microsoft.com/office/infopath/2007/PartnerControls">Microsoft SQL Server</TermName>
          <TermId xmlns="http://schemas.microsoft.com/office/infopath/2007/PartnerControls">261ba873-f3ab-420e-96d6-e3004596a551</TermId>
        </TermInfo>
        <TermInfo xmlns="http://schemas.microsoft.com/office/infopath/2007/PartnerControls">
          <TermName xmlns="http://schemas.microsoft.com/office/infopath/2007/PartnerControls">cloud computing</TermName>
          <TermId xmlns="http://schemas.microsoft.com/office/infopath/2007/PartnerControls">b21bb78b-b941-4a14-8b2a-a3600087b48d</TermId>
        </TermInfo>
        <TermInfo xmlns="http://schemas.microsoft.com/office/infopath/2007/PartnerControls">
          <TermName xmlns="http://schemas.microsoft.com/office/infopath/2007/PartnerControls">cloud services</TermName>
          <TermId xmlns="http://schemas.microsoft.com/office/infopath/2007/PartnerControls">d4f73be5-052d-4768-baf8-f3e948173e00</TermId>
        </TermInfo>
        <TermInfo xmlns="http://schemas.microsoft.com/office/infopath/2007/PartnerControls">
          <TermName xmlns="http://schemas.microsoft.com/office/infopath/2007/PartnerControls">Microsoft Azure HDInsight Service</TermName>
          <TermId xmlns="http://schemas.microsoft.com/office/infopath/2007/PartnerControls">caa4b4da-5318-4157-9150-05739acda99c</TermId>
        </TermInfo>
      </Terms>
    </bf80e81150e248c48aa8cffdf0021a1f>
    <ec5b2ad5c27b45fb8a00a1f27c7ce1ae xmlns="230e9df3-be65-4c73-a93b-d1236ebd677e">
      <Terms xmlns="http://schemas.microsoft.com/office/infopath/2007/PartnerControls"/>
    </ec5b2ad5c27b45fb8a00a1f27c7ce1ae>
    <RatingCount xmlns="http://schemas.microsoft.com/sharepoint/v3" xsi:nil="true"/>
    <m6d26e40ac264097a006193f92232ece xmlns="230e9df3-be65-4c73-a93b-d1236ebd677e">
      <Terms xmlns="http://schemas.microsoft.com/office/infopath/2007/PartnerControls"/>
    </m6d26e40ac264097a006193f92232ece>
    <b60f8d2dbb984f349d80d8196897f4d3 xmlns="230e9df3-be65-4c73-a93b-d1236ebd677e">
      <Terms xmlns="http://schemas.microsoft.com/office/infopath/2007/PartnerControls"/>
    </b60f8d2dbb984f349d80d8196897f4d3>
    <Thumbnail1 xmlns="230e9df3-be65-4c73-a93b-d1236ebd677e">
      <Url>https://microsoft.sharepoint.com/sites/Infopedia_G01KC/Media/Thumbnails/G01KC-1-112/Hadoop%20on%20HDInsight%20-%20Technical%20Overview.png</Url>
      <Description>/sites/Infopedia_G01KC/Media/Thumbnails/G01KC-1-112/Hadoop on HDInsight - Technical Overview.png</Description>
    </Thumbnail1>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Microsoft Azure in Enterprise</TermName>
          <TermId xmlns="http://schemas.microsoft.com/office/infopath/2007/PartnerControls">84891928-61ad-4dbf-88e4-8b4469e6f307</TermId>
        </TermInfo>
        <TermInfo xmlns="http://schemas.microsoft.com/office/infopath/2007/PartnerControls">
          <TermName xmlns="http://schemas.microsoft.com/office/infopath/2007/PartnerControls">Big Data</TermName>
          <TermId xmlns="http://schemas.microsoft.com/office/infopath/2007/PartnerControls">582c631e-d886-4ba1-801f-ad52722ec38e</TermId>
        </TermInfo>
        <TermInfo xmlns="http://schemas.microsoft.com/office/infopath/2007/PartnerControls">
          <TermName xmlns="http://schemas.microsoft.com/office/infopath/2007/PartnerControls">modern data warehouses</TermName>
          <TermId xmlns="http://schemas.microsoft.com/office/infopath/2007/PartnerControls">73a3f3c0-b1f4-4059-b3f7-d568167cd895</TermId>
        </TermInfo>
        <TermInfo xmlns="http://schemas.microsoft.com/office/infopath/2007/PartnerControls">
          <TermName xmlns="http://schemas.microsoft.com/office/infopath/2007/PartnerControls">New Conversation</TermName>
          <TermId xmlns="http://schemas.microsoft.com/office/infopath/2007/PartnerControls">5ae50351-4e19-465d-a34a-e592b7a56769</TermId>
        </TermInfo>
        <TermInfo xmlns="http://schemas.microsoft.com/office/infopath/2007/PartnerControls">
          <TermName xmlns="http://schemas.microsoft.com/office/infopath/2007/PartnerControls">Internet of Your Things</TermName>
          <TermId xmlns="http://schemas.microsoft.com/office/infopath/2007/PartnerControls">cb3354bd-6d29-4656-83fb-4e192665ca2b</TermId>
        </TermInfo>
        <TermInfo xmlns="http://schemas.microsoft.com/office/infopath/2007/PartnerControls">
          <TermName xmlns="http://schemas.microsoft.com/office/infopath/2007/PartnerControls">machine learning</TermName>
          <TermId xmlns="http://schemas.microsoft.com/office/infopath/2007/PartnerControls">912b89bd-3197-4d37-838b-dea3c299099a</TermId>
        </TermInfo>
      </Terms>
    </i0d941ee1e744ffea7aeee9924c91cbb>
    <RoutingRuleDescription xmlns="http://schemas.microsoft.com/sharepoint/v3" xsi:nil="true"/>
    <PublishingExpirationDate xmlns="http://schemas.microsoft.com/sharepoint/v3" xsi:nil="true"/>
    <AverageRating xmlns="http://schemas.microsoft.com/sharepoint/v3" xsi:nil="true"/>
    <TaxKeywordTaxHTField xmlns="230e9df3-be65-4c73-a93b-d1236ebd677e">
      <Terms xmlns="http://schemas.microsoft.com/office/infopath/2007/PartnerControls"/>
    </TaxKeywordTaxHTField>
    <ReportOwner xmlns="http://schemas.microsoft.com/sharepoint/v3">
      <UserInfo>
        <DisplayName/>
        <AccountId xsi:nil="true"/>
        <AccountType/>
      </UserInfo>
    </ReportOwner>
    <i1b478372f814787abd313030b81fcb2 xmlns="230e9df3-be65-4c73-a93b-d1236ebd677e">
      <Terms xmlns="http://schemas.microsoft.com/office/infopath/2007/PartnerControls"/>
    </i1b478372f814787abd313030b81fcb2>
    <b4224c12c78d42ea9b214de0badf8358 xmlns="230e9df3-be65-4c73-a93b-d1236ebd677e">
      <Terms xmlns="http://schemas.microsoft.com/office/infopath/2007/PartnerControls"/>
    </b4224c12c78d42ea9b214de0badf8358>
    <TaxCatchAll xmlns="230e9df3-be65-4c73-a93b-d1236ebd677e">
      <Value>73</Value>
      <Value>294</Value>
      <Value>133</Value>
      <Value>291</Value>
      <Value>401</Value>
      <Value>30</Value>
      <Value>29</Value>
      <Value>435</Value>
      <Value>397</Value>
      <Value>26</Value>
      <Value>399</Value>
      <Value>208</Value>
      <Value>22</Value>
      <Value>21</Value>
      <Value>20</Value>
      <Value>165</Value>
      <Value>14</Value>
      <Value>382</Value>
      <Value>159</Value>
      <Value>82</Value>
      <Value>42</Value>
      <Value>374</Value>
      <Value>400</Value>
      <Value>257</Value>
    </TaxCatchAll>
    <mb88723863e1404388ba3733387d48df xmlns="230e9df3-be65-4c73-a93b-d1236ebd677e">
      <Terms xmlns="http://schemas.microsoft.com/office/infopath/2007/PartnerControls"/>
    </mb88723863e1404388ba3733387d48df>
    <m6c7b4717b6346e6a075a59dd47eac69 xmlns="230e9df3-be65-4c73-a93b-d1236ebd677e">
      <Terms xmlns="http://schemas.microsoft.com/office/infopath/2007/PartnerControls">
        <TermInfo xmlns="http://schemas.microsoft.com/office/infopath/2007/PartnerControls">
          <TermName xmlns="http://schemas.microsoft.com/office/infopath/2007/PartnerControls">features</TermName>
          <TermId xmlns="http://schemas.microsoft.com/office/infopath/2007/PartnerControls">94b87768-f145-4764-adbd-fec700e47348</TermId>
        </TermInfo>
        <TermInfo xmlns="http://schemas.microsoft.com/office/infopath/2007/PartnerControls">
          <TermName xmlns="http://schemas.microsoft.com/office/infopath/2007/PartnerControls">hub subset</TermName>
          <TermId xmlns="http://schemas.microsoft.com/office/infopath/2007/PartnerControls">c6bfd112-b986-4a0a-aa8d-90e767bfdfa6</TermId>
        </TermInfo>
      </Terms>
    </m6c7b4717b6346e6a075a59dd47eac69>
    <kf34bcdc8fc34e479d3f94c6210e8e27 xmlns="230e9df3-be65-4c73-a93b-d1236ebd677e">
      <Terms xmlns="http://schemas.microsoft.com/office/infopath/2007/PartnerControls">
        <TermInfo xmlns="http://schemas.microsoft.com/office/infopath/2007/PartnerControls">
          <TermName xmlns="http://schemas.microsoft.com/office/infopath/2007/PartnerControls">Apache Hadoop</TermName>
          <TermId xmlns="http://schemas.microsoft.com/office/infopath/2007/PartnerControls">fcd1f651-ca31-4dce-b311-44af674a49db</TermId>
        </TermInfo>
      </Terms>
    </kf34bcdc8fc34e479d3f94c6210e8e27>
    <GenericText2 xmlns="230e9df3-be65-4c73-a93b-d1236ebd677e">G01KC-1-112 KC02-23-13089</GenericText2>
    <_dlc_DocId xmlns="230e9df3-be65-4c73-a93b-d1236ebd677e">G01KC-99682991-20908</_dlc_DocId>
    <_dlc_DocIdUrl xmlns="230e9df3-be65-4c73-a93b-d1236ebd677e">
      <Url>https://microsoft.sharepoint.com/sites/Infopedia_G01KC/_layouts/15/DocIdRedir.aspx?ID=G01KC-99682991-20908</Url>
      <Description>G01KC-99682991-20908</Description>
    </_dlc_DocIdUrl>
    <ga0c0bf70a6644469c61b3efa7025301 xmlns="230e9df3-be65-4c73-a93b-d1236ebd677e">
      <Terms xmlns="http://schemas.microsoft.com/office/infopath/2007/PartnerControls"/>
    </ga0c0bf70a6644469c61b3efa7025301>
    <FolderExtensions xmlns="230e9df3-be65-4c73-a93b-d1236ebd677e" xsi:nil="true"/>
    <ParentID1 xmlns="230e9df3-be65-4c73-a93b-d1236ebd677e">G01KC-1-112</ParentID1>
  </documentManagement>
</p:properties>
</file>

<file path=customXml/item2.xml><?xml version="1.0" encoding="utf-8"?>
<?mso-contentType ?>
<SharedContentType xmlns="Microsoft.SharePoint.Taxonomy.ContentTypeSync" SourceId="e385fb40-52d4-4fae-9c5b-3e8ff8a5878e" ContentTypeId="0x0101000E4CB7077FEE4FF7AE86D4A500EEC780030016C849C62B10EB41ACA8C7EEDEF40BB2" PreviousValue="false"/>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ct:contentTypeSchema xmlns:ct="http://schemas.microsoft.com/office/2006/metadata/contentType" xmlns:ma="http://schemas.microsoft.com/office/2006/metadata/properties/metaAttributes" ct:_="" ma:_="" ma:contentTypeName="SMSG KM Open Document" ma:contentTypeID="0x0101000E4CB7077FEE4FF7AE86D4A500EEC780030016C849C62B10EB41ACA8C7EEDEF40BB20099ECF64382448D48A56095091C66B1A9" ma:contentTypeVersion="12" ma:contentTypeDescription="" ma:contentTypeScope="" ma:versionID="cab718cc75007fb06ecfcec41a645951">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targetNamespace="http://schemas.microsoft.com/office/2006/metadata/properties" ma:root="true" ma:fieldsID="f4e592e9555a19ee659e283868ab05a8" ns1:_="" ns2:_="" ns3:_="" ns4:_="">
    <xsd:import namespace="http://schemas.microsoft.com/sharepoint/v3"/>
    <xsd:import namespace="230e9df3-be65-4c73-a93b-d1236ebd677e"/>
    <xsd:import namespace="230E9DF3-BE65-4C73-A93B-D1236EBD677E"/>
    <xsd:import namespace="b3bc04a5-d503-43b1-b98c-a8cf663329d9"/>
    <xsd:element name="properties">
      <xsd:complexType>
        <xsd:sequence>
          <xsd:element name="documentManagement">
            <xsd:complexType>
              <xsd:all>
                <xsd:element ref="ns2:DocumentDescription" minOccurs="0"/>
                <xsd:element ref="ns2:Owner" minOccurs="0"/>
                <xsd:element ref="ns3:PublishDate" minOccurs="0"/>
                <xsd:element ref="ns1:PublishingPageContent" minOccurs="0"/>
                <xsd:element ref="ns2:Thumbnail1" minOccurs="0"/>
                <xsd:element ref="ns1:PublishingExpirationDate" minOccurs="0"/>
                <xsd:element ref="ns3:ApplyWorkflowRules" minOccurs="0"/>
                <xsd:element ref="ns2:ContentID" minOccurs="0"/>
                <xsd:element ref="ns2:Blog_x0020_Name" minOccurs="0"/>
                <xsd:element ref="ns2:Coowner" minOccurs="0"/>
                <xsd:element ref="ns1:RatingCount" minOccurs="0"/>
                <xsd:element ref="ns2:FolderExtensions" minOccurs="0"/>
                <xsd:element ref="ns2:ParentID1" minOccurs="0"/>
                <xsd:element ref="ns2:GenericText2" minOccurs="0"/>
                <xsd:element ref="ns2:GenericHTML1" minOccurs="0"/>
                <xsd:element ref="ns1:AverageRating" minOccurs="0"/>
                <xsd:element ref="ns2:bf80e81150e248c48aa8cffdf0021a1f" minOccurs="0"/>
                <xsd:element ref="ns2:od9986d31974458fb3007746ec0bce5f" minOccurs="0"/>
                <xsd:element ref="ns2:k21a64daf20d4502b2796a1c6b8ce6c8" minOccurs="0"/>
                <xsd:element ref="ns2:ef109fd36bcf4bcd9dd945731030600b" minOccurs="0"/>
                <xsd:element ref="ns2:hd9637eefc984b85b6097c6374e15725" minOccurs="0"/>
                <xsd:element ref="ns2:ga0c0bf70a6644469c61b3efa7025301" minOccurs="0"/>
                <xsd:element ref="ns2:i1b478372f814787abd313030b81fcb2" minOccurs="0"/>
                <xsd:element ref="ns2:i0d941ee1e744ffea7aeee9924c91cbb" minOccurs="0"/>
                <xsd:element ref="ns2:m6d26e40ac264097a006193f92232ece" minOccurs="0"/>
                <xsd:element ref="ns2:kf34bcdc8fc34e479d3f94c6210e8e27" minOccurs="0"/>
                <xsd:element ref="ns2:mb88723863e1404388ba3733387d48df" minOccurs="0"/>
                <xsd:element ref="ns2:TaxCatchAll" minOccurs="0"/>
                <xsd:element ref="ns2:k20e0dfa74bf4e44818db03027b0ccd8" minOccurs="0"/>
                <xsd:element ref="ns2:l3c3ea61849e4288a8acc49bb5388e8c" minOccurs="0"/>
                <xsd:element ref="ns2:ec5b2ad5c27b45fb8a00a1f27c7ce1ae" minOccurs="0"/>
                <xsd:element ref="ns2:TaxCatchAllLabel" minOccurs="0"/>
                <xsd:element ref="ns2:b60f8d2dbb984f349d80d8196897f4d3" minOccurs="0"/>
                <xsd:element ref="ns2:TaxKeywordTaxHTField" minOccurs="0"/>
                <xsd:element ref="ns2:m6c7b4717b6346e6a075a59dd47eac69" minOccurs="0"/>
                <xsd:element ref="ns2:ConfidentialityTaxHTField0" minOccurs="0"/>
                <xsd:element ref="ns2:b4224c12c78d42ea9b214de0badf8358" minOccurs="0"/>
                <xsd:element ref="ns2:_dlc_DocId" minOccurs="0"/>
                <xsd:element ref="ns1:RoutingRuleDescription" minOccurs="0"/>
                <xsd:element ref="ns1:ReportOwner" minOccurs="0"/>
                <xsd:element ref="ns2:_dlc_DocIdUrl" minOccurs="0"/>
                <xsd:element ref="ns2:_dlc_DocIdPersistId" minOccurs="0"/>
                <xsd:element ref="ns2:eb54ac91059940029a3cc8a4ff5af673" minOccurs="0"/>
                <xsd:element ref="ns4:MediaServiceDateTaken" minOccurs="0"/>
                <xsd:element ref="ns4:MediaServiceAuto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PageContent" ma:index="8" nillable="true" ma:displayName="Page Content" ma:description="Page Content is a site column created by the Publishing feature. It is used on the Article Page Content Type as the content of the page." ma:internalName="PublishingPageContent">
      <xsd:simpleType>
        <xsd:restriction base="dms:Unknown"/>
      </xsd:simpleType>
    </xsd:element>
    <xsd:element name="PublishingExpirationDate" ma:index="13"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element name="RatingCount" ma:index="31" nillable="true" ma:displayName="Number of Ratings" ma:decimals="0" ma:description="Number of ratings submitted" ma:internalName="RatingCount" ma:readOnly="true">
      <xsd:simpleType>
        <xsd:restriction base="dms:Number"/>
      </xsd:simpleType>
    </xsd:element>
    <xsd:element name="AverageRating" ma:index="38" nillable="true" ma:displayName="Rating (0-5)" ma:decimals="2" ma:description="Average value of all the ratings that have been submitted" ma:internalName="AverageRating" ma:readOnly="true">
      <xsd:simpleType>
        <xsd:restriction base="dms:Number"/>
      </xsd:simpleType>
    </xsd:element>
    <xsd:element name="RoutingRuleDescription" ma:index="67" nillable="true" ma:displayName="Description" ma:description="" ma:hidden="true" ma:internalName="RoutingRuleDescription" ma:readOnly="false">
      <xsd:simpleType>
        <xsd:restriction base="dms:Text">
          <xsd:maxLength value="255"/>
        </xsd:restriction>
      </xsd:simpleType>
    </xsd:element>
    <xsd:element name="ReportOwner" ma:index="68"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2" nillable="true" ma:displayName="Document Description" ma:description="Alternate description for documents that can be used for display." ma:internalName="DocumentDescription">
      <xsd:simpleType>
        <xsd:restriction base="dms:Note">
          <xsd:maxLength value="255"/>
        </xsd:restriction>
      </xsd:simpleType>
    </xsd:element>
    <xsd:element name="Owner" ma:index="3" nillable="true"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Thumbnail1" ma:index="9"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15" nillable="true" ma:displayName="ContentID" ma:indexed="true" ma:internalName="ContentID" ma:readOnly="false">
      <xsd:simpleType>
        <xsd:restriction base="dms:Text">
          <xsd:maxLength value="255"/>
        </xsd:restriction>
      </xsd:simpleType>
    </xsd:element>
    <xsd:element name="Blog_x0020_Name" ma:index="16" nillable="true" ma:displayName="Blog Name" ma:description="Title of an Infopedia Blog" ma:internalName="Blog_x0020_Name">
      <xsd:simpleType>
        <xsd:restriction base="dms:Text">
          <xsd:maxLength value="255"/>
        </xsd:restriction>
      </xsd:simpleType>
    </xsd:element>
    <xsd:element name="Coowner" ma:index="22"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FolderExtensions" ma:index="34" nillable="true" ma:displayName="Folder Extensions" ma:description="On-DocSet sub folder to support inactive documents views." ma:internalName="FolderExtensions">
      <xsd:simpleType>
        <xsd:restriction base="dms:Unknown"/>
      </xsd:simpleType>
    </xsd:element>
    <xsd:element name="ParentID1" ma:index="35" nillable="true" ma:displayName="ParentID" ma:description="Used to maintain the parent-child relationship within Document Set and Documents" ma:indexed="true" ma:internalName="ParentID1">
      <xsd:simpleType>
        <xsd:restriction base="dms:Text">
          <xsd:maxLength value="255"/>
        </xsd:restriction>
      </xsd:simpleType>
    </xsd:element>
    <xsd:element name="GenericText2" ma:index="36" nillable="true" ma:displayName="GenericText2" ma:description="Generic field for future features in implementation" ma:indexed="true" ma:internalName="GenericText2">
      <xsd:simpleType>
        <xsd:restriction base="dms:Text">
          <xsd:maxLength value="255"/>
        </xsd:restriction>
      </xsd:simpleType>
    </xsd:element>
    <xsd:element name="GenericHTML1" ma:index="37" nillable="true" ma:displayName="GenericHTML1" ma:description="Generic field for future features in implementation" ma:internalName="GenericHTML1">
      <xsd:simpleType>
        <xsd:restriction base="dms:Unknown"/>
      </xsd:simpleType>
    </xsd:element>
    <xsd:element name="bf80e81150e248c48aa8cffdf0021a1f" ma:index="39"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od9986d31974458fb3007746ec0bce5f" ma:index="40"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k21a64daf20d4502b2796a1c6b8ce6c8" ma:index="41"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ef109fd36bcf4bcd9dd945731030600b" ma:index="43"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hd9637eefc984b85b6097c6374e15725" ma:index="44"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ga0c0bf70a6644469c61b3efa7025301" ma:index="45" nillable="true" ma:taxonomy="true" ma:internalName="ga0c0bf70a6644469c61b3efa7025301" ma:taxonomyFieldName="ExperienceContentType" ma:displayName="Experience Content Type" ma:default="" ma:fieldId="{0a0c0bf7-0a66-4446-9c61-b3efa7025301}" ma:sspId="e385fb40-52d4-4fae-9c5b-3e8ff8a5878e" ma:termSetId="5ebd4bde-7300-4f6f-8671-0d8e806c9260" ma:anchorId="f79c226e-0a27-41a1-99b5-91ff9ea65615"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i0d941ee1e744ffea7aeee9924c91cbb" ma:index="49"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m6d26e40ac264097a006193f92232ece" ma:index="50" nillable="true" ma:taxonomy="true" ma:internalName="m6d26e40ac264097a006193f92232ece" ma:taxonomyFieldName="TechnicalLevel" ma:displayName="Technical Level"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element name="kf34bcdc8fc34e479d3f94c6210e8e27" ma:index="51"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mb88723863e1404388ba3733387d48df" ma:index="53"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TaxCatchAll" ma:index="5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k20e0dfa74bf4e44818db03027b0ccd8" ma:index="55"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l3c3ea61849e4288a8acc49bb5388e8c" ma:index="57"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ec5b2ad5c27b45fb8a00a1f27c7ce1ae" ma:index="59"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TaxCatchAllLabel" ma:index="60"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60f8d2dbb984f349d80d8196897f4d3" ma:index="61"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TaxKeywordTaxHTField" ma:index="62"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m6c7b4717b6346e6a075a59dd47eac69" ma:index="63"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ConfidentialityTaxHTField0" ma:index="64" ma:taxonomy="true" ma:internalName="ConfidentialityTaxHTField0" ma:taxonomyFieldName="Confidentiality" ma:displayName="Confidentiality" ma:default="5;#Microsoft confidential|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b4224c12c78d42ea9b214de0badf8358" ma:index="65"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66" nillable="true" ma:displayName="Document ID Value" ma:description="The value of the document ID assigned to this item." ma:indexed="true" ma:internalName="_dlc_DocId" ma:readOnly="true">
      <xsd:simpleType>
        <xsd:restriction base="dms:Text"/>
      </xsd:simpleType>
    </xsd:element>
    <xsd:element name="_dlc_DocIdUrl" ma:index="6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70" nillable="true" ma:displayName="Persist ID" ma:description="Keep ID on add." ma:hidden="true" ma:internalName="_dlc_DocIdPersistId" ma:readOnly="true">
      <xsd:simpleType>
        <xsd:restriction base="dms:Boolean"/>
      </xsd:simpleType>
    </xsd:element>
    <xsd:element name="eb54ac91059940029a3cc8a4ff5af673" ma:index="71"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4" nillable="true" ma:displayName="PublishDate" ma:description="Used in Blog Posts, this date is used to specify the Blog Article Date." ma:format="DateOnly" ma:internalName="PublishDate">
      <xsd:simpleType>
        <xsd:restriction base="dms:DateTime"/>
      </xsd:simpleType>
    </xsd:element>
    <xsd:element name="ApplyWorkflowRules" ma:index="14"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MediaServiceDateTaken" ma:index="72" nillable="true" ma:displayName="MediaServiceDateTaken" ma:description="" ma:hidden="true" ma:internalName="MediaServiceDateTaken" ma:readOnly="true">
      <xsd:simpleType>
        <xsd:restriction base="dms:Text"/>
      </xsd:simpleType>
    </xsd:element>
    <xsd:element name="MediaServiceAutoTags" ma:index="73" nillable="true" ma:displayName="MediaServiceAutoTags" ma:description="" ma:internalName="MediaServiceAutoTag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5.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9E8FC4B5-01E5-4D3F-AA7B-4BF5ADA53D41}">
  <ds:schemaRefs>
    <ds:schemaRef ds:uri="http://purl.org/dc/terms/"/>
    <ds:schemaRef ds:uri="http://schemas.openxmlformats.org/package/2006/metadata/core-properties"/>
    <ds:schemaRef ds:uri="http://schemas.microsoft.com/office/2006/documentManagement/types"/>
    <ds:schemaRef ds:uri="http://purl.org/dc/dcmitype/"/>
    <ds:schemaRef ds:uri="http://schemas.microsoft.com/office/infopath/2007/PartnerControls"/>
    <ds:schemaRef ds:uri="http://purl.org/dc/elements/1.1/"/>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1D19922D-6EC8-4256-99EE-7A1357B29DFF}"/>
</file>

<file path=customXml/itemProps3.xml><?xml version="1.0" encoding="utf-8"?>
<ds:datastoreItem xmlns:ds="http://schemas.openxmlformats.org/officeDocument/2006/customXml" ds:itemID="{0FA46B94-696E-4A06-A99D-7AB5873EC870}">
  <ds:schemaRefs>
    <ds:schemaRef ds:uri="http://schemas.microsoft.com/sharepoint/v3/contenttype/forms"/>
  </ds:schemaRefs>
</ds:datastoreItem>
</file>

<file path=customXml/itemProps4.xml><?xml version="1.0" encoding="utf-8"?>
<ds:datastoreItem xmlns:ds="http://schemas.openxmlformats.org/officeDocument/2006/customXml" ds:itemID="{6F96A25B-4D9E-4332-ABCD-23085A6A3207}"/>
</file>

<file path=customXml/itemProps5.xml><?xml version="1.0" encoding="utf-8"?>
<ds:datastoreItem xmlns:ds="http://schemas.openxmlformats.org/officeDocument/2006/customXml" ds:itemID="{51B95C02-13BF-4DA0-94D2-B5252222FD50}"/>
</file>

<file path=docProps/app.xml><?xml version="1.0" encoding="utf-8"?>
<Properties xmlns="http://schemas.openxmlformats.org/officeDocument/2006/extended-properties" xmlns:vt="http://schemas.openxmlformats.org/officeDocument/2006/docPropsVTypes">
  <TotalTime>14637</TotalTime>
  <Words>9239</Words>
  <Application>Microsoft Office PowerPoint</Application>
  <PresentationFormat>Widescreen</PresentationFormat>
  <Paragraphs>1828</Paragraphs>
  <Slides>95</Slides>
  <Notes>22</Notes>
  <HiddenSlides>0</HiddenSlides>
  <MMClips>0</MMClips>
  <ScaleCrop>false</ScaleCrop>
  <HeadingPairs>
    <vt:vector size="8" baseType="variant">
      <vt:variant>
        <vt:lpstr>Fonts Used</vt:lpstr>
      </vt:variant>
      <vt:variant>
        <vt:i4>17</vt:i4>
      </vt:variant>
      <vt:variant>
        <vt:lpstr>Theme</vt:lpstr>
      </vt:variant>
      <vt:variant>
        <vt:i4>3</vt:i4>
      </vt:variant>
      <vt:variant>
        <vt:lpstr>Embedded OLE Servers</vt:lpstr>
      </vt:variant>
      <vt:variant>
        <vt:i4>1</vt:i4>
      </vt:variant>
      <vt:variant>
        <vt:lpstr>Slide Titles</vt:lpstr>
      </vt:variant>
      <vt:variant>
        <vt:i4>95</vt:i4>
      </vt:variant>
    </vt:vector>
  </HeadingPairs>
  <TitlesOfParts>
    <vt:vector size="116" baseType="lpstr">
      <vt:lpstr>ＭＳ Ｐゴシック</vt:lpstr>
      <vt:lpstr>ＭＳ Ｐゴシック</vt:lpstr>
      <vt:lpstr>Arial</vt:lpstr>
      <vt:lpstr>Calibri</vt:lpstr>
      <vt:lpstr>Calibri Light</vt:lpstr>
      <vt:lpstr>Cambria</vt:lpstr>
      <vt:lpstr>Consolas</vt:lpstr>
      <vt:lpstr>Helvetica Neue</vt:lpstr>
      <vt:lpstr>Segoe</vt:lpstr>
      <vt:lpstr>Segoe Semibold</vt:lpstr>
      <vt:lpstr>Segoe UI</vt:lpstr>
      <vt:lpstr>Segoe UI Light</vt:lpstr>
      <vt:lpstr>Segoe UI Semibold</vt:lpstr>
      <vt:lpstr>Segoe UI Semilight</vt:lpstr>
      <vt:lpstr>Times New Roman</vt:lpstr>
      <vt:lpstr>Trebuchet MS</vt:lpstr>
      <vt:lpstr>Wingdings</vt:lpstr>
      <vt:lpstr>Theme1</vt:lpstr>
      <vt:lpstr>1_Theme1</vt:lpstr>
      <vt:lpstr>2_Theme1</vt:lpstr>
      <vt:lpstr>think-cell Slide</vt:lpstr>
      <vt:lpstr>Hadoop on HDInsight Technical Overview   Nishant Thacker Technical Product Manager Microsoft </vt:lpstr>
      <vt:lpstr>PowerPoint Presentation</vt:lpstr>
      <vt:lpstr>PowerPoint Presentation</vt:lpstr>
      <vt:lpstr>Hadoop – What is it?</vt:lpstr>
      <vt:lpstr>MapReduce Component: Job Tracker</vt:lpstr>
      <vt:lpstr>MapReduce Component: Task Tracker</vt:lpstr>
      <vt:lpstr>Hadoop MapReduce Concept</vt:lpstr>
      <vt:lpstr>MapReduce: How it works</vt:lpstr>
      <vt:lpstr>HDFS – What is it?</vt:lpstr>
      <vt:lpstr>HDFS: Reading and Writing Data</vt:lpstr>
      <vt:lpstr>HDFS Components</vt:lpstr>
      <vt:lpstr>Apache YARN – What is it?</vt:lpstr>
      <vt:lpstr>YARN – Motivation</vt:lpstr>
      <vt:lpstr>YARN: Cluster Components </vt:lpstr>
      <vt:lpstr>YARN: Process Flow</vt:lpstr>
      <vt:lpstr>Apache Tez – What is it?</vt:lpstr>
      <vt:lpstr>Tez DAG Components</vt:lpstr>
      <vt:lpstr>Tez: DAG Execution </vt:lpstr>
      <vt:lpstr>Tez – How it improves performance?</vt:lpstr>
      <vt:lpstr>HDInsight – What is it?</vt:lpstr>
      <vt:lpstr>HDInsight: How/Where it fits?</vt:lpstr>
      <vt:lpstr>HDInsight cluster architecture</vt:lpstr>
      <vt:lpstr>Benefits of Hadoop as a Azure Service</vt:lpstr>
      <vt:lpstr>PowerPoint Presentation</vt:lpstr>
      <vt:lpstr>Hcatalog: What is it?</vt:lpstr>
      <vt:lpstr>HCatalog: How it works </vt:lpstr>
      <vt:lpstr>PowerPoint Presentation</vt:lpstr>
      <vt:lpstr>Apache HIVE: What is it?</vt:lpstr>
      <vt:lpstr>Hive: Query Execution Components</vt:lpstr>
      <vt:lpstr>HiveQL: Execution Flow   </vt:lpstr>
      <vt:lpstr>Hive Data Organization Hierarchy</vt:lpstr>
      <vt:lpstr>Sample Data – Customers File</vt:lpstr>
      <vt:lpstr>Sample Data – Orders File</vt:lpstr>
      <vt:lpstr>Hive Table Creation</vt:lpstr>
      <vt:lpstr>Loading Data into Hive Tables</vt:lpstr>
      <vt:lpstr>Customers Table</vt:lpstr>
      <vt:lpstr>HiveQL Overview</vt:lpstr>
      <vt:lpstr>HiveQL</vt:lpstr>
      <vt:lpstr>HiveQL</vt:lpstr>
      <vt:lpstr>HDI on Linux: HiveQL Execution Choices </vt:lpstr>
      <vt:lpstr>Comparing RDBMS and Hive</vt:lpstr>
      <vt:lpstr>Recent Hive releases</vt:lpstr>
      <vt:lpstr>Visual Studio tooling</vt:lpstr>
      <vt:lpstr>PowerPoint Presentation</vt:lpstr>
      <vt:lpstr>Apache PIG: What is it?</vt:lpstr>
      <vt:lpstr>Apache PIG: Components</vt:lpstr>
      <vt:lpstr>Apache Pig Latin: Types</vt:lpstr>
      <vt:lpstr>Apache Pig: Commands</vt:lpstr>
      <vt:lpstr>Pig – Sample ‘Customers’ data file</vt:lpstr>
      <vt:lpstr>Pig – Sample ‘Orders’ data file</vt:lpstr>
      <vt:lpstr>Loading and Querying with Pig</vt:lpstr>
      <vt:lpstr>PowerPoint Presentation</vt:lpstr>
      <vt:lpstr>Apache HBase: What is it?</vt:lpstr>
      <vt:lpstr>HBase: Data model</vt:lpstr>
      <vt:lpstr>HBase: Key Components</vt:lpstr>
      <vt:lpstr>HBase Key Components: Overview</vt:lpstr>
      <vt:lpstr>HBase: Object Hierarchy</vt:lpstr>
      <vt:lpstr>Concept: Regions, Rows and Partitioning</vt:lpstr>
      <vt:lpstr>HBase Access API: Insert, Read, Delete Data</vt:lpstr>
      <vt:lpstr>HBase – Sample ‘Customer’ data File</vt:lpstr>
      <vt:lpstr>Hbase – Sample ‘Orders’ data file</vt:lpstr>
      <vt:lpstr>Create, Load, Query HBase Tables</vt:lpstr>
      <vt:lpstr>HBase as a platform </vt:lpstr>
      <vt:lpstr>When to use HBase in Azure</vt:lpstr>
      <vt:lpstr>HBase and RDBMS</vt:lpstr>
      <vt:lpstr>Apache Phoenix —SQL over HBase </vt:lpstr>
      <vt:lpstr>Apache Phoenix: SQL Support</vt:lpstr>
      <vt:lpstr>Apache Phoenix: Components</vt:lpstr>
      <vt:lpstr>PowerPoint Presentation</vt:lpstr>
      <vt:lpstr>Apache Storm: What is it?</vt:lpstr>
      <vt:lpstr>Apache Storm and Event Hubs</vt:lpstr>
      <vt:lpstr>Storm Application in 5 steps</vt:lpstr>
      <vt:lpstr>Storm Daemons</vt:lpstr>
      <vt:lpstr>Concept: Storm Spouts</vt:lpstr>
      <vt:lpstr>Concept: Storm Bolts</vt:lpstr>
      <vt:lpstr>Stream groupings</vt:lpstr>
      <vt:lpstr>At-least-once Message Processing</vt:lpstr>
      <vt:lpstr>Apache Trident: What is it?</vt:lpstr>
      <vt:lpstr>Trident and Storm</vt:lpstr>
      <vt:lpstr>Apache Storm on HDInsight</vt:lpstr>
      <vt:lpstr>Visual Studio tooling</vt:lpstr>
      <vt:lpstr>Apache Kafka on HDInsight</vt:lpstr>
      <vt:lpstr>Event ingestion patterns</vt:lpstr>
      <vt:lpstr>What is Apache Kafka?</vt:lpstr>
      <vt:lpstr>Kafka Architecture</vt:lpstr>
      <vt:lpstr>Kafka Architecture</vt:lpstr>
      <vt:lpstr>Why HDInsight Kafka</vt:lpstr>
      <vt:lpstr>Kafka on HDI benefits</vt:lpstr>
      <vt:lpstr>Kafka on HDI benefits</vt:lpstr>
      <vt:lpstr>Kafka on HDI benefits</vt:lpstr>
      <vt:lpstr>HDInsight Kafka availability</vt:lpstr>
      <vt:lpstr>Enablement</vt:lpstr>
      <vt:lpstr>Choosing a ingestion technology</vt:lpstr>
      <vt:lpstr>Choosing a streaming technology</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adoop on HDInsight - Technical Overview</dc:title>
  <dc:creator>Nishant Thacker</dc:creator>
  <cp:keywords/>
  <cp:lastModifiedBy>Dana Jay (Allyis Inc)</cp:lastModifiedBy>
  <cp:revision>420</cp:revision>
  <dcterms:created xsi:type="dcterms:W3CDTF">2015-02-09T17:29:20Z</dcterms:created>
  <dcterms:modified xsi:type="dcterms:W3CDTF">2017-01-11T18:04: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E4CB7077FEE4FF7AE86D4A500EEC780030016C849C62B10EB41ACA8C7EEDEF40BB20099ECF64382448D48A56095091C66B1A9</vt:lpwstr>
  </property>
  <property fmtid="{D5CDD505-2E9C-101B-9397-08002B2CF9AE}" pid="3" name="TaxKeyword">
    <vt:lpwstr/>
  </property>
  <property fmtid="{D5CDD505-2E9C-101B-9397-08002B2CF9AE}" pid="4" name="Audiences">
    <vt:lpwstr/>
  </property>
  <property fmtid="{D5CDD505-2E9C-101B-9397-08002B2CF9AE}" pid="5" name="Region">
    <vt:lpwstr/>
  </property>
  <property fmtid="{D5CDD505-2E9C-101B-9397-08002B2CF9AE}" pid="6" name="Industries">
    <vt:lpwstr/>
  </property>
  <property fmtid="{D5CDD505-2E9C-101B-9397-08002B2CF9AE}" pid="7" name="Roles">
    <vt:lpwstr/>
  </property>
  <property fmtid="{D5CDD505-2E9C-101B-9397-08002B2CF9AE}" pid="8" name="Competitors">
    <vt:lpwstr>397;#Apache Hadoop|fcd1f651-ca31-4dce-b311-44af674a49db</vt:lpwstr>
  </property>
  <property fmtid="{D5CDD505-2E9C-101B-9397-08002B2CF9AE}" pid="9" name="SMSGDomain">
    <vt:lpwstr>22;#Server and Tools Business|6783548d-8609-4f97-be4a-4ca2616905a6;#159;#Cloud ＆ Enterprise Conversations Domain|ab3ceaba-e38a-46cd-ac14-3fcc9aa094c0;#82;#SQL Server Domain|0c0f1824-39dc-4b26-8c74-eff4364b812b;#21;#Cloud and Enterprise|adc2fe87-c79a-4ded-a449-3f86b954069d;#20;#Microsoft Azure Domain|d600a391-d529-4311-892b-2c05c1ab2538;#294;#Internet of Things Domain|34685f97-aa46-4d4d-881b-c9a2cde63bef</vt:lpwstr>
  </property>
  <property fmtid="{D5CDD505-2E9C-101B-9397-08002B2CF9AE}" pid="10" name="BusinessArchitecture">
    <vt:lpwstr>291;#Microsoft Azure in Enterprise|84891928-61ad-4dbf-88e4-8b4469e6f307;#400;#Big Data|582c631e-d886-4ba1-801f-ad52722ec38e;#401;#modern data warehouses|73a3f3c0-b1f4-4059-b3f7-d568167cd895;#165;#New Conversation|5ae50351-4e19-465d-a34a-e592b7a56769;#382;#Internet of Your Things|cb3354bd-6d29-4656-83fb-4e192665ca2b;#374;#machine learning|912b89bd-3197-4d37-838b-dea3c299099a</vt:lpwstr>
  </property>
  <property fmtid="{D5CDD505-2E9C-101B-9397-08002B2CF9AE}" pid="11" name="Products">
    <vt:lpwstr>26;#Microsoft Azure|669a3112-5edf-444b-a003-630063601f07;#73;#Microsoft SQL Server|261ba873-f3ab-420e-96d6-e3004596a551;#257;#cloud computing|b21bb78b-b941-4a14-8b2a-a3600087b48d;#208;#cloud services|d4f73be5-052d-4768-baf8-f3e948173e00;#133;#Microsoft Azure HDInsight Service|caa4b4da-5318-4157-9150-05739acda99c</vt:lpwstr>
  </property>
  <property fmtid="{D5CDD505-2E9C-101B-9397-08002B2CF9AE}" pid="12" name="Segments">
    <vt:lpwstr/>
  </property>
  <property fmtid="{D5CDD505-2E9C-101B-9397-08002B2CF9AE}" pid="13" name="ActivitiesAndPrograms">
    <vt:lpwstr/>
  </property>
  <property fmtid="{D5CDD505-2E9C-101B-9397-08002B2CF9AE}" pid="14" name="Partners">
    <vt:lpwstr/>
  </property>
  <property fmtid="{D5CDD505-2E9C-101B-9397-08002B2CF9AE}" pid="15" name="Topics">
    <vt:lpwstr>29;#features|94b87768-f145-4764-adbd-fec700e47348;#30;#hub subset|c6bfd112-b986-4a0a-aa8d-90e767bfdfa6</vt:lpwstr>
  </property>
  <property fmtid="{D5CDD505-2E9C-101B-9397-08002B2CF9AE}" pid="16" name="Groups">
    <vt:lpwstr>42;#Cloud and Enterprise Marketing Group|4f75e184-e5aa-4234-a07f-b032d60df254;#399;#SQL Server Marketing|bb7921b3-c1d8-4da4-b894-8b6075d9546d</vt:lpwstr>
  </property>
  <property fmtid="{D5CDD505-2E9C-101B-9397-08002B2CF9AE}" pid="17" name="_dlc_policyId">
    <vt:lpwstr/>
  </property>
  <property fmtid="{D5CDD505-2E9C-101B-9397-08002B2CF9AE}" pid="18" name="ItemRetentionFormula">
    <vt:lpwstr/>
  </property>
  <property fmtid="{D5CDD505-2E9C-101B-9397-08002B2CF9AE}" pid="19" name="_dlc_DocIdItemGuid">
    <vt:lpwstr>59185599-7fb8-474c-b049-1f5f3ba3e7f4</vt:lpwstr>
  </property>
  <property fmtid="{D5CDD505-2E9C-101B-9397-08002B2CF9AE}" pid="20" name="of67e5d4b76f4a9db8769983fda9cec0">
    <vt:lpwstr/>
  </property>
  <property fmtid="{D5CDD505-2E9C-101B-9397-08002B2CF9AE}" pid="21" name="NewsType">
    <vt:lpwstr/>
  </property>
  <property fmtid="{D5CDD505-2E9C-101B-9397-08002B2CF9AE}" pid="22" name="ItemType">
    <vt:lpwstr>435;#technical presentations|83a894cf-702b-47fc-aba5-41bd10dc1e75</vt:lpwstr>
  </property>
  <property fmtid="{D5CDD505-2E9C-101B-9397-08002B2CF9AE}" pid="23" name="Confidentiality">
    <vt:lpwstr>14;#customer ready|8986c41d-21c5-4f8f-8a12-ea4625b46858</vt:lpwstr>
  </property>
  <property fmtid="{D5CDD505-2E9C-101B-9397-08002B2CF9AE}" pid="24" name="ga0c0bf70a6644469c61b3efa7025301">
    <vt:lpwstr/>
  </property>
  <property fmtid="{D5CDD505-2E9C-101B-9397-08002B2CF9AE}" pid="25" name="MSProducts">
    <vt:lpwstr/>
  </property>
  <property fmtid="{D5CDD505-2E9C-101B-9397-08002B2CF9AE}" pid="26" name="ExperienceContentType">
    <vt:lpwstr/>
  </property>
  <property fmtid="{D5CDD505-2E9C-101B-9397-08002B2CF9AE}" pid="27" name="SMSGTags">
    <vt:lpwstr/>
  </property>
  <property fmtid="{D5CDD505-2E9C-101B-9397-08002B2CF9AE}" pid="28" name="MSPhysicalGeography">
    <vt:lpwstr/>
  </property>
  <property fmtid="{D5CDD505-2E9C-101B-9397-08002B2CF9AE}" pid="29" name="EnterpriseDomainTags">
    <vt:lpwstr/>
  </property>
  <property fmtid="{D5CDD505-2E9C-101B-9397-08002B2CF9AE}" pid="30" name="j3562c58ee414e028925bc902cfc01a1">
    <vt:lpwstr/>
  </property>
  <property fmtid="{D5CDD505-2E9C-101B-9397-08002B2CF9AE}" pid="31" name="l6f004f21209409da86a713c0f24627d">
    <vt:lpwstr/>
  </property>
  <property fmtid="{D5CDD505-2E9C-101B-9397-08002B2CF9AE}" pid="32" name="la4444b61d19467597d63190b69ac227">
    <vt:lpwstr/>
  </property>
  <property fmtid="{D5CDD505-2E9C-101B-9397-08002B2CF9AE}" pid="33" name="MSProductsTaxHTField0">
    <vt:lpwstr/>
  </property>
  <property fmtid="{D5CDD505-2E9C-101B-9397-08002B2CF9AE}" pid="34" name="Languages">
    <vt:lpwstr/>
  </property>
  <property fmtid="{D5CDD505-2E9C-101B-9397-08002B2CF9AE}" pid="35" name="e8080b0481964c759b2c36ae49591b31">
    <vt:lpwstr/>
  </property>
  <property fmtid="{D5CDD505-2E9C-101B-9397-08002B2CF9AE}" pid="36" name="TechnicalLevel">
    <vt:lpwstr/>
  </property>
  <property fmtid="{D5CDD505-2E9C-101B-9397-08002B2CF9AE}" pid="37" name="ldac8aee9d1f469e8cd8c3f8d6a615f2">
    <vt:lpwstr/>
  </property>
  <property fmtid="{D5CDD505-2E9C-101B-9397-08002B2CF9AE}" pid="38" name="EmployeeRole">
    <vt:lpwstr/>
  </property>
  <property fmtid="{D5CDD505-2E9C-101B-9397-08002B2CF9AE}" pid="39" name="NewsTopic">
    <vt:lpwstr/>
  </property>
  <property fmtid="{D5CDD505-2E9C-101B-9397-08002B2CF9AE}" pid="40" name="NewsSource">
    <vt:lpwstr/>
  </property>
  <property fmtid="{D5CDD505-2E9C-101B-9397-08002B2CF9AE}" pid="41" name="_docset_NoMedatataSyncRequired">
    <vt:lpwstr>False</vt:lpwstr>
  </property>
  <property fmtid="{D5CDD505-2E9C-101B-9397-08002B2CF9AE}" pid="42" name="SharedWithUsers">
    <vt:lpwstr>8424;#Madhu Desarapu</vt:lpwstr>
  </property>
  <property fmtid="{D5CDD505-2E9C-101B-9397-08002B2CF9AE}" pid="43" name="FolderExtensions">
    <vt:lpwstr/>
  </property>
  <property fmtid="{D5CDD505-2E9C-101B-9397-08002B2CF9AE}" pid="44" name="ParentID1">
    <vt:lpwstr>G01KC-1-112</vt:lpwstr>
  </property>
  <property fmtid="{D5CDD505-2E9C-101B-9397-08002B2CF9AE}" pid="45" name="Update Parent Child Relation(1)0">
    <vt:lpwstr>, </vt:lpwstr>
  </property>
  <property fmtid="{D5CDD505-2E9C-101B-9397-08002B2CF9AE}" pid="46" name="LastSharedByUser">
    <vt:lpwstr>madhud@microsoft.com</vt:lpwstr>
  </property>
  <property fmtid="{D5CDD505-2E9C-101B-9397-08002B2CF9AE}" pid="47" name="ODSWF1">
    <vt:lpwstr>, </vt:lpwstr>
  </property>
  <property fmtid="{D5CDD505-2E9C-101B-9397-08002B2CF9AE}" pid="48" name="ODSWF(1)0">
    <vt:lpwstr>, </vt:lpwstr>
  </property>
  <property fmtid="{D5CDD505-2E9C-101B-9397-08002B2CF9AE}" pid="49" name="Update Parent Child Relation(1)1">
    <vt:lpwstr>, </vt:lpwstr>
  </property>
  <property fmtid="{D5CDD505-2E9C-101B-9397-08002B2CF9AE}" pid="50" name="LastSharedByTime">
    <vt:filetime>2017-06-09T01:36:10Z</vt:filetime>
  </property>
  <property fmtid="{D5CDD505-2E9C-101B-9397-08002B2CF9AE}" pid="51" name="ODSWF2">
    <vt:lpwstr>, </vt:lpwstr>
  </property>
  <property fmtid="{D5CDD505-2E9C-101B-9397-08002B2CF9AE}" pid="52" name="ODSWF(1)1">
    <vt:lpwstr>, </vt:lpwstr>
  </property>
  <property fmtid="{D5CDD505-2E9C-101B-9397-08002B2CF9AE}" pid="53" name="_ip_UnifiedCompliancePolicyUIAction">
    <vt:lpwstr/>
  </property>
  <property fmtid="{D5CDD505-2E9C-101B-9397-08002B2CF9AE}" pid="54" name="_ip_UnifiedCompliancePolicyProperties">
    <vt:lpwstr/>
  </property>
  <property fmtid="{D5CDD505-2E9C-101B-9397-08002B2CF9AE}" pid="55" name="ODSWF2(1)">
    <vt:lpwstr>, </vt:lpwstr>
  </property>
  <property fmtid="{D5CDD505-2E9C-101B-9397-08002B2CF9AE}" pid="56" name="ODSWF2(1)0">
    <vt:lpwstr>, </vt:lpwstr>
  </property>
  <property fmtid="{D5CDD505-2E9C-101B-9397-08002B2CF9AE}" pid="57" name="ODSWF(1)">
    <vt:lpwstr>, </vt:lpwstr>
  </property>
</Properties>
</file>